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slides/slide21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2.xml" ContentType="application/vnd.openxmlformats-officedocument.presentationml.slide+xml"/>
  <Override PartName="/ppt/presentation.xml" ContentType="application/vnd.openxmlformats-officedocument.presentationml.presentation.main+xml"/>
  <Override PartName="/ppt/slides/slide20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15.xml" ContentType="application/vnd.openxmlformats-officedocument.presentationml.slide+xml"/>
  <Override PartName="/ppt/slides/slide3.xml" ContentType="application/vnd.openxmlformats-officedocument.presentationml.slide+xml"/>
  <Override PartName="/ppt/slides/slide19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18.xml" ContentType="application/vnd.openxmlformats-officedocument.presentationml.slide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notesSlides/notesSlide1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7.xml" ContentType="application/vnd.openxmlformats-officedocument.presentationml.notesSlide+xml"/>
  <Override PartName="/ppt/slideMasters/slideMaster8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notesSlides/notesSlide8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108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notesSlides/notesSlide7.xml" ContentType="application/vnd.openxmlformats-officedocument.presentationml.notesSlid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8.xml" ContentType="application/vnd.openxmlformats-officedocument.presentationml.slideLayout+xml"/>
  <Override PartName="/ppt/notesSlides/notesSlide6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56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69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955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1.xml" ContentType="application/vnd.openxmlformats-officedocument.presentationml.slideLayout+xml"/>
  <Override PartName="/ppt/notesSlides/notesSlide3.xml" ContentType="application/vnd.openxmlformats-officedocument.presentationml.notesSlid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notesSlides/notesSlide5.xml" ContentType="application/vnd.openxmlformats-officedocument.presentationml.notesSlide+xml"/>
  <Override PartName="/ppt/slideLayouts/slideLayout61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theme/theme2.xml" ContentType="application/vnd.openxmlformats-officedocument.theme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charts/chart11.xml" ContentType="application/vnd.openxmlformats-officedocument.drawingml.chart+xml"/>
  <Override PartName="/ppt/charts/chart10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3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5.xml" ContentType="application/vnd.openxmlformats-officedocument.drawingml.chart+xml"/>
  <Override PartName="/ppt/charts/chart4.xml" ContentType="application/vnd.openxmlformats-officedocument.drawingml.chart+xml"/>
  <Override PartName="/ppt/theme/theme14.xml" ContentType="application/vnd.openxmlformats-officedocument.theme+xml"/>
  <Override PartName="/ppt/theme/theme13.xml" ContentType="application/vnd.openxmlformats-officedocument.theme+xml"/>
  <Override PartName="/ppt/theme/theme12.xml" ContentType="application/vnd.openxmlformats-officedocument.theme+xml"/>
  <Override PartName="/ppt/theme/theme15.xml" ContentType="application/vnd.openxmlformats-officedocument.theme+xml"/>
  <Override PartName="/ppt/theme/theme11.xml" ContentType="application/vnd.openxmlformats-officedocument.theme+xml"/>
  <Override PartName="/ppt/theme/theme10.xml" ContentType="application/vnd.openxmlformats-officedocument.theme+xml"/>
  <Override PartName="/ppt/theme/theme9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docProps/core.xml" ContentType="application/vnd.openxmlformats-package.core-properties+xml"/>
  <Override PartName="/ppt/tags/tag1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3" r:id="rId1"/>
    <p:sldMasterId id="2147483857" r:id="rId2"/>
    <p:sldMasterId id="2147483889" r:id="rId3"/>
    <p:sldMasterId id="2147483975" r:id="rId4"/>
    <p:sldMasterId id="2147484058" r:id="rId5"/>
    <p:sldMasterId id="2147484141" r:id="rId6"/>
    <p:sldMasterId id="2147484222" r:id="rId7"/>
    <p:sldMasterId id="2147484302" r:id="rId8"/>
    <p:sldMasterId id="2147484381" r:id="rId9"/>
    <p:sldMasterId id="2147484464" r:id="rId10"/>
    <p:sldMasterId id="2147484543" r:id="rId11"/>
    <p:sldMasterId id="2147484626" r:id="rId12"/>
    <p:sldMasterId id="2147484705" r:id="rId13"/>
  </p:sldMasterIdLst>
  <p:notesMasterIdLst>
    <p:notesMasterId r:id="rId39"/>
  </p:notesMasterIdLst>
  <p:handoutMasterIdLst>
    <p:handoutMasterId r:id="rId40"/>
  </p:handoutMasterIdLst>
  <p:sldIdLst>
    <p:sldId id="841" r:id="rId14"/>
    <p:sldId id="999" r:id="rId15"/>
    <p:sldId id="932" r:id="rId16"/>
    <p:sldId id="975" r:id="rId17"/>
    <p:sldId id="979" r:id="rId18"/>
    <p:sldId id="980" r:id="rId19"/>
    <p:sldId id="976" r:id="rId20"/>
    <p:sldId id="942" r:id="rId21"/>
    <p:sldId id="985" r:id="rId22"/>
    <p:sldId id="988" r:id="rId23"/>
    <p:sldId id="981" r:id="rId24"/>
    <p:sldId id="983" r:id="rId25"/>
    <p:sldId id="982" r:id="rId26"/>
    <p:sldId id="1000" r:id="rId27"/>
    <p:sldId id="992" r:id="rId28"/>
    <p:sldId id="994" r:id="rId29"/>
    <p:sldId id="995" r:id="rId30"/>
    <p:sldId id="996" r:id="rId31"/>
    <p:sldId id="997" r:id="rId32"/>
    <p:sldId id="998" r:id="rId33"/>
    <p:sldId id="1001" r:id="rId34"/>
    <p:sldId id="860" r:id="rId35"/>
    <p:sldId id="963" r:id="rId36"/>
    <p:sldId id="930" r:id="rId37"/>
    <p:sldId id="815" r:id="rId38"/>
  </p:sldIdLst>
  <p:sldSz cx="9144000" cy="5143500" type="screen16x9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9D576E11-CFAB-0C4E-98E9-E3AB862B438A}">
          <p14:sldIdLst>
            <p14:sldId id="841"/>
            <p14:sldId id="999"/>
            <p14:sldId id="932"/>
            <p14:sldId id="975"/>
            <p14:sldId id="979"/>
            <p14:sldId id="980"/>
            <p14:sldId id="976"/>
            <p14:sldId id="942"/>
            <p14:sldId id="985"/>
            <p14:sldId id="988"/>
            <p14:sldId id="981"/>
            <p14:sldId id="983"/>
            <p14:sldId id="982"/>
            <p14:sldId id="1000"/>
            <p14:sldId id="992"/>
            <p14:sldId id="994"/>
            <p14:sldId id="995"/>
            <p14:sldId id="996"/>
            <p14:sldId id="997"/>
            <p14:sldId id="998"/>
            <p14:sldId id="1001"/>
            <p14:sldId id="860"/>
            <p14:sldId id="963"/>
            <p14:sldId id="930"/>
            <p14:sldId id="815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22">
          <p15:clr>
            <a:srgbClr val="A4A3A4"/>
          </p15:clr>
        </p15:guide>
        <p15:guide id="2" orient="horz" pos="963">
          <p15:clr>
            <a:srgbClr val="A4A3A4"/>
          </p15:clr>
        </p15:guide>
        <p15:guide id="3" orient="horz" pos="2902">
          <p15:clr>
            <a:srgbClr val="A4A3A4"/>
          </p15:clr>
        </p15:guide>
        <p15:guide id="4" orient="horz" pos="468">
          <p15:clr>
            <a:srgbClr val="A4A3A4"/>
          </p15:clr>
        </p15:guide>
        <p15:guide id="5" orient="horz" pos="1656">
          <p15:clr>
            <a:srgbClr val="A4A3A4"/>
          </p15:clr>
        </p15:guide>
        <p15:guide id="6" orient="horz" pos="2641">
          <p15:clr>
            <a:srgbClr val="A4A3A4"/>
          </p15:clr>
        </p15:guide>
        <p15:guide id="7" orient="horz" pos="375">
          <p15:clr>
            <a:srgbClr val="A4A3A4"/>
          </p15:clr>
        </p15:guide>
        <p15:guide id="8" pos="1627">
          <p15:clr>
            <a:srgbClr val="A4A3A4"/>
          </p15:clr>
        </p15:guide>
        <p15:guide id="9" pos="2541">
          <p15:clr>
            <a:srgbClr val="A4A3A4"/>
          </p15:clr>
        </p15:guide>
        <p15:guide id="10" pos="4723">
          <p15:clr>
            <a:srgbClr val="A4A3A4"/>
          </p15:clr>
        </p15:guide>
        <p15:guide id="11" pos="392">
          <p15:clr>
            <a:srgbClr val="A4A3A4"/>
          </p15:clr>
        </p15:guide>
        <p15:guide id="12" pos="2882">
          <p15:clr>
            <a:srgbClr val="A4A3A4"/>
          </p15:clr>
        </p15:guide>
        <p15:guide id="13" pos="321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trina Laino" initials="KL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C00000"/>
    <a:srgbClr val="6E78D4"/>
    <a:srgbClr val="0078BE"/>
    <a:srgbClr val="989FE0"/>
    <a:srgbClr val="FFFFFF"/>
    <a:srgbClr val="7F7F7F"/>
    <a:srgbClr val="8C7A78"/>
    <a:srgbClr val="82C341"/>
    <a:srgbClr val="33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 preferSingleView="1">
    <p:restoredLeft sz="13114" autoAdjust="0"/>
    <p:restoredTop sz="91294" autoAdjust="0"/>
  </p:normalViewPr>
  <p:slideViewPr>
    <p:cSldViewPr snapToGrid="0">
      <p:cViewPr>
        <p:scale>
          <a:sx n="80" d="100"/>
          <a:sy n="80" d="100"/>
        </p:scale>
        <p:origin x="-1522" y="-701"/>
      </p:cViewPr>
      <p:guideLst>
        <p:guide orient="horz" pos="222"/>
        <p:guide orient="horz" pos="963"/>
        <p:guide orient="horz" pos="2902"/>
        <p:guide orient="horz" pos="468"/>
        <p:guide orient="horz" pos="1656"/>
        <p:guide orient="horz" pos="2641"/>
        <p:guide orient="horz" pos="375"/>
        <p:guide pos="1627"/>
        <p:guide pos="2541"/>
        <p:guide pos="4723"/>
        <p:guide pos="392"/>
        <p:guide pos="2882"/>
        <p:guide pos="3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-104"/>
    </p:cViewPr>
  </p:sorterViewPr>
  <p:notesViewPr>
    <p:cSldViewPr snapToGrid="0" snapToObjects="1">
      <p:cViewPr varScale="1">
        <p:scale>
          <a:sx n="86" d="100"/>
          <a:sy n="86" d="100"/>
        </p:scale>
        <p:origin x="-3846" y="-7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presProps" Target="presProps.xml"/><Relationship Id="rId47" Type="http://schemas.openxmlformats.org/officeDocument/2006/relationships/customXml" Target="../customXml/item2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9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viewProps" Target="viewProps.xml"/><Relationship Id="rId48" Type="http://schemas.openxmlformats.org/officeDocument/2006/relationships/customXml" Target="../customXml/item3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customXml" Target="../customXml/item1.xml"/><Relationship Id="rId20" Type="http://schemas.openxmlformats.org/officeDocument/2006/relationships/slide" Target="slides/slide7.xml"/><Relationship Id="rId41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1"/>
    </c:title>
    <c:autoTitleDeleted val="0"/>
    <c:plotArea>
      <c:layout>
        <c:manualLayout>
          <c:layoutTarget val="inner"/>
          <c:xMode val="edge"/>
          <c:yMode val="edge"/>
          <c:x val="3.4180925906951553E-3"/>
          <c:y val="0.14852970139004429"/>
          <c:w val="0.99658190740930486"/>
          <c:h val="0.781710935422554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odservice spend vs. 2019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 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2.8887731769712932E-2</c:v>
                </c:pt>
                <c:pt idx="1">
                  <c:v>1.2736527356143279E-2</c:v>
                </c:pt>
                <c:pt idx="2">
                  <c:v>-0.27854350057884281</c:v>
                </c:pt>
                <c:pt idx="3">
                  <c:v>-0.79777856135401981</c:v>
                </c:pt>
                <c:pt idx="4">
                  <c:v>-0.79088233425794563</c:v>
                </c:pt>
                <c:pt idx="5">
                  <c:v>-0.58812368803487813</c:v>
                </c:pt>
                <c:pt idx="6">
                  <c:v>-0.4511095772939282</c:v>
                </c:pt>
                <c:pt idx="7">
                  <c:v>-0.22095959595959602</c:v>
                </c:pt>
                <c:pt idx="8">
                  <c:v>-0.214423658389091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24570368"/>
        <c:axId val="1178780800"/>
      </c:barChart>
      <c:catAx>
        <c:axId val="1224570368"/>
        <c:scaling>
          <c:orientation val="minMax"/>
        </c:scaling>
        <c:delete val="0"/>
        <c:axPos val="b"/>
        <c:majorTickMark val="none"/>
        <c:minorTickMark val="none"/>
        <c:tickLblPos val="low"/>
        <c:txPr>
          <a:bodyPr/>
          <a:lstStyle/>
          <a:p>
            <a:pPr>
              <a:defRPr sz="1000"/>
            </a:pPr>
            <a:endParaRPr lang="en-US"/>
          </a:p>
        </c:txPr>
        <c:crossAx val="1178780800"/>
        <c:crosses val="autoZero"/>
        <c:auto val="1"/>
        <c:lblAlgn val="ctr"/>
        <c:lblOffset val="0"/>
        <c:noMultiLvlLbl val="0"/>
      </c:catAx>
      <c:valAx>
        <c:axId val="1178780800"/>
        <c:scaling>
          <c:orientation val="minMax"/>
          <c:min val="-1"/>
        </c:scaling>
        <c:delete val="0"/>
        <c:axPos val="l"/>
        <c:numFmt formatCode="0%" sourceLinked="0"/>
        <c:majorTickMark val="none"/>
        <c:minorTickMark val="none"/>
        <c:tickLblPos val="nextTo"/>
        <c:txPr>
          <a:bodyPr/>
          <a:lstStyle/>
          <a:p>
            <a:pPr>
              <a:defRPr sz="1050"/>
            </a:pPr>
            <a:endParaRPr lang="en-US"/>
          </a:p>
        </c:txPr>
        <c:crossAx val="12245703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r>
              <a:rPr lang="en-US" sz="1400" dirty="0" smtClean="0">
                <a:solidFill>
                  <a:schemeClr val="tx1"/>
                </a:solidFill>
              </a:rPr>
              <a:t>Delivery visits distribution </a:t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by demographic group (%)</a:t>
            </a:r>
            <a:endParaRPr lang="en-US" sz="14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40147016626584675"/>
          <c:y val="6.237772716731383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7754566324513102"/>
          <c:y val="0.25112989408211228"/>
          <c:w val="0.91269371733938676"/>
          <c:h val="0.61275541581424886"/>
        </c:manualLayout>
      </c:layout>
      <c:pieChart>
        <c:varyColors val="1"/>
        <c:ser>
          <c:idx val="1"/>
          <c:order val="0"/>
          <c:tx>
            <c:strRef>
              <c:f>Sheet1!$B$1</c:f>
              <c:strCache>
                <c:ptCount val="1"/>
                <c:pt idx="0">
                  <c:v>Total visits</c:v>
                </c:pt>
              </c:strCache>
            </c:strRef>
          </c:tx>
          <c:spPr>
            <a:solidFill>
              <a:schemeClr val="tx2"/>
            </a:solidFill>
          </c:spPr>
          <c:dPt>
            <c:idx val="0"/>
            <c:bubble3D val="0"/>
            <c:spPr>
              <a:solidFill>
                <a:srgbClr val="8E908F"/>
              </a:solidFill>
            </c:spPr>
          </c:dPt>
          <c:dPt>
            <c:idx val="2"/>
            <c:bubble3D val="0"/>
            <c:spPr>
              <a:solidFill>
                <a:srgbClr val="92D050"/>
              </a:solidFill>
            </c:spPr>
          </c:dPt>
          <c:dPt>
            <c:idx val="3"/>
            <c:bubble3D val="0"/>
            <c:spPr>
              <a:solidFill>
                <a:schemeClr val="accent5"/>
              </a:solidFill>
            </c:spPr>
          </c:dPt>
          <c:dPt>
            <c:idx val="4"/>
            <c:bubble3D val="0"/>
            <c:spPr>
              <a:solidFill>
                <a:srgbClr val="EC7A08"/>
              </a:solidFill>
            </c:spPr>
          </c:dPt>
          <c:dLbls>
            <c:txPr>
              <a:bodyPr/>
              <a:lstStyle/>
              <a:p>
                <a:pPr>
                  <a:defRPr sz="1600" b="1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6</c:f>
              <c:strCache>
                <c:ptCount val="5"/>
                <c:pt idx="0">
                  <c:v>Families</c:v>
                </c:pt>
                <c:pt idx="1">
                  <c:v>16-24s, no kids</c:v>
                </c:pt>
                <c:pt idx="2">
                  <c:v>25-34s, no kids</c:v>
                </c:pt>
                <c:pt idx="3">
                  <c:v>35-49s, no kids</c:v>
                </c:pt>
                <c:pt idx="4">
                  <c:v>50+, no kids</c:v>
                </c:pt>
              </c:strCache>
            </c:strRef>
          </c:cat>
          <c:val>
            <c:numRef>
              <c:f>Sheet1!$B$2:$B$6</c:f>
              <c:numCache>
                <c:formatCode>0</c:formatCode>
                <c:ptCount val="5"/>
                <c:pt idx="0">
                  <c:v>38.1</c:v>
                </c:pt>
                <c:pt idx="1">
                  <c:v>18.600000000000001</c:v>
                </c:pt>
                <c:pt idx="2">
                  <c:v>17.399999999999999</c:v>
                </c:pt>
                <c:pt idx="3">
                  <c:v>15.2</c:v>
                </c:pt>
                <c:pt idx="4">
                  <c:v>10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>
            <a:defRPr sz="1600">
              <a:solidFill>
                <a:schemeClr val="tx1"/>
              </a:solidFill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r>
              <a:rPr lang="en-US" sz="1400" dirty="0" smtClean="0">
                <a:solidFill>
                  <a:schemeClr val="tx1"/>
                </a:solidFill>
              </a:rPr>
              <a:t>Delivery visits distribution </a:t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by demographic group (%)</a:t>
            </a:r>
            <a:endParaRPr lang="en-US" sz="14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25533393818156819"/>
          <c:y val="5.840304909902949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2141236306397219"/>
          <c:y val="0.25113004534897126"/>
          <c:w val="0.91269371733938676"/>
          <c:h val="0.61275541581424886"/>
        </c:manualLayout>
      </c:layout>
      <c:pieChart>
        <c:varyColors val="1"/>
        <c:ser>
          <c:idx val="1"/>
          <c:order val="0"/>
          <c:tx>
            <c:strRef>
              <c:f>Sheet1!$B$1</c:f>
              <c:strCache>
                <c:ptCount val="1"/>
                <c:pt idx="0">
                  <c:v>Total visits</c:v>
                </c:pt>
              </c:strCache>
            </c:strRef>
          </c:tx>
          <c:spPr>
            <a:solidFill>
              <a:schemeClr val="tx2"/>
            </a:solidFill>
          </c:spPr>
          <c:dPt>
            <c:idx val="0"/>
            <c:bubble3D val="0"/>
            <c:spPr>
              <a:solidFill>
                <a:srgbClr val="8E908F"/>
              </a:solidFill>
            </c:spPr>
          </c:dPt>
          <c:dPt>
            <c:idx val="2"/>
            <c:bubble3D val="0"/>
            <c:spPr>
              <a:solidFill>
                <a:srgbClr val="92D050"/>
              </a:solidFill>
            </c:spPr>
          </c:dPt>
          <c:dPt>
            <c:idx val="3"/>
            <c:bubble3D val="0"/>
            <c:spPr>
              <a:solidFill>
                <a:schemeClr val="accent5"/>
              </a:solidFill>
            </c:spPr>
          </c:dPt>
          <c:dPt>
            <c:idx val="4"/>
            <c:bubble3D val="0"/>
            <c:spPr>
              <a:solidFill>
                <a:srgbClr val="EC7A08"/>
              </a:solidFill>
            </c:spPr>
          </c:dPt>
          <c:dLbls>
            <c:txPr>
              <a:bodyPr/>
              <a:lstStyle/>
              <a:p>
                <a:pPr>
                  <a:defRPr sz="1600" b="1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6</c:f>
              <c:strCache>
                <c:ptCount val="5"/>
                <c:pt idx="0">
                  <c:v>Families</c:v>
                </c:pt>
                <c:pt idx="1">
                  <c:v>16-24s, no kids</c:v>
                </c:pt>
                <c:pt idx="2">
                  <c:v>25-34s, no kids</c:v>
                </c:pt>
                <c:pt idx="3">
                  <c:v>35-49s, no kids</c:v>
                </c:pt>
                <c:pt idx="4">
                  <c:v>50+, no kids</c:v>
                </c:pt>
              </c:strCache>
            </c:strRef>
          </c:cat>
          <c:val>
            <c:numRef>
              <c:f>Sheet1!$B$2:$B$6</c:f>
              <c:numCache>
                <c:formatCode>0</c:formatCode>
                <c:ptCount val="5"/>
                <c:pt idx="0">
                  <c:v>50.1</c:v>
                </c:pt>
                <c:pt idx="1">
                  <c:v>12.5</c:v>
                </c:pt>
                <c:pt idx="2">
                  <c:v>14.5</c:v>
                </c:pt>
                <c:pt idx="3">
                  <c:v>10.1</c:v>
                </c:pt>
                <c:pt idx="4">
                  <c:v>12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180925906951553E-3"/>
          <c:y val="0.14852970139004429"/>
          <c:w val="0.99658190740930486"/>
          <c:h val="0.7817109354225545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QSR</c:v>
                </c:pt>
              </c:strCache>
            </c:strRef>
          </c:tx>
          <c:dLbls>
            <c:dLbl>
              <c:idx val="8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 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3.6395703062369833E-2</c:v>
                </c:pt>
                <c:pt idx="1">
                  <c:v>3.1653569269659787E-2</c:v>
                </c:pt>
                <c:pt idx="2">
                  <c:v>-0.13774570024570021</c:v>
                </c:pt>
                <c:pt idx="3">
                  <c:v>-0.65355481008548866</c:v>
                </c:pt>
                <c:pt idx="4">
                  <c:v>-0.62132994762736082</c:v>
                </c:pt>
                <c:pt idx="5">
                  <c:v>-0.27237710931768166</c:v>
                </c:pt>
                <c:pt idx="6">
                  <c:v>-0.18871099572094807</c:v>
                </c:pt>
                <c:pt idx="7">
                  <c:v>-8.7994648278701182E-2</c:v>
                </c:pt>
                <c:pt idx="8">
                  <c:v>-8.6892296997871155E-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ubs</c:v>
                </c:pt>
              </c:strCache>
            </c:strRef>
          </c:tx>
          <c:dLbls>
            <c:dLbl>
              <c:idx val="8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 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3.485358901269775E-2</c:v>
                </c:pt>
                <c:pt idx="1">
                  <c:v>-9.8998369438620948E-3</c:v>
                </c:pt>
                <c:pt idx="2">
                  <c:v>-0.36298281954429157</c:v>
                </c:pt>
                <c:pt idx="3">
                  <c:v>-1</c:v>
                </c:pt>
                <c:pt idx="4">
                  <c:v>-0.97433509262133911</c:v>
                </c:pt>
                <c:pt idx="5">
                  <c:v>-0.94065225635191507</c:v>
                </c:pt>
                <c:pt idx="6">
                  <c:v>-0.56416321703134242</c:v>
                </c:pt>
                <c:pt idx="7">
                  <c:v>-7.8696498054474651E-2</c:v>
                </c:pt>
                <c:pt idx="8">
                  <c:v>-0.2052662375658279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ll Service</c:v>
                </c:pt>
              </c:strCache>
            </c:strRef>
          </c:tx>
          <c:dLbls>
            <c:dLbl>
              <c:idx val="8"/>
              <c:layout>
                <c:manualLayout>
                  <c:x val="0"/>
                  <c:y val="2.0516982730516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 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2.2786069651741458E-2</c:v>
                </c:pt>
                <c:pt idx="1">
                  <c:v>-3.8064165307232223E-3</c:v>
                </c:pt>
                <c:pt idx="2">
                  <c:v>-0.36491448956038197</c:v>
                </c:pt>
                <c:pt idx="3">
                  <c:v>-0.77567356501366658</c:v>
                </c:pt>
                <c:pt idx="4">
                  <c:v>-0.78682393555811281</c:v>
                </c:pt>
                <c:pt idx="5">
                  <c:v>-0.64339772953594898</c:v>
                </c:pt>
                <c:pt idx="6">
                  <c:v>-0.59973554967888165</c:v>
                </c:pt>
                <c:pt idx="7">
                  <c:v>-0.2068826237983683</c:v>
                </c:pt>
                <c:pt idx="8">
                  <c:v>-0.2522793738173060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Travel &amp; Leisure</c:v>
                </c:pt>
              </c:strCache>
            </c:strRef>
          </c:tx>
          <c:marker>
            <c:symbol val="x"/>
            <c:size val="7"/>
            <c:spPr>
              <a:solidFill>
                <a:schemeClr val="accent4"/>
              </a:solidFill>
            </c:spPr>
          </c:marker>
          <c:dLbls>
            <c:dLbl>
              <c:idx val="8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 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E$2:$E$13</c:f>
              <c:numCache>
                <c:formatCode>0%</c:formatCode>
                <c:ptCount val="12"/>
                <c:pt idx="0">
                  <c:v>1.2966532328719138E-2</c:v>
                </c:pt>
                <c:pt idx="1">
                  <c:v>1.58889446395718E-2</c:v>
                </c:pt>
                <c:pt idx="2">
                  <c:v>-0.43083405986631795</c:v>
                </c:pt>
                <c:pt idx="3">
                  <c:v>-0.94871794871794868</c:v>
                </c:pt>
                <c:pt idx="4">
                  <c:v>-0.9665649076900712</c:v>
                </c:pt>
                <c:pt idx="5">
                  <c:v>-0.94424395525081195</c:v>
                </c:pt>
                <c:pt idx="6">
                  <c:v>-0.77932744459941117</c:v>
                </c:pt>
                <c:pt idx="7">
                  <c:v>-0.54518581081081074</c:v>
                </c:pt>
                <c:pt idx="8">
                  <c:v>-0.51604579906466697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orkplace &amp; Education</c:v>
                </c:pt>
              </c:strCache>
            </c:strRef>
          </c:tx>
          <c:dLbls>
            <c:dLbl>
              <c:idx val="8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 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F$2:$F$13</c:f>
              <c:numCache>
                <c:formatCode>0%</c:formatCode>
                <c:ptCount val="12"/>
                <c:pt idx="0">
                  <c:v>1.0555555555555651E-2</c:v>
                </c:pt>
                <c:pt idx="1">
                  <c:v>1.2804097311139628E-2</c:v>
                </c:pt>
                <c:pt idx="2">
                  <c:v>-0.4503105590062112</c:v>
                </c:pt>
                <c:pt idx="3">
                  <c:v>-0.8964076858813701</c:v>
                </c:pt>
                <c:pt idx="4">
                  <c:v>-0.98787388843977364</c:v>
                </c:pt>
                <c:pt idx="5">
                  <c:v>-0.98805340829234012</c:v>
                </c:pt>
                <c:pt idx="6">
                  <c:v>-0.98804780876494025</c:v>
                </c:pt>
                <c:pt idx="7">
                  <c:v>-0.9890965732087228</c:v>
                </c:pt>
                <c:pt idx="8">
                  <c:v>-0.5892090741876149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24592384"/>
        <c:axId val="1178781376"/>
      </c:lineChart>
      <c:catAx>
        <c:axId val="1224592384"/>
        <c:scaling>
          <c:orientation val="minMax"/>
        </c:scaling>
        <c:delete val="0"/>
        <c:axPos val="b"/>
        <c:majorTickMark val="none"/>
        <c:minorTickMark val="none"/>
        <c:tickLblPos val="low"/>
        <c:txPr>
          <a:bodyPr/>
          <a:lstStyle/>
          <a:p>
            <a:pPr>
              <a:defRPr sz="1000"/>
            </a:pPr>
            <a:endParaRPr lang="en-US"/>
          </a:p>
        </c:txPr>
        <c:crossAx val="1178781376"/>
        <c:crosses val="autoZero"/>
        <c:auto val="1"/>
        <c:lblAlgn val="ctr"/>
        <c:lblOffset val="0"/>
        <c:noMultiLvlLbl val="0"/>
      </c:catAx>
      <c:valAx>
        <c:axId val="1178781376"/>
        <c:scaling>
          <c:orientation val="minMax"/>
          <c:min val="-1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en-US"/>
          </a:p>
        </c:txPr>
        <c:crossAx val="122459238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29726215329839317"/>
          <c:y val="7.8074368880847442E-2"/>
          <c:w val="0.70273784670160688"/>
          <c:h val="8.4134168789178149E-2"/>
        </c:manualLayout>
      </c:layout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530326695726617E-2"/>
          <c:y val="0.15343527291437473"/>
          <c:w val="0.94293934660854672"/>
          <c:h val="0.6664964594046797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</c:spPr>
          <c:invertIfNegative val="0"/>
          <c:dLbls>
            <c:numFmt formatCode="0&quot;%&quot;" sourceLinked="0"/>
            <c:txPr>
              <a:bodyPr/>
              <a:lstStyle/>
              <a:p>
                <a:pPr>
                  <a:defRPr sz="20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4</c:f>
              <c:strCache>
                <c:ptCount val="3"/>
                <c:pt idx="0">
                  <c:v>Before</c:v>
                </c:pt>
                <c:pt idx="1">
                  <c:v>During</c:v>
                </c:pt>
                <c:pt idx="2">
                  <c:v>Plan After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31</c:v>
                </c:pt>
                <c:pt idx="1">
                  <c:v>42</c:v>
                </c:pt>
                <c:pt idx="2">
                  <c:v>3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4"/>
        <c:axId val="1236553728"/>
        <c:axId val="1183863296"/>
      </c:barChart>
      <c:catAx>
        <c:axId val="1236553728"/>
        <c:scaling>
          <c:orientation val="minMax"/>
        </c:scaling>
        <c:delete val="0"/>
        <c:axPos val="b"/>
        <c:majorTickMark val="none"/>
        <c:minorTickMark val="none"/>
        <c:tickLblPos val="nextTo"/>
        <c:crossAx val="1183863296"/>
        <c:crosses val="autoZero"/>
        <c:auto val="1"/>
        <c:lblAlgn val="ctr"/>
        <c:lblOffset val="100"/>
        <c:noMultiLvlLbl val="0"/>
      </c:catAx>
      <c:valAx>
        <c:axId val="11838632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23655372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Q3</c:v>
                </c:pt>
              </c:strCache>
            </c:strRef>
          </c:tx>
          <c:invertIfNegative val="0"/>
          <c:cat>
            <c:strRef>
              <c:f>Sheet1!$A$2:$A$3</c:f>
              <c:strCache>
                <c:ptCount val="2"/>
                <c:pt idx="0">
                  <c:v>I wanted to support my local restaurant</c:v>
                </c:pt>
                <c:pt idx="1">
                  <c:v>Contactless/safety/social distancing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7058085260402287</c:v>
                </c:pt>
                <c:pt idx="1">
                  <c:v>0.2939847077882707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236568576"/>
        <c:axId val="1183866176"/>
      </c:barChart>
      <c:catAx>
        <c:axId val="1236568576"/>
        <c:scaling>
          <c:orientation val="minMax"/>
        </c:scaling>
        <c:delete val="0"/>
        <c:axPos val="l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183866176"/>
        <c:crosses val="autoZero"/>
        <c:auto val="1"/>
        <c:lblAlgn val="ctr"/>
        <c:lblOffset val="100"/>
        <c:noMultiLvlLbl val="0"/>
      </c:catAx>
      <c:valAx>
        <c:axId val="1183866176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12365685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884790179820274E-2"/>
          <c:y val="6.442951286768521E-2"/>
          <c:w val="0.88623041964035942"/>
          <c:h val="0.7219186251101689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    Delivery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C$1</c:f>
              <c:strCache>
                <c:ptCount val="2"/>
                <c:pt idx="0">
                  <c:v>YTD Sep 10</c:v>
                </c:pt>
                <c:pt idx="1">
                  <c:v>YTD Sep 20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10.7</c:v>
                </c:pt>
                <c:pt idx="1">
                  <c:v>19.8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    Drive Thru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C$1</c:f>
              <c:strCache>
                <c:ptCount val="2"/>
                <c:pt idx="0">
                  <c:v>YTD Sep 10</c:v>
                </c:pt>
                <c:pt idx="1">
                  <c:v>YTD Sep 20</c:v>
                </c:pt>
              </c:strCache>
            </c:strRef>
          </c:cat>
          <c:val>
            <c:numRef>
              <c:f>Sheet1!$B$3:$C$3</c:f>
              <c:numCache>
                <c:formatCode>General</c:formatCode>
                <c:ptCount val="2"/>
                <c:pt idx="0">
                  <c:v>6.9</c:v>
                </c:pt>
                <c:pt idx="1">
                  <c:v>7.9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    Grab &amp; Go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C$1</c:f>
              <c:strCache>
                <c:ptCount val="2"/>
                <c:pt idx="0">
                  <c:v>YTD Sep 10</c:v>
                </c:pt>
                <c:pt idx="1">
                  <c:v>YTD Sep 20</c:v>
                </c:pt>
              </c:strCache>
            </c:strRef>
          </c:cat>
          <c:val>
            <c:numRef>
              <c:f>Sheet1!$B$4:$C$4</c:f>
              <c:numCache>
                <c:formatCode>General</c:formatCode>
                <c:ptCount val="2"/>
                <c:pt idx="0">
                  <c:v>57.6</c:v>
                </c:pt>
                <c:pt idx="1">
                  <c:v>57.1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    On premise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C$1</c:f>
              <c:strCache>
                <c:ptCount val="2"/>
                <c:pt idx="0">
                  <c:v>YTD Sep 10</c:v>
                </c:pt>
                <c:pt idx="1">
                  <c:v>YTD Sep 20</c:v>
                </c:pt>
              </c:strCache>
            </c:strRef>
          </c:cat>
          <c:val>
            <c:numRef>
              <c:f>Sheet1!$B$5:$C$5</c:f>
              <c:numCache>
                <c:formatCode>General</c:formatCode>
                <c:ptCount val="2"/>
                <c:pt idx="0">
                  <c:v>24.8</c:v>
                </c:pt>
                <c:pt idx="1">
                  <c:v>15.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1237712384"/>
        <c:axId val="1237117184"/>
      </c:barChart>
      <c:catAx>
        <c:axId val="123771238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237117184"/>
        <c:crosses val="autoZero"/>
        <c:auto val="1"/>
        <c:lblAlgn val="ctr"/>
        <c:lblOffset val="100"/>
        <c:noMultiLvlLbl val="0"/>
      </c:catAx>
      <c:valAx>
        <c:axId val="1237117184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2377123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116247645073897E-2"/>
          <c:y val="6.5095763463336925E-2"/>
          <c:w val="0.87576750470985221"/>
          <c:h val="0.7249608470184323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    Delivery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5.646931604097627E-3"/>
                  <c:y val="-5.32601701063665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C$1</c:f>
              <c:strCache>
                <c:ptCount val="2"/>
                <c:pt idx="0">
                  <c:v>YTD Sep 10</c:v>
                </c:pt>
                <c:pt idx="1">
                  <c:v>YTD Sep 20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2.6</c:v>
                </c:pt>
                <c:pt idx="1">
                  <c:v>12.1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    Drive Thru</c:v>
                </c:pt>
              </c:strCache>
            </c:strRef>
          </c:tx>
          <c:invertIfNegative val="0"/>
          <c:dLbls>
            <c:dLbl>
              <c:idx val="1"/>
              <c:layout>
                <c:manualLayout>
                  <c:x val="5.646931604097627E-3"/>
                  <c:y val="0.1211977197651054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C$1</c:f>
              <c:strCache>
                <c:ptCount val="2"/>
                <c:pt idx="0">
                  <c:v>YTD Sep 10</c:v>
                </c:pt>
                <c:pt idx="1">
                  <c:v>YTD Sep 20</c:v>
                </c:pt>
              </c:strCache>
            </c:strRef>
          </c:cat>
          <c:val>
            <c:numRef>
              <c:f>Sheet1!$B$3:$C$3</c:f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    Grab &amp; Go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5.646931604097627E-3"/>
                  <c:y val="-7.69313568203072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C$1</c:f>
              <c:strCache>
                <c:ptCount val="2"/>
                <c:pt idx="0">
                  <c:v>YTD Sep 10</c:v>
                </c:pt>
                <c:pt idx="1">
                  <c:v>YTD Sep 20</c:v>
                </c:pt>
              </c:strCache>
            </c:strRef>
          </c:cat>
          <c:val>
            <c:numRef>
              <c:f>Sheet1!$B$4:$C$4</c:f>
              <c:numCache>
                <c:formatCode>General</c:formatCode>
                <c:ptCount val="2"/>
                <c:pt idx="0">
                  <c:v>15.2</c:v>
                </c:pt>
                <c:pt idx="1">
                  <c:v>21.2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    On premise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C$1</c:f>
              <c:strCache>
                <c:ptCount val="2"/>
                <c:pt idx="0">
                  <c:v>YTD Sep 10</c:v>
                </c:pt>
                <c:pt idx="1">
                  <c:v>YTD Sep 20</c:v>
                </c:pt>
              </c:strCache>
            </c:strRef>
          </c:cat>
          <c:val>
            <c:numRef>
              <c:f>Sheet1!$B$5:$C$5</c:f>
              <c:numCache>
                <c:formatCode>General</c:formatCode>
                <c:ptCount val="2"/>
                <c:pt idx="0">
                  <c:v>80.7</c:v>
                </c:pt>
                <c:pt idx="1">
                  <c:v>64.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1240642048"/>
        <c:axId val="1237121216"/>
      </c:barChart>
      <c:catAx>
        <c:axId val="1240642048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237121216"/>
        <c:crosses val="autoZero"/>
        <c:auto val="1"/>
        <c:lblAlgn val="ctr"/>
        <c:lblOffset val="100"/>
        <c:noMultiLvlLbl val="0"/>
      </c:catAx>
      <c:valAx>
        <c:axId val="1237121216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2406420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    Delivery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5.646931604097627E-3"/>
                  <c:y val="-3.54332575997827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1293863208195254E-2"/>
                  <c:y val="-3.54332575997827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C$1</c:f>
              <c:strCache>
                <c:ptCount val="2"/>
                <c:pt idx="0">
                  <c:v>YTD Sep 10</c:v>
                </c:pt>
                <c:pt idx="1">
                  <c:v>YTD Sep 20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1.2</c:v>
                </c:pt>
                <c:pt idx="1">
                  <c:v>1.5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    Drive Thru</c:v>
                </c:pt>
              </c:strCache>
            </c:strRef>
          </c:tx>
          <c:invertIfNegative val="0"/>
          <c:dLbls>
            <c:dLbl>
              <c:idx val="1"/>
              <c:layout>
                <c:manualLayout>
                  <c:x val="5.646931604097627E-3"/>
                  <c:y val="0.1211977197651054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C$1</c:f>
              <c:strCache>
                <c:ptCount val="2"/>
                <c:pt idx="0">
                  <c:v>YTD Sep 10</c:v>
                </c:pt>
                <c:pt idx="1">
                  <c:v>YTD Sep 20</c:v>
                </c:pt>
              </c:strCache>
            </c:strRef>
          </c:cat>
          <c:val>
            <c:numRef>
              <c:f>Sheet1!$B$3:$C$3</c:f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    Grab &amp; Go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5.646931604097627E-3"/>
                  <c:y val="-0.1122053157326453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-7.67720581328626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C$1</c:f>
              <c:strCache>
                <c:ptCount val="2"/>
                <c:pt idx="0">
                  <c:v>YTD Sep 10</c:v>
                </c:pt>
                <c:pt idx="1">
                  <c:v>YTD Sep 20</c:v>
                </c:pt>
              </c:strCache>
            </c:strRef>
          </c:cat>
          <c:val>
            <c:numRef>
              <c:f>Sheet1!$B$4:$C$4</c:f>
              <c:numCache>
                <c:formatCode>General</c:formatCode>
                <c:ptCount val="2"/>
                <c:pt idx="0">
                  <c:v>8</c:v>
                </c:pt>
                <c:pt idx="1">
                  <c:v>10.7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    On premise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C$1</c:f>
              <c:strCache>
                <c:ptCount val="2"/>
                <c:pt idx="0">
                  <c:v>YTD Sep 10</c:v>
                </c:pt>
                <c:pt idx="1">
                  <c:v>YTD Sep 20</c:v>
                </c:pt>
              </c:strCache>
            </c:strRef>
          </c:cat>
          <c:val>
            <c:numRef>
              <c:f>Sheet1!$B$5:$C$5</c:f>
              <c:numCache>
                <c:formatCode>General</c:formatCode>
                <c:ptCount val="2"/>
                <c:pt idx="0">
                  <c:v>90.3</c:v>
                </c:pt>
                <c:pt idx="1">
                  <c:v>87.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1237711872"/>
        <c:axId val="1237117760"/>
      </c:barChart>
      <c:catAx>
        <c:axId val="1237711872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237117760"/>
        <c:crosses val="autoZero"/>
        <c:auto val="1"/>
        <c:lblAlgn val="ctr"/>
        <c:lblOffset val="100"/>
        <c:noMultiLvlLbl val="0"/>
      </c:catAx>
      <c:valAx>
        <c:axId val="1237117760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2377118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defRPr lang="en-US" sz="14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ivery visits distribution </a:t>
            </a:r>
            <a:br>
              <a: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y daypart (%)</a:t>
            </a:r>
            <a:endParaRPr lang="en-US" sz="1400" b="1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40147016626584675"/>
          <c:y val="6.237772716731383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7754566324513102"/>
          <c:y val="0.25112989408211228"/>
          <c:w val="0.91269371733938676"/>
          <c:h val="0.61275541581424886"/>
        </c:manualLayout>
      </c:layout>
      <c:pieChart>
        <c:varyColors val="1"/>
        <c:ser>
          <c:idx val="1"/>
          <c:order val="0"/>
          <c:tx>
            <c:strRef>
              <c:f>Sheet1!$B$1</c:f>
              <c:strCache>
                <c:ptCount val="1"/>
                <c:pt idx="0">
                  <c:v>Total visits</c:v>
                </c:pt>
              </c:strCache>
            </c:strRef>
          </c:tx>
          <c:spPr>
            <a:solidFill>
              <a:schemeClr val="tx2"/>
            </a:solidFill>
          </c:spPr>
          <c:dPt>
            <c:idx val="0"/>
            <c:bubble3D val="0"/>
            <c:spPr>
              <a:solidFill>
                <a:schemeClr val="bg1"/>
              </a:solidFill>
            </c:spPr>
          </c:dPt>
          <c:dPt>
            <c:idx val="2"/>
            <c:bubble3D val="0"/>
            <c:spPr>
              <a:solidFill>
                <a:srgbClr val="92D050"/>
              </a:solidFill>
            </c:spPr>
          </c:dPt>
          <c:dPt>
            <c:idx val="3"/>
            <c:bubble3D val="0"/>
            <c:spPr>
              <a:solidFill>
                <a:schemeClr val="accent5"/>
              </a:solidFill>
            </c:spPr>
          </c:dPt>
          <c:dLbls>
            <c:txPr>
              <a:bodyPr/>
              <a:lstStyle/>
              <a:p>
                <a:pPr>
                  <a:defRPr sz="1600" b="1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5</c:f>
              <c:strCache>
                <c:ptCount val="4"/>
                <c:pt idx="0">
                  <c:v>Breakfast</c:v>
                </c:pt>
                <c:pt idx="1">
                  <c:v>Lunch</c:v>
                </c:pt>
                <c:pt idx="2">
                  <c:v>Dinner</c:v>
                </c:pt>
                <c:pt idx="3">
                  <c:v>Snacking</c:v>
                </c:pt>
              </c:strCache>
            </c:strRef>
          </c:cat>
          <c:val>
            <c:numRef>
              <c:f>Sheet1!$B$2:$B$5</c:f>
              <c:numCache>
                <c:formatCode>0</c:formatCode>
                <c:ptCount val="4"/>
                <c:pt idx="0">
                  <c:v>7.6</c:v>
                </c:pt>
                <c:pt idx="1">
                  <c:v>11.4</c:v>
                </c:pt>
                <c:pt idx="2">
                  <c:v>65.099999999999994</c:v>
                </c:pt>
                <c:pt idx="3">
                  <c:v>15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/>
      <c:overlay val="0"/>
      <c:txPr>
        <a:bodyPr/>
        <a:lstStyle/>
        <a:p>
          <a:pPr>
            <a:defRPr lang="en-US" sz="1400" b="1" kern="120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defRPr lang="en-US" sz="14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ivery visits distribution </a:t>
            </a:r>
            <a:br>
              <a:rPr lang="en-US" sz="14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4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y daypart (%)</a:t>
            </a:r>
            <a:endParaRPr lang="en-US" sz="1400" b="1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5533393818156819"/>
          <c:y val="5.840304909902949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2141236306397219"/>
          <c:y val="0.25113004534897126"/>
          <c:w val="0.91269371733938676"/>
          <c:h val="0.61275541581424886"/>
        </c:manualLayout>
      </c:layout>
      <c:pieChart>
        <c:varyColors val="1"/>
        <c:ser>
          <c:idx val="1"/>
          <c:order val="0"/>
          <c:tx>
            <c:strRef>
              <c:f>Sheet1!$B$1</c:f>
              <c:strCache>
                <c:ptCount val="1"/>
                <c:pt idx="0">
                  <c:v>Total visits</c:v>
                </c:pt>
              </c:strCache>
            </c:strRef>
          </c:tx>
          <c:spPr>
            <a:solidFill>
              <a:schemeClr val="tx2"/>
            </a:solidFill>
          </c:spPr>
          <c:dPt>
            <c:idx val="0"/>
            <c:bubble3D val="0"/>
            <c:spPr>
              <a:solidFill>
                <a:schemeClr val="bg1"/>
              </a:solidFill>
            </c:spPr>
          </c:dPt>
          <c:dPt>
            <c:idx val="2"/>
            <c:bubble3D val="0"/>
            <c:spPr>
              <a:solidFill>
                <a:srgbClr val="92D050"/>
              </a:solidFill>
            </c:spPr>
          </c:dPt>
          <c:dPt>
            <c:idx val="3"/>
            <c:bubble3D val="0"/>
            <c:spPr>
              <a:solidFill>
                <a:schemeClr val="accent5"/>
              </a:solidFill>
            </c:spPr>
          </c:dPt>
          <c:dLbls>
            <c:txPr>
              <a:bodyPr/>
              <a:lstStyle/>
              <a:p>
                <a:pPr>
                  <a:defRPr sz="1600" b="1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5</c:f>
              <c:strCache>
                <c:ptCount val="4"/>
                <c:pt idx="0">
                  <c:v>Breakfast</c:v>
                </c:pt>
                <c:pt idx="1">
                  <c:v>Lunch</c:v>
                </c:pt>
                <c:pt idx="2">
                  <c:v>Dinner</c:v>
                </c:pt>
                <c:pt idx="3">
                  <c:v>Snacking</c:v>
                </c:pt>
              </c:strCache>
            </c:strRef>
          </c:cat>
          <c:val>
            <c:numRef>
              <c:f>Sheet1!$B$2:$B$5</c:f>
              <c:numCache>
                <c:formatCode>0</c:formatCode>
                <c:ptCount val="4"/>
                <c:pt idx="0">
                  <c:v>7.2</c:v>
                </c:pt>
                <c:pt idx="1">
                  <c:v>13</c:v>
                </c:pt>
                <c:pt idx="2">
                  <c:v>67.3</c:v>
                </c:pt>
                <c:pt idx="3">
                  <c:v>12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0FC439C-D80F-4478-BD1F-CDE4CBE68E6B}" type="datetimeFigureOut">
              <a:rPr lang="en-US" smtClean="0"/>
              <a:t>11/2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7194678-5327-410F-913C-C256F1E5930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l" descr="Document classification: Internal Only"/>
          <p:cNvSpPr txBox="1"/>
          <p:nvPr/>
        </p:nvSpPr>
        <p:spPr>
          <a:xfrm>
            <a:off x="0" y="9123384"/>
            <a:ext cx="7010400" cy="203389"/>
          </a:xfrm>
          <a:prstGeom prst="rect">
            <a:avLst/>
          </a:prstGeom>
          <a:noFill/>
        </p:spPr>
        <p:txBody>
          <a:bodyPr vert="horz" lIns="93177" tIns="46589" rIns="93177" bIns="46589" rtlCol="0">
            <a:spAutoFit/>
          </a:bodyPr>
          <a:lstStyle/>
          <a:p>
            <a:r>
              <a:rPr lang="en-US" sz="700">
                <a:solidFill>
                  <a:srgbClr val="6C6C6C"/>
                </a:solidFill>
                <a:latin typeface="arial"/>
              </a:rPr>
              <a:t>Document classification: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975118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A0EEA83-E5D1-F640-AAA9-634B95B791B9}" type="datetimeFigureOut">
              <a:rPr lang="en-US" smtClean="0"/>
              <a:t>11/2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4086F3B-034F-F840-A8DC-B3B3729FF4F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l" descr="Document classification: Internal Only"/>
          <p:cNvSpPr txBox="1"/>
          <p:nvPr/>
        </p:nvSpPr>
        <p:spPr>
          <a:xfrm>
            <a:off x="0" y="9123384"/>
            <a:ext cx="7010400" cy="203389"/>
          </a:xfrm>
          <a:prstGeom prst="rect">
            <a:avLst/>
          </a:prstGeom>
          <a:noFill/>
        </p:spPr>
        <p:txBody>
          <a:bodyPr vert="horz" lIns="93177" tIns="46589" rIns="93177" bIns="46589" rtlCol="0">
            <a:spAutoFit/>
          </a:bodyPr>
          <a:lstStyle/>
          <a:p>
            <a:pPr algn="l"/>
            <a:r>
              <a:rPr lang="en-US" sz="700" b="0" i="0" u="none" baseline="0" smtClean="0">
                <a:solidFill>
                  <a:srgbClr val="6C6C6C"/>
                </a:solidFill>
                <a:latin typeface="arial"/>
              </a:rPr>
              <a:t>Document classification: Internal Only</a:t>
            </a:r>
            <a:endParaRPr lang="en-US" sz="700" b="0" i="0" u="none" baseline="0">
              <a:solidFill>
                <a:srgbClr val="6C6C6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475041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Key drivers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1474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4150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4150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4774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1020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1020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26363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26363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030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Key drivers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1474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9219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102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1027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91"/>
            <a:r>
              <a:rPr lang="en-GB" dirty="0">
                <a:solidFill>
                  <a:prstClr val="black"/>
                </a:solidFill>
              </a:rPr>
              <a:t>WALES – 17 day shutdown from 23 Oct with non-essential stores, restaurants, bars and pubs closed. This is coming to an end, from Monday 9</a:t>
            </a:r>
            <a:r>
              <a:rPr lang="en-GB" baseline="30000" dirty="0">
                <a:solidFill>
                  <a:prstClr val="black"/>
                </a:solidFill>
              </a:rPr>
              <a:t>th</a:t>
            </a:r>
            <a:r>
              <a:rPr lang="en-GB" dirty="0">
                <a:solidFill>
                  <a:prstClr val="black"/>
                </a:solidFill>
              </a:rPr>
              <a:t> of November new rules apply </a:t>
            </a:r>
            <a:endParaRPr lang="en-US" dirty="0">
              <a:solidFill>
                <a:prstClr val="black"/>
              </a:solidFill>
            </a:endParaRPr>
          </a:p>
          <a:p>
            <a:pPr defTabSz="457191"/>
            <a:r>
              <a:rPr lang="en-US" dirty="0">
                <a:solidFill>
                  <a:prstClr val="black"/>
                </a:solidFill>
              </a:rPr>
              <a:t>N. IRELAND – restrictions from 16 Oct to 13 Nov stores remain open but restaurants, bars coffee shops open for takeaway or delivery only.</a:t>
            </a:r>
          </a:p>
          <a:p>
            <a:pPr defTabSz="457191"/>
            <a:r>
              <a:rPr lang="en-US" dirty="0">
                <a:solidFill>
                  <a:prstClr val="black"/>
                </a:solidFill>
              </a:rPr>
              <a:t>SCOTLAND – 5 Tier system introduced on 2 Nov. Tier 4 will include non-essential stores to close but no city at this point yet. Tier 3 involves bars &amp; restaurants to close.</a:t>
            </a:r>
          </a:p>
          <a:p>
            <a:pPr defTabSz="457191"/>
            <a:r>
              <a:rPr lang="en-US" dirty="0">
                <a:solidFill>
                  <a:prstClr val="black"/>
                </a:solidFill>
              </a:rPr>
              <a:t>ENGLAND – lockdown from 5 Nov to 2 Dec and all non-essential stores to close (click &amp; collect option open) but restaurants, bars and pubs closed (takeaway, drive thru and delivery still possible).</a:t>
            </a:r>
          </a:p>
          <a:p>
            <a:r>
              <a:rPr lang="en-GB" dirty="0"/>
              <a:t>Premises may sell food and soft drinks but not alcohol between the hours of 05:00 and 22:00 for take-away. The purchaser may enter the premises.</a:t>
            </a:r>
          </a:p>
          <a:p>
            <a:r>
              <a:rPr lang="en-GB" dirty="0"/>
              <a:t>• Delivery can continue outside of those hours and buyers may not enter the premises from which they are buying the product.</a:t>
            </a:r>
          </a:p>
          <a:p>
            <a:r>
              <a:rPr lang="en-GB" dirty="0"/>
              <a:t>• Alcohol may be sold – but it must be pre-ordered and the purchaser must not enter the premises.</a:t>
            </a:r>
          </a:p>
          <a:p>
            <a:pPr defTabSz="457191"/>
            <a:endParaRPr lang="en-US" dirty="0">
              <a:solidFill>
                <a:prstClr val="black"/>
              </a:solidFill>
            </a:endParaRP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4464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03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8030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7942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086F3B-034F-F840-A8DC-B3B3729FF4F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8385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1.xml"/></Relationships>
</file>

<file path=ppt/slideLayouts/_rels/slideLayout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1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8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8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3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8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9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9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52984"/>
          </a:xfrm>
          <a:prstGeom prst="rect">
            <a:avLst/>
          </a:prstGeom>
        </p:spPr>
      </p:pic>
      <p:pic>
        <p:nvPicPr>
          <p:cNvPr id="16" name="Picture 15" descr="NPD_logo_RGB_Reverse_300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6091" y="3769599"/>
            <a:ext cx="914400" cy="9144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7213" y="1504950"/>
            <a:ext cx="6400800" cy="515541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>
                <a:solidFill>
                  <a:srgbClr val="FFFFFF"/>
                </a:solidFill>
              </a:defRPr>
            </a:lvl1pPr>
            <a:lvl2pPr marL="341313" indent="0">
              <a:buNone/>
              <a:defRPr>
                <a:solidFill>
                  <a:srgbClr val="FFFFFF"/>
                </a:solidFill>
              </a:defRPr>
            </a:lvl2pPr>
            <a:lvl3pPr marL="627062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Subhead of Presentation can go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7213" y="731887"/>
            <a:ext cx="6400800" cy="729763"/>
          </a:xfrm>
        </p:spPr>
        <p:txBody>
          <a:bodyPr wrap="square" lIns="0" tIns="0" rIns="0" bIns="0" anchor="t" anchorCtr="0"/>
          <a:lstStyle>
            <a:lvl1pPr>
              <a:lnSpc>
                <a:spcPct val="80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FFFFFF"/>
                </a:solidFill>
              </a:rPr>
              <a:t>Click To Add Title of Present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557214" y="4369078"/>
            <a:ext cx="279239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Arial" charset="0"/>
                <a:ea typeface="ＭＳ Ｐゴシック" charset="0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chemeClr val="bg1"/>
                </a:solidFill>
                <a:latin typeface="+mn-lt"/>
              </a:rPr>
              <a:t>Copyright 2020. The NPD Group, Inc. All Rights Reserved. This presentation is </a:t>
            </a:r>
            <a:r>
              <a:rPr lang="en-US" sz="800" b="1" dirty="0" smtClean="0">
                <a:solidFill>
                  <a:schemeClr val="bg1"/>
                </a:solidFill>
                <a:latin typeface="+mn-lt"/>
              </a:rPr>
              <a:t>proprietary and confidential</a:t>
            </a:r>
            <a:r>
              <a:rPr lang="en-US" sz="800" dirty="0" smtClean="0">
                <a:solidFill>
                  <a:schemeClr val="bg1"/>
                </a:solidFill>
                <a:latin typeface="+mn-lt"/>
              </a:rPr>
              <a:t> and may not be disclosed in any manner, in whole or in part, to any third party without the express written consent of NPD.</a:t>
            </a:r>
            <a:endParaRPr lang="en-US" sz="7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214" y="3933570"/>
            <a:ext cx="2468562" cy="276225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Date (Optional)</a:t>
            </a:r>
          </a:p>
        </p:txBody>
      </p:sp>
    </p:spTree>
    <p:extLst>
      <p:ext uri="{BB962C8B-B14F-4D97-AF65-F5344CB8AC3E}">
        <p14:creationId xmlns:p14="http://schemas.microsoft.com/office/powerpoint/2010/main" val="4067422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1231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25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1231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111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none"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2195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56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656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 hasCustomPrompt="1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 hasCustomPrompt="1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 hasCustomPrompt="1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355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03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69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831105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998558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270860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559493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none"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2195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809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hon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7211501" y="1568584"/>
            <a:ext cx="1340761" cy="240583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5"/>
            <a:ext cx="6244740" cy="265176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E5E2FCC6-9731-48B8-B2A2-39E9FD0F42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3362" y="1073899"/>
            <a:ext cx="1699776" cy="33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428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ptop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="" xmlns:a16="http://schemas.microsoft.com/office/drawing/2014/main" id="{69D3E401-F6DF-4A44-858C-E9410373BE6E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194050" y="1489753"/>
            <a:ext cx="3949950" cy="24783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  Picture</a:t>
            </a:r>
            <a:endParaRPr lang="en-US" dirty="0"/>
          </a:p>
        </p:txBody>
      </p:sp>
      <p:pic>
        <p:nvPicPr>
          <p:cNvPr id="3" name="Picture 2" descr="A picture containing electronics, display&#10;&#10;Description generated with very high confidence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6060" y="1319842"/>
            <a:ext cx="4567940" cy="3019246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</p:spPr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89753"/>
            <a:ext cx="4374815" cy="2478024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3997892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4"/>
            <a:ext cx="4059936" cy="2474601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6357922" y="1490674"/>
            <a:ext cx="1277283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Picture Placeholder 11"/>
          <p:cNvSpPr>
            <a:spLocks noGrp="1" noChangeAspect="1"/>
          </p:cNvSpPr>
          <p:nvPr>
            <p:ph type="pic" sz="quarter" idx="39"/>
          </p:nvPr>
        </p:nvSpPr>
        <p:spPr>
          <a:xfrm>
            <a:off x="484912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40"/>
          </p:nvPr>
        </p:nvSpPr>
        <p:spPr>
          <a:xfrm>
            <a:off x="786671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498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411480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672584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672584" y="1664884"/>
            <a:ext cx="4059936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Second Chart Goes Her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1664884"/>
            <a:ext cx="4057069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First Chart Goes He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41256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5479015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01194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786408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01194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33" hasCustomPrompt="1"/>
          </p:nvPr>
        </p:nvSpPr>
        <p:spPr>
          <a:xfrm>
            <a:off x="717162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34" hasCustomPrompt="1"/>
          </p:nvPr>
        </p:nvSpPr>
        <p:spPr>
          <a:xfrm>
            <a:off x="209380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35" hasCustomPrompt="1"/>
          </p:nvPr>
        </p:nvSpPr>
        <p:spPr>
          <a:xfrm>
            <a:off x="717162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209380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786408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5479015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40" name="Text Placeholder 12"/>
          <p:cNvSpPr>
            <a:spLocks noGrp="1"/>
          </p:cNvSpPr>
          <p:nvPr>
            <p:ph type="body" sz="quarter" idx="40"/>
          </p:nvPr>
        </p:nvSpPr>
        <p:spPr>
          <a:xfrm>
            <a:off x="401194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12"/>
          <p:cNvSpPr>
            <a:spLocks noGrp="1"/>
          </p:cNvSpPr>
          <p:nvPr>
            <p:ph type="body" sz="quarter" idx="41"/>
          </p:nvPr>
        </p:nvSpPr>
        <p:spPr>
          <a:xfrm>
            <a:off x="717162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42"/>
          </p:nvPr>
        </p:nvSpPr>
        <p:spPr>
          <a:xfrm>
            <a:off x="209380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12"/>
          <p:cNvSpPr>
            <a:spLocks noGrp="1"/>
          </p:cNvSpPr>
          <p:nvPr>
            <p:ph type="body" sz="quarter" idx="43"/>
          </p:nvPr>
        </p:nvSpPr>
        <p:spPr>
          <a:xfrm>
            <a:off x="3786408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12"/>
          <p:cNvSpPr>
            <a:spLocks noGrp="1"/>
          </p:cNvSpPr>
          <p:nvPr>
            <p:ph type="body" sz="quarter" idx="44"/>
          </p:nvPr>
        </p:nvSpPr>
        <p:spPr>
          <a:xfrm>
            <a:off x="5479015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401194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717162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209380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3786408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51" hasCustomPrompt="1"/>
          </p:nvPr>
        </p:nvSpPr>
        <p:spPr>
          <a:xfrm>
            <a:off x="5479015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52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7301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QUESTIONS</a:t>
            </a:r>
            <a:r>
              <a:rPr lang="en-US" sz="5400" b="0" dirty="0" smtClean="0">
                <a:solidFill>
                  <a:srgbClr val="0078BE"/>
                </a:solidFill>
              </a:rPr>
              <a:t>?</a:t>
            </a:r>
            <a:endParaRPr lang="en-US" sz="2800" b="0" dirty="0">
              <a:solidFill>
                <a:srgbClr val="0078B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14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APPENDIX</a:t>
            </a:r>
            <a:endParaRPr lang="en-US" sz="2800" b="0" dirty="0">
              <a:solidFill>
                <a:srgbClr val="0051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11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373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4500" y="1197769"/>
            <a:ext cx="8321040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rgbClr val="8E908F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560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112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8149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chemeClr val="accent1">
              <a:alpha val="75000"/>
            </a:scheme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10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chemeClr val="bg2">
              <a:alpha val="60000"/>
            </a:scheme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505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55982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55950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320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9211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275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0183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indent="0">
              <a:buNone/>
              <a:defRPr sz="900"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131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882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 hasCustomPrompt="1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 hasCustomPrompt="1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 hasCustomPrompt="1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1844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171166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264710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51546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  <a:p>
            <a:pPr lvl="0"/>
            <a:endParaRPr lang="en-US" dirty="0" smtClean="0"/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19379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E908F"/>
                </a:solidFill>
              </a:rPr>
              <a:t>?</a:t>
            </a:r>
            <a:endParaRPr lang="en-US" sz="2800" b="0" dirty="0">
              <a:solidFill>
                <a:srgbClr val="8E908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0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264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61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5115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chemeClr val="accent2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8086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81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565A5C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65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482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565A5C">
              <a:alpha val="60000"/>
            </a:srgb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799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530460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240549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2C341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14300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37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85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11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37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8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61870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7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735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039941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72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81013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solidFill>
              <a:srgbClr val="56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72067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163749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2C341"/>
                </a:solidFill>
              </a:rPr>
              <a:t>?</a:t>
            </a:r>
            <a:endParaRPr lang="en-US" sz="2800" b="0" dirty="0">
              <a:solidFill>
                <a:srgbClr val="82C34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323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782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220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yl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660852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411869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Slide layout"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="" xmlns:a16="http://schemas.microsoft.com/office/drawing/2014/main" id="{AF5DEDB2-78E8-45EC-AB12-C2290127F53E}"/>
              </a:ext>
            </a:extLst>
          </p:cNvPr>
          <p:cNvSpPr/>
          <p:nvPr userDrawn="1"/>
        </p:nvSpPr>
        <p:spPr>
          <a:xfrm rot="18900000">
            <a:off x="2437817" y="-1492038"/>
            <a:ext cx="8127573" cy="8127575"/>
          </a:xfrm>
          <a:custGeom>
            <a:avLst/>
            <a:gdLst>
              <a:gd name="connsiteX0" fmla="*/ 4849337 w 10836764"/>
              <a:gd name="connsiteY0" fmla="*/ 0 h 10836766"/>
              <a:gd name="connsiteX1" fmla="*/ 10836764 w 10836764"/>
              <a:gd name="connsiteY1" fmla="*/ 5987428 h 10836766"/>
              <a:gd name="connsiteX2" fmla="*/ 5987426 w 10836764"/>
              <a:gd name="connsiteY2" fmla="*/ 10836766 h 10836766"/>
              <a:gd name="connsiteX3" fmla="*/ 1 w 10836764"/>
              <a:gd name="connsiteY3" fmla="*/ 4849340 h 10836766"/>
              <a:gd name="connsiteX4" fmla="*/ 0 w 10836764"/>
              <a:gd name="connsiteY4" fmla="*/ 1529113 h 10836766"/>
              <a:gd name="connsiteX5" fmla="*/ 1529113 w 10836764"/>
              <a:gd name="connsiteY5" fmla="*/ 0 h 10836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36764" h="10836766">
                <a:moveTo>
                  <a:pt x="4849337" y="0"/>
                </a:moveTo>
                <a:lnTo>
                  <a:pt x="10836764" y="5987428"/>
                </a:lnTo>
                <a:lnTo>
                  <a:pt x="5987426" y="10836766"/>
                </a:lnTo>
                <a:lnTo>
                  <a:pt x="1" y="4849340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89000">
                <a:schemeClr val="accent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E769B23C-815D-4713-8F2F-BE8E52CBCEEB}"/>
              </a:ext>
            </a:extLst>
          </p:cNvPr>
          <p:cNvSpPr/>
          <p:nvPr userDrawn="1"/>
        </p:nvSpPr>
        <p:spPr>
          <a:xfrm rot="18900000">
            <a:off x="8517299" y="1426573"/>
            <a:ext cx="2330225" cy="2330225"/>
          </a:xfrm>
          <a:custGeom>
            <a:avLst/>
            <a:gdLst>
              <a:gd name="connsiteX0" fmla="*/ 3106966 w 3106966"/>
              <a:gd name="connsiteY0" fmla="*/ 0 h 3106966"/>
              <a:gd name="connsiteX1" fmla="*/ 1 w 3106966"/>
              <a:gd name="connsiteY1" fmla="*/ 3106966 h 3106966"/>
              <a:gd name="connsiteX2" fmla="*/ 0 w 3106966"/>
              <a:gd name="connsiteY2" fmla="*/ 1529113 h 3106966"/>
              <a:gd name="connsiteX3" fmla="*/ 1529113 w 3106966"/>
              <a:gd name="connsiteY3" fmla="*/ 0 h 3106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6966" h="3106966">
                <a:moveTo>
                  <a:pt x="3106966" y="0"/>
                </a:moveTo>
                <a:lnTo>
                  <a:pt x="1" y="3106966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2443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662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chemeClr val="accent4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chemeClr val="tx2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chemeClr val="tx2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392759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="" xmlns:a16="http://schemas.microsoft.com/office/drawing/2014/main" id="{B3CA5F7E-D45F-4887-AF9C-BB7E27A9C9CE}"/>
              </a:ext>
            </a:extLst>
          </p:cNvPr>
          <p:cNvSpPr/>
          <p:nvPr userDrawn="1"/>
        </p:nvSpPr>
        <p:spPr>
          <a:xfrm>
            <a:off x="5421090" y="1407112"/>
            <a:ext cx="3240000" cy="32400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" name="그림 개체 틀 5">
            <a:extLst>
              <a:ext uri="{FF2B5EF4-FFF2-40B4-BE49-F238E27FC236}">
                <a16:creationId xmlns="" xmlns:a16="http://schemas.microsoft.com/office/drawing/2014/main" id="{1C677DB5-A9F3-459B-9D51-37160E08512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93016" y="547007"/>
            <a:ext cx="3736584" cy="373658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685800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5712552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4">
            <a:extLst>
              <a:ext uri="{FF2B5EF4-FFF2-40B4-BE49-F238E27FC236}">
                <a16:creationId xmlns="" xmlns:a16="http://schemas.microsoft.com/office/drawing/2014/main" id="{C3CDBC2D-C9C0-4D36-A0F9-7EDE3B294276}"/>
              </a:ext>
            </a:extLst>
          </p:cNvPr>
          <p:cNvSpPr/>
          <p:nvPr userDrawn="1"/>
        </p:nvSpPr>
        <p:spPr>
          <a:xfrm>
            <a:off x="2659899" y="453912"/>
            <a:ext cx="5804833" cy="42406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694249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763651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2833053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6" name="Rectangle 48">
            <a:extLst>
              <a:ext uri="{FF2B5EF4-FFF2-40B4-BE49-F238E27FC236}">
                <a16:creationId xmlns="" xmlns:a16="http://schemas.microsoft.com/office/drawing/2014/main" id="{7877AA66-AAFD-429C-B217-380BEF1ADDE2}"/>
              </a:ext>
            </a:extLst>
          </p:cNvPr>
          <p:cNvSpPr/>
          <p:nvPr userDrawn="1"/>
        </p:nvSpPr>
        <p:spPr>
          <a:xfrm>
            <a:off x="2833053" y="2743256"/>
            <a:ext cx="1620000" cy="48600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="" xmlns:a16="http://schemas.microsoft.com/office/drawing/2014/main" id="{852C85C1-7D9E-4F23-85EA-6A451FF0BEF6}"/>
              </a:ext>
            </a:extLst>
          </p:cNvPr>
          <p:cNvSpPr/>
          <p:nvPr userDrawn="1"/>
        </p:nvSpPr>
        <p:spPr>
          <a:xfrm>
            <a:off x="4763651" y="2735528"/>
            <a:ext cx="1620000" cy="486000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9" name="Rectangle 20">
            <a:extLst>
              <a:ext uri="{FF2B5EF4-FFF2-40B4-BE49-F238E27FC236}">
                <a16:creationId xmlns="" xmlns:a16="http://schemas.microsoft.com/office/drawing/2014/main" id="{E05C1512-E9F1-4355-8FF9-6A6F0DFFCB7B}"/>
              </a:ext>
            </a:extLst>
          </p:cNvPr>
          <p:cNvSpPr/>
          <p:nvPr userDrawn="1"/>
        </p:nvSpPr>
        <p:spPr>
          <a:xfrm>
            <a:off x="6694249" y="2743256"/>
            <a:ext cx="1620000" cy="48600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76480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="" xmlns:a16="http://schemas.microsoft.com/office/drawing/2014/main" id="{2760AC20-0645-4AE6-BC4F-285B18B690B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834742" y="1378743"/>
            <a:ext cx="6309259" cy="3050383"/>
          </a:xfrm>
          <a:custGeom>
            <a:avLst/>
            <a:gdLst>
              <a:gd name="connsiteX0" fmla="*/ 0 w 8412345"/>
              <a:gd name="connsiteY0" fmla="*/ 0 h 4067177"/>
              <a:gd name="connsiteX1" fmla="*/ 8412345 w 8412345"/>
              <a:gd name="connsiteY1" fmla="*/ 0 h 4067177"/>
              <a:gd name="connsiteX2" fmla="*/ 8412345 w 8412345"/>
              <a:gd name="connsiteY2" fmla="*/ 4067177 h 4067177"/>
              <a:gd name="connsiteX3" fmla="*/ 1452936 w 8412345"/>
              <a:gd name="connsiteY3" fmla="*/ 4067177 h 4067177"/>
              <a:gd name="connsiteX4" fmla="*/ 1340647 w 8412345"/>
              <a:gd name="connsiteY4" fmla="*/ 3752847 h 4067177"/>
              <a:gd name="connsiteX5" fmla="*/ 8412344 w 8412345"/>
              <a:gd name="connsiteY5" fmla="*/ 3752847 h 4067177"/>
              <a:gd name="connsiteX6" fmla="*/ 8412344 w 8412345"/>
              <a:gd name="connsiteY6" fmla="*/ 3524256 h 4067177"/>
              <a:gd name="connsiteX7" fmla="*/ 1258986 w 8412345"/>
              <a:gd name="connsiteY7" fmla="*/ 3524256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12345" h="4067177">
                <a:moveTo>
                  <a:pt x="0" y="0"/>
                </a:moveTo>
                <a:lnTo>
                  <a:pt x="8412345" y="0"/>
                </a:lnTo>
                <a:lnTo>
                  <a:pt x="8412345" y="4067177"/>
                </a:lnTo>
                <a:lnTo>
                  <a:pt x="1452936" y="4067177"/>
                </a:lnTo>
                <a:lnTo>
                  <a:pt x="1340647" y="3752847"/>
                </a:lnTo>
                <a:lnTo>
                  <a:pt x="8412344" y="3752847"/>
                </a:lnTo>
                <a:lnTo>
                  <a:pt x="8412344" y="3524256"/>
                </a:lnTo>
                <a:lnTo>
                  <a:pt x="1258986" y="3524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="" xmlns:a16="http://schemas.microsoft.com/office/drawing/2014/main" id="{DF0D5D85-25EF-40C1-9119-2AE98DC382AC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964406"/>
            <a:ext cx="3324186" cy="3050383"/>
          </a:xfrm>
          <a:custGeom>
            <a:avLst/>
            <a:gdLst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904875 w 4432248"/>
              <a:gd name="connsiteY2" fmla="*/ 0 h 4067177"/>
              <a:gd name="connsiteX3" fmla="*/ 2979312 w 4432248"/>
              <a:gd name="connsiteY3" fmla="*/ 0 h 4067177"/>
              <a:gd name="connsiteX4" fmla="*/ 4432248 w 4432248"/>
              <a:gd name="connsiteY4" fmla="*/ 4067177 h 4067177"/>
              <a:gd name="connsiteX5" fmla="*/ 571500 w 4432248"/>
              <a:gd name="connsiteY5" fmla="*/ 4067177 h 4067177"/>
              <a:gd name="connsiteX6" fmla="*/ 571500 w 4432248"/>
              <a:gd name="connsiteY6" fmla="*/ 4067175 h 4067177"/>
              <a:gd name="connsiteX7" fmla="*/ 0 w 4432248"/>
              <a:gd name="connsiteY7" fmla="*/ 4067175 h 4067177"/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2979312 w 4432248"/>
              <a:gd name="connsiteY2" fmla="*/ 0 h 4067177"/>
              <a:gd name="connsiteX3" fmla="*/ 4432248 w 4432248"/>
              <a:gd name="connsiteY3" fmla="*/ 4067177 h 4067177"/>
              <a:gd name="connsiteX4" fmla="*/ 571500 w 4432248"/>
              <a:gd name="connsiteY4" fmla="*/ 4067177 h 4067177"/>
              <a:gd name="connsiteX5" fmla="*/ 571500 w 4432248"/>
              <a:gd name="connsiteY5" fmla="*/ 4067175 h 4067177"/>
              <a:gd name="connsiteX6" fmla="*/ 0 w 4432248"/>
              <a:gd name="connsiteY6" fmla="*/ 4067175 h 4067177"/>
              <a:gd name="connsiteX7" fmla="*/ 0 w 4432248"/>
              <a:gd name="connsiteY7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571500 w 4432248"/>
              <a:gd name="connsiteY4" fmla="*/ 4067175 h 4067177"/>
              <a:gd name="connsiteX5" fmla="*/ 0 w 4432248"/>
              <a:gd name="connsiteY5" fmla="*/ 4067175 h 4067177"/>
              <a:gd name="connsiteX6" fmla="*/ 0 w 4432248"/>
              <a:gd name="connsiteY6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0 w 4432248"/>
              <a:gd name="connsiteY4" fmla="*/ 4067175 h 4067177"/>
              <a:gd name="connsiteX5" fmla="*/ 0 w 4432248"/>
              <a:gd name="connsiteY5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0 w 4432248"/>
              <a:gd name="connsiteY3" fmla="*/ 4067175 h 4067177"/>
              <a:gd name="connsiteX4" fmla="*/ 0 w 4432248"/>
              <a:gd name="connsiteY4" fmla="*/ 0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2248" h="4067177">
                <a:moveTo>
                  <a:pt x="0" y="0"/>
                </a:moveTo>
                <a:lnTo>
                  <a:pt x="2979312" y="0"/>
                </a:lnTo>
                <a:lnTo>
                  <a:pt x="4432248" y="4067177"/>
                </a:lnTo>
                <a:lnTo>
                  <a:pt x="0" y="406717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1051062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15114" y="3851952"/>
            <a:ext cx="8457515" cy="434579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437129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8168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7CB68201-6AEB-4BFE-B92F-F7D14A3CB566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5366888" cy="5143500"/>
          </a:xfrm>
          <a:custGeom>
            <a:avLst/>
            <a:gdLst>
              <a:gd name="connsiteX0" fmla="*/ 0 w 7155850"/>
              <a:gd name="connsiteY0" fmla="*/ 3024930 h 6858000"/>
              <a:gd name="connsiteX1" fmla="*/ 2358530 w 7155850"/>
              <a:gd name="connsiteY1" fmla="*/ 6858000 h 6858000"/>
              <a:gd name="connsiteX2" fmla="*/ 1329860 w 7155850"/>
              <a:gd name="connsiteY2" fmla="*/ 6858000 h 6858000"/>
              <a:gd name="connsiteX3" fmla="*/ 0 w 7155850"/>
              <a:gd name="connsiteY3" fmla="*/ 4691859 h 6858000"/>
              <a:gd name="connsiteX4" fmla="*/ 1 w 7155850"/>
              <a:gd name="connsiteY4" fmla="*/ 397145 h 6858000"/>
              <a:gd name="connsiteX5" fmla="*/ 3459898 w 7155850"/>
              <a:gd name="connsiteY5" fmla="*/ 6020152 h 6858000"/>
              <a:gd name="connsiteX6" fmla="*/ 2945517 w 7155850"/>
              <a:gd name="connsiteY6" fmla="*/ 6858000 h 6858000"/>
              <a:gd name="connsiteX7" fmla="*/ 1 w 7155850"/>
              <a:gd name="connsiteY7" fmla="*/ 2060197 h 6858000"/>
              <a:gd name="connsiteX8" fmla="*/ 396861 w 7155850"/>
              <a:gd name="connsiteY8" fmla="*/ 0 h 6858000"/>
              <a:gd name="connsiteX9" fmla="*/ 7155850 w 7155850"/>
              <a:gd name="connsiteY9" fmla="*/ 0 h 6858000"/>
              <a:gd name="connsiteX10" fmla="*/ 3780151 w 7155850"/>
              <a:gd name="connsiteY10" fmla="*/ 54985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55850" h="6858000">
                <a:moveTo>
                  <a:pt x="0" y="3024930"/>
                </a:moveTo>
                <a:lnTo>
                  <a:pt x="2358530" y="6858000"/>
                </a:lnTo>
                <a:lnTo>
                  <a:pt x="1329860" y="6858000"/>
                </a:lnTo>
                <a:lnTo>
                  <a:pt x="0" y="4691859"/>
                </a:lnTo>
                <a:close/>
                <a:moveTo>
                  <a:pt x="1" y="397145"/>
                </a:moveTo>
                <a:lnTo>
                  <a:pt x="3459898" y="6020152"/>
                </a:lnTo>
                <a:lnTo>
                  <a:pt x="2945517" y="6858000"/>
                </a:lnTo>
                <a:lnTo>
                  <a:pt x="1" y="2060197"/>
                </a:lnTo>
                <a:close/>
                <a:moveTo>
                  <a:pt x="396861" y="0"/>
                </a:moveTo>
                <a:lnTo>
                  <a:pt x="7155850" y="0"/>
                </a:lnTo>
                <a:lnTo>
                  <a:pt x="3780151" y="54985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7" tIns="34289" rIns="68577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899" indent="0">
              <a:buNone/>
              <a:defRPr sz="2100"/>
            </a:lvl2pPr>
            <a:lvl3pPr marL="685801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2" indent="0">
              <a:buNone/>
              <a:defRPr sz="1500"/>
            </a:lvl6pPr>
            <a:lvl7pPr marL="2057401" indent="0">
              <a:buNone/>
              <a:defRPr sz="1500"/>
            </a:lvl7pPr>
            <a:lvl8pPr marL="2400300" indent="0">
              <a:buNone/>
              <a:defRPr sz="1500"/>
            </a:lvl8pPr>
            <a:lvl9pPr marL="2743199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7741934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26907" y="-31989"/>
            <a:ext cx="4211157" cy="5175489"/>
          </a:xfrm>
          <a:custGeom>
            <a:avLst/>
            <a:gdLst>
              <a:gd name="connsiteX0" fmla="*/ 0 w 4181475"/>
              <a:gd name="connsiteY0" fmla="*/ 0 h 6905625"/>
              <a:gd name="connsiteX1" fmla="*/ 4181475 w 4181475"/>
              <a:gd name="connsiteY1" fmla="*/ 9525 h 6905625"/>
              <a:gd name="connsiteX2" fmla="*/ 1000125 w 4181475"/>
              <a:gd name="connsiteY2" fmla="*/ 6877050 h 6905625"/>
              <a:gd name="connsiteX3" fmla="*/ 38100 w 4181475"/>
              <a:gd name="connsiteY3" fmla="*/ 6905625 h 6905625"/>
              <a:gd name="connsiteX4" fmla="*/ 0 w 4181475"/>
              <a:gd name="connsiteY4" fmla="*/ 0 h 6905625"/>
              <a:gd name="connsiteX0" fmla="*/ 125 w 4143375"/>
              <a:gd name="connsiteY0" fmla="*/ 0 h 6915198"/>
              <a:gd name="connsiteX1" fmla="*/ 4143375 w 4143375"/>
              <a:gd name="connsiteY1" fmla="*/ 19098 h 6915198"/>
              <a:gd name="connsiteX2" fmla="*/ 962025 w 4143375"/>
              <a:gd name="connsiteY2" fmla="*/ 6886623 h 6915198"/>
              <a:gd name="connsiteX3" fmla="*/ 0 w 4143375"/>
              <a:gd name="connsiteY3" fmla="*/ 6915198 h 6915198"/>
              <a:gd name="connsiteX4" fmla="*/ 125 w 4143375"/>
              <a:gd name="connsiteY4" fmla="*/ 0 h 6915198"/>
              <a:gd name="connsiteX0" fmla="*/ 125 w 4143375"/>
              <a:gd name="connsiteY0" fmla="*/ 0 h 6915198"/>
              <a:gd name="connsiteX1" fmla="*/ 4143375 w 4143375"/>
              <a:gd name="connsiteY1" fmla="*/ 19098 h 6915198"/>
              <a:gd name="connsiteX2" fmla="*/ 990694 w 4143375"/>
              <a:gd name="connsiteY2" fmla="*/ 6905770 h 6915198"/>
              <a:gd name="connsiteX3" fmla="*/ 0 w 4143375"/>
              <a:gd name="connsiteY3" fmla="*/ 6915198 h 6915198"/>
              <a:gd name="connsiteX4" fmla="*/ 125 w 4143375"/>
              <a:gd name="connsiteY4" fmla="*/ 0 h 6915198"/>
              <a:gd name="connsiteX0" fmla="*/ 125 w 4191156"/>
              <a:gd name="connsiteY0" fmla="*/ 28768 h 6943966"/>
              <a:gd name="connsiteX1" fmla="*/ 4191156 w 4191156"/>
              <a:gd name="connsiteY1" fmla="*/ 0 h 6943966"/>
              <a:gd name="connsiteX2" fmla="*/ 990694 w 4191156"/>
              <a:gd name="connsiteY2" fmla="*/ 6934538 h 6943966"/>
              <a:gd name="connsiteX3" fmla="*/ 0 w 4191156"/>
              <a:gd name="connsiteY3" fmla="*/ 6943966 h 6943966"/>
              <a:gd name="connsiteX4" fmla="*/ 125 w 4191156"/>
              <a:gd name="connsiteY4" fmla="*/ 28768 h 6943966"/>
              <a:gd name="connsiteX0" fmla="*/ 125 w 4191156"/>
              <a:gd name="connsiteY0" fmla="*/ 28768 h 6943966"/>
              <a:gd name="connsiteX1" fmla="*/ 4191156 w 4191156"/>
              <a:gd name="connsiteY1" fmla="*/ 0 h 6943966"/>
              <a:gd name="connsiteX2" fmla="*/ 1028919 w 4191156"/>
              <a:gd name="connsiteY2" fmla="*/ 6924966 h 6943966"/>
              <a:gd name="connsiteX3" fmla="*/ 0 w 4191156"/>
              <a:gd name="connsiteY3" fmla="*/ 6943966 h 6943966"/>
              <a:gd name="connsiteX4" fmla="*/ 125 w 4191156"/>
              <a:gd name="connsiteY4" fmla="*/ 28768 h 6943966"/>
              <a:gd name="connsiteX0" fmla="*/ 125 w 4213174"/>
              <a:gd name="connsiteY0" fmla="*/ 0 h 6915198"/>
              <a:gd name="connsiteX1" fmla="*/ 4213174 w 4213174"/>
              <a:gd name="connsiteY1" fmla="*/ 7993 h 6915198"/>
              <a:gd name="connsiteX2" fmla="*/ 1028919 w 4213174"/>
              <a:gd name="connsiteY2" fmla="*/ 6896198 h 6915198"/>
              <a:gd name="connsiteX3" fmla="*/ 0 w 4213174"/>
              <a:gd name="connsiteY3" fmla="*/ 6915198 h 6915198"/>
              <a:gd name="connsiteX4" fmla="*/ 125 w 4213174"/>
              <a:gd name="connsiteY4" fmla="*/ 0 h 6915198"/>
              <a:gd name="connsiteX0" fmla="*/ 125 w 4191156"/>
              <a:gd name="connsiteY0" fmla="*/ 0 h 6915198"/>
              <a:gd name="connsiteX1" fmla="*/ 4191156 w 4191156"/>
              <a:gd name="connsiteY1" fmla="*/ 640 h 6915198"/>
              <a:gd name="connsiteX2" fmla="*/ 1028919 w 4191156"/>
              <a:gd name="connsiteY2" fmla="*/ 6896198 h 6915198"/>
              <a:gd name="connsiteX3" fmla="*/ 0 w 4191156"/>
              <a:gd name="connsiteY3" fmla="*/ 6915198 h 6915198"/>
              <a:gd name="connsiteX4" fmla="*/ 125 w 4191156"/>
              <a:gd name="connsiteY4" fmla="*/ 0 h 6915198"/>
              <a:gd name="connsiteX0" fmla="*/ 125 w 4212595"/>
              <a:gd name="connsiteY0" fmla="*/ 0 h 6915198"/>
              <a:gd name="connsiteX1" fmla="*/ 4212595 w 4212595"/>
              <a:gd name="connsiteY1" fmla="*/ 38821 h 6915198"/>
              <a:gd name="connsiteX2" fmla="*/ 1028919 w 4212595"/>
              <a:gd name="connsiteY2" fmla="*/ 6896198 h 6915198"/>
              <a:gd name="connsiteX3" fmla="*/ 0 w 4212595"/>
              <a:gd name="connsiteY3" fmla="*/ 6915198 h 6915198"/>
              <a:gd name="connsiteX4" fmla="*/ 125 w 4212595"/>
              <a:gd name="connsiteY4" fmla="*/ 0 h 6915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2595" h="6915198">
                <a:moveTo>
                  <a:pt x="125" y="0"/>
                </a:moveTo>
                <a:lnTo>
                  <a:pt x="4212595" y="38821"/>
                </a:lnTo>
                <a:lnTo>
                  <a:pt x="1028919" y="6896198"/>
                </a:lnTo>
                <a:lnTo>
                  <a:pt x="0" y="6915198"/>
                </a:lnTo>
                <a:cubicBezTo>
                  <a:pt x="42" y="4610132"/>
                  <a:pt x="83" y="2305066"/>
                  <a:pt x="125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 sz="1400" dirty="0">
              <a:solidFill>
                <a:prstClr val="white"/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015065" y="-11950"/>
            <a:ext cx="2322042" cy="1850243"/>
            <a:chOff x="1827359" y="-19597"/>
            <a:chExt cx="3253206" cy="317333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" name="Freeform 3"/>
            <p:cNvSpPr/>
            <p:nvPr userDrawn="1"/>
          </p:nvSpPr>
          <p:spPr>
            <a:xfrm>
              <a:off x="2727889" y="-19597"/>
              <a:ext cx="2352676" cy="3171824"/>
            </a:xfrm>
            <a:custGeom>
              <a:avLst/>
              <a:gdLst>
                <a:gd name="connsiteX0" fmla="*/ 1447800 w 2352675"/>
                <a:gd name="connsiteY0" fmla="*/ 0 h 3171825"/>
                <a:gd name="connsiteX1" fmla="*/ 2352675 w 2352675"/>
                <a:gd name="connsiteY1" fmla="*/ 0 h 3171825"/>
                <a:gd name="connsiteX2" fmla="*/ 971550 w 2352675"/>
                <a:gd name="connsiteY2" fmla="*/ 3171825 h 3171825"/>
                <a:gd name="connsiteX3" fmla="*/ 0 w 2352675"/>
                <a:gd name="connsiteY3" fmla="*/ 3171825 h 3171825"/>
                <a:gd name="connsiteX4" fmla="*/ 1447800 w 2352675"/>
                <a:gd name="connsiteY4" fmla="*/ 0 h 317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2675" h="3171825">
                  <a:moveTo>
                    <a:pt x="1447800" y="0"/>
                  </a:moveTo>
                  <a:lnTo>
                    <a:pt x="2352675" y="0"/>
                  </a:lnTo>
                  <a:lnTo>
                    <a:pt x="971550" y="3171825"/>
                  </a:lnTo>
                  <a:lnTo>
                    <a:pt x="0" y="3171825"/>
                  </a:lnTo>
                  <a:lnTo>
                    <a:pt x="144780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6" name="Freeform 65"/>
            <p:cNvSpPr/>
            <p:nvPr userDrawn="1"/>
          </p:nvSpPr>
          <p:spPr>
            <a:xfrm>
              <a:off x="1827359" y="-18083"/>
              <a:ext cx="2352675" cy="3171825"/>
            </a:xfrm>
            <a:custGeom>
              <a:avLst/>
              <a:gdLst>
                <a:gd name="connsiteX0" fmla="*/ 1447800 w 2352675"/>
                <a:gd name="connsiteY0" fmla="*/ 0 h 3171825"/>
                <a:gd name="connsiteX1" fmla="*/ 2352675 w 2352675"/>
                <a:gd name="connsiteY1" fmla="*/ 0 h 3171825"/>
                <a:gd name="connsiteX2" fmla="*/ 971550 w 2352675"/>
                <a:gd name="connsiteY2" fmla="*/ 3171825 h 3171825"/>
                <a:gd name="connsiteX3" fmla="*/ 0 w 2352675"/>
                <a:gd name="connsiteY3" fmla="*/ 3171825 h 3171825"/>
                <a:gd name="connsiteX4" fmla="*/ 1447800 w 2352675"/>
                <a:gd name="connsiteY4" fmla="*/ 0 h 317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2675" h="3171825">
                  <a:moveTo>
                    <a:pt x="1447800" y="0"/>
                  </a:moveTo>
                  <a:lnTo>
                    <a:pt x="2352675" y="0"/>
                  </a:lnTo>
                  <a:lnTo>
                    <a:pt x="971550" y="3171825"/>
                  </a:lnTo>
                  <a:lnTo>
                    <a:pt x="0" y="3171825"/>
                  </a:lnTo>
                  <a:lnTo>
                    <a:pt x="144780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40" name="Group 57">
            <a:extLst>
              <a:ext uri="{FF2B5EF4-FFF2-40B4-BE49-F238E27FC236}">
                <a16:creationId xmlns="" xmlns:a16="http://schemas.microsoft.com/office/drawing/2014/main" id="{EAB9B68E-0E3B-4BE0-B8F8-151B4F9AA20D}"/>
              </a:ext>
            </a:extLst>
          </p:cNvPr>
          <p:cNvGrpSpPr/>
          <p:nvPr userDrawn="1"/>
        </p:nvGrpSpPr>
        <p:grpSpPr>
          <a:xfrm>
            <a:off x="638097" y="1493733"/>
            <a:ext cx="1595147" cy="2755253"/>
            <a:chOff x="1438761" y="2033015"/>
            <a:chExt cx="1980000" cy="3420000"/>
          </a:xfrm>
        </p:grpSpPr>
        <p:sp>
          <p:nvSpPr>
            <p:cNvPr id="41" name="Rounded Rectangle 58">
              <a:extLst>
                <a:ext uri="{FF2B5EF4-FFF2-40B4-BE49-F238E27FC236}">
                  <a16:creationId xmlns="" xmlns:a16="http://schemas.microsoft.com/office/drawing/2014/main" id="{FDB5674B-8954-45D6-856F-8635A461E0AC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44" name="Rectangle 59">
              <a:extLst>
                <a:ext uri="{FF2B5EF4-FFF2-40B4-BE49-F238E27FC236}">
                  <a16:creationId xmlns="" xmlns:a16="http://schemas.microsoft.com/office/drawing/2014/main" id="{232323F7-730B-4115-90EB-2F2AD78DC6BD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48" name="Group 60">
              <a:extLst>
                <a:ext uri="{FF2B5EF4-FFF2-40B4-BE49-F238E27FC236}">
                  <a16:creationId xmlns="" xmlns:a16="http://schemas.microsoft.com/office/drawing/2014/main" id="{95EF7343-DE98-475F-9C99-3A196A57B891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49" name="Oval 61">
                <a:extLst>
                  <a:ext uri="{FF2B5EF4-FFF2-40B4-BE49-F238E27FC236}">
                    <a16:creationId xmlns="" xmlns:a16="http://schemas.microsoft.com/office/drawing/2014/main" id="{EAD9F21B-B819-474E-BF4D-5B3F0F9C074D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50" name="Rounded Rectangle 62">
                <a:extLst>
                  <a:ext uri="{FF2B5EF4-FFF2-40B4-BE49-F238E27FC236}">
                    <a16:creationId xmlns="" xmlns:a16="http://schemas.microsoft.com/office/drawing/2014/main" id="{F2404D1F-E10C-4A44-82A1-AF5E7CBB6610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51" name="Group 51">
            <a:extLst>
              <a:ext uri="{FF2B5EF4-FFF2-40B4-BE49-F238E27FC236}">
                <a16:creationId xmlns="" xmlns:a16="http://schemas.microsoft.com/office/drawing/2014/main" id="{029C3365-4C47-476F-BD96-60948EEED497}"/>
              </a:ext>
            </a:extLst>
          </p:cNvPr>
          <p:cNvGrpSpPr/>
          <p:nvPr userDrawn="1"/>
        </p:nvGrpSpPr>
        <p:grpSpPr>
          <a:xfrm>
            <a:off x="2571207" y="1468332"/>
            <a:ext cx="1595147" cy="2755253"/>
            <a:chOff x="1438761" y="2033015"/>
            <a:chExt cx="1980000" cy="3420000"/>
          </a:xfrm>
        </p:grpSpPr>
        <p:sp>
          <p:nvSpPr>
            <p:cNvPr id="64" name="Rounded Rectangle 52">
              <a:extLst>
                <a:ext uri="{FF2B5EF4-FFF2-40B4-BE49-F238E27FC236}">
                  <a16:creationId xmlns="" xmlns:a16="http://schemas.microsoft.com/office/drawing/2014/main" id="{903C2877-5648-4EA2-AAFC-71345F2CC0B8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65" name="Rectangle 53">
              <a:extLst>
                <a:ext uri="{FF2B5EF4-FFF2-40B4-BE49-F238E27FC236}">
                  <a16:creationId xmlns="" xmlns:a16="http://schemas.microsoft.com/office/drawing/2014/main" id="{D839E5E7-18B9-45E8-AE00-5146A6801EBA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67" name="Group 54">
              <a:extLst>
                <a:ext uri="{FF2B5EF4-FFF2-40B4-BE49-F238E27FC236}">
                  <a16:creationId xmlns="" xmlns:a16="http://schemas.microsoft.com/office/drawing/2014/main" id="{BCF7304E-770A-438E-AF0D-155014D0B1F0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68" name="Oval 55">
                <a:extLst>
                  <a:ext uri="{FF2B5EF4-FFF2-40B4-BE49-F238E27FC236}">
                    <a16:creationId xmlns="" xmlns:a16="http://schemas.microsoft.com/office/drawing/2014/main" id="{5B498A21-13F9-4FD8-BA7A-4CF5B592C91E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69" name="Rounded Rectangle 56">
                <a:extLst>
                  <a:ext uri="{FF2B5EF4-FFF2-40B4-BE49-F238E27FC236}">
                    <a16:creationId xmlns="" xmlns:a16="http://schemas.microsoft.com/office/drawing/2014/main" id="{A6711C24-306E-4C85-8E21-5B5B12708D31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Picture Placeholder 9">
            <a:extLst>
              <a:ext uri="{FF2B5EF4-FFF2-40B4-BE49-F238E27FC236}">
                <a16:creationId xmlns="" xmlns:a16="http://schemas.microsoft.com/office/drawing/2014/main" id="{A9684557-E735-4F99-9200-B752FE63292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67021" y="1680852"/>
            <a:ext cx="795685" cy="21791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71" name="Picture Placeholder 9">
            <a:extLst>
              <a:ext uri="{FF2B5EF4-FFF2-40B4-BE49-F238E27FC236}">
                <a16:creationId xmlns="" xmlns:a16="http://schemas.microsoft.com/office/drawing/2014/main" id="{E207400C-59DF-4155-A4E2-8588593E2F7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2133" y="1717525"/>
            <a:ext cx="815282" cy="21791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grpSp>
        <p:nvGrpSpPr>
          <p:cNvPr id="72" name="Group 5">
            <a:extLst>
              <a:ext uri="{FF2B5EF4-FFF2-40B4-BE49-F238E27FC236}">
                <a16:creationId xmlns="" xmlns:a16="http://schemas.microsoft.com/office/drawing/2014/main" id="{6E65A757-CCD5-48A1-8DD3-F86E193ABBCE}"/>
              </a:ext>
            </a:extLst>
          </p:cNvPr>
          <p:cNvGrpSpPr/>
          <p:nvPr userDrawn="1"/>
        </p:nvGrpSpPr>
        <p:grpSpPr>
          <a:xfrm>
            <a:off x="1558338" y="1364962"/>
            <a:ext cx="1728217" cy="2985103"/>
            <a:chOff x="1438761" y="2033015"/>
            <a:chExt cx="1980000" cy="3420000"/>
          </a:xfrm>
        </p:grpSpPr>
        <p:sp>
          <p:nvSpPr>
            <p:cNvPr id="73" name="Rounded Rectangle 41">
              <a:extLst>
                <a:ext uri="{FF2B5EF4-FFF2-40B4-BE49-F238E27FC236}">
                  <a16:creationId xmlns="" xmlns:a16="http://schemas.microsoft.com/office/drawing/2014/main" id="{7DF5FFA1-E879-4ECA-9B4C-31AAE46B98D6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74" name="Rectangle 42">
              <a:extLst>
                <a:ext uri="{FF2B5EF4-FFF2-40B4-BE49-F238E27FC236}">
                  <a16:creationId xmlns="" xmlns:a16="http://schemas.microsoft.com/office/drawing/2014/main" id="{085BC32C-E608-44B8-A7A0-89B00F110C46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75" name="Group 6">
              <a:extLst>
                <a:ext uri="{FF2B5EF4-FFF2-40B4-BE49-F238E27FC236}">
                  <a16:creationId xmlns="" xmlns:a16="http://schemas.microsoft.com/office/drawing/2014/main" id="{56422AC3-6C41-4DC1-BFCF-E1FB16737474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76" name="Oval 44">
                <a:extLst>
                  <a:ext uri="{FF2B5EF4-FFF2-40B4-BE49-F238E27FC236}">
                    <a16:creationId xmlns="" xmlns:a16="http://schemas.microsoft.com/office/drawing/2014/main" id="{2EC257C4-0911-426B-A877-20FB5F821CDD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Rounded Rectangle 45">
                <a:extLst>
                  <a:ext uri="{FF2B5EF4-FFF2-40B4-BE49-F238E27FC236}">
                    <a16:creationId xmlns="" xmlns:a16="http://schemas.microsoft.com/office/drawing/2014/main" id="{8E296D12-D65E-431F-A0FB-A693E4FA6848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8" name="Picture Placeholder 9">
            <a:extLst>
              <a:ext uri="{FF2B5EF4-FFF2-40B4-BE49-F238E27FC236}">
                <a16:creationId xmlns="" xmlns:a16="http://schemas.microsoft.com/office/drawing/2014/main" id="{FBF029D3-590C-4B47-A9C3-7C543074FD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663086" y="1613689"/>
            <a:ext cx="1517540" cy="23566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38" name="Text Placeholder 9">
            <a:extLst>
              <a:ext uri="{FF2B5EF4-FFF2-40B4-BE49-F238E27FC236}">
                <a16:creationId xmlns="" xmlns:a16="http://schemas.microsoft.com/office/drawing/2014/main" id="{4D7B1FD0-5E10-43C8-B28F-F43B7DABDC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2647" y="336629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94162286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94862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</p:spTree>
    <p:extLst>
      <p:ext uri="{BB962C8B-B14F-4D97-AF65-F5344CB8AC3E}">
        <p14:creationId xmlns:p14="http://schemas.microsoft.com/office/powerpoint/2010/main" val="387802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B, partial image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182880" tIns="502920" rIns="182880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85763" y="2308225"/>
            <a:ext cx="8494712" cy="397115"/>
          </a:xfrm>
        </p:spPr>
        <p:txBody>
          <a:bodyPr/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6867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5" y="1501752"/>
            <a:ext cx="8450164" cy="297014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8460824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039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an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5383941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4" y="1656523"/>
            <a:ext cx="5383941" cy="281537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5385542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5980042" y="-1"/>
            <a:ext cx="3163957" cy="4819487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149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chemeClr val="accent4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chemeClr val="tx2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chemeClr val="tx2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chemeClr val="tx2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965755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52984"/>
          </a:xfrm>
          <a:prstGeom prst="rect">
            <a:avLst/>
          </a:prstGeom>
        </p:spPr>
      </p:pic>
      <p:pic>
        <p:nvPicPr>
          <p:cNvPr id="16" name="Picture 15" descr="NPD_logo_RGB_Reverse_300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6091" y="3769599"/>
            <a:ext cx="914400" cy="9144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7213" y="1504950"/>
            <a:ext cx="6400800" cy="515541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>
                <a:solidFill>
                  <a:srgbClr val="FFFFFF"/>
                </a:solidFill>
              </a:defRPr>
            </a:lvl1pPr>
            <a:lvl2pPr marL="341313" indent="0">
              <a:buNone/>
              <a:defRPr>
                <a:solidFill>
                  <a:srgbClr val="FFFFFF"/>
                </a:solidFill>
              </a:defRPr>
            </a:lvl2pPr>
            <a:lvl3pPr marL="627062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Subhead of Presentation can go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7213" y="731887"/>
            <a:ext cx="6400800" cy="729763"/>
          </a:xfrm>
        </p:spPr>
        <p:txBody>
          <a:bodyPr wrap="square" lIns="0" tIns="0" rIns="0" bIns="0" anchor="t" anchorCtr="0"/>
          <a:lstStyle>
            <a:lvl1pPr>
              <a:lnSpc>
                <a:spcPct val="80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FFFFFF"/>
                </a:solidFill>
              </a:rPr>
              <a:t>Click To Add Title of Present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557214" y="4369078"/>
            <a:ext cx="279239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Arial" charset="0"/>
                <a:ea typeface="ＭＳ Ｐゴシック" charset="0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prstClr val="white"/>
                </a:solidFill>
                <a:latin typeface="Calibri"/>
              </a:rPr>
              <a:t>Copyright 2019. The NPD Group, Inc. All Rights Reserved. This presentation is </a:t>
            </a:r>
            <a:r>
              <a:rPr lang="en-US" b="1" dirty="0" smtClean="0">
                <a:solidFill>
                  <a:prstClr val="white"/>
                </a:solidFill>
                <a:latin typeface="Calibri"/>
              </a:rPr>
              <a:t>proprietary and confidential</a:t>
            </a:r>
            <a:r>
              <a:rPr lang="en-US" dirty="0" smtClean="0">
                <a:solidFill>
                  <a:prstClr val="white"/>
                </a:solidFill>
                <a:latin typeface="Calibri"/>
              </a:rPr>
              <a:t> and may not be disclosed in any manner, in whole or in part, to any third party without the express written consent of NPD.</a:t>
            </a:r>
            <a:endParaRPr lang="en-US" sz="7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214" y="3933570"/>
            <a:ext cx="2468562" cy="276225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Date (Optional)</a:t>
            </a:r>
          </a:p>
        </p:txBody>
      </p:sp>
    </p:spTree>
    <p:extLst>
      <p:ext uri="{BB962C8B-B14F-4D97-AF65-F5344CB8AC3E}">
        <p14:creationId xmlns:p14="http://schemas.microsoft.com/office/powerpoint/2010/main" val="4167696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/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050"/>
            <a:ext cx="9144000" cy="48420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6"/>
          <p:cNvSpPr txBox="1">
            <a:spLocks noChangeArrowheads="1"/>
          </p:cNvSpPr>
          <p:nvPr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1" name="TextBox 4"/>
          <p:cNvSpPr txBox="1">
            <a:spLocks noChangeArrowheads="1"/>
          </p:cNvSpPr>
          <p:nvPr userDrawn="1"/>
        </p:nvSpPr>
        <p:spPr bwMode="auto">
          <a:xfrm>
            <a:off x="7217834" y="433263"/>
            <a:ext cx="1729894" cy="394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spcCol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are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lianc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utomotiv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2B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eaut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ook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Consumer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E-commer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ashion Accessor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 Consumption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servi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twear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Hom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Juvenile Products</a:t>
            </a:r>
          </a:p>
          <a:p>
            <a:pPr eaLnBrk="1" hangingPunct="1">
              <a:spcAft>
                <a:spcPts val="300"/>
              </a:spcAft>
              <a:defRPr/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edia Entertainment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obil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Office Suppl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Sport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oy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ravel 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Video Gam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Watches / Jewelry</a:t>
            </a:r>
          </a:p>
        </p:txBody>
      </p:sp>
    </p:spTree>
    <p:extLst>
      <p:ext uri="{BB962C8B-B14F-4D97-AF65-F5344CB8AC3E}">
        <p14:creationId xmlns:p14="http://schemas.microsoft.com/office/powerpoint/2010/main" val="21866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09963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Font typeface="+mj-lt"/>
              <a:buAutoNum type="arabicPeriod"/>
              <a:defRPr sz="2800" b="0">
                <a:solidFill>
                  <a:schemeClr val="tx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Click To Create Your 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622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03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196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0078BE">
              <a:alpha val="60000"/>
            </a:srgbClr>
          </a:solidFill>
        </p:spPr>
        <p:txBody>
          <a:bodyPr lIns="365760" tIns="1371600" rIns="365760" bIns="1371600" anchor="ctr"/>
          <a:lstStyle>
            <a:lvl1pPr algn="ctr">
              <a:lnSpc>
                <a:spcPct val="80000"/>
              </a:lnSpc>
              <a:defRPr sz="5400" b="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41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D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2037644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11480" y="2330527"/>
            <a:ext cx="8321040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 smtClean="0"/>
              <a:t>Transition Slid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23305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2980266"/>
            <a:ext cx="8321040" cy="1491633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spcAft>
                <a:spcPts val="1000"/>
              </a:spcAft>
              <a:defRPr sz="2400"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6377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3635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 baseline="0"/>
            </a:lvl1pPr>
            <a:lvl3pPr>
              <a:defRPr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8796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917525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1231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512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13515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none"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2195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95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0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 hasCustomPrompt="1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 hasCustomPrompt="1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 hasCustomPrompt="1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831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63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941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65656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312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390210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087488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hon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7211501" y="1568584"/>
            <a:ext cx="1340761" cy="240583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5"/>
            <a:ext cx="6244740" cy="265176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E5E2FCC6-9731-48B8-B2A2-39E9FD0F42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3362" y="1073899"/>
            <a:ext cx="1699776" cy="33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854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02947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ptop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="" xmlns:a16="http://schemas.microsoft.com/office/drawing/2014/main" id="{69D3E401-F6DF-4A44-858C-E9410373BE6E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194050" y="1489753"/>
            <a:ext cx="3949950" cy="24783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  Picture</a:t>
            </a:r>
            <a:endParaRPr lang="en-US" dirty="0"/>
          </a:p>
        </p:txBody>
      </p:sp>
      <p:pic>
        <p:nvPicPr>
          <p:cNvPr id="3" name="Picture 2" descr="A picture containing electronics, display&#10;&#10;Description generated with very high confidence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6060" y="1319842"/>
            <a:ext cx="4567940" cy="3019246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</p:spPr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89753"/>
            <a:ext cx="4374815" cy="2478024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2479170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4"/>
            <a:ext cx="4059936" cy="2474601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6357922" y="1490674"/>
            <a:ext cx="1277283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Picture Placeholder 11"/>
          <p:cNvSpPr>
            <a:spLocks noGrp="1" noChangeAspect="1"/>
          </p:cNvSpPr>
          <p:nvPr>
            <p:ph type="pic" sz="quarter" idx="39"/>
          </p:nvPr>
        </p:nvSpPr>
        <p:spPr>
          <a:xfrm>
            <a:off x="484912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40"/>
          </p:nvPr>
        </p:nvSpPr>
        <p:spPr>
          <a:xfrm>
            <a:off x="786671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98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411480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672584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672584" y="1664884"/>
            <a:ext cx="4059936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Second Chart Goes Her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1664884"/>
            <a:ext cx="4057069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First Chart Goes He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72185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5479015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01194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786408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01194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33" hasCustomPrompt="1"/>
          </p:nvPr>
        </p:nvSpPr>
        <p:spPr>
          <a:xfrm>
            <a:off x="717162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34" hasCustomPrompt="1"/>
          </p:nvPr>
        </p:nvSpPr>
        <p:spPr>
          <a:xfrm>
            <a:off x="209380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35" hasCustomPrompt="1"/>
          </p:nvPr>
        </p:nvSpPr>
        <p:spPr>
          <a:xfrm>
            <a:off x="717162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209380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786408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5479015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40" name="Text Placeholder 12"/>
          <p:cNvSpPr>
            <a:spLocks noGrp="1"/>
          </p:cNvSpPr>
          <p:nvPr>
            <p:ph type="body" sz="quarter" idx="40"/>
          </p:nvPr>
        </p:nvSpPr>
        <p:spPr>
          <a:xfrm>
            <a:off x="401194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12"/>
          <p:cNvSpPr>
            <a:spLocks noGrp="1"/>
          </p:cNvSpPr>
          <p:nvPr>
            <p:ph type="body" sz="quarter" idx="41"/>
          </p:nvPr>
        </p:nvSpPr>
        <p:spPr>
          <a:xfrm>
            <a:off x="717162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42"/>
          </p:nvPr>
        </p:nvSpPr>
        <p:spPr>
          <a:xfrm>
            <a:off x="209380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12"/>
          <p:cNvSpPr>
            <a:spLocks noGrp="1"/>
          </p:cNvSpPr>
          <p:nvPr>
            <p:ph type="body" sz="quarter" idx="43"/>
          </p:nvPr>
        </p:nvSpPr>
        <p:spPr>
          <a:xfrm>
            <a:off x="3786408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12"/>
          <p:cNvSpPr>
            <a:spLocks noGrp="1"/>
          </p:cNvSpPr>
          <p:nvPr>
            <p:ph type="body" sz="quarter" idx="44"/>
          </p:nvPr>
        </p:nvSpPr>
        <p:spPr>
          <a:xfrm>
            <a:off x="5479015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401194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717162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209380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3786408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51" hasCustomPrompt="1"/>
          </p:nvPr>
        </p:nvSpPr>
        <p:spPr>
          <a:xfrm>
            <a:off x="5479015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52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8252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QUESTIONS</a:t>
            </a:r>
            <a:r>
              <a:rPr lang="en-US" sz="5400" b="0" dirty="0" smtClean="0">
                <a:solidFill>
                  <a:srgbClr val="0078BE"/>
                </a:solidFill>
              </a:rPr>
              <a:t>?</a:t>
            </a:r>
            <a:endParaRPr lang="en-US" sz="2800" b="0" dirty="0">
              <a:solidFill>
                <a:srgbClr val="0078B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175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APPENDIX</a:t>
            </a:r>
            <a:endParaRPr lang="en-US" sz="2800" b="0" dirty="0">
              <a:solidFill>
                <a:srgbClr val="0051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5429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6919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4500" y="1197769"/>
            <a:ext cx="8321040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rgbClr val="8E908F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065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779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chemeClr val="accent1">
              <a:alpha val="75000"/>
            </a:scheme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46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/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050"/>
            <a:ext cx="9144000" cy="48420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6"/>
          <p:cNvSpPr txBox="1">
            <a:spLocks noChangeArrowheads="1"/>
          </p:cNvSpPr>
          <p:nvPr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11" name="TextBox 4"/>
          <p:cNvSpPr txBox="1">
            <a:spLocks noChangeArrowheads="1"/>
          </p:cNvSpPr>
          <p:nvPr userDrawn="1"/>
        </p:nvSpPr>
        <p:spPr bwMode="auto">
          <a:xfrm>
            <a:off x="7217834" y="433263"/>
            <a:ext cx="1729894" cy="394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spcCol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Apparel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Appliances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Automotive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B2B </a:t>
            </a:r>
            <a:r>
              <a:rPr lang="en-US" sz="850" kern="1200" baseline="0" dirty="0" smtClean="0">
                <a:solidFill>
                  <a:schemeClr val="bg1">
                    <a:alpha val="50000"/>
                  </a:schemeClr>
                </a:solidFill>
                <a:latin typeface="+mn-lt"/>
                <a:ea typeface="ＭＳ Ｐゴシック" charset="0"/>
                <a:cs typeface="ＭＳ Ｐゴシック" charset="0"/>
              </a:rPr>
              <a:t>Technology</a:t>
            </a:r>
            <a:endParaRPr lang="en-US" sz="850" baseline="0" dirty="0" smtClean="0">
              <a:solidFill>
                <a:schemeClr val="bg1">
                  <a:alpha val="50000"/>
                </a:schemeClr>
              </a:solidFill>
              <a:latin typeface="+mn-lt"/>
            </a:endParaRP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Beauty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Books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Consumer Technology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E-commerce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Fashion Accessories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Food Consumption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Foodservice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Footwear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Home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Juvenile Products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50" kern="1200" baseline="0" dirty="0" smtClean="0">
                <a:solidFill>
                  <a:schemeClr val="bg1">
                    <a:alpha val="50000"/>
                  </a:schemeClr>
                </a:solidFill>
                <a:latin typeface="+mn-lt"/>
                <a:ea typeface="ＭＳ Ｐゴシック" charset="0"/>
                <a:cs typeface="ＭＳ Ｐゴシック" charset="0"/>
              </a:rPr>
              <a:t>Media Entertainment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Mobile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Office Supplies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Retail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Sports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Toys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Travel Retail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Video Games</a:t>
            </a:r>
          </a:p>
          <a:p>
            <a:pPr algn="l" eaLnBrk="1" hangingPunct="1">
              <a:lnSpc>
                <a:spcPct val="100000"/>
              </a:lnSpc>
              <a:spcAft>
                <a:spcPts val="300"/>
              </a:spcAft>
            </a:pPr>
            <a:r>
              <a:rPr lang="en-US" sz="850" baseline="0" dirty="0" smtClean="0">
                <a:solidFill>
                  <a:schemeClr val="bg1">
                    <a:alpha val="50000"/>
                  </a:schemeClr>
                </a:solidFill>
                <a:latin typeface="+mn-lt"/>
              </a:rPr>
              <a:t>Watches / Jewelry</a:t>
            </a:r>
          </a:p>
        </p:txBody>
      </p:sp>
    </p:spTree>
    <p:extLst>
      <p:ext uri="{BB962C8B-B14F-4D97-AF65-F5344CB8AC3E}">
        <p14:creationId xmlns:p14="http://schemas.microsoft.com/office/powerpoint/2010/main" val="3177798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hon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7211501" y="1568584"/>
            <a:ext cx="1340761" cy="240583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5"/>
            <a:ext cx="6244740" cy="265176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E5E2FCC6-9731-48B8-B2A2-39E9FD0F42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3362" y="1073899"/>
            <a:ext cx="1699776" cy="33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63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chemeClr val="bg2">
              <a:alpha val="60000"/>
            </a:scheme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205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925899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624552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339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386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559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509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indent="0">
              <a:buNone/>
              <a:defRPr sz="900"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4288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537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289436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ptop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="" xmlns:a16="http://schemas.microsoft.com/office/drawing/2014/main" id="{69D3E401-F6DF-4A44-858C-E9410373BE6E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194050" y="1489753"/>
            <a:ext cx="3949950" cy="24783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  Picture</a:t>
            </a:r>
            <a:endParaRPr lang="en-US" dirty="0"/>
          </a:p>
        </p:txBody>
      </p:sp>
      <p:pic>
        <p:nvPicPr>
          <p:cNvPr id="3" name="Picture 2" descr="A picture containing electronics, display&#10;&#10;Description generated with very high confidence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6060" y="1319842"/>
            <a:ext cx="4567940" cy="3019246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</p:spPr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89753"/>
            <a:ext cx="4374815" cy="2478024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6577395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5554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166605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  <a:p>
            <a:pPr lvl="0"/>
            <a:endParaRPr lang="en-US" dirty="0" smtClean="0"/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273398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E908F"/>
                </a:solidFill>
              </a:rPr>
              <a:t>?</a:t>
            </a:r>
            <a:endParaRPr lang="en-US" sz="2800" b="0" dirty="0">
              <a:solidFill>
                <a:srgbClr val="8E908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32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99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017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5115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chemeClr val="accent2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405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937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565A5C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361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565A5C">
              <a:alpha val="60000"/>
            </a:srgb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871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4"/>
            <a:ext cx="4059936" cy="2474601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6357922" y="1490674"/>
            <a:ext cx="1277283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Picture Placeholder 11"/>
          <p:cNvSpPr>
            <a:spLocks noGrp="1" noChangeAspect="1"/>
          </p:cNvSpPr>
          <p:nvPr>
            <p:ph type="pic" sz="quarter" idx="39"/>
          </p:nvPr>
        </p:nvSpPr>
        <p:spPr>
          <a:xfrm>
            <a:off x="484912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40"/>
          </p:nvPr>
        </p:nvSpPr>
        <p:spPr>
          <a:xfrm>
            <a:off x="786671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702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05443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55116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2C341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14300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350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73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200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37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8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111116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890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1095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98602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187676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411480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672584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672584" y="1664884"/>
            <a:ext cx="4059936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Second Chart Goes Her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1664884"/>
            <a:ext cx="4057069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First Chart Goes He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733361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solidFill>
              <a:srgbClr val="56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016474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132506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2C341"/>
                </a:solidFill>
              </a:rPr>
              <a:t>?</a:t>
            </a:r>
            <a:endParaRPr lang="en-US" sz="2800" b="0" dirty="0">
              <a:solidFill>
                <a:srgbClr val="82C34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283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005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10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254261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Slide layout"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="" xmlns:a16="http://schemas.microsoft.com/office/drawing/2014/main" id="{AF5DEDB2-78E8-45EC-AB12-C2290127F53E}"/>
              </a:ext>
            </a:extLst>
          </p:cNvPr>
          <p:cNvSpPr/>
          <p:nvPr userDrawn="1"/>
        </p:nvSpPr>
        <p:spPr>
          <a:xfrm rot="18900000">
            <a:off x="2437817" y="-1492038"/>
            <a:ext cx="8127573" cy="8127575"/>
          </a:xfrm>
          <a:custGeom>
            <a:avLst/>
            <a:gdLst>
              <a:gd name="connsiteX0" fmla="*/ 4849337 w 10836764"/>
              <a:gd name="connsiteY0" fmla="*/ 0 h 10836766"/>
              <a:gd name="connsiteX1" fmla="*/ 10836764 w 10836764"/>
              <a:gd name="connsiteY1" fmla="*/ 5987428 h 10836766"/>
              <a:gd name="connsiteX2" fmla="*/ 5987426 w 10836764"/>
              <a:gd name="connsiteY2" fmla="*/ 10836766 h 10836766"/>
              <a:gd name="connsiteX3" fmla="*/ 1 w 10836764"/>
              <a:gd name="connsiteY3" fmla="*/ 4849340 h 10836766"/>
              <a:gd name="connsiteX4" fmla="*/ 0 w 10836764"/>
              <a:gd name="connsiteY4" fmla="*/ 1529113 h 10836766"/>
              <a:gd name="connsiteX5" fmla="*/ 1529113 w 10836764"/>
              <a:gd name="connsiteY5" fmla="*/ 0 h 10836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36764" h="10836766">
                <a:moveTo>
                  <a:pt x="4849337" y="0"/>
                </a:moveTo>
                <a:lnTo>
                  <a:pt x="10836764" y="5987428"/>
                </a:lnTo>
                <a:lnTo>
                  <a:pt x="5987426" y="10836766"/>
                </a:lnTo>
                <a:lnTo>
                  <a:pt x="1" y="4849340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89000">
                <a:schemeClr val="accent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E769B23C-815D-4713-8F2F-BE8E52CBCEEB}"/>
              </a:ext>
            </a:extLst>
          </p:cNvPr>
          <p:cNvSpPr/>
          <p:nvPr userDrawn="1"/>
        </p:nvSpPr>
        <p:spPr>
          <a:xfrm rot="18900000">
            <a:off x="8517299" y="1426573"/>
            <a:ext cx="2330225" cy="2330225"/>
          </a:xfrm>
          <a:custGeom>
            <a:avLst/>
            <a:gdLst>
              <a:gd name="connsiteX0" fmla="*/ 3106966 w 3106966"/>
              <a:gd name="connsiteY0" fmla="*/ 0 h 3106966"/>
              <a:gd name="connsiteX1" fmla="*/ 1 w 3106966"/>
              <a:gd name="connsiteY1" fmla="*/ 3106966 h 3106966"/>
              <a:gd name="connsiteX2" fmla="*/ 0 w 3106966"/>
              <a:gd name="connsiteY2" fmla="*/ 1529113 h 3106966"/>
              <a:gd name="connsiteX3" fmla="*/ 1529113 w 3106966"/>
              <a:gd name="connsiteY3" fmla="*/ 0 h 3106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6966" h="3106966">
                <a:moveTo>
                  <a:pt x="3106966" y="0"/>
                </a:moveTo>
                <a:lnTo>
                  <a:pt x="1" y="3106966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3902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86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="" xmlns:a16="http://schemas.microsoft.com/office/drawing/2014/main" id="{B3CA5F7E-D45F-4887-AF9C-BB7E27A9C9CE}"/>
              </a:ext>
            </a:extLst>
          </p:cNvPr>
          <p:cNvSpPr/>
          <p:nvPr userDrawn="1"/>
        </p:nvSpPr>
        <p:spPr>
          <a:xfrm>
            <a:off x="5421090" y="1407112"/>
            <a:ext cx="3240000" cy="32400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" name="그림 개체 틀 5">
            <a:extLst>
              <a:ext uri="{FF2B5EF4-FFF2-40B4-BE49-F238E27FC236}">
                <a16:creationId xmlns="" xmlns:a16="http://schemas.microsoft.com/office/drawing/2014/main" id="{1C677DB5-A9F3-459B-9D51-37160E08512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93016" y="547007"/>
            <a:ext cx="3736584" cy="373658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685800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9679904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4">
            <a:extLst>
              <a:ext uri="{FF2B5EF4-FFF2-40B4-BE49-F238E27FC236}">
                <a16:creationId xmlns="" xmlns:a16="http://schemas.microsoft.com/office/drawing/2014/main" id="{C3CDBC2D-C9C0-4D36-A0F9-7EDE3B294276}"/>
              </a:ext>
            </a:extLst>
          </p:cNvPr>
          <p:cNvSpPr/>
          <p:nvPr userDrawn="1"/>
        </p:nvSpPr>
        <p:spPr>
          <a:xfrm>
            <a:off x="2659899" y="453912"/>
            <a:ext cx="5804833" cy="42406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694249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763651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2833053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6" name="Rectangle 48">
            <a:extLst>
              <a:ext uri="{FF2B5EF4-FFF2-40B4-BE49-F238E27FC236}">
                <a16:creationId xmlns="" xmlns:a16="http://schemas.microsoft.com/office/drawing/2014/main" id="{7877AA66-AAFD-429C-B217-380BEF1ADDE2}"/>
              </a:ext>
            </a:extLst>
          </p:cNvPr>
          <p:cNvSpPr/>
          <p:nvPr userDrawn="1"/>
        </p:nvSpPr>
        <p:spPr>
          <a:xfrm>
            <a:off x="2833053" y="2743256"/>
            <a:ext cx="1620000" cy="48600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="" xmlns:a16="http://schemas.microsoft.com/office/drawing/2014/main" id="{852C85C1-7D9E-4F23-85EA-6A451FF0BEF6}"/>
              </a:ext>
            </a:extLst>
          </p:cNvPr>
          <p:cNvSpPr/>
          <p:nvPr userDrawn="1"/>
        </p:nvSpPr>
        <p:spPr>
          <a:xfrm>
            <a:off x="4763651" y="2735528"/>
            <a:ext cx="1620000" cy="486000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9" name="Rectangle 20">
            <a:extLst>
              <a:ext uri="{FF2B5EF4-FFF2-40B4-BE49-F238E27FC236}">
                <a16:creationId xmlns="" xmlns:a16="http://schemas.microsoft.com/office/drawing/2014/main" id="{E05C1512-E9F1-4355-8FF9-6A6F0DFFCB7B}"/>
              </a:ext>
            </a:extLst>
          </p:cNvPr>
          <p:cNvSpPr/>
          <p:nvPr userDrawn="1"/>
        </p:nvSpPr>
        <p:spPr>
          <a:xfrm>
            <a:off x="6694249" y="2743256"/>
            <a:ext cx="1620000" cy="48600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74299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5479015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01194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786408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01194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33" hasCustomPrompt="1"/>
          </p:nvPr>
        </p:nvSpPr>
        <p:spPr>
          <a:xfrm>
            <a:off x="717162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34" hasCustomPrompt="1"/>
          </p:nvPr>
        </p:nvSpPr>
        <p:spPr>
          <a:xfrm>
            <a:off x="209380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35" hasCustomPrompt="1"/>
          </p:nvPr>
        </p:nvSpPr>
        <p:spPr>
          <a:xfrm>
            <a:off x="717162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209380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786408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5479015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40" name="Text Placeholder 12"/>
          <p:cNvSpPr>
            <a:spLocks noGrp="1"/>
          </p:cNvSpPr>
          <p:nvPr>
            <p:ph type="body" sz="quarter" idx="40"/>
          </p:nvPr>
        </p:nvSpPr>
        <p:spPr>
          <a:xfrm>
            <a:off x="401194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12"/>
          <p:cNvSpPr>
            <a:spLocks noGrp="1"/>
          </p:cNvSpPr>
          <p:nvPr>
            <p:ph type="body" sz="quarter" idx="41"/>
          </p:nvPr>
        </p:nvSpPr>
        <p:spPr>
          <a:xfrm>
            <a:off x="717162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42"/>
          </p:nvPr>
        </p:nvSpPr>
        <p:spPr>
          <a:xfrm>
            <a:off x="209380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12"/>
          <p:cNvSpPr>
            <a:spLocks noGrp="1"/>
          </p:cNvSpPr>
          <p:nvPr>
            <p:ph type="body" sz="quarter" idx="43"/>
          </p:nvPr>
        </p:nvSpPr>
        <p:spPr>
          <a:xfrm>
            <a:off x="3786408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12"/>
          <p:cNvSpPr>
            <a:spLocks noGrp="1"/>
          </p:cNvSpPr>
          <p:nvPr>
            <p:ph type="body" sz="quarter" idx="44"/>
          </p:nvPr>
        </p:nvSpPr>
        <p:spPr>
          <a:xfrm>
            <a:off x="5479015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401194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717162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209380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3786408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51" hasCustomPrompt="1"/>
          </p:nvPr>
        </p:nvSpPr>
        <p:spPr>
          <a:xfrm>
            <a:off x="5479015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52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691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="" xmlns:a16="http://schemas.microsoft.com/office/drawing/2014/main" id="{2760AC20-0645-4AE6-BC4F-285B18B690B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834742" y="1378743"/>
            <a:ext cx="6309259" cy="3050383"/>
          </a:xfrm>
          <a:custGeom>
            <a:avLst/>
            <a:gdLst>
              <a:gd name="connsiteX0" fmla="*/ 0 w 8412345"/>
              <a:gd name="connsiteY0" fmla="*/ 0 h 4067177"/>
              <a:gd name="connsiteX1" fmla="*/ 8412345 w 8412345"/>
              <a:gd name="connsiteY1" fmla="*/ 0 h 4067177"/>
              <a:gd name="connsiteX2" fmla="*/ 8412345 w 8412345"/>
              <a:gd name="connsiteY2" fmla="*/ 4067177 h 4067177"/>
              <a:gd name="connsiteX3" fmla="*/ 1452936 w 8412345"/>
              <a:gd name="connsiteY3" fmla="*/ 4067177 h 4067177"/>
              <a:gd name="connsiteX4" fmla="*/ 1340647 w 8412345"/>
              <a:gd name="connsiteY4" fmla="*/ 3752847 h 4067177"/>
              <a:gd name="connsiteX5" fmla="*/ 8412344 w 8412345"/>
              <a:gd name="connsiteY5" fmla="*/ 3752847 h 4067177"/>
              <a:gd name="connsiteX6" fmla="*/ 8412344 w 8412345"/>
              <a:gd name="connsiteY6" fmla="*/ 3524256 h 4067177"/>
              <a:gd name="connsiteX7" fmla="*/ 1258986 w 8412345"/>
              <a:gd name="connsiteY7" fmla="*/ 3524256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12345" h="4067177">
                <a:moveTo>
                  <a:pt x="0" y="0"/>
                </a:moveTo>
                <a:lnTo>
                  <a:pt x="8412345" y="0"/>
                </a:lnTo>
                <a:lnTo>
                  <a:pt x="8412345" y="4067177"/>
                </a:lnTo>
                <a:lnTo>
                  <a:pt x="1452936" y="4067177"/>
                </a:lnTo>
                <a:lnTo>
                  <a:pt x="1340647" y="3752847"/>
                </a:lnTo>
                <a:lnTo>
                  <a:pt x="8412344" y="3752847"/>
                </a:lnTo>
                <a:lnTo>
                  <a:pt x="8412344" y="3524256"/>
                </a:lnTo>
                <a:lnTo>
                  <a:pt x="1258986" y="3524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="" xmlns:a16="http://schemas.microsoft.com/office/drawing/2014/main" id="{DF0D5D85-25EF-40C1-9119-2AE98DC382AC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964406"/>
            <a:ext cx="3324186" cy="3050383"/>
          </a:xfrm>
          <a:custGeom>
            <a:avLst/>
            <a:gdLst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904875 w 4432248"/>
              <a:gd name="connsiteY2" fmla="*/ 0 h 4067177"/>
              <a:gd name="connsiteX3" fmla="*/ 2979312 w 4432248"/>
              <a:gd name="connsiteY3" fmla="*/ 0 h 4067177"/>
              <a:gd name="connsiteX4" fmla="*/ 4432248 w 4432248"/>
              <a:gd name="connsiteY4" fmla="*/ 4067177 h 4067177"/>
              <a:gd name="connsiteX5" fmla="*/ 571500 w 4432248"/>
              <a:gd name="connsiteY5" fmla="*/ 4067177 h 4067177"/>
              <a:gd name="connsiteX6" fmla="*/ 571500 w 4432248"/>
              <a:gd name="connsiteY6" fmla="*/ 4067175 h 4067177"/>
              <a:gd name="connsiteX7" fmla="*/ 0 w 4432248"/>
              <a:gd name="connsiteY7" fmla="*/ 4067175 h 4067177"/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2979312 w 4432248"/>
              <a:gd name="connsiteY2" fmla="*/ 0 h 4067177"/>
              <a:gd name="connsiteX3" fmla="*/ 4432248 w 4432248"/>
              <a:gd name="connsiteY3" fmla="*/ 4067177 h 4067177"/>
              <a:gd name="connsiteX4" fmla="*/ 571500 w 4432248"/>
              <a:gd name="connsiteY4" fmla="*/ 4067177 h 4067177"/>
              <a:gd name="connsiteX5" fmla="*/ 571500 w 4432248"/>
              <a:gd name="connsiteY5" fmla="*/ 4067175 h 4067177"/>
              <a:gd name="connsiteX6" fmla="*/ 0 w 4432248"/>
              <a:gd name="connsiteY6" fmla="*/ 4067175 h 4067177"/>
              <a:gd name="connsiteX7" fmla="*/ 0 w 4432248"/>
              <a:gd name="connsiteY7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571500 w 4432248"/>
              <a:gd name="connsiteY4" fmla="*/ 4067175 h 4067177"/>
              <a:gd name="connsiteX5" fmla="*/ 0 w 4432248"/>
              <a:gd name="connsiteY5" fmla="*/ 4067175 h 4067177"/>
              <a:gd name="connsiteX6" fmla="*/ 0 w 4432248"/>
              <a:gd name="connsiteY6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0 w 4432248"/>
              <a:gd name="connsiteY4" fmla="*/ 4067175 h 4067177"/>
              <a:gd name="connsiteX5" fmla="*/ 0 w 4432248"/>
              <a:gd name="connsiteY5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0 w 4432248"/>
              <a:gd name="connsiteY3" fmla="*/ 4067175 h 4067177"/>
              <a:gd name="connsiteX4" fmla="*/ 0 w 4432248"/>
              <a:gd name="connsiteY4" fmla="*/ 0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2248" h="4067177">
                <a:moveTo>
                  <a:pt x="0" y="0"/>
                </a:moveTo>
                <a:lnTo>
                  <a:pt x="2979312" y="0"/>
                </a:lnTo>
                <a:lnTo>
                  <a:pt x="4432248" y="4067177"/>
                </a:lnTo>
                <a:lnTo>
                  <a:pt x="0" y="406717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157240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15114" y="3851952"/>
            <a:ext cx="8457515" cy="434579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437129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189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7CB68201-6AEB-4BFE-B92F-F7D14A3CB566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5366888" cy="5143500"/>
          </a:xfrm>
          <a:custGeom>
            <a:avLst/>
            <a:gdLst>
              <a:gd name="connsiteX0" fmla="*/ 0 w 7155850"/>
              <a:gd name="connsiteY0" fmla="*/ 3024930 h 6858000"/>
              <a:gd name="connsiteX1" fmla="*/ 2358530 w 7155850"/>
              <a:gd name="connsiteY1" fmla="*/ 6858000 h 6858000"/>
              <a:gd name="connsiteX2" fmla="*/ 1329860 w 7155850"/>
              <a:gd name="connsiteY2" fmla="*/ 6858000 h 6858000"/>
              <a:gd name="connsiteX3" fmla="*/ 0 w 7155850"/>
              <a:gd name="connsiteY3" fmla="*/ 4691859 h 6858000"/>
              <a:gd name="connsiteX4" fmla="*/ 1 w 7155850"/>
              <a:gd name="connsiteY4" fmla="*/ 397145 h 6858000"/>
              <a:gd name="connsiteX5" fmla="*/ 3459898 w 7155850"/>
              <a:gd name="connsiteY5" fmla="*/ 6020152 h 6858000"/>
              <a:gd name="connsiteX6" fmla="*/ 2945517 w 7155850"/>
              <a:gd name="connsiteY6" fmla="*/ 6858000 h 6858000"/>
              <a:gd name="connsiteX7" fmla="*/ 1 w 7155850"/>
              <a:gd name="connsiteY7" fmla="*/ 2060197 h 6858000"/>
              <a:gd name="connsiteX8" fmla="*/ 396861 w 7155850"/>
              <a:gd name="connsiteY8" fmla="*/ 0 h 6858000"/>
              <a:gd name="connsiteX9" fmla="*/ 7155850 w 7155850"/>
              <a:gd name="connsiteY9" fmla="*/ 0 h 6858000"/>
              <a:gd name="connsiteX10" fmla="*/ 3780151 w 7155850"/>
              <a:gd name="connsiteY10" fmla="*/ 54985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55850" h="6858000">
                <a:moveTo>
                  <a:pt x="0" y="3024930"/>
                </a:moveTo>
                <a:lnTo>
                  <a:pt x="2358530" y="6858000"/>
                </a:lnTo>
                <a:lnTo>
                  <a:pt x="1329860" y="6858000"/>
                </a:lnTo>
                <a:lnTo>
                  <a:pt x="0" y="4691859"/>
                </a:lnTo>
                <a:close/>
                <a:moveTo>
                  <a:pt x="1" y="397145"/>
                </a:moveTo>
                <a:lnTo>
                  <a:pt x="3459898" y="6020152"/>
                </a:lnTo>
                <a:lnTo>
                  <a:pt x="2945517" y="6858000"/>
                </a:lnTo>
                <a:lnTo>
                  <a:pt x="1" y="2060197"/>
                </a:lnTo>
                <a:close/>
                <a:moveTo>
                  <a:pt x="396861" y="0"/>
                </a:moveTo>
                <a:lnTo>
                  <a:pt x="7155850" y="0"/>
                </a:lnTo>
                <a:lnTo>
                  <a:pt x="3780151" y="54985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7" tIns="34289" rIns="68577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899" indent="0">
              <a:buNone/>
              <a:defRPr sz="2100"/>
            </a:lvl2pPr>
            <a:lvl3pPr marL="685801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2" indent="0">
              <a:buNone/>
              <a:defRPr sz="1500"/>
            </a:lvl6pPr>
            <a:lvl7pPr marL="2057401" indent="0">
              <a:buNone/>
              <a:defRPr sz="1500"/>
            </a:lvl7pPr>
            <a:lvl8pPr marL="2400300" indent="0">
              <a:buNone/>
              <a:defRPr sz="1500"/>
            </a:lvl8pPr>
            <a:lvl9pPr marL="2743199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24320435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26907" y="-31989"/>
            <a:ext cx="4211157" cy="5175489"/>
          </a:xfrm>
          <a:custGeom>
            <a:avLst/>
            <a:gdLst>
              <a:gd name="connsiteX0" fmla="*/ 0 w 4181475"/>
              <a:gd name="connsiteY0" fmla="*/ 0 h 6905625"/>
              <a:gd name="connsiteX1" fmla="*/ 4181475 w 4181475"/>
              <a:gd name="connsiteY1" fmla="*/ 9525 h 6905625"/>
              <a:gd name="connsiteX2" fmla="*/ 1000125 w 4181475"/>
              <a:gd name="connsiteY2" fmla="*/ 6877050 h 6905625"/>
              <a:gd name="connsiteX3" fmla="*/ 38100 w 4181475"/>
              <a:gd name="connsiteY3" fmla="*/ 6905625 h 6905625"/>
              <a:gd name="connsiteX4" fmla="*/ 0 w 4181475"/>
              <a:gd name="connsiteY4" fmla="*/ 0 h 6905625"/>
              <a:gd name="connsiteX0" fmla="*/ 125 w 4143375"/>
              <a:gd name="connsiteY0" fmla="*/ 0 h 6915198"/>
              <a:gd name="connsiteX1" fmla="*/ 4143375 w 4143375"/>
              <a:gd name="connsiteY1" fmla="*/ 19098 h 6915198"/>
              <a:gd name="connsiteX2" fmla="*/ 962025 w 4143375"/>
              <a:gd name="connsiteY2" fmla="*/ 6886623 h 6915198"/>
              <a:gd name="connsiteX3" fmla="*/ 0 w 4143375"/>
              <a:gd name="connsiteY3" fmla="*/ 6915198 h 6915198"/>
              <a:gd name="connsiteX4" fmla="*/ 125 w 4143375"/>
              <a:gd name="connsiteY4" fmla="*/ 0 h 6915198"/>
              <a:gd name="connsiteX0" fmla="*/ 125 w 4143375"/>
              <a:gd name="connsiteY0" fmla="*/ 0 h 6915198"/>
              <a:gd name="connsiteX1" fmla="*/ 4143375 w 4143375"/>
              <a:gd name="connsiteY1" fmla="*/ 19098 h 6915198"/>
              <a:gd name="connsiteX2" fmla="*/ 990694 w 4143375"/>
              <a:gd name="connsiteY2" fmla="*/ 6905770 h 6915198"/>
              <a:gd name="connsiteX3" fmla="*/ 0 w 4143375"/>
              <a:gd name="connsiteY3" fmla="*/ 6915198 h 6915198"/>
              <a:gd name="connsiteX4" fmla="*/ 125 w 4143375"/>
              <a:gd name="connsiteY4" fmla="*/ 0 h 6915198"/>
              <a:gd name="connsiteX0" fmla="*/ 125 w 4191156"/>
              <a:gd name="connsiteY0" fmla="*/ 28768 h 6943966"/>
              <a:gd name="connsiteX1" fmla="*/ 4191156 w 4191156"/>
              <a:gd name="connsiteY1" fmla="*/ 0 h 6943966"/>
              <a:gd name="connsiteX2" fmla="*/ 990694 w 4191156"/>
              <a:gd name="connsiteY2" fmla="*/ 6934538 h 6943966"/>
              <a:gd name="connsiteX3" fmla="*/ 0 w 4191156"/>
              <a:gd name="connsiteY3" fmla="*/ 6943966 h 6943966"/>
              <a:gd name="connsiteX4" fmla="*/ 125 w 4191156"/>
              <a:gd name="connsiteY4" fmla="*/ 28768 h 6943966"/>
              <a:gd name="connsiteX0" fmla="*/ 125 w 4191156"/>
              <a:gd name="connsiteY0" fmla="*/ 28768 h 6943966"/>
              <a:gd name="connsiteX1" fmla="*/ 4191156 w 4191156"/>
              <a:gd name="connsiteY1" fmla="*/ 0 h 6943966"/>
              <a:gd name="connsiteX2" fmla="*/ 1028919 w 4191156"/>
              <a:gd name="connsiteY2" fmla="*/ 6924966 h 6943966"/>
              <a:gd name="connsiteX3" fmla="*/ 0 w 4191156"/>
              <a:gd name="connsiteY3" fmla="*/ 6943966 h 6943966"/>
              <a:gd name="connsiteX4" fmla="*/ 125 w 4191156"/>
              <a:gd name="connsiteY4" fmla="*/ 28768 h 6943966"/>
              <a:gd name="connsiteX0" fmla="*/ 125 w 4213174"/>
              <a:gd name="connsiteY0" fmla="*/ 0 h 6915198"/>
              <a:gd name="connsiteX1" fmla="*/ 4213174 w 4213174"/>
              <a:gd name="connsiteY1" fmla="*/ 7993 h 6915198"/>
              <a:gd name="connsiteX2" fmla="*/ 1028919 w 4213174"/>
              <a:gd name="connsiteY2" fmla="*/ 6896198 h 6915198"/>
              <a:gd name="connsiteX3" fmla="*/ 0 w 4213174"/>
              <a:gd name="connsiteY3" fmla="*/ 6915198 h 6915198"/>
              <a:gd name="connsiteX4" fmla="*/ 125 w 4213174"/>
              <a:gd name="connsiteY4" fmla="*/ 0 h 6915198"/>
              <a:gd name="connsiteX0" fmla="*/ 125 w 4191156"/>
              <a:gd name="connsiteY0" fmla="*/ 0 h 6915198"/>
              <a:gd name="connsiteX1" fmla="*/ 4191156 w 4191156"/>
              <a:gd name="connsiteY1" fmla="*/ 640 h 6915198"/>
              <a:gd name="connsiteX2" fmla="*/ 1028919 w 4191156"/>
              <a:gd name="connsiteY2" fmla="*/ 6896198 h 6915198"/>
              <a:gd name="connsiteX3" fmla="*/ 0 w 4191156"/>
              <a:gd name="connsiteY3" fmla="*/ 6915198 h 6915198"/>
              <a:gd name="connsiteX4" fmla="*/ 125 w 4191156"/>
              <a:gd name="connsiteY4" fmla="*/ 0 h 6915198"/>
              <a:gd name="connsiteX0" fmla="*/ 125 w 4212595"/>
              <a:gd name="connsiteY0" fmla="*/ 0 h 6915198"/>
              <a:gd name="connsiteX1" fmla="*/ 4212595 w 4212595"/>
              <a:gd name="connsiteY1" fmla="*/ 38821 h 6915198"/>
              <a:gd name="connsiteX2" fmla="*/ 1028919 w 4212595"/>
              <a:gd name="connsiteY2" fmla="*/ 6896198 h 6915198"/>
              <a:gd name="connsiteX3" fmla="*/ 0 w 4212595"/>
              <a:gd name="connsiteY3" fmla="*/ 6915198 h 6915198"/>
              <a:gd name="connsiteX4" fmla="*/ 125 w 4212595"/>
              <a:gd name="connsiteY4" fmla="*/ 0 h 6915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2595" h="6915198">
                <a:moveTo>
                  <a:pt x="125" y="0"/>
                </a:moveTo>
                <a:lnTo>
                  <a:pt x="4212595" y="38821"/>
                </a:lnTo>
                <a:lnTo>
                  <a:pt x="1028919" y="6896198"/>
                </a:lnTo>
                <a:lnTo>
                  <a:pt x="0" y="6915198"/>
                </a:lnTo>
                <a:cubicBezTo>
                  <a:pt x="42" y="4610132"/>
                  <a:pt x="83" y="2305066"/>
                  <a:pt x="125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 sz="1400" dirty="0">
              <a:solidFill>
                <a:prstClr val="white"/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015065" y="-11950"/>
            <a:ext cx="2322042" cy="1850243"/>
            <a:chOff x="1827359" y="-19597"/>
            <a:chExt cx="3253206" cy="317333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" name="Freeform 3"/>
            <p:cNvSpPr/>
            <p:nvPr userDrawn="1"/>
          </p:nvSpPr>
          <p:spPr>
            <a:xfrm>
              <a:off x="2727889" y="-19597"/>
              <a:ext cx="2352676" cy="3171824"/>
            </a:xfrm>
            <a:custGeom>
              <a:avLst/>
              <a:gdLst>
                <a:gd name="connsiteX0" fmla="*/ 1447800 w 2352675"/>
                <a:gd name="connsiteY0" fmla="*/ 0 h 3171825"/>
                <a:gd name="connsiteX1" fmla="*/ 2352675 w 2352675"/>
                <a:gd name="connsiteY1" fmla="*/ 0 h 3171825"/>
                <a:gd name="connsiteX2" fmla="*/ 971550 w 2352675"/>
                <a:gd name="connsiteY2" fmla="*/ 3171825 h 3171825"/>
                <a:gd name="connsiteX3" fmla="*/ 0 w 2352675"/>
                <a:gd name="connsiteY3" fmla="*/ 3171825 h 3171825"/>
                <a:gd name="connsiteX4" fmla="*/ 1447800 w 2352675"/>
                <a:gd name="connsiteY4" fmla="*/ 0 h 317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2675" h="3171825">
                  <a:moveTo>
                    <a:pt x="1447800" y="0"/>
                  </a:moveTo>
                  <a:lnTo>
                    <a:pt x="2352675" y="0"/>
                  </a:lnTo>
                  <a:lnTo>
                    <a:pt x="971550" y="3171825"/>
                  </a:lnTo>
                  <a:lnTo>
                    <a:pt x="0" y="3171825"/>
                  </a:lnTo>
                  <a:lnTo>
                    <a:pt x="144780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6" name="Freeform 65"/>
            <p:cNvSpPr/>
            <p:nvPr userDrawn="1"/>
          </p:nvSpPr>
          <p:spPr>
            <a:xfrm>
              <a:off x="1827359" y="-18083"/>
              <a:ext cx="2352675" cy="3171825"/>
            </a:xfrm>
            <a:custGeom>
              <a:avLst/>
              <a:gdLst>
                <a:gd name="connsiteX0" fmla="*/ 1447800 w 2352675"/>
                <a:gd name="connsiteY0" fmla="*/ 0 h 3171825"/>
                <a:gd name="connsiteX1" fmla="*/ 2352675 w 2352675"/>
                <a:gd name="connsiteY1" fmla="*/ 0 h 3171825"/>
                <a:gd name="connsiteX2" fmla="*/ 971550 w 2352675"/>
                <a:gd name="connsiteY2" fmla="*/ 3171825 h 3171825"/>
                <a:gd name="connsiteX3" fmla="*/ 0 w 2352675"/>
                <a:gd name="connsiteY3" fmla="*/ 3171825 h 3171825"/>
                <a:gd name="connsiteX4" fmla="*/ 1447800 w 2352675"/>
                <a:gd name="connsiteY4" fmla="*/ 0 h 317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2675" h="3171825">
                  <a:moveTo>
                    <a:pt x="1447800" y="0"/>
                  </a:moveTo>
                  <a:lnTo>
                    <a:pt x="2352675" y="0"/>
                  </a:lnTo>
                  <a:lnTo>
                    <a:pt x="971550" y="3171825"/>
                  </a:lnTo>
                  <a:lnTo>
                    <a:pt x="0" y="3171825"/>
                  </a:lnTo>
                  <a:lnTo>
                    <a:pt x="144780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40" name="Group 57">
            <a:extLst>
              <a:ext uri="{FF2B5EF4-FFF2-40B4-BE49-F238E27FC236}">
                <a16:creationId xmlns="" xmlns:a16="http://schemas.microsoft.com/office/drawing/2014/main" id="{EAB9B68E-0E3B-4BE0-B8F8-151B4F9AA20D}"/>
              </a:ext>
            </a:extLst>
          </p:cNvPr>
          <p:cNvGrpSpPr/>
          <p:nvPr userDrawn="1"/>
        </p:nvGrpSpPr>
        <p:grpSpPr>
          <a:xfrm>
            <a:off x="638097" y="1493733"/>
            <a:ext cx="1595147" cy="2755253"/>
            <a:chOff x="1438761" y="2033015"/>
            <a:chExt cx="1980000" cy="3420000"/>
          </a:xfrm>
        </p:grpSpPr>
        <p:sp>
          <p:nvSpPr>
            <p:cNvPr id="41" name="Rounded Rectangle 58">
              <a:extLst>
                <a:ext uri="{FF2B5EF4-FFF2-40B4-BE49-F238E27FC236}">
                  <a16:creationId xmlns="" xmlns:a16="http://schemas.microsoft.com/office/drawing/2014/main" id="{FDB5674B-8954-45D6-856F-8635A461E0AC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44" name="Rectangle 59">
              <a:extLst>
                <a:ext uri="{FF2B5EF4-FFF2-40B4-BE49-F238E27FC236}">
                  <a16:creationId xmlns="" xmlns:a16="http://schemas.microsoft.com/office/drawing/2014/main" id="{232323F7-730B-4115-90EB-2F2AD78DC6BD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48" name="Group 60">
              <a:extLst>
                <a:ext uri="{FF2B5EF4-FFF2-40B4-BE49-F238E27FC236}">
                  <a16:creationId xmlns="" xmlns:a16="http://schemas.microsoft.com/office/drawing/2014/main" id="{95EF7343-DE98-475F-9C99-3A196A57B891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49" name="Oval 61">
                <a:extLst>
                  <a:ext uri="{FF2B5EF4-FFF2-40B4-BE49-F238E27FC236}">
                    <a16:creationId xmlns="" xmlns:a16="http://schemas.microsoft.com/office/drawing/2014/main" id="{EAD9F21B-B819-474E-BF4D-5B3F0F9C074D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50" name="Rounded Rectangle 62">
                <a:extLst>
                  <a:ext uri="{FF2B5EF4-FFF2-40B4-BE49-F238E27FC236}">
                    <a16:creationId xmlns="" xmlns:a16="http://schemas.microsoft.com/office/drawing/2014/main" id="{F2404D1F-E10C-4A44-82A1-AF5E7CBB6610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51" name="Group 51">
            <a:extLst>
              <a:ext uri="{FF2B5EF4-FFF2-40B4-BE49-F238E27FC236}">
                <a16:creationId xmlns="" xmlns:a16="http://schemas.microsoft.com/office/drawing/2014/main" id="{029C3365-4C47-476F-BD96-60948EEED497}"/>
              </a:ext>
            </a:extLst>
          </p:cNvPr>
          <p:cNvGrpSpPr/>
          <p:nvPr userDrawn="1"/>
        </p:nvGrpSpPr>
        <p:grpSpPr>
          <a:xfrm>
            <a:off x="2571207" y="1468332"/>
            <a:ext cx="1595147" cy="2755253"/>
            <a:chOff x="1438761" y="2033015"/>
            <a:chExt cx="1980000" cy="3420000"/>
          </a:xfrm>
        </p:grpSpPr>
        <p:sp>
          <p:nvSpPr>
            <p:cNvPr id="64" name="Rounded Rectangle 52">
              <a:extLst>
                <a:ext uri="{FF2B5EF4-FFF2-40B4-BE49-F238E27FC236}">
                  <a16:creationId xmlns="" xmlns:a16="http://schemas.microsoft.com/office/drawing/2014/main" id="{903C2877-5648-4EA2-AAFC-71345F2CC0B8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65" name="Rectangle 53">
              <a:extLst>
                <a:ext uri="{FF2B5EF4-FFF2-40B4-BE49-F238E27FC236}">
                  <a16:creationId xmlns="" xmlns:a16="http://schemas.microsoft.com/office/drawing/2014/main" id="{D839E5E7-18B9-45E8-AE00-5146A6801EBA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67" name="Group 54">
              <a:extLst>
                <a:ext uri="{FF2B5EF4-FFF2-40B4-BE49-F238E27FC236}">
                  <a16:creationId xmlns="" xmlns:a16="http://schemas.microsoft.com/office/drawing/2014/main" id="{BCF7304E-770A-438E-AF0D-155014D0B1F0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68" name="Oval 55">
                <a:extLst>
                  <a:ext uri="{FF2B5EF4-FFF2-40B4-BE49-F238E27FC236}">
                    <a16:creationId xmlns="" xmlns:a16="http://schemas.microsoft.com/office/drawing/2014/main" id="{5B498A21-13F9-4FD8-BA7A-4CF5B592C91E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69" name="Rounded Rectangle 56">
                <a:extLst>
                  <a:ext uri="{FF2B5EF4-FFF2-40B4-BE49-F238E27FC236}">
                    <a16:creationId xmlns="" xmlns:a16="http://schemas.microsoft.com/office/drawing/2014/main" id="{A6711C24-306E-4C85-8E21-5B5B12708D31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Picture Placeholder 9">
            <a:extLst>
              <a:ext uri="{FF2B5EF4-FFF2-40B4-BE49-F238E27FC236}">
                <a16:creationId xmlns="" xmlns:a16="http://schemas.microsoft.com/office/drawing/2014/main" id="{A9684557-E735-4F99-9200-B752FE63292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67021" y="1680852"/>
            <a:ext cx="795685" cy="21791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71" name="Picture Placeholder 9">
            <a:extLst>
              <a:ext uri="{FF2B5EF4-FFF2-40B4-BE49-F238E27FC236}">
                <a16:creationId xmlns="" xmlns:a16="http://schemas.microsoft.com/office/drawing/2014/main" id="{E207400C-59DF-4155-A4E2-8588593E2F7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2133" y="1717525"/>
            <a:ext cx="815282" cy="21791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grpSp>
        <p:nvGrpSpPr>
          <p:cNvPr id="72" name="Group 5">
            <a:extLst>
              <a:ext uri="{FF2B5EF4-FFF2-40B4-BE49-F238E27FC236}">
                <a16:creationId xmlns="" xmlns:a16="http://schemas.microsoft.com/office/drawing/2014/main" id="{6E65A757-CCD5-48A1-8DD3-F86E193ABBCE}"/>
              </a:ext>
            </a:extLst>
          </p:cNvPr>
          <p:cNvGrpSpPr/>
          <p:nvPr userDrawn="1"/>
        </p:nvGrpSpPr>
        <p:grpSpPr>
          <a:xfrm>
            <a:off x="1558338" y="1364962"/>
            <a:ext cx="1728217" cy="2985103"/>
            <a:chOff x="1438761" y="2033015"/>
            <a:chExt cx="1980000" cy="3420000"/>
          </a:xfrm>
        </p:grpSpPr>
        <p:sp>
          <p:nvSpPr>
            <p:cNvPr id="73" name="Rounded Rectangle 41">
              <a:extLst>
                <a:ext uri="{FF2B5EF4-FFF2-40B4-BE49-F238E27FC236}">
                  <a16:creationId xmlns="" xmlns:a16="http://schemas.microsoft.com/office/drawing/2014/main" id="{7DF5FFA1-E879-4ECA-9B4C-31AAE46B98D6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74" name="Rectangle 42">
              <a:extLst>
                <a:ext uri="{FF2B5EF4-FFF2-40B4-BE49-F238E27FC236}">
                  <a16:creationId xmlns="" xmlns:a16="http://schemas.microsoft.com/office/drawing/2014/main" id="{085BC32C-E608-44B8-A7A0-89B00F110C46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75" name="Group 6">
              <a:extLst>
                <a:ext uri="{FF2B5EF4-FFF2-40B4-BE49-F238E27FC236}">
                  <a16:creationId xmlns="" xmlns:a16="http://schemas.microsoft.com/office/drawing/2014/main" id="{56422AC3-6C41-4DC1-BFCF-E1FB16737474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76" name="Oval 44">
                <a:extLst>
                  <a:ext uri="{FF2B5EF4-FFF2-40B4-BE49-F238E27FC236}">
                    <a16:creationId xmlns="" xmlns:a16="http://schemas.microsoft.com/office/drawing/2014/main" id="{2EC257C4-0911-426B-A877-20FB5F821CDD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Rounded Rectangle 45">
                <a:extLst>
                  <a:ext uri="{FF2B5EF4-FFF2-40B4-BE49-F238E27FC236}">
                    <a16:creationId xmlns="" xmlns:a16="http://schemas.microsoft.com/office/drawing/2014/main" id="{8E296D12-D65E-431F-A0FB-A693E4FA6848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8" name="Picture Placeholder 9">
            <a:extLst>
              <a:ext uri="{FF2B5EF4-FFF2-40B4-BE49-F238E27FC236}">
                <a16:creationId xmlns="" xmlns:a16="http://schemas.microsoft.com/office/drawing/2014/main" id="{FBF029D3-590C-4B47-A9C3-7C543074FD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663086" y="1613689"/>
            <a:ext cx="1517540" cy="23566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38" name="Text Placeholder 9">
            <a:extLst>
              <a:ext uri="{FF2B5EF4-FFF2-40B4-BE49-F238E27FC236}">
                <a16:creationId xmlns="" xmlns:a16="http://schemas.microsoft.com/office/drawing/2014/main" id="{4D7B1FD0-5E10-43C8-B28F-F43B7DABDC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2647" y="336629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341821979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5" y="1501752"/>
            <a:ext cx="8450164" cy="297014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8460824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4715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465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76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94862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</p:spTree>
    <p:extLst>
      <p:ext uri="{BB962C8B-B14F-4D97-AF65-F5344CB8AC3E}">
        <p14:creationId xmlns:p14="http://schemas.microsoft.com/office/powerpoint/2010/main" val="2948314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B, partial image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182880" tIns="502920" rIns="182880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85763" y="2308225"/>
            <a:ext cx="8494712" cy="397115"/>
          </a:xfrm>
        </p:spPr>
        <p:txBody>
          <a:bodyPr/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3516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5" y="1501752"/>
            <a:ext cx="8450164" cy="297014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8460824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2408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QUESTIONS</a:t>
            </a:r>
            <a:r>
              <a:rPr lang="en-US" sz="5400" b="0" dirty="0" smtClean="0">
                <a:solidFill>
                  <a:srgbClr val="0078BE"/>
                </a:solidFill>
              </a:rPr>
              <a:t>?</a:t>
            </a:r>
            <a:endParaRPr lang="en-US" sz="2800" b="0" dirty="0">
              <a:solidFill>
                <a:srgbClr val="0078B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88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an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5383941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4" y="1656523"/>
            <a:ext cx="5383941" cy="281537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5385542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5980042" y="-1"/>
            <a:ext cx="3163957" cy="4819487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21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94862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/>
              <a:t>Click to add source line</a:t>
            </a:r>
          </a:p>
        </p:txBody>
      </p:sp>
    </p:spTree>
    <p:extLst>
      <p:ext uri="{BB962C8B-B14F-4D97-AF65-F5344CB8AC3E}">
        <p14:creationId xmlns:p14="http://schemas.microsoft.com/office/powerpoint/2010/main" val="26562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52984"/>
          </a:xfrm>
          <a:prstGeom prst="rect">
            <a:avLst/>
          </a:prstGeom>
        </p:spPr>
      </p:pic>
      <p:pic>
        <p:nvPicPr>
          <p:cNvPr id="16" name="Picture 15" descr="NPD_logo_RGB_Reverse_300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6091" y="3769599"/>
            <a:ext cx="914400" cy="9144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7213" y="1504950"/>
            <a:ext cx="6400800" cy="515541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>
                <a:solidFill>
                  <a:srgbClr val="FFFFFF"/>
                </a:solidFill>
              </a:defRPr>
            </a:lvl1pPr>
            <a:lvl2pPr marL="341313" indent="0">
              <a:buNone/>
              <a:defRPr>
                <a:solidFill>
                  <a:srgbClr val="FFFFFF"/>
                </a:solidFill>
              </a:defRPr>
            </a:lvl2pPr>
            <a:lvl3pPr marL="627062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Subhead of Presentation can go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7213" y="731887"/>
            <a:ext cx="6400800" cy="729763"/>
          </a:xfrm>
        </p:spPr>
        <p:txBody>
          <a:bodyPr wrap="square" lIns="0" tIns="0" rIns="0" bIns="0" anchor="t" anchorCtr="0"/>
          <a:lstStyle>
            <a:lvl1pPr>
              <a:lnSpc>
                <a:spcPct val="80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FFFFFF"/>
                </a:solidFill>
              </a:rPr>
              <a:t>Click To Add Title of Present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557214" y="4369078"/>
            <a:ext cx="279239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Arial" charset="0"/>
                <a:ea typeface="ＭＳ Ｐゴシック" charset="0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prstClr val="white"/>
                </a:solidFill>
                <a:latin typeface="Calibri"/>
              </a:rPr>
              <a:t>Copyright 2019. The NPD Group, Inc. All Rights Reserved. This presentation is </a:t>
            </a:r>
            <a:r>
              <a:rPr lang="en-US" b="1" dirty="0" smtClean="0">
                <a:solidFill>
                  <a:prstClr val="white"/>
                </a:solidFill>
                <a:latin typeface="Calibri"/>
              </a:rPr>
              <a:t>proprietary and confidential</a:t>
            </a:r>
            <a:r>
              <a:rPr lang="en-US" dirty="0" smtClean="0">
                <a:solidFill>
                  <a:prstClr val="white"/>
                </a:solidFill>
                <a:latin typeface="Calibri"/>
              </a:rPr>
              <a:t> and may not be disclosed in any manner, in whole or in part, to any third party without the express written consent of NPD.</a:t>
            </a:r>
            <a:endParaRPr lang="en-US" sz="7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214" y="3933570"/>
            <a:ext cx="2468562" cy="276225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Date (Optional)</a:t>
            </a:r>
          </a:p>
        </p:txBody>
      </p:sp>
    </p:spTree>
    <p:extLst>
      <p:ext uri="{BB962C8B-B14F-4D97-AF65-F5344CB8AC3E}">
        <p14:creationId xmlns:p14="http://schemas.microsoft.com/office/powerpoint/2010/main" val="196826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/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050"/>
            <a:ext cx="9144000" cy="48420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6"/>
          <p:cNvSpPr txBox="1">
            <a:spLocks noChangeArrowheads="1"/>
          </p:cNvSpPr>
          <p:nvPr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1" name="TextBox 4"/>
          <p:cNvSpPr txBox="1">
            <a:spLocks noChangeArrowheads="1"/>
          </p:cNvSpPr>
          <p:nvPr userDrawn="1"/>
        </p:nvSpPr>
        <p:spPr bwMode="auto">
          <a:xfrm>
            <a:off x="7217834" y="433263"/>
            <a:ext cx="1729894" cy="394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spcCol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are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lianc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utomotiv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2B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eaut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ook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Consumer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E-commer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ashion Accessor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 Consumption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servi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twear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Hom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Juvenile Products</a:t>
            </a:r>
          </a:p>
          <a:p>
            <a:pPr eaLnBrk="1" hangingPunct="1">
              <a:spcAft>
                <a:spcPts val="300"/>
              </a:spcAft>
              <a:defRPr/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edia Entertainment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obil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Office Suppl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Sport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oy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ravel 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Video Gam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Watches / Jewelry</a:t>
            </a:r>
          </a:p>
        </p:txBody>
      </p:sp>
    </p:spTree>
    <p:extLst>
      <p:ext uri="{BB962C8B-B14F-4D97-AF65-F5344CB8AC3E}">
        <p14:creationId xmlns:p14="http://schemas.microsoft.com/office/powerpoint/2010/main" val="2445708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09963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Font typeface="+mj-lt"/>
              <a:buAutoNum type="arabicPeriod"/>
              <a:defRPr sz="2800" b="0">
                <a:solidFill>
                  <a:schemeClr val="tx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Click To Create Your 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010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854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4815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0078BE">
              <a:alpha val="60000"/>
            </a:srgbClr>
          </a:solidFill>
        </p:spPr>
        <p:txBody>
          <a:bodyPr lIns="365760" tIns="1371600" rIns="365760" bIns="1371600" anchor="ctr"/>
          <a:lstStyle>
            <a:lvl1pPr algn="ctr">
              <a:lnSpc>
                <a:spcPct val="80000"/>
              </a:lnSpc>
              <a:defRPr sz="5400" b="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24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D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2037644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11480" y="2330527"/>
            <a:ext cx="8321040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 smtClean="0"/>
              <a:t>Transition Slid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23305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2980266"/>
            <a:ext cx="8321040" cy="1491633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spcAft>
                <a:spcPts val="1000"/>
              </a:spcAft>
              <a:defRPr sz="2400"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71445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3635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 baseline="0"/>
            </a:lvl1pPr>
            <a:lvl3pPr>
              <a:defRPr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197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APPENDIX</a:t>
            </a:r>
            <a:endParaRPr lang="en-US" sz="2800" b="0" dirty="0">
              <a:solidFill>
                <a:srgbClr val="0051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06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903574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1231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212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none"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2195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8503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9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 hasCustomPrompt="1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 hasCustomPrompt="1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 hasCustomPrompt="1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74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041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111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102693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646205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77981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18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93725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hon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7211501" y="1568584"/>
            <a:ext cx="1340761" cy="240583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5"/>
            <a:ext cx="6244740" cy="265176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E5E2FCC6-9731-48B8-B2A2-39E9FD0F42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3362" y="1073899"/>
            <a:ext cx="1699776" cy="33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091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ptop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="" xmlns:a16="http://schemas.microsoft.com/office/drawing/2014/main" id="{69D3E401-F6DF-4A44-858C-E9410373BE6E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194050" y="1489753"/>
            <a:ext cx="3949950" cy="24783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  Picture</a:t>
            </a:r>
            <a:endParaRPr lang="en-US" dirty="0"/>
          </a:p>
        </p:txBody>
      </p:sp>
      <p:pic>
        <p:nvPicPr>
          <p:cNvPr id="3" name="Picture 2" descr="A picture containing electronics, display&#10;&#10;Description generated with very high confidence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6060" y="1319842"/>
            <a:ext cx="4567940" cy="3019246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</p:spPr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89753"/>
            <a:ext cx="4374815" cy="2478024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0215805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4"/>
            <a:ext cx="4059936" cy="2474601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6357922" y="1490674"/>
            <a:ext cx="1277283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Picture Placeholder 11"/>
          <p:cNvSpPr>
            <a:spLocks noGrp="1" noChangeAspect="1"/>
          </p:cNvSpPr>
          <p:nvPr>
            <p:ph type="pic" sz="quarter" idx="39"/>
          </p:nvPr>
        </p:nvSpPr>
        <p:spPr>
          <a:xfrm>
            <a:off x="484912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40"/>
          </p:nvPr>
        </p:nvSpPr>
        <p:spPr>
          <a:xfrm>
            <a:off x="786671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219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411480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672584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672584" y="1664884"/>
            <a:ext cx="4059936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Second Chart Goes Her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1664884"/>
            <a:ext cx="4057069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First Chart Goes He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458506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5479015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01194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786408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01194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33" hasCustomPrompt="1"/>
          </p:nvPr>
        </p:nvSpPr>
        <p:spPr>
          <a:xfrm>
            <a:off x="717162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34" hasCustomPrompt="1"/>
          </p:nvPr>
        </p:nvSpPr>
        <p:spPr>
          <a:xfrm>
            <a:off x="209380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35" hasCustomPrompt="1"/>
          </p:nvPr>
        </p:nvSpPr>
        <p:spPr>
          <a:xfrm>
            <a:off x="717162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209380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786408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5479015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40" name="Text Placeholder 12"/>
          <p:cNvSpPr>
            <a:spLocks noGrp="1"/>
          </p:cNvSpPr>
          <p:nvPr>
            <p:ph type="body" sz="quarter" idx="40"/>
          </p:nvPr>
        </p:nvSpPr>
        <p:spPr>
          <a:xfrm>
            <a:off x="401194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12"/>
          <p:cNvSpPr>
            <a:spLocks noGrp="1"/>
          </p:cNvSpPr>
          <p:nvPr>
            <p:ph type="body" sz="quarter" idx="41"/>
          </p:nvPr>
        </p:nvSpPr>
        <p:spPr>
          <a:xfrm>
            <a:off x="717162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42"/>
          </p:nvPr>
        </p:nvSpPr>
        <p:spPr>
          <a:xfrm>
            <a:off x="209380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12"/>
          <p:cNvSpPr>
            <a:spLocks noGrp="1"/>
          </p:cNvSpPr>
          <p:nvPr>
            <p:ph type="body" sz="quarter" idx="43"/>
          </p:nvPr>
        </p:nvSpPr>
        <p:spPr>
          <a:xfrm>
            <a:off x="3786408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12"/>
          <p:cNvSpPr>
            <a:spLocks noGrp="1"/>
          </p:cNvSpPr>
          <p:nvPr>
            <p:ph type="body" sz="quarter" idx="44"/>
          </p:nvPr>
        </p:nvSpPr>
        <p:spPr>
          <a:xfrm>
            <a:off x="5479015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401194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717162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209380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3786408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51" hasCustomPrompt="1"/>
          </p:nvPr>
        </p:nvSpPr>
        <p:spPr>
          <a:xfrm>
            <a:off x="5479015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52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104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QUESTIONS</a:t>
            </a:r>
            <a:r>
              <a:rPr lang="en-US" sz="5400" b="0" dirty="0" smtClean="0">
                <a:solidFill>
                  <a:srgbClr val="0078BE"/>
                </a:solidFill>
              </a:rPr>
              <a:t>?</a:t>
            </a:r>
            <a:endParaRPr lang="en-US" sz="2800" b="0" dirty="0">
              <a:solidFill>
                <a:srgbClr val="0078B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1304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APPENDIX</a:t>
            </a:r>
            <a:endParaRPr lang="en-US" sz="2800" b="0" dirty="0">
              <a:solidFill>
                <a:srgbClr val="0051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123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086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4500" y="1197769"/>
            <a:ext cx="8321040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rgbClr val="8E908F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5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4500" y="1197769"/>
            <a:ext cx="8321040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rgbClr val="8E908F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38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816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chemeClr val="accent1">
              <a:alpha val="75000"/>
            </a:scheme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967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chemeClr val="bg2">
              <a:alpha val="60000"/>
            </a:scheme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5045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077351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96668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570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784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900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794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indent="0">
              <a:buNone/>
              <a:defRPr sz="900"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077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82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00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21300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875157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346121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  <a:p>
            <a:pPr lvl="0"/>
            <a:endParaRPr lang="en-US" dirty="0" smtClean="0"/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262432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E908F"/>
                </a:solidFill>
              </a:rPr>
              <a:t>?</a:t>
            </a:r>
            <a:endParaRPr lang="en-US" sz="2800" b="0" dirty="0">
              <a:solidFill>
                <a:srgbClr val="8E908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52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59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461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5115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chemeClr val="accent2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0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158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09963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Font typeface="+mj-lt"/>
              <a:buAutoNum type="arabicPeriod"/>
              <a:defRPr sz="2800" b="0">
                <a:solidFill>
                  <a:schemeClr val="tx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Click To Create Your 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29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chemeClr val="accent1">
              <a:alpha val="75000"/>
            </a:scheme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8888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565A5C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38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565A5C">
              <a:alpha val="60000"/>
            </a:srgb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68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280183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549682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2C341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14300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52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4515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2728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37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8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393661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569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127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chemeClr val="bg2">
              <a:alpha val="60000"/>
            </a:scheme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69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665636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064388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solidFill>
              <a:srgbClr val="56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02838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85027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2C341"/>
                </a:solidFill>
              </a:rPr>
              <a:t>?</a:t>
            </a:r>
            <a:endParaRPr lang="en-US" sz="2800" b="0" dirty="0">
              <a:solidFill>
                <a:srgbClr val="82C34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839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332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025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yl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7016603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198402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Slide layout"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="" xmlns:a16="http://schemas.microsoft.com/office/drawing/2014/main" id="{AF5DEDB2-78E8-45EC-AB12-C2290127F53E}"/>
              </a:ext>
            </a:extLst>
          </p:cNvPr>
          <p:cNvSpPr/>
          <p:nvPr userDrawn="1"/>
        </p:nvSpPr>
        <p:spPr>
          <a:xfrm rot="18900000">
            <a:off x="2437817" y="-1492038"/>
            <a:ext cx="8127573" cy="8127575"/>
          </a:xfrm>
          <a:custGeom>
            <a:avLst/>
            <a:gdLst>
              <a:gd name="connsiteX0" fmla="*/ 4849337 w 10836764"/>
              <a:gd name="connsiteY0" fmla="*/ 0 h 10836766"/>
              <a:gd name="connsiteX1" fmla="*/ 10836764 w 10836764"/>
              <a:gd name="connsiteY1" fmla="*/ 5987428 h 10836766"/>
              <a:gd name="connsiteX2" fmla="*/ 5987426 w 10836764"/>
              <a:gd name="connsiteY2" fmla="*/ 10836766 h 10836766"/>
              <a:gd name="connsiteX3" fmla="*/ 1 w 10836764"/>
              <a:gd name="connsiteY3" fmla="*/ 4849340 h 10836766"/>
              <a:gd name="connsiteX4" fmla="*/ 0 w 10836764"/>
              <a:gd name="connsiteY4" fmla="*/ 1529113 h 10836766"/>
              <a:gd name="connsiteX5" fmla="*/ 1529113 w 10836764"/>
              <a:gd name="connsiteY5" fmla="*/ 0 h 10836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36764" h="10836766">
                <a:moveTo>
                  <a:pt x="4849337" y="0"/>
                </a:moveTo>
                <a:lnTo>
                  <a:pt x="10836764" y="5987428"/>
                </a:lnTo>
                <a:lnTo>
                  <a:pt x="5987426" y="10836766"/>
                </a:lnTo>
                <a:lnTo>
                  <a:pt x="1" y="4849340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89000">
                <a:schemeClr val="accent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E769B23C-815D-4713-8F2F-BE8E52CBCEEB}"/>
              </a:ext>
            </a:extLst>
          </p:cNvPr>
          <p:cNvSpPr/>
          <p:nvPr userDrawn="1"/>
        </p:nvSpPr>
        <p:spPr>
          <a:xfrm rot="18900000">
            <a:off x="8517299" y="1426573"/>
            <a:ext cx="2330225" cy="2330225"/>
          </a:xfrm>
          <a:custGeom>
            <a:avLst/>
            <a:gdLst>
              <a:gd name="connsiteX0" fmla="*/ 3106966 w 3106966"/>
              <a:gd name="connsiteY0" fmla="*/ 0 h 3106966"/>
              <a:gd name="connsiteX1" fmla="*/ 1 w 3106966"/>
              <a:gd name="connsiteY1" fmla="*/ 3106966 h 3106966"/>
              <a:gd name="connsiteX2" fmla="*/ 0 w 3106966"/>
              <a:gd name="connsiteY2" fmla="*/ 1529113 h 3106966"/>
              <a:gd name="connsiteX3" fmla="*/ 1529113 w 3106966"/>
              <a:gd name="connsiteY3" fmla="*/ 0 h 3106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6966" h="3106966">
                <a:moveTo>
                  <a:pt x="3106966" y="0"/>
                </a:moveTo>
                <a:lnTo>
                  <a:pt x="1" y="3106966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959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329399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092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="" xmlns:a16="http://schemas.microsoft.com/office/drawing/2014/main" id="{B3CA5F7E-D45F-4887-AF9C-BB7E27A9C9CE}"/>
              </a:ext>
            </a:extLst>
          </p:cNvPr>
          <p:cNvSpPr/>
          <p:nvPr userDrawn="1"/>
        </p:nvSpPr>
        <p:spPr>
          <a:xfrm>
            <a:off x="5421090" y="1407112"/>
            <a:ext cx="3240000" cy="32400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" name="그림 개체 틀 5">
            <a:extLst>
              <a:ext uri="{FF2B5EF4-FFF2-40B4-BE49-F238E27FC236}">
                <a16:creationId xmlns="" xmlns:a16="http://schemas.microsoft.com/office/drawing/2014/main" id="{1C677DB5-A9F3-459B-9D51-37160E08512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93016" y="547007"/>
            <a:ext cx="3736584" cy="373658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685800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8090144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4">
            <a:extLst>
              <a:ext uri="{FF2B5EF4-FFF2-40B4-BE49-F238E27FC236}">
                <a16:creationId xmlns="" xmlns:a16="http://schemas.microsoft.com/office/drawing/2014/main" id="{C3CDBC2D-C9C0-4D36-A0F9-7EDE3B294276}"/>
              </a:ext>
            </a:extLst>
          </p:cNvPr>
          <p:cNvSpPr/>
          <p:nvPr userDrawn="1"/>
        </p:nvSpPr>
        <p:spPr>
          <a:xfrm>
            <a:off x="2659899" y="453912"/>
            <a:ext cx="5804833" cy="42406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694249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763651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2833053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6" name="Rectangle 48">
            <a:extLst>
              <a:ext uri="{FF2B5EF4-FFF2-40B4-BE49-F238E27FC236}">
                <a16:creationId xmlns="" xmlns:a16="http://schemas.microsoft.com/office/drawing/2014/main" id="{7877AA66-AAFD-429C-B217-380BEF1ADDE2}"/>
              </a:ext>
            </a:extLst>
          </p:cNvPr>
          <p:cNvSpPr/>
          <p:nvPr userDrawn="1"/>
        </p:nvSpPr>
        <p:spPr>
          <a:xfrm>
            <a:off x="2833053" y="2743256"/>
            <a:ext cx="1620000" cy="48600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="" xmlns:a16="http://schemas.microsoft.com/office/drawing/2014/main" id="{852C85C1-7D9E-4F23-85EA-6A451FF0BEF6}"/>
              </a:ext>
            </a:extLst>
          </p:cNvPr>
          <p:cNvSpPr/>
          <p:nvPr userDrawn="1"/>
        </p:nvSpPr>
        <p:spPr>
          <a:xfrm>
            <a:off x="4763651" y="2735528"/>
            <a:ext cx="1620000" cy="486000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9" name="Rectangle 20">
            <a:extLst>
              <a:ext uri="{FF2B5EF4-FFF2-40B4-BE49-F238E27FC236}">
                <a16:creationId xmlns="" xmlns:a16="http://schemas.microsoft.com/office/drawing/2014/main" id="{E05C1512-E9F1-4355-8FF9-6A6F0DFFCB7B}"/>
              </a:ext>
            </a:extLst>
          </p:cNvPr>
          <p:cNvSpPr/>
          <p:nvPr userDrawn="1"/>
        </p:nvSpPr>
        <p:spPr>
          <a:xfrm>
            <a:off x="6694249" y="2743256"/>
            <a:ext cx="1620000" cy="48600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59837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="" xmlns:a16="http://schemas.microsoft.com/office/drawing/2014/main" id="{2760AC20-0645-4AE6-BC4F-285B18B690B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834742" y="1378743"/>
            <a:ext cx="6309259" cy="3050383"/>
          </a:xfrm>
          <a:custGeom>
            <a:avLst/>
            <a:gdLst>
              <a:gd name="connsiteX0" fmla="*/ 0 w 8412345"/>
              <a:gd name="connsiteY0" fmla="*/ 0 h 4067177"/>
              <a:gd name="connsiteX1" fmla="*/ 8412345 w 8412345"/>
              <a:gd name="connsiteY1" fmla="*/ 0 h 4067177"/>
              <a:gd name="connsiteX2" fmla="*/ 8412345 w 8412345"/>
              <a:gd name="connsiteY2" fmla="*/ 4067177 h 4067177"/>
              <a:gd name="connsiteX3" fmla="*/ 1452936 w 8412345"/>
              <a:gd name="connsiteY3" fmla="*/ 4067177 h 4067177"/>
              <a:gd name="connsiteX4" fmla="*/ 1340647 w 8412345"/>
              <a:gd name="connsiteY4" fmla="*/ 3752847 h 4067177"/>
              <a:gd name="connsiteX5" fmla="*/ 8412344 w 8412345"/>
              <a:gd name="connsiteY5" fmla="*/ 3752847 h 4067177"/>
              <a:gd name="connsiteX6" fmla="*/ 8412344 w 8412345"/>
              <a:gd name="connsiteY6" fmla="*/ 3524256 h 4067177"/>
              <a:gd name="connsiteX7" fmla="*/ 1258986 w 8412345"/>
              <a:gd name="connsiteY7" fmla="*/ 3524256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12345" h="4067177">
                <a:moveTo>
                  <a:pt x="0" y="0"/>
                </a:moveTo>
                <a:lnTo>
                  <a:pt x="8412345" y="0"/>
                </a:lnTo>
                <a:lnTo>
                  <a:pt x="8412345" y="4067177"/>
                </a:lnTo>
                <a:lnTo>
                  <a:pt x="1452936" y="4067177"/>
                </a:lnTo>
                <a:lnTo>
                  <a:pt x="1340647" y="3752847"/>
                </a:lnTo>
                <a:lnTo>
                  <a:pt x="8412344" y="3752847"/>
                </a:lnTo>
                <a:lnTo>
                  <a:pt x="8412344" y="3524256"/>
                </a:lnTo>
                <a:lnTo>
                  <a:pt x="1258986" y="3524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="" xmlns:a16="http://schemas.microsoft.com/office/drawing/2014/main" id="{DF0D5D85-25EF-40C1-9119-2AE98DC382AC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964406"/>
            <a:ext cx="3324186" cy="3050383"/>
          </a:xfrm>
          <a:custGeom>
            <a:avLst/>
            <a:gdLst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904875 w 4432248"/>
              <a:gd name="connsiteY2" fmla="*/ 0 h 4067177"/>
              <a:gd name="connsiteX3" fmla="*/ 2979312 w 4432248"/>
              <a:gd name="connsiteY3" fmla="*/ 0 h 4067177"/>
              <a:gd name="connsiteX4" fmla="*/ 4432248 w 4432248"/>
              <a:gd name="connsiteY4" fmla="*/ 4067177 h 4067177"/>
              <a:gd name="connsiteX5" fmla="*/ 571500 w 4432248"/>
              <a:gd name="connsiteY5" fmla="*/ 4067177 h 4067177"/>
              <a:gd name="connsiteX6" fmla="*/ 571500 w 4432248"/>
              <a:gd name="connsiteY6" fmla="*/ 4067175 h 4067177"/>
              <a:gd name="connsiteX7" fmla="*/ 0 w 4432248"/>
              <a:gd name="connsiteY7" fmla="*/ 4067175 h 4067177"/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2979312 w 4432248"/>
              <a:gd name="connsiteY2" fmla="*/ 0 h 4067177"/>
              <a:gd name="connsiteX3" fmla="*/ 4432248 w 4432248"/>
              <a:gd name="connsiteY3" fmla="*/ 4067177 h 4067177"/>
              <a:gd name="connsiteX4" fmla="*/ 571500 w 4432248"/>
              <a:gd name="connsiteY4" fmla="*/ 4067177 h 4067177"/>
              <a:gd name="connsiteX5" fmla="*/ 571500 w 4432248"/>
              <a:gd name="connsiteY5" fmla="*/ 4067175 h 4067177"/>
              <a:gd name="connsiteX6" fmla="*/ 0 w 4432248"/>
              <a:gd name="connsiteY6" fmla="*/ 4067175 h 4067177"/>
              <a:gd name="connsiteX7" fmla="*/ 0 w 4432248"/>
              <a:gd name="connsiteY7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571500 w 4432248"/>
              <a:gd name="connsiteY4" fmla="*/ 4067175 h 4067177"/>
              <a:gd name="connsiteX5" fmla="*/ 0 w 4432248"/>
              <a:gd name="connsiteY5" fmla="*/ 4067175 h 4067177"/>
              <a:gd name="connsiteX6" fmla="*/ 0 w 4432248"/>
              <a:gd name="connsiteY6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0 w 4432248"/>
              <a:gd name="connsiteY4" fmla="*/ 4067175 h 4067177"/>
              <a:gd name="connsiteX5" fmla="*/ 0 w 4432248"/>
              <a:gd name="connsiteY5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0 w 4432248"/>
              <a:gd name="connsiteY3" fmla="*/ 4067175 h 4067177"/>
              <a:gd name="connsiteX4" fmla="*/ 0 w 4432248"/>
              <a:gd name="connsiteY4" fmla="*/ 0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2248" h="4067177">
                <a:moveTo>
                  <a:pt x="0" y="0"/>
                </a:moveTo>
                <a:lnTo>
                  <a:pt x="2979312" y="0"/>
                </a:lnTo>
                <a:lnTo>
                  <a:pt x="4432248" y="4067177"/>
                </a:lnTo>
                <a:lnTo>
                  <a:pt x="0" y="406717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4746101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15114" y="3851952"/>
            <a:ext cx="8457515" cy="434579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437129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921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7CB68201-6AEB-4BFE-B92F-F7D14A3CB566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5366888" cy="5143500"/>
          </a:xfrm>
          <a:custGeom>
            <a:avLst/>
            <a:gdLst>
              <a:gd name="connsiteX0" fmla="*/ 0 w 7155850"/>
              <a:gd name="connsiteY0" fmla="*/ 3024930 h 6858000"/>
              <a:gd name="connsiteX1" fmla="*/ 2358530 w 7155850"/>
              <a:gd name="connsiteY1" fmla="*/ 6858000 h 6858000"/>
              <a:gd name="connsiteX2" fmla="*/ 1329860 w 7155850"/>
              <a:gd name="connsiteY2" fmla="*/ 6858000 h 6858000"/>
              <a:gd name="connsiteX3" fmla="*/ 0 w 7155850"/>
              <a:gd name="connsiteY3" fmla="*/ 4691859 h 6858000"/>
              <a:gd name="connsiteX4" fmla="*/ 1 w 7155850"/>
              <a:gd name="connsiteY4" fmla="*/ 397145 h 6858000"/>
              <a:gd name="connsiteX5" fmla="*/ 3459898 w 7155850"/>
              <a:gd name="connsiteY5" fmla="*/ 6020152 h 6858000"/>
              <a:gd name="connsiteX6" fmla="*/ 2945517 w 7155850"/>
              <a:gd name="connsiteY6" fmla="*/ 6858000 h 6858000"/>
              <a:gd name="connsiteX7" fmla="*/ 1 w 7155850"/>
              <a:gd name="connsiteY7" fmla="*/ 2060197 h 6858000"/>
              <a:gd name="connsiteX8" fmla="*/ 396861 w 7155850"/>
              <a:gd name="connsiteY8" fmla="*/ 0 h 6858000"/>
              <a:gd name="connsiteX9" fmla="*/ 7155850 w 7155850"/>
              <a:gd name="connsiteY9" fmla="*/ 0 h 6858000"/>
              <a:gd name="connsiteX10" fmla="*/ 3780151 w 7155850"/>
              <a:gd name="connsiteY10" fmla="*/ 54985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55850" h="6858000">
                <a:moveTo>
                  <a:pt x="0" y="3024930"/>
                </a:moveTo>
                <a:lnTo>
                  <a:pt x="2358530" y="6858000"/>
                </a:lnTo>
                <a:lnTo>
                  <a:pt x="1329860" y="6858000"/>
                </a:lnTo>
                <a:lnTo>
                  <a:pt x="0" y="4691859"/>
                </a:lnTo>
                <a:close/>
                <a:moveTo>
                  <a:pt x="1" y="397145"/>
                </a:moveTo>
                <a:lnTo>
                  <a:pt x="3459898" y="6020152"/>
                </a:lnTo>
                <a:lnTo>
                  <a:pt x="2945517" y="6858000"/>
                </a:lnTo>
                <a:lnTo>
                  <a:pt x="1" y="2060197"/>
                </a:lnTo>
                <a:close/>
                <a:moveTo>
                  <a:pt x="396861" y="0"/>
                </a:moveTo>
                <a:lnTo>
                  <a:pt x="7155850" y="0"/>
                </a:lnTo>
                <a:lnTo>
                  <a:pt x="3780151" y="54985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7" tIns="34289" rIns="68577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899" indent="0">
              <a:buNone/>
              <a:defRPr sz="2100"/>
            </a:lvl2pPr>
            <a:lvl3pPr marL="685801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2" indent="0">
              <a:buNone/>
              <a:defRPr sz="1500"/>
            </a:lvl6pPr>
            <a:lvl7pPr marL="2057401" indent="0">
              <a:buNone/>
              <a:defRPr sz="1500"/>
            </a:lvl7pPr>
            <a:lvl8pPr marL="2400300" indent="0">
              <a:buNone/>
              <a:defRPr sz="1500"/>
            </a:lvl8pPr>
            <a:lvl9pPr marL="2743199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9992718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26907" y="-31989"/>
            <a:ext cx="4211157" cy="5175489"/>
          </a:xfrm>
          <a:custGeom>
            <a:avLst/>
            <a:gdLst>
              <a:gd name="connsiteX0" fmla="*/ 0 w 4181475"/>
              <a:gd name="connsiteY0" fmla="*/ 0 h 6905625"/>
              <a:gd name="connsiteX1" fmla="*/ 4181475 w 4181475"/>
              <a:gd name="connsiteY1" fmla="*/ 9525 h 6905625"/>
              <a:gd name="connsiteX2" fmla="*/ 1000125 w 4181475"/>
              <a:gd name="connsiteY2" fmla="*/ 6877050 h 6905625"/>
              <a:gd name="connsiteX3" fmla="*/ 38100 w 4181475"/>
              <a:gd name="connsiteY3" fmla="*/ 6905625 h 6905625"/>
              <a:gd name="connsiteX4" fmla="*/ 0 w 4181475"/>
              <a:gd name="connsiteY4" fmla="*/ 0 h 6905625"/>
              <a:gd name="connsiteX0" fmla="*/ 125 w 4143375"/>
              <a:gd name="connsiteY0" fmla="*/ 0 h 6915198"/>
              <a:gd name="connsiteX1" fmla="*/ 4143375 w 4143375"/>
              <a:gd name="connsiteY1" fmla="*/ 19098 h 6915198"/>
              <a:gd name="connsiteX2" fmla="*/ 962025 w 4143375"/>
              <a:gd name="connsiteY2" fmla="*/ 6886623 h 6915198"/>
              <a:gd name="connsiteX3" fmla="*/ 0 w 4143375"/>
              <a:gd name="connsiteY3" fmla="*/ 6915198 h 6915198"/>
              <a:gd name="connsiteX4" fmla="*/ 125 w 4143375"/>
              <a:gd name="connsiteY4" fmla="*/ 0 h 6915198"/>
              <a:gd name="connsiteX0" fmla="*/ 125 w 4143375"/>
              <a:gd name="connsiteY0" fmla="*/ 0 h 6915198"/>
              <a:gd name="connsiteX1" fmla="*/ 4143375 w 4143375"/>
              <a:gd name="connsiteY1" fmla="*/ 19098 h 6915198"/>
              <a:gd name="connsiteX2" fmla="*/ 990694 w 4143375"/>
              <a:gd name="connsiteY2" fmla="*/ 6905770 h 6915198"/>
              <a:gd name="connsiteX3" fmla="*/ 0 w 4143375"/>
              <a:gd name="connsiteY3" fmla="*/ 6915198 h 6915198"/>
              <a:gd name="connsiteX4" fmla="*/ 125 w 4143375"/>
              <a:gd name="connsiteY4" fmla="*/ 0 h 6915198"/>
              <a:gd name="connsiteX0" fmla="*/ 125 w 4191156"/>
              <a:gd name="connsiteY0" fmla="*/ 28768 h 6943966"/>
              <a:gd name="connsiteX1" fmla="*/ 4191156 w 4191156"/>
              <a:gd name="connsiteY1" fmla="*/ 0 h 6943966"/>
              <a:gd name="connsiteX2" fmla="*/ 990694 w 4191156"/>
              <a:gd name="connsiteY2" fmla="*/ 6934538 h 6943966"/>
              <a:gd name="connsiteX3" fmla="*/ 0 w 4191156"/>
              <a:gd name="connsiteY3" fmla="*/ 6943966 h 6943966"/>
              <a:gd name="connsiteX4" fmla="*/ 125 w 4191156"/>
              <a:gd name="connsiteY4" fmla="*/ 28768 h 6943966"/>
              <a:gd name="connsiteX0" fmla="*/ 125 w 4191156"/>
              <a:gd name="connsiteY0" fmla="*/ 28768 h 6943966"/>
              <a:gd name="connsiteX1" fmla="*/ 4191156 w 4191156"/>
              <a:gd name="connsiteY1" fmla="*/ 0 h 6943966"/>
              <a:gd name="connsiteX2" fmla="*/ 1028919 w 4191156"/>
              <a:gd name="connsiteY2" fmla="*/ 6924966 h 6943966"/>
              <a:gd name="connsiteX3" fmla="*/ 0 w 4191156"/>
              <a:gd name="connsiteY3" fmla="*/ 6943966 h 6943966"/>
              <a:gd name="connsiteX4" fmla="*/ 125 w 4191156"/>
              <a:gd name="connsiteY4" fmla="*/ 28768 h 6943966"/>
              <a:gd name="connsiteX0" fmla="*/ 125 w 4213174"/>
              <a:gd name="connsiteY0" fmla="*/ 0 h 6915198"/>
              <a:gd name="connsiteX1" fmla="*/ 4213174 w 4213174"/>
              <a:gd name="connsiteY1" fmla="*/ 7993 h 6915198"/>
              <a:gd name="connsiteX2" fmla="*/ 1028919 w 4213174"/>
              <a:gd name="connsiteY2" fmla="*/ 6896198 h 6915198"/>
              <a:gd name="connsiteX3" fmla="*/ 0 w 4213174"/>
              <a:gd name="connsiteY3" fmla="*/ 6915198 h 6915198"/>
              <a:gd name="connsiteX4" fmla="*/ 125 w 4213174"/>
              <a:gd name="connsiteY4" fmla="*/ 0 h 6915198"/>
              <a:gd name="connsiteX0" fmla="*/ 125 w 4191156"/>
              <a:gd name="connsiteY0" fmla="*/ 0 h 6915198"/>
              <a:gd name="connsiteX1" fmla="*/ 4191156 w 4191156"/>
              <a:gd name="connsiteY1" fmla="*/ 640 h 6915198"/>
              <a:gd name="connsiteX2" fmla="*/ 1028919 w 4191156"/>
              <a:gd name="connsiteY2" fmla="*/ 6896198 h 6915198"/>
              <a:gd name="connsiteX3" fmla="*/ 0 w 4191156"/>
              <a:gd name="connsiteY3" fmla="*/ 6915198 h 6915198"/>
              <a:gd name="connsiteX4" fmla="*/ 125 w 4191156"/>
              <a:gd name="connsiteY4" fmla="*/ 0 h 6915198"/>
              <a:gd name="connsiteX0" fmla="*/ 125 w 4212595"/>
              <a:gd name="connsiteY0" fmla="*/ 0 h 6915198"/>
              <a:gd name="connsiteX1" fmla="*/ 4212595 w 4212595"/>
              <a:gd name="connsiteY1" fmla="*/ 38821 h 6915198"/>
              <a:gd name="connsiteX2" fmla="*/ 1028919 w 4212595"/>
              <a:gd name="connsiteY2" fmla="*/ 6896198 h 6915198"/>
              <a:gd name="connsiteX3" fmla="*/ 0 w 4212595"/>
              <a:gd name="connsiteY3" fmla="*/ 6915198 h 6915198"/>
              <a:gd name="connsiteX4" fmla="*/ 125 w 4212595"/>
              <a:gd name="connsiteY4" fmla="*/ 0 h 6915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2595" h="6915198">
                <a:moveTo>
                  <a:pt x="125" y="0"/>
                </a:moveTo>
                <a:lnTo>
                  <a:pt x="4212595" y="38821"/>
                </a:lnTo>
                <a:lnTo>
                  <a:pt x="1028919" y="6896198"/>
                </a:lnTo>
                <a:lnTo>
                  <a:pt x="0" y="6915198"/>
                </a:lnTo>
                <a:cubicBezTo>
                  <a:pt x="42" y="4610132"/>
                  <a:pt x="83" y="2305066"/>
                  <a:pt x="125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 sz="1400" dirty="0">
              <a:solidFill>
                <a:prstClr val="white"/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015065" y="-11950"/>
            <a:ext cx="2322042" cy="1850243"/>
            <a:chOff x="1827359" y="-19597"/>
            <a:chExt cx="3253206" cy="317333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" name="Freeform 3"/>
            <p:cNvSpPr/>
            <p:nvPr userDrawn="1"/>
          </p:nvSpPr>
          <p:spPr>
            <a:xfrm>
              <a:off x="2727889" y="-19597"/>
              <a:ext cx="2352676" cy="3171824"/>
            </a:xfrm>
            <a:custGeom>
              <a:avLst/>
              <a:gdLst>
                <a:gd name="connsiteX0" fmla="*/ 1447800 w 2352675"/>
                <a:gd name="connsiteY0" fmla="*/ 0 h 3171825"/>
                <a:gd name="connsiteX1" fmla="*/ 2352675 w 2352675"/>
                <a:gd name="connsiteY1" fmla="*/ 0 h 3171825"/>
                <a:gd name="connsiteX2" fmla="*/ 971550 w 2352675"/>
                <a:gd name="connsiteY2" fmla="*/ 3171825 h 3171825"/>
                <a:gd name="connsiteX3" fmla="*/ 0 w 2352675"/>
                <a:gd name="connsiteY3" fmla="*/ 3171825 h 3171825"/>
                <a:gd name="connsiteX4" fmla="*/ 1447800 w 2352675"/>
                <a:gd name="connsiteY4" fmla="*/ 0 h 317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2675" h="3171825">
                  <a:moveTo>
                    <a:pt x="1447800" y="0"/>
                  </a:moveTo>
                  <a:lnTo>
                    <a:pt x="2352675" y="0"/>
                  </a:lnTo>
                  <a:lnTo>
                    <a:pt x="971550" y="3171825"/>
                  </a:lnTo>
                  <a:lnTo>
                    <a:pt x="0" y="3171825"/>
                  </a:lnTo>
                  <a:lnTo>
                    <a:pt x="144780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6" name="Freeform 65"/>
            <p:cNvSpPr/>
            <p:nvPr userDrawn="1"/>
          </p:nvSpPr>
          <p:spPr>
            <a:xfrm>
              <a:off x="1827359" y="-18083"/>
              <a:ext cx="2352675" cy="3171825"/>
            </a:xfrm>
            <a:custGeom>
              <a:avLst/>
              <a:gdLst>
                <a:gd name="connsiteX0" fmla="*/ 1447800 w 2352675"/>
                <a:gd name="connsiteY0" fmla="*/ 0 h 3171825"/>
                <a:gd name="connsiteX1" fmla="*/ 2352675 w 2352675"/>
                <a:gd name="connsiteY1" fmla="*/ 0 h 3171825"/>
                <a:gd name="connsiteX2" fmla="*/ 971550 w 2352675"/>
                <a:gd name="connsiteY2" fmla="*/ 3171825 h 3171825"/>
                <a:gd name="connsiteX3" fmla="*/ 0 w 2352675"/>
                <a:gd name="connsiteY3" fmla="*/ 3171825 h 3171825"/>
                <a:gd name="connsiteX4" fmla="*/ 1447800 w 2352675"/>
                <a:gd name="connsiteY4" fmla="*/ 0 h 317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2675" h="3171825">
                  <a:moveTo>
                    <a:pt x="1447800" y="0"/>
                  </a:moveTo>
                  <a:lnTo>
                    <a:pt x="2352675" y="0"/>
                  </a:lnTo>
                  <a:lnTo>
                    <a:pt x="971550" y="3171825"/>
                  </a:lnTo>
                  <a:lnTo>
                    <a:pt x="0" y="3171825"/>
                  </a:lnTo>
                  <a:lnTo>
                    <a:pt x="144780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40" name="Group 57">
            <a:extLst>
              <a:ext uri="{FF2B5EF4-FFF2-40B4-BE49-F238E27FC236}">
                <a16:creationId xmlns="" xmlns:a16="http://schemas.microsoft.com/office/drawing/2014/main" id="{EAB9B68E-0E3B-4BE0-B8F8-151B4F9AA20D}"/>
              </a:ext>
            </a:extLst>
          </p:cNvPr>
          <p:cNvGrpSpPr/>
          <p:nvPr userDrawn="1"/>
        </p:nvGrpSpPr>
        <p:grpSpPr>
          <a:xfrm>
            <a:off x="638097" y="1493733"/>
            <a:ext cx="1595147" cy="2755253"/>
            <a:chOff x="1438761" y="2033015"/>
            <a:chExt cx="1980000" cy="3420000"/>
          </a:xfrm>
        </p:grpSpPr>
        <p:sp>
          <p:nvSpPr>
            <p:cNvPr id="41" name="Rounded Rectangle 58">
              <a:extLst>
                <a:ext uri="{FF2B5EF4-FFF2-40B4-BE49-F238E27FC236}">
                  <a16:creationId xmlns="" xmlns:a16="http://schemas.microsoft.com/office/drawing/2014/main" id="{FDB5674B-8954-45D6-856F-8635A461E0AC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44" name="Rectangle 59">
              <a:extLst>
                <a:ext uri="{FF2B5EF4-FFF2-40B4-BE49-F238E27FC236}">
                  <a16:creationId xmlns="" xmlns:a16="http://schemas.microsoft.com/office/drawing/2014/main" id="{232323F7-730B-4115-90EB-2F2AD78DC6BD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48" name="Group 60">
              <a:extLst>
                <a:ext uri="{FF2B5EF4-FFF2-40B4-BE49-F238E27FC236}">
                  <a16:creationId xmlns="" xmlns:a16="http://schemas.microsoft.com/office/drawing/2014/main" id="{95EF7343-DE98-475F-9C99-3A196A57B891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49" name="Oval 61">
                <a:extLst>
                  <a:ext uri="{FF2B5EF4-FFF2-40B4-BE49-F238E27FC236}">
                    <a16:creationId xmlns="" xmlns:a16="http://schemas.microsoft.com/office/drawing/2014/main" id="{EAD9F21B-B819-474E-BF4D-5B3F0F9C074D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50" name="Rounded Rectangle 62">
                <a:extLst>
                  <a:ext uri="{FF2B5EF4-FFF2-40B4-BE49-F238E27FC236}">
                    <a16:creationId xmlns="" xmlns:a16="http://schemas.microsoft.com/office/drawing/2014/main" id="{F2404D1F-E10C-4A44-82A1-AF5E7CBB6610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51" name="Group 51">
            <a:extLst>
              <a:ext uri="{FF2B5EF4-FFF2-40B4-BE49-F238E27FC236}">
                <a16:creationId xmlns="" xmlns:a16="http://schemas.microsoft.com/office/drawing/2014/main" id="{029C3365-4C47-476F-BD96-60948EEED497}"/>
              </a:ext>
            </a:extLst>
          </p:cNvPr>
          <p:cNvGrpSpPr/>
          <p:nvPr userDrawn="1"/>
        </p:nvGrpSpPr>
        <p:grpSpPr>
          <a:xfrm>
            <a:off x="2571207" y="1468332"/>
            <a:ext cx="1595147" cy="2755253"/>
            <a:chOff x="1438761" y="2033015"/>
            <a:chExt cx="1980000" cy="3420000"/>
          </a:xfrm>
        </p:grpSpPr>
        <p:sp>
          <p:nvSpPr>
            <p:cNvPr id="64" name="Rounded Rectangle 52">
              <a:extLst>
                <a:ext uri="{FF2B5EF4-FFF2-40B4-BE49-F238E27FC236}">
                  <a16:creationId xmlns="" xmlns:a16="http://schemas.microsoft.com/office/drawing/2014/main" id="{903C2877-5648-4EA2-AAFC-71345F2CC0B8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65" name="Rectangle 53">
              <a:extLst>
                <a:ext uri="{FF2B5EF4-FFF2-40B4-BE49-F238E27FC236}">
                  <a16:creationId xmlns="" xmlns:a16="http://schemas.microsoft.com/office/drawing/2014/main" id="{D839E5E7-18B9-45E8-AE00-5146A6801EBA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67" name="Group 54">
              <a:extLst>
                <a:ext uri="{FF2B5EF4-FFF2-40B4-BE49-F238E27FC236}">
                  <a16:creationId xmlns="" xmlns:a16="http://schemas.microsoft.com/office/drawing/2014/main" id="{BCF7304E-770A-438E-AF0D-155014D0B1F0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68" name="Oval 55">
                <a:extLst>
                  <a:ext uri="{FF2B5EF4-FFF2-40B4-BE49-F238E27FC236}">
                    <a16:creationId xmlns="" xmlns:a16="http://schemas.microsoft.com/office/drawing/2014/main" id="{5B498A21-13F9-4FD8-BA7A-4CF5B592C91E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69" name="Rounded Rectangle 56">
                <a:extLst>
                  <a:ext uri="{FF2B5EF4-FFF2-40B4-BE49-F238E27FC236}">
                    <a16:creationId xmlns="" xmlns:a16="http://schemas.microsoft.com/office/drawing/2014/main" id="{A6711C24-306E-4C85-8E21-5B5B12708D31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Picture Placeholder 9">
            <a:extLst>
              <a:ext uri="{FF2B5EF4-FFF2-40B4-BE49-F238E27FC236}">
                <a16:creationId xmlns="" xmlns:a16="http://schemas.microsoft.com/office/drawing/2014/main" id="{A9684557-E735-4F99-9200-B752FE63292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67021" y="1680852"/>
            <a:ext cx="795685" cy="21791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71" name="Picture Placeholder 9">
            <a:extLst>
              <a:ext uri="{FF2B5EF4-FFF2-40B4-BE49-F238E27FC236}">
                <a16:creationId xmlns="" xmlns:a16="http://schemas.microsoft.com/office/drawing/2014/main" id="{E207400C-59DF-4155-A4E2-8588593E2F7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2133" y="1717525"/>
            <a:ext cx="815282" cy="21791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grpSp>
        <p:nvGrpSpPr>
          <p:cNvPr id="72" name="Group 5">
            <a:extLst>
              <a:ext uri="{FF2B5EF4-FFF2-40B4-BE49-F238E27FC236}">
                <a16:creationId xmlns="" xmlns:a16="http://schemas.microsoft.com/office/drawing/2014/main" id="{6E65A757-CCD5-48A1-8DD3-F86E193ABBCE}"/>
              </a:ext>
            </a:extLst>
          </p:cNvPr>
          <p:cNvGrpSpPr/>
          <p:nvPr userDrawn="1"/>
        </p:nvGrpSpPr>
        <p:grpSpPr>
          <a:xfrm>
            <a:off x="1558338" y="1364962"/>
            <a:ext cx="1728217" cy="2985103"/>
            <a:chOff x="1438761" y="2033015"/>
            <a:chExt cx="1980000" cy="3420000"/>
          </a:xfrm>
        </p:grpSpPr>
        <p:sp>
          <p:nvSpPr>
            <p:cNvPr id="73" name="Rounded Rectangle 41">
              <a:extLst>
                <a:ext uri="{FF2B5EF4-FFF2-40B4-BE49-F238E27FC236}">
                  <a16:creationId xmlns="" xmlns:a16="http://schemas.microsoft.com/office/drawing/2014/main" id="{7DF5FFA1-E879-4ECA-9B4C-31AAE46B98D6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74" name="Rectangle 42">
              <a:extLst>
                <a:ext uri="{FF2B5EF4-FFF2-40B4-BE49-F238E27FC236}">
                  <a16:creationId xmlns="" xmlns:a16="http://schemas.microsoft.com/office/drawing/2014/main" id="{085BC32C-E608-44B8-A7A0-89B00F110C46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75" name="Group 6">
              <a:extLst>
                <a:ext uri="{FF2B5EF4-FFF2-40B4-BE49-F238E27FC236}">
                  <a16:creationId xmlns="" xmlns:a16="http://schemas.microsoft.com/office/drawing/2014/main" id="{56422AC3-6C41-4DC1-BFCF-E1FB16737474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76" name="Oval 44">
                <a:extLst>
                  <a:ext uri="{FF2B5EF4-FFF2-40B4-BE49-F238E27FC236}">
                    <a16:creationId xmlns="" xmlns:a16="http://schemas.microsoft.com/office/drawing/2014/main" id="{2EC257C4-0911-426B-A877-20FB5F821CDD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Rounded Rectangle 45">
                <a:extLst>
                  <a:ext uri="{FF2B5EF4-FFF2-40B4-BE49-F238E27FC236}">
                    <a16:creationId xmlns="" xmlns:a16="http://schemas.microsoft.com/office/drawing/2014/main" id="{8E296D12-D65E-431F-A0FB-A693E4FA6848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8" name="Picture Placeholder 9">
            <a:extLst>
              <a:ext uri="{FF2B5EF4-FFF2-40B4-BE49-F238E27FC236}">
                <a16:creationId xmlns="" xmlns:a16="http://schemas.microsoft.com/office/drawing/2014/main" id="{FBF029D3-590C-4B47-A9C3-7C543074FD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663086" y="1613689"/>
            <a:ext cx="1517540" cy="23566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38" name="Text Placeholder 9">
            <a:extLst>
              <a:ext uri="{FF2B5EF4-FFF2-40B4-BE49-F238E27FC236}">
                <a16:creationId xmlns="" xmlns:a16="http://schemas.microsoft.com/office/drawing/2014/main" id="{4D7B1FD0-5E10-43C8-B28F-F43B7DABDC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2647" y="336629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561217231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5" y="1501752"/>
            <a:ext cx="8450164" cy="297014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8460824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5199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7318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94862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</p:spTree>
    <p:extLst>
      <p:ext uri="{BB962C8B-B14F-4D97-AF65-F5344CB8AC3E}">
        <p14:creationId xmlns:p14="http://schemas.microsoft.com/office/powerpoint/2010/main" val="324049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171989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B, partial image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182880" tIns="502920" rIns="182880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85763" y="2308225"/>
            <a:ext cx="8494712" cy="397115"/>
          </a:xfrm>
        </p:spPr>
        <p:txBody>
          <a:bodyPr/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7133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5" y="1501752"/>
            <a:ext cx="8450164" cy="297014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8460824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1873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an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5383941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4" y="1656523"/>
            <a:ext cx="5383941" cy="281537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5385542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5980042" y="-1"/>
            <a:ext cx="3163957" cy="4819487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574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52984"/>
          </a:xfrm>
          <a:prstGeom prst="rect">
            <a:avLst/>
          </a:prstGeom>
        </p:spPr>
      </p:pic>
      <p:pic>
        <p:nvPicPr>
          <p:cNvPr id="16" name="Picture 15" descr="NPD_logo_RGB_Reverse_300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6091" y="3769599"/>
            <a:ext cx="914400" cy="9144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7213" y="1504950"/>
            <a:ext cx="6400800" cy="515541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>
                <a:solidFill>
                  <a:srgbClr val="FFFFFF"/>
                </a:solidFill>
              </a:defRPr>
            </a:lvl1pPr>
            <a:lvl2pPr marL="341313" indent="0">
              <a:buNone/>
              <a:defRPr>
                <a:solidFill>
                  <a:srgbClr val="FFFFFF"/>
                </a:solidFill>
              </a:defRPr>
            </a:lvl2pPr>
            <a:lvl3pPr marL="627062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Subhead of Presentation can go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7213" y="731887"/>
            <a:ext cx="6400800" cy="729763"/>
          </a:xfrm>
        </p:spPr>
        <p:txBody>
          <a:bodyPr wrap="square" lIns="0" tIns="0" rIns="0" bIns="0" anchor="t" anchorCtr="0"/>
          <a:lstStyle>
            <a:lvl1pPr>
              <a:lnSpc>
                <a:spcPct val="80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FFFFFF"/>
                </a:solidFill>
              </a:rPr>
              <a:t>Click To Add Title of Present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557214" y="4369078"/>
            <a:ext cx="279239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Arial" charset="0"/>
                <a:ea typeface="ＭＳ Ｐゴシック" charset="0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prstClr val="white"/>
                </a:solidFill>
                <a:latin typeface="Calibri"/>
              </a:rPr>
              <a:t>Copyright 2019. The NPD Group, Inc. All Rights Reserved. This presentation is </a:t>
            </a:r>
            <a:r>
              <a:rPr lang="en-US" b="1" dirty="0" smtClean="0">
                <a:solidFill>
                  <a:prstClr val="white"/>
                </a:solidFill>
                <a:latin typeface="Calibri"/>
              </a:rPr>
              <a:t>proprietary and confidential</a:t>
            </a:r>
            <a:r>
              <a:rPr lang="en-US" dirty="0" smtClean="0">
                <a:solidFill>
                  <a:prstClr val="white"/>
                </a:solidFill>
                <a:latin typeface="Calibri"/>
              </a:rPr>
              <a:t> and may not be disclosed in any manner, in whole or in part, to any third party without the express written consent of NPD.</a:t>
            </a:r>
            <a:endParaRPr lang="en-US" sz="7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214" y="3933570"/>
            <a:ext cx="2468562" cy="276225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Date (Optional)</a:t>
            </a:r>
          </a:p>
        </p:txBody>
      </p:sp>
    </p:spTree>
    <p:extLst>
      <p:ext uri="{BB962C8B-B14F-4D97-AF65-F5344CB8AC3E}">
        <p14:creationId xmlns:p14="http://schemas.microsoft.com/office/powerpoint/2010/main" val="999211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/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050"/>
            <a:ext cx="9144000" cy="48420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6"/>
          <p:cNvSpPr txBox="1">
            <a:spLocks noChangeArrowheads="1"/>
          </p:cNvSpPr>
          <p:nvPr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1" name="TextBox 4"/>
          <p:cNvSpPr txBox="1">
            <a:spLocks noChangeArrowheads="1"/>
          </p:cNvSpPr>
          <p:nvPr userDrawn="1"/>
        </p:nvSpPr>
        <p:spPr bwMode="auto">
          <a:xfrm>
            <a:off x="7217834" y="433263"/>
            <a:ext cx="1729894" cy="394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spcCol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are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lianc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utomotiv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2B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eaut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ook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Consumer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E-commer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ashion Accessor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 Consumption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servi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twear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Hom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Juvenile Products</a:t>
            </a:r>
          </a:p>
          <a:p>
            <a:pPr eaLnBrk="1" hangingPunct="1">
              <a:spcAft>
                <a:spcPts val="300"/>
              </a:spcAft>
              <a:defRPr/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edia Entertainment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obil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Office Suppl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Sport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oy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ravel 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Video Gam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Watches / Jewelry</a:t>
            </a:r>
          </a:p>
        </p:txBody>
      </p:sp>
    </p:spTree>
    <p:extLst>
      <p:ext uri="{BB962C8B-B14F-4D97-AF65-F5344CB8AC3E}">
        <p14:creationId xmlns:p14="http://schemas.microsoft.com/office/powerpoint/2010/main" val="3622857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09963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Font typeface="+mj-lt"/>
              <a:buAutoNum type="arabicPeriod"/>
              <a:defRPr sz="2800" b="0">
                <a:solidFill>
                  <a:schemeClr val="tx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Click To Create Your 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45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8500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0781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0078BE">
              <a:alpha val="60000"/>
            </a:srgbClr>
          </a:solidFill>
        </p:spPr>
        <p:txBody>
          <a:bodyPr lIns="365760" tIns="1371600" rIns="365760" bIns="1371600" anchor="ctr"/>
          <a:lstStyle>
            <a:lvl1pPr algn="ctr">
              <a:lnSpc>
                <a:spcPct val="80000"/>
              </a:lnSpc>
              <a:defRPr sz="5400" b="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19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D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2037644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11480" y="2330527"/>
            <a:ext cx="8321040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 smtClean="0"/>
              <a:t>Transition Slid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23305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2980266"/>
            <a:ext cx="8321040" cy="1491633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spcAft>
                <a:spcPts val="1000"/>
              </a:spcAft>
              <a:defRPr sz="2400"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5393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061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3635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 baseline="0"/>
            </a:lvl1pPr>
            <a:lvl3pPr>
              <a:defRPr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21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4104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1231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466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none"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2195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94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413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 hasCustomPrompt="1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 hasCustomPrompt="1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 hasCustomPrompt="1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41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473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61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354984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94941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312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010226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52420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hon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7211501" y="1568584"/>
            <a:ext cx="1340761" cy="240583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5"/>
            <a:ext cx="6244740" cy="265176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E5E2FCC6-9731-48B8-B2A2-39E9FD0F42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3362" y="1073899"/>
            <a:ext cx="1699776" cy="33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199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ptop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="" xmlns:a16="http://schemas.microsoft.com/office/drawing/2014/main" id="{69D3E401-F6DF-4A44-858C-E9410373BE6E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194050" y="1489753"/>
            <a:ext cx="3949950" cy="24783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  Picture</a:t>
            </a:r>
            <a:endParaRPr lang="en-US" dirty="0"/>
          </a:p>
        </p:txBody>
      </p:sp>
      <p:pic>
        <p:nvPicPr>
          <p:cNvPr id="3" name="Picture 2" descr="A picture containing electronics, display&#10;&#10;Description generated with very high confidence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6060" y="1319842"/>
            <a:ext cx="4567940" cy="3019246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</p:spPr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89753"/>
            <a:ext cx="4374815" cy="2478024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90979137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4"/>
            <a:ext cx="4059936" cy="2474601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6357922" y="1490674"/>
            <a:ext cx="1277283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Picture Placeholder 11"/>
          <p:cNvSpPr>
            <a:spLocks noGrp="1" noChangeAspect="1"/>
          </p:cNvSpPr>
          <p:nvPr>
            <p:ph type="pic" sz="quarter" idx="39"/>
          </p:nvPr>
        </p:nvSpPr>
        <p:spPr>
          <a:xfrm>
            <a:off x="484912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40"/>
          </p:nvPr>
        </p:nvSpPr>
        <p:spPr>
          <a:xfrm>
            <a:off x="786671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771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411480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672584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672584" y="1664884"/>
            <a:ext cx="4059936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Second Chart Goes Her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1664884"/>
            <a:ext cx="4057069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First Chart Goes He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265981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5479015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01194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786408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01194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33" hasCustomPrompt="1"/>
          </p:nvPr>
        </p:nvSpPr>
        <p:spPr>
          <a:xfrm>
            <a:off x="717162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34" hasCustomPrompt="1"/>
          </p:nvPr>
        </p:nvSpPr>
        <p:spPr>
          <a:xfrm>
            <a:off x="209380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35" hasCustomPrompt="1"/>
          </p:nvPr>
        </p:nvSpPr>
        <p:spPr>
          <a:xfrm>
            <a:off x="717162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209380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786408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5479015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40" name="Text Placeholder 12"/>
          <p:cNvSpPr>
            <a:spLocks noGrp="1"/>
          </p:cNvSpPr>
          <p:nvPr>
            <p:ph type="body" sz="quarter" idx="40"/>
          </p:nvPr>
        </p:nvSpPr>
        <p:spPr>
          <a:xfrm>
            <a:off x="401194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12"/>
          <p:cNvSpPr>
            <a:spLocks noGrp="1"/>
          </p:cNvSpPr>
          <p:nvPr>
            <p:ph type="body" sz="quarter" idx="41"/>
          </p:nvPr>
        </p:nvSpPr>
        <p:spPr>
          <a:xfrm>
            <a:off x="717162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42"/>
          </p:nvPr>
        </p:nvSpPr>
        <p:spPr>
          <a:xfrm>
            <a:off x="209380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12"/>
          <p:cNvSpPr>
            <a:spLocks noGrp="1"/>
          </p:cNvSpPr>
          <p:nvPr>
            <p:ph type="body" sz="quarter" idx="43"/>
          </p:nvPr>
        </p:nvSpPr>
        <p:spPr>
          <a:xfrm>
            <a:off x="3786408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12"/>
          <p:cNvSpPr>
            <a:spLocks noGrp="1"/>
          </p:cNvSpPr>
          <p:nvPr>
            <p:ph type="body" sz="quarter" idx="44"/>
          </p:nvPr>
        </p:nvSpPr>
        <p:spPr>
          <a:xfrm>
            <a:off x="5479015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401194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717162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209380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3786408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51" hasCustomPrompt="1"/>
          </p:nvPr>
        </p:nvSpPr>
        <p:spPr>
          <a:xfrm>
            <a:off x="5479015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52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3224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QUESTIONS</a:t>
            </a:r>
            <a:r>
              <a:rPr lang="en-US" sz="5400" b="0" dirty="0" smtClean="0">
                <a:solidFill>
                  <a:srgbClr val="0078BE"/>
                </a:solidFill>
              </a:rPr>
              <a:t>?</a:t>
            </a:r>
            <a:endParaRPr lang="en-US" sz="2800" b="0" dirty="0">
              <a:solidFill>
                <a:srgbClr val="0078B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93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APPENDIX</a:t>
            </a:r>
            <a:endParaRPr lang="en-US" sz="2800" b="0" dirty="0">
              <a:solidFill>
                <a:srgbClr val="0051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01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5511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92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4500" y="1197769"/>
            <a:ext cx="8321040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rgbClr val="8E908F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042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373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chemeClr val="accent1">
              <a:alpha val="75000"/>
            </a:scheme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861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chemeClr val="bg2">
              <a:alpha val="60000"/>
            </a:scheme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6714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147623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34771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05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04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619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77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334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indent="0">
              <a:buNone/>
              <a:defRPr sz="900"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186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519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317326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728302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65253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  <a:p>
            <a:pPr lvl="0"/>
            <a:endParaRPr lang="en-US" dirty="0" smtClean="0"/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107461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E908F"/>
                </a:solidFill>
              </a:rPr>
              <a:t>?</a:t>
            </a:r>
            <a:endParaRPr lang="en-US" sz="2800" b="0" dirty="0">
              <a:solidFill>
                <a:srgbClr val="8E908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938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48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2597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5115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chemeClr val="accent2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730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indent="0">
              <a:buNone/>
              <a:defRPr sz="900"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7777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565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565A5C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278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565A5C">
              <a:alpha val="60000"/>
            </a:srgb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66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964570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79897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2C341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14300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28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367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32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37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8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240549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308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0984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1152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570795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27848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solidFill>
              <a:srgbClr val="56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96286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670568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2C341"/>
                </a:solidFill>
              </a:rPr>
              <a:t>?</a:t>
            </a:r>
            <a:endParaRPr lang="en-US" sz="2800" b="0" dirty="0">
              <a:solidFill>
                <a:srgbClr val="82C34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9335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585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814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yl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7000300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Slide layout"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="" xmlns:a16="http://schemas.microsoft.com/office/drawing/2014/main" id="{AF5DEDB2-78E8-45EC-AB12-C2290127F53E}"/>
              </a:ext>
            </a:extLst>
          </p:cNvPr>
          <p:cNvSpPr/>
          <p:nvPr userDrawn="1"/>
        </p:nvSpPr>
        <p:spPr>
          <a:xfrm rot="18900000">
            <a:off x="2437817" y="-1492038"/>
            <a:ext cx="8127573" cy="8127575"/>
          </a:xfrm>
          <a:custGeom>
            <a:avLst/>
            <a:gdLst>
              <a:gd name="connsiteX0" fmla="*/ 4849337 w 10836764"/>
              <a:gd name="connsiteY0" fmla="*/ 0 h 10836766"/>
              <a:gd name="connsiteX1" fmla="*/ 10836764 w 10836764"/>
              <a:gd name="connsiteY1" fmla="*/ 5987428 h 10836766"/>
              <a:gd name="connsiteX2" fmla="*/ 5987426 w 10836764"/>
              <a:gd name="connsiteY2" fmla="*/ 10836766 h 10836766"/>
              <a:gd name="connsiteX3" fmla="*/ 1 w 10836764"/>
              <a:gd name="connsiteY3" fmla="*/ 4849340 h 10836766"/>
              <a:gd name="connsiteX4" fmla="*/ 0 w 10836764"/>
              <a:gd name="connsiteY4" fmla="*/ 1529113 h 10836766"/>
              <a:gd name="connsiteX5" fmla="*/ 1529113 w 10836764"/>
              <a:gd name="connsiteY5" fmla="*/ 0 h 10836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36764" h="10836766">
                <a:moveTo>
                  <a:pt x="4849337" y="0"/>
                </a:moveTo>
                <a:lnTo>
                  <a:pt x="10836764" y="5987428"/>
                </a:lnTo>
                <a:lnTo>
                  <a:pt x="5987426" y="10836766"/>
                </a:lnTo>
                <a:lnTo>
                  <a:pt x="1" y="4849340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89000">
                <a:schemeClr val="accent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E769B23C-815D-4713-8F2F-BE8E52CBCEEB}"/>
              </a:ext>
            </a:extLst>
          </p:cNvPr>
          <p:cNvSpPr/>
          <p:nvPr userDrawn="1"/>
        </p:nvSpPr>
        <p:spPr>
          <a:xfrm rot="18900000">
            <a:off x="8517299" y="1426573"/>
            <a:ext cx="2330225" cy="2330225"/>
          </a:xfrm>
          <a:custGeom>
            <a:avLst/>
            <a:gdLst>
              <a:gd name="connsiteX0" fmla="*/ 3106966 w 3106966"/>
              <a:gd name="connsiteY0" fmla="*/ 0 h 3106966"/>
              <a:gd name="connsiteX1" fmla="*/ 1 w 3106966"/>
              <a:gd name="connsiteY1" fmla="*/ 3106966 h 3106966"/>
              <a:gd name="connsiteX2" fmla="*/ 0 w 3106966"/>
              <a:gd name="connsiteY2" fmla="*/ 1529113 h 3106966"/>
              <a:gd name="connsiteX3" fmla="*/ 1529113 w 3106966"/>
              <a:gd name="connsiteY3" fmla="*/ 0 h 3106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6966" h="3106966">
                <a:moveTo>
                  <a:pt x="3106966" y="0"/>
                </a:moveTo>
                <a:lnTo>
                  <a:pt x="1" y="3106966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91608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13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chemeClr val="accent4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chemeClr val="tx2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chemeClr val="tx2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811975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492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="" xmlns:a16="http://schemas.microsoft.com/office/drawing/2014/main" id="{B3CA5F7E-D45F-4887-AF9C-BB7E27A9C9CE}"/>
              </a:ext>
            </a:extLst>
          </p:cNvPr>
          <p:cNvSpPr/>
          <p:nvPr userDrawn="1"/>
        </p:nvSpPr>
        <p:spPr>
          <a:xfrm>
            <a:off x="5421090" y="1407112"/>
            <a:ext cx="3240000" cy="32400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" name="그림 개체 틀 5">
            <a:extLst>
              <a:ext uri="{FF2B5EF4-FFF2-40B4-BE49-F238E27FC236}">
                <a16:creationId xmlns="" xmlns:a16="http://schemas.microsoft.com/office/drawing/2014/main" id="{1C677DB5-A9F3-459B-9D51-37160E08512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93016" y="547007"/>
            <a:ext cx="3736584" cy="373658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685800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506877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4">
            <a:extLst>
              <a:ext uri="{FF2B5EF4-FFF2-40B4-BE49-F238E27FC236}">
                <a16:creationId xmlns="" xmlns:a16="http://schemas.microsoft.com/office/drawing/2014/main" id="{C3CDBC2D-C9C0-4D36-A0F9-7EDE3B294276}"/>
              </a:ext>
            </a:extLst>
          </p:cNvPr>
          <p:cNvSpPr/>
          <p:nvPr userDrawn="1"/>
        </p:nvSpPr>
        <p:spPr>
          <a:xfrm>
            <a:off x="2659899" y="453912"/>
            <a:ext cx="5804833" cy="42406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694249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763651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2833053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6" name="Rectangle 48">
            <a:extLst>
              <a:ext uri="{FF2B5EF4-FFF2-40B4-BE49-F238E27FC236}">
                <a16:creationId xmlns="" xmlns:a16="http://schemas.microsoft.com/office/drawing/2014/main" id="{7877AA66-AAFD-429C-B217-380BEF1ADDE2}"/>
              </a:ext>
            </a:extLst>
          </p:cNvPr>
          <p:cNvSpPr/>
          <p:nvPr userDrawn="1"/>
        </p:nvSpPr>
        <p:spPr>
          <a:xfrm>
            <a:off x="2833053" y="2743256"/>
            <a:ext cx="1620000" cy="48600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="" xmlns:a16="http://schemas.microsoft.com/office/drawing/2014/main" id="{852C85C1-7D9E-4F23-85EA-6A451FF0BEF6}"/>
              </a:ext>
            </a:extLst>
          </p:cNvPr>
          <p:cNvSpPr/>
          <p:nvPr userDrawn="1"/>
        </p:nvSpPr>
        <p:spPr>
          <a:xfrm>
            <a:off x="4763651" y="2735528"/>
            <a:ext cx="1620000" cy="486000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9" name="Rectangle 20">
            <a:extLst>
              <a:ext uri="{FF2B5EF4-FFF2-40B4-BE49-F238E27FC236}">
                <a16:creationId xmlns="" xmlns:a16="http://schemas.microsoft.com/office/drawing/2014/main" id="{E05C1512-E9F1-4355-8FF9-6A6F0DFFCB7B}"/>
              </a:ext>
            </a:extLst>
          </p:cNvPr>
          <p:cNvSpPr/>
          <p:nvPr userDrawn="1"/>
        </p:nvSpPr>
        <p:spPr>
          <a:xfrm>
            <a:off x="6694249" y="2743256"/>
            <a:ext cx="1620000" cy="48600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692316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="" xmlns:a16="http://schemas.microsoft.com/office/drawing/2014/main" id="{2760AC20-0645-4AE6-BC4F-285B18B690B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834742" y="1378743"/>
            <a:ext cx="6309259" cy="3050383"/>
          </a:xfrm>
          <a:custGeom>
            <a:avLst/>
            <a:gdLst>
              <a:gd name="connsiteX0" fmla="*/ 0 w 8412345"/>
              <a:gd name="connsiteY0" fmla="*/ 0 h 4067177"/>
              <a:gd name="connsiteX1" fmla="*/ 8412345 w 8412345"/>
              <a:gd name="connsiteY1" fmla="*/ 0 h 4067177"/>
              <a:gd name="connsiteX2" fmla="*/ 8412345 w 8412345"/>
              <a:gd name="connsiteY2" fmla="*/ 4067177 h 4067177"/>
              <a:gd name="connsiteX3" fmla="*/ 1452936 w 8412345"/>
              <a:gd name="connsiteY3" fmla="*/ 4067177 h 4067177"/>
              <a:gd name="connsiteX4" fmla="*/ 1340647 w 8412345"/>
              <a:gd name="connsiteY4" fmla="*/ 3752847 h 4067177"/>
              <a:gd name="connsiteX5" fmla="*/ 8412344 w 8412345"/>
              <a:gd name="connsiteY5" fmla="*/ 3752847 h 4067177"/>
              <a:gd name="connsiteX6" fmla="*/ 8412344 w 8412345"/>
              <a:gd name="connsiteY6" fmla="*/ 3524256 h 4067177"/>
              <a:gd name="connsiteX7" fmla="*/ 1258986 w 8412345"/>
              <a:gd name="connsiteY7" fmla="*/ 3524256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12345" h="4067177">
                <a:moveTo>
                  <a:pt x="0" y="0"/>
                </a:moveTo>
                <a:lnTo>
                  <a:pt x="8412345" y="0"/>
                </a:lnTo>
                <a:lnTo>
                  <a:pt x="8412345" y="4067177"/>
                </a:lnTo>
                <a:lnTo>
                  <a:pt x="1452936" y="4067177"/>
                </a:lnTo>
                <a:lnTo>
                  <a:pt x="1340647" y="3752847"/>
                </a:lnTo>
                <a:lnTo>
                  <a:pt x="8412344" y="3752847"/>
                </a:lnTo>
                <a:lnTo>
                  <a:pt x="8412344" y="3524256"/>
                </a:lnTo>
                <a:lnTo>
                  <a:pt x="1258986" y="3524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="" xmlns:a16="http://schemas.microsoft.com/office/drawing/2014/main" id="{DF0D5D85-25EF-40C1-9119-2AE98DC382AC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964406"/>
            <a:ext cx="3324186" cy="3050383"/>
          </a:xfrm>
          <a:custGeom>
            <a:avLst/>
            <a:gdLst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904875 w 4432248"/>
              <a:gd name="connsiteY2" fmla="*/ 0 h 4067177"/>
              <a:gd name="connsiteX3" fmla="*/ 2979312 w 4432248"/>
              <a:gd name="connsiteY3" fmla="*/ 0 h 4067177"/>
              <a:gd name="connsiteX4" fmla="*/ 4432248 w 4432248"/>
              <a:gd name="connsiteY4" fmla="*/ 4067177 h 4067177"/>
              <a:gd name="connsiteX5" fmla="*/ 571500 w 4432248"/>
              <a:gd name="connsiteY5" fmla="*/ 4067177 h 4067177"/>
              <a:gd name="connsiteX6" fmla="*/ 571500 w 4432248"/>
              <a:gd name="connsiteY6" fmla="*/ 4067175 h 4067177"/>
              <a:gd name="connsiteX7" fmla="*/ 0 w 4432248"/>
              <a:gd name="connsiteY7" fmla="*/ 4067175 h 4067177"/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2979312 w 4432248"/>
              <a:gd name="connsiteY2" fmla="*/ 0 h 4067177"/>
              <a:gd name="connsiteX3" fmla="*/ 4432248 w 4432248"/>
              <a:gd name="connsiteY3" fmla="*/ 4067177 h 4067177"/>
              <a:gd name="connsiteX4" fmla="*/ 571500 w 4432248"/>
              <a:gd name="connsiteY4" fmla="*/ 4067177 h 4067177"/>
              <a:gd name="connsiteX5" fmla="*/ 571500 w 4432248"/>
              <a:gd name="connsiteY5" fmla="*/ 4067175 h 4067177"/>
              <a:gd name="connsiteX6" fmla="*/ 0 w 4432248"/>
              <a:gd name="connsiteY6" fmla="*/ 4067175 h 4067177"/>
              <a:gd name="connsiteX7" fmla="*/ 0 w 4432248"/>
              <a:gd name="connsiteY7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571500 w 4432248"/>
              <a:gd name="connsiteY4" fmla="*/ 4067175 h 4067177"/>
              <a:gd name="connsiteX5" fmla="*/ 0 w 4432248"/>
              <a:gd name="connsiteY5" fmla="*/ 4067175 h 4067177"/>
              <a:gd name="connsiteX6" fmla="*/ 0 w 4432248"/>
              <a:gd name="connsiteY6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0 w 4432248"/>
              <a:gd name="connsiteY4" fmla="*/ 4067175 h 4067177"/>
              <a:gd name="connsiteX5" fmla="*/ 0 w 4432248"/>
              <a:gd name="connsiteY5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0 w 4432248"/>
              <a:gd name="connsiteY3" fmla="*/ 4067175 h 4067177"/>
              <a:gd name="connsiteX4" fmla="*/ 0 w 4432248"/>
              <a:gd name="connsiteY4" fmla="*/ 0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2248" h="4067177">
                <a:moveTo>
                  <a:pt x="0" y="0"/>
                </a:moveTo>
                <a:lnTo>
                  <a:pt x="2979312" y="0"/>
                </a:lnTo>
                <a:lnTo>
                  <a:pt x="4432248" y="4067177"/>
                </a:lnTo>
                <a:lnTo>
                  <a:pt x="0" y="406717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90536941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15114" y="3851952"/>
            <a:ext cx="8457515" cy="434579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437129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0660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7CB68201-6AEB-4BFE-B92F-F7D14A3CB566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5366888" cy="5143500"/>
          </a:xfrm>
          <a:custGeom>
            <a:avLst/>
            <a:gdLst>
              <a:gd name="connsiteX0" fmla="*/ 0 w 7155850"/>
              <a:gd name="connsiteY0" fmla="*/ 3024930 h 6858000"/>
              <a:gd name="connsiteX1" fmla="*/ 2358530 w 7155850"/>
              <a:gd name="connsiteY1" fmla="*/ 6858000 h 6858000"/>
              <a:gd name="connsiteX2" fmla="*/ 1329860 w 7155850"/>
              <a:gd name="connsiteY2" fmla="*/ 6858000 h 6858000"/>
              <a:gd name="connsiteX3" fmla="*/ 0 w 7155850"/>
              <a:gd name="connsiteY3" fmla="*/ 4691859 h 6858000"/>
              <a:gd name="connsiteX4" fmla="*/ 1 w 7155850"/>
              <a:gd name="connsiteY4" fmla="*/ 397145 h 6858000"/>
              <a:gd name="connsiteX5" fmla="*/ 3459898 w 7155850"/>
              <a:gd name="connsiteY5" fmla="*/ 6020152 h 6858000"/>
              <a:gd name="connsiteX6" fmla="*/ 2945517 w 7155850"/>
              <a:gd name="connsiteY6" fmla="*/ 6858000 h 6858000"/>
              <a:gd name="connsiteX7" fmla="*/ 1 w 7155850"/>
              <a:gd name="connsiteY7" fmla="*/ 2060197 h 6858000"/>
              <a:gd name="connsiteX8" fmla="*/ 396861 w 7155850"/>
              <a:gd name="connsiteY8" fmla="*/ 0 h 6858000"/>
              <a:gd name="connsiteX9" fmla="*/ 7155850 w 7155850"/>
              <a:gd name="connsiteY9" fmla="*/ 0 h 6858000"/>
              <a:gd name="connsiteX10" fmla="*/ 3780151 w 7155850"/>
              <a:gd name="connsiteY10" fmla="*/ 54985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55850" h="6858000">
                <a:moveTo>
                  <a:pt x="0" y="3024930"/>
                </a:moveTo>
                <a:lnTo>
                  <a:pt x="2358530" y="6858000"/>
                </a:lnTo>
                <a:lnTo>
                  <a:pt x="1329860" y="6858000"/>
                </a:lnTo>
                <a:lnTo>
                  <a:pt x="0" y="4691859"/>
                </a:lnTo>
                <a:close/>
                <a:moveTo>
                  <a:pt x="1" y="397145"/>
                </a:moveTo>
                <a:lnTo>
                  <a:pt x="3459898" y="6020152"/>
                </a:lnTo>
                <a:lnTo>
                  <a:pt x="2945517" y="6858000"/>
                </a:lnTo>
                <a:lnTo>
                  <a:pt x="1" y="2060197"/>
                </a:lnTo>
                <a:close/>
                <a:moveTo>
                  <a:pt x="396861" y="0"/>
                </a:moveTo>
                <a:lnTo>
                  <a:pt x="7155850" y="0"/>
                </a:lnTo>
                <a:lnTo>
                  <a:pt x="3780151" y="54985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7" tIns="34289" rIns="68577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899" indent="0">
              <a:buNone/>
              <a:defRPr sz="2100"/>
            </a:lvl2pPr>
            <a:lvl3pPr marL="685801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2" indent="0">
              <a:buNone/>
              <a:defRPr sz="1500"/>
            </a:lvl6pPr>
            <a:lvl7pPr marL="2057401" indent="0">
              <a:buNone/>
              <a:defRPr sz="1500"/>
            </a:lvl7pPr>
            <a:lvl8pPr marL="2400300" indent="0">
              <a:buNone/>
              <a:defRPr sz="1500"/>
            </a:lvl8pPr>
            <a:lvl9pPr marL="2743199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11828503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26907" y="-31989"/>
            <a:ext cx="4211157" cy="5175489"/>
          </a:xfrm>
          <a:custGeom>
            <a:avLst/>
            <a:gdLst>
              <a:gd name="connsiteX0" fmla="*/ 0 w 4181475"/>
              <a:gd name="connsiteY0" fmla="*/ 0 h 6905625"/>
              <a:gd name="connsiteX1" fmla="*/ 4181475 w 4181475"/>
              <a:gd name="connsiteY1" fmla="*/ 9525 h 6905625"/>
              <a:gd name="connsiteX2" fmla="*/ 1000125 w 4181475"/>
              <a:gd name="connsiteY2" fmla="*/ 6877050 h 6905625"/>
              <a:gd name="connsiteX3" fmla="*/ 38100 w 4181475"/>
              <a:gd name="connsiteY3" fmla="*/ 6905625 h 6905625"/>
              <a:gd name="connsiteX4" fmla="*/ 0 w 4181475"/>
              <a:gd name="connsiteY4" fmla="*/ 0 h 6905625"/>
              <a:gd name="connsiteX0" fmla="*/ 125 w 4143375"/>
              <a:gd name="connsiteY0" fmla="*/ 0 h 6915198"/>
              <a:gd name="connsiteX1" fmla="*/ 4143375 w 4143375"/>
              <a:gd name="connsiteY1" fmla="*/ 19098 h 6915198"/>
              <a:gd name="connsiteX2" fmla="*/ 962025 w 4143375"/>
              <a:gd name="connsiteY2" fmla="*/ 6886623 h 6915198"/>
              <a:gd name="connsiteX3" fmla="*/ 0 w 4143375"/>
              <a:gd name="connsiteY3" fmla="*/ 6915198 h 6915198"/>
              <a:gd name="connsiteX4" fmla="*/ 125 w 4143375"/>
              <a:gd name="connsiteY4" fmla="*/ 0 h 6915198"/>
              <a:gd name="connsiteX0" fmla="*/ 125 w 4143375"/>
              <a:gd name="connsiteY0" fmla="*/ 0 h 6915198"/>
              <a:gd name="connsiteX1" fmla="*/ 4143375 w 4143375"/>
              <a:gd name="connsiteY1" fmla="*/ 19098 h 6915198"/>
              <a:gd name="connsiteX2" fmla="*/ 990694 w 4143375"/>
              <a:gd name="connsiteY2" fmla="*/ 6905770 h 6915198"/>
              <a:gd name="connsiteX3" fmla="*/ 0 w 4143375"/>
              <a:gd name="connsiteY3" fmla="*/ 6915198 h 6915198"/>
              <a:gd name="connsiteX4" fmla="*/ 125 w 4143375"/>
              <a:gd name="connsiteY4" fmla="*/ 0 h 6915198"/>
              <a:gd name="connsiteX0" fmla="*/ 125 w 4191156"/>
              <a:gd name="connsiteY0" fmla="*/ 28768 h 6943966"/>
              <a:gd name="connsiteX1" fmla="*/ 4191156 w 4191156"/>
              <a:gd name="connsiteY1" fmla="*/ 0 h 6943966"/>
              <a:gd name="connsiteX2" fmla="*/ 990694 w 4191156"/>
              <a:gd name="connsiteY2" fmla="*/ 6934538 h 6943966"/>
              <a:gd name="connsiteX3" fmla="*/ 0 w 4191156"/>
              <a:gd name="connsiteY3" fmla="*/ 6943966 h 6943966"/>
              <a:gd name="connsiteX4" fmla="*/ 125 w 4191156"/>
              <a:gd name="connsiteY4" fmla="*/ 28768 h 6943966"/>
              <a:gd name="connsiteX0" fmla="*/ 125 w 4191156"/>
              <a:gd name="connsiteY0" fmla="*/ 28768 h 6943966"/>
              <a:gd name="connsiteX1" fmla="*/ 4191156 w 4191156"/>
              <a:gd name="connsiteY1" fmla="*/ 0 h 6943966"/>
              <a:gd name="connsiteX2" fmla="*/ 1028919 w 4191156"/>
              <a:gd name="connsiteY2" fmla="*/ 6924966 h 6943966"/>
              <a:gd name="connsiteX3" fmla="*/ 0 w 4191156"/>
              <a:gd name="connsiteY3" fmla="*/ 6943966 h 6943966"/>
              <a:gd name="connsiteX4" fmla="*/ 125 w 4191156"/>
              <a:gd name="connsiteY4" fmla="*/ 28768 h 6943966"/>
              <a:gd name="connsiteX0" fmla="*/ 125 w 4213174"/>
              <a:gd name="connsiteY0" fmla="*/ 0 h 6915198"/>
              <a:gd name="connsiteX1" fmla="*/ 4213174 w 4213174"/>
              <a:gd name="connsiteY1" fmla="*/ 7993 h 6915198"/>
              <a:gd name="connsiteX2" fmla="*/ 1028919 w 4213174"/>
              <a:gd name="connsiteY2" fmla="*/ 6896198 h 6915198"/>
              <a:gd name="connsiteX3" fmla="*/ 0 w 4213174"/>
              <a:gd name="connsiteY3" fmla="*/ 6915198 h 6915198"/>
              <a:gd name="connsiteX4" fmla="*/ 125 w 4213174"/>
              <a:gd name="connsiteY4" fmla="*/ 0 h 6915198"/>
              <a:gd name="connsiteX0" fmla="*/ 125 w 4191156"/>
              <a:gd name="connsiteY0" fmla="*/ 0 h 6915198"/>
              <a:gd name="connsiteX1" fmla="*/ 4191156 w 4191156"/>
              <a:gd name="connsiteY1" fmla="*/ 640 h 6915198"/>
              <a:gd name="connsiteX2" fmla="*/ 1028919 w 4191156"/>
              <a:gd name="connsiteY2" fmla="*/ 6896198 h 6915198"/>
              <a:gd name="connsiteX3" fmla="*/ 0 w 4191156"/>
              <a:gd name="connsiteY3" fmla="*/ 6915198 h 6915198"/>
              <a:gd name="connsiteX4" fmla="*/ 125 w 4191156"/>
              <a:gd name="connsiteY4" fmla="*/ 0 h 6915198"/>
              <a:gd name="connsiteX0" fmla="*/ 125 w 4212595"/>
              <a:gd name="connsiteY0" fmla="*/ 0 h 6915198"/>
              <a:gd name="connsiteX1" fmla="*/ 4212595 w 4212595"/>
              <a:gd name="connsiteY1" fmla="*/ 38821 h 6915198"/>
              <a:gd name="connsiteX2" fmla="*/ 1028919 w 4212595"/>
              <a:gd name="connsiteY2" fmla="*/ 6896198 h 6915198"/>
              <a:gd name="connsiteX3" fmla="*/ 0 w 4212595"/>
              <a:gd name="connsiteY3" fmla="*/ 6915198 h 6915198"/>
              <a:gd name="connsiteX4" fmla="*/ 125 w 4212595"/>
              <a:gd name="connsiteY4" fmla="*/ 0 h 6915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2595" h="6915198">
                <a:moveTo>
                  <a:pt x="125" y="0"/>
                </a:moveTo>
                <a:lnTo>
                  <a:pt x="4212595" y="38821"/>
                </a:lnTo>
                <a:lnTo>
                  <a:pt x="1028919" y="6896198"/>
                </a:lnTo>
                <a:lnTo>
                  <a:pt x="0" y="6915198"/>
                </a:lnTo>
                <a:cubicBezTo>
                  <a:pt x="42" y="4610132"/>
                  <a:pt x="83" y="2305066"/>
                  <a:pt x="125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 sz="1400" dirty="0">
              <a:solidFill>
                <a:prstClr val="white"/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015065" y="-11950"/>
            <a:ext cx="2322042" cy="1850243"/>
            <a:chOff x="1827359" y="-19597"/>
            <a:chExt cx="3253206" cy="317333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" name="Freeform 3"/>
            <p:cNvSpPr/>
            <p:nvPr userDrawn="1"/>
          </p:nvSpPr>
          <p:spPr>
            <a:xfrm>
              <a:off x="2727889" y="-19597"/>
              <a:ext cx="2352676" cy="3171824"/>
            </a:xfrm>
            <a:custGeom>
              <a:avLst/>
              <a:gdLst>
                <a:gd name="connsiteX0" fmla="*/ 1447800 w 2352675"/>
                <a:gd name="connsiteY0" fmla="*/ 0 h 3171825"/>
                <a:gd name="connsiteX1" fmla="*/ 2352675 w 2352675"/>
                <a:gd name="connsiteY1" fmla="*/ 0 h 3171825"/>
                <a:gd name="connsiteX2" fmla="*/ 971550 w 2352675"/>
                <a:gd name="connsiteY2" fmla="*/ 3171825 h 3171825"/>
                <a:gd name="connsiteX3" fmla="*/ 0 w 2352675"/>
                <a:gd name="connsiteY3" fmla="*/ 3171825 h 3171825"/>
                <a:gd name="connsiteX4" fmla="*/ 1447800 w 2352675"/>
                <a:gd name="connsiteY4" fmla="*/ 0 h 317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2675" h="3171825">
                  <a:moveTo>
                    <a:pt x="1447800" y="0"/>
                  </a:moveTo>
                  <a:lnTo>
                    <a:pt x="2352675" y="0"/>
                  </a:lnTo>
                  <a:lnTo>
                    <a:pt x="971550" y="3171825"/>
                  </a:lnTo>
                  <a:lnTo>
                    <a:pt x="0" y="3171825"/>
                  </a:lnTo>
                  <a:lnTo>
                    <a:pt x="144780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6" name="Freeform 65"/>
            <p:cNvSpPr/>
            <p:nvPr userDrawn="1"/>
          </p:nvSpPr>
          <p:spPr>
            <a:xfrm>
              <a:off x="1827359" y="-18083"/>
              <a:ext cx="2352675" cy="3171825"/>
            </a:xfrm>
            <a:custGeom>
              <a:avLst/>
              <a:gdLst>
                <a:gd name="connsiteX0" fmla="*/ 1447800 w 2352675"/>
                <a:gd name="connsiteY0" fmla="*/ 0 h 3171825"/>
                <a:gd name="connsiteX1" fmla="*/ 2352675 w 2352675"/>
                <a:gd name="connsiteY1" fmla="*/ 0 h 3171825"/>
                <a:gd name="connsiteX2" fmla="*/ 971550 w 2352675"/>
                <a:gd name="connsiteY2" fmla="*/ 3171825 h 3171825"/>
                <a:gd name="connsiteX3" fmla="*/ 0 w 2352675"/>
                <a:gd name="connsiteY3" fmla="*/ 3171825 h 3171825"/>
                <a:gd name="connsiteX4" fmla="*/ 1447800 w 2352675"/>
                <a:gd name="connsiteY4" fmla="*/ 0 h 317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2675" h="3171825">
                  <a:moveTo>
                    <a:pt x="1447800" y="0"/>
                  </a:moveTo>
                  <a:lnTo>
                    <a:pt x="2352675" y="0"/>
                  </a:lnTo>
                  <a:lnTo>
                    <a:pt x="971550" y="3171825"/>
                  </a:lnTo>
                  <a:lnTo>
                    <a:pt x="0" y="3171825"/>
                  </a:lnTo>
                  <a:lnTo>
                    <a:pt x="144780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40" name="Group 57">
            <a:extLst>
              <a:ext uri="{FF2B5EF4-FFF2-40B4-BE49-F238E27FC236}">
                <a16:creationId xmlns="" xmlns:a16="http://schemas.microsoft.com/office/drawing/2014/main" id="{EAB9B68E-0E3B-4BE0-B8F8-151B4F9AA20D}"/>
              </a:ext>
            </a:extLst>
          </p:cNvPr>
          <p:cNvGrpSpPr/>
          <p:nvPr userDrawn="1"/>
        </p:nvGrpSpPr>
        <p:grpSpPr>
          <a:xfrm>
            <a:off x="638097" y="1493733"/>
            <a:ext cx="1595147" cy="2755253"/>
            <a:chOff x="1438761" y="2033015"/>
            <a:chExt cx="1980000" cy="3420000"/>
          </a:xfrm>
        </p:grpSpPr>
        <p:sp>
          <p:nvSpPr>
            <p:cNvPr id="41" name="Rounded Rectangle 58">
              <a:extLst>
                <a:ext uri="{FF2B5EF4-FFF2-40B4-BE49-F238E27FC236}">
                  <a16:creationId xmlns="" xmlns:a16="http://schemas.microsoft.com/office/drawing/2014/main" id="{FDB5674B-8954-45D6-856F-8635A461E0AC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44" name="Rectangle 59">
              <a:extLst>
                <a:ext uri="{FF2B5EF4-FFF2-40B4-BE49-F238E27FC236}">
                  <a16:creationId xmlns="" xmlns:a16="http://schemas.microsoft.com/office/drawing/2014/main" id="{232323F7-730B-4115-90EB-2F2AD78DC6BD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48" name="Group 60">
              <a:extLst>
                <a:ext uri="{FF2B5EF4-FFF2-40B4-BE49-F238E27FC236}">
                  <a16:creationId xmlns="" xmlns:a16="http://schemas.microsoft.com/office/drawing/2014/main" id="{95EF7343-DE98-475F-9C99-3A196A57B891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49" name="Oval 61">
                <a:extLst>
                  <a:ext uri="{FF2B5EF4-FFF2-40B4-BE49-F238E27FC236}">
                    <a16:creationId xmlns="" xmlns:a16="http://schemas.microsoft.com/office/drawing/2014/main" id="{EAD9F21B-B819-474E-BF4D-5B3F0F9C074D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50" name="Rounded Rectangle 62">
                <a:extLst>
                  <a:ext uri="{FF2B5EF4-FFF2-40B4-BE49-F238E27FC236}">
                    <a16:creationId xmlns="" xmlns:a16="http://schemas.microsoft.com/office/drawing/2014/main" id="{F2404D1F-E10C-4A44-82A1-AF5E7CBB6610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51" name="Group 51">
            <a:extLst>
              <a:ext uri="{FF2B5EF4-FFF2-40B4-BE49-F238E27FC236}">
                <a16:creationId xmlns="" xmlns:a16="http://schemas.microsoft.com/office/drawing/2014/main" id="{029C3365-4C47-476F-BD96-60948EEED497}"/>
              </a:ext>
            </a:extLst>
          </p:cNvPr>
          <p:cNvGrpSpPr/>
          <p:nvPr userDrawn="1"/>
        </p:nvGrpSpPr>
        <p:grpSpPr>
          <a:xfrm>
            <a:off x="2571207" y="1468332"/>
            <a:ext cx="1595147" cy="2755253"/>
            <a:chOff x="1438761" y="2033015"/>
            <a:chExt cx="1980000" cy="3420000"/>
          </a:xfrm>
        </p:grpSpPr>
        <p:sp>
          <p:nvSpPr>
            <p:cNvPr id="64" name="Rounded Rectangle 52">
              <a:extLst>
                <a:ext uri="{FF2B5EF4-FFF2-40B4-BE49-F238E27FC236}">
                  <a16:creationId xmlns="" xmlns:a16="http://schemas.microsoft.com/office/drawing/2014/main" id="{903C2877-5648-4EA2-AAFC-71345F2CC0B8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65" name="Rectangle 53">
              <a:extLst>
                <a:ext uri="{FF2B5EF4-FFF2-40B4-BE49-F238E27FC236}">
                  <a16:creationId xmlns="" xmlns:a16="http://schemas.microsoft.com/office/drawing/2014/main" id="{D839E5E7-18B9-45E8-AE00-5146A6801EBA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67" name="Group 54">
              <a:extLst>
                <a:ext uri="{FF2B5EF4-FFF2-40B4-BE49-F238E27FC236}">
                  <a16:creationId xmlns="" xmlns:a16="http://schemas.microsoft.com/office/drawing/2014/main" id="{BCF7304E-770A-438E-AF0D-155014D0B1F0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68" name="Oval 55">
                <a:extLst>
                  <a:ext uri="{FF2B5EF4-FFF2-40B4-BE49-F238E27FC236}">
                    <a16:creationId xmlns="" xmlns:a16="http://schemas.microsoft.com/office/drawing/2014/main" id="{5B498A21-13F9-4FD8-BA7A-4CF5B592C91E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69" name="Rounded Rectangle 56">
                <a:extLst>
                  <a:ext uri="{FF2B5EF4-FFF2-40B4-BE49-F238E27FC236}">
                    <a16:creationId xmlns="" xmlns:a16="http://schemas.microsoft.com/office/drawing/2014/main" id="{A6711C24-306E-4C85-8E21-5B5B12708D31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Picture Placeholder 9">
            <a:extLst>
              <a:ext uri="{FF2B5EF4-FFF2-40B4-BE49-F238E27FC236}">
                <a16:creationId xmlns="" xmlns:a16="http://schemas.microsoft.com/office/drawing/2014/main" id="{A9684557-E735-4F99-9200-B752FE63292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67021" y="1680852"/>
            <a:ext cx="795685" cy="21791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71" name="Picture Placeholder 9">
            <a:extLst>
              <a:ext uri="{FF2B5EF4-FFF2-40B4-BE49-F238E27FC236}">
                <a16:creationId xmlns="" xmlns:a16="http://schemas.microsoft.com/office/drawing/2014/main" id="{E207400C-59DF-4155-A4E2-8588593E2F7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2133" y="1717525"/>
            <a:ext cx="815282" cy="21791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grpSp>
        <p:nvGrpSpPr>
          <p:cNvPr id="72" name="Group 5">
            <a:extLst>
              <a:ext uri="{FF2B5EF4-FFF2-40B4-BE49-F238E27FC236}">
                <a16:creationId xmlns="" xmlns:a16="http://schemas.microsoft.com/office/drawing/2014/main" id="{6E65A757-CCD5-48A1-8DD3-F86E193ABBCE}"/>
              </a:ext>
            </a:extLst>
          </p:cNvPr>
          <p:cNvGrpSpPr/>
          <p:nvPr userDrawn="1"/>
        </p:nvGrpSpPr>
        <p:grpSpPr>
          <a:xfrm>
            <a:off x="1558338" y="1364962"/>
            <a:ext cx="1728217" cy="2985103"/>
            <a:chOff x="1438761" y="2033015"/>
            <a:chExt cx="1980000" cy="3420000"/>
          </a:xfrm>
        </p:grpSpPr>
        <p:sp>
          <p:nvSpPr>
            <p:cNvPr id="73" name="Rounded Rectangle 41">
              <a:extLst>
                <a:ext uri="{FF2B5EF4-FFF2-40B4-BE49-F238E27FC236}">
                  <a16:creationId xmlns="" xmlns:a16="http://schemas.microsoft.com/office/drawing/2014/main" id="{7DF5FFA1-E879-4ECA-9B4C-31AAE46B98D6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74" name="Rectangle 42">
              <a:extLst>
                <a:ext uri="{FF2B5EF4-FFF2-40B4-BE49-F238E27FC236}">
                  <a16:creationId xmlns="" xmlns:a16="http://schemas.microsoft.com/office/drawing/2014/main" id="{085BC32C-E608-44B8-A7A0-89B00F110C46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75" name="Group 6">
              <a:extLst>
                <a:ext uri="{FF2B5EF4-FFF2-40B4-BE49-F238E27FC236}">
                  <a16:creationId xmlns="" xmlns:a16="http://schemas.microsoft.com/office/drawing/2014/main" id="{56422AC3-6C41-4DC1-BFCF-E1FB16737474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76" name="Oval 44">
                <a:extLst>
                  <a:ext uri="{FF2B5EF4-FFF2-40B4-BE49-F238E27FC236}">
                    <a16:creationId xmlns="" xmlns:a16="http://schemas.microsoft.com/office/drawing/2014/main" id="{2EC257C4-0911-426B-A877-20FB5F821CDD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Rounded Rectangle 45">
                <a:extLst>
                  <a:ext uri="{FF2B5EF4-FFF2-40B4-BE49-F238E27FC236}">
                    <a16:creationId xmlns="" xmlns:a16="http://schemas.microsoft.com/office/drawing/2014/main" id="{8E296D12-D65E-431F-A0FB-A693E4FA6848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8" name="Picture Placeholder 9">
            <a:extLst>
              <a:ext uri="{FF2B5EF4-FFF2-40B4-BE49-F238E27FC236}">
                <a16:creationId xmlns="" xmlns:a16="http://schemas.microsoft.com/office/drawing/2014/main" id="{FBF029D3-590C-4B47-A9C3-7C543074FD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663086" y="1613689"/>
            <a:ext cx="1517540" cy="23566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38" name="Text Placeholder 9">
            <a:extLst>
              <a:ext uri="{FF2B5EF4-FFF2-40B4-BE49-F238E27FC236}">
                <a16:creationId xmlns="" xmlns:a16="http://schemas.microsoft.com/office/drawing/2014/main" id="{4D7B1FD0-5E10-43C8-B28F-F43B7DABDC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2647" y="336629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1166011826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5" y="1501752"/>
            <a:ext cx="8450164" cy="297014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8460824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6120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an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5383941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4" y="1656523"/>
            <a:ext cx="5383941" cy="281537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5385542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5980042" y="-1"/>
            <a:ext cx="3163957" cy="4819487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189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B, partial image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182880" tIns="502920" rIns="182880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85763" y="2308225"/>
            <a:ext cx="8494712" cy="397115"/>
          </a:xfrm>
        </p:spPr>
        <p:txBody>
          <a:bodyPr/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552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chemeClr val="accent4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chemeClr val="tx2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chemeClr val="tx2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chemeClr val="tx2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156555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52984"/>
          </a:xfrm>
          <a:prstGeom prst="rect">
            <a:avLst/>
          </a:prstGeom>
        </p:spPr>
      </p:pic>
      <p:pic>
        <p:nvPicPr>
          <p:cNvPr id="16" name="Picture 15" descr="NPD_logo_RGB_Reverse_300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6091" y="3769599"/>
            <a:ext cx="914400" cy="9144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7213" y="1504950"/>
            <a:ext cx="6400800" cy="515541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>
                <a:solidFill>
                  <a:srgbClr val="FFFFFF"/>
                </a:solidFill>
              </a:defRPr>
            </a:lvl1pPr>
            <a:lvl2pPr marL="341313" indent="0">
              <a:buNone/>
              <a:defRPr>
                <a:solidFill>
                  <a:srgbClr val="FFFFFF"/>
                </a:solidFill>
              </a:defRPr>
            </a:lvl2pPr>
            <a:lvl3pPr marL="627062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Subhead of Presentation can go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7213" y="731887"/>
            <a:ext cx="6400800" cy="729763"/>
          </a:xfrm>
        </p:spPr>
        <p:txBody>
          <a:bodyPr wrap="square" lIns="0" tIns="0" rIns="0" bIns="0" anchor="t" anchorCtr="0"/>
          <a:lstStyle>
            <a:lvl1pPr>
              <a:lnSpc>
                <a:spcPct val="80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FFFFFF"/>
                </a:solidFill>
              </a:rPr>
              <a:t>Click To Add Title of Present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557214" y="4369078"/>
            <a:ext cx="279239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Arial" charset="0"/>
                <a:ea typeface="ＭＳ Ｐゴシック" charset="0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prstClr val="white"/>
                </a:solidFill>
                <a:latin typeface="Calibri"/>
              </a:rPr>
              <a:t>Copyright 2019. The NPD Group, Inc. All Rights Reserved. This presentation is </a:t>
            </a:r>
            <a:r>
              <a:rPr lang="en-US" b="1" dirty="0" smtClean="0">
                <a:solidFill>
                  <a:prstClr val="white"/>
                </a:solidFill>
                <a:latin typeface="Calibri"/>
              </a:rPr>
              <a:t>proprietary and confidential</a:t>
            </a:r>
            <a:r>
              <a:rPr lang="en-US" dirty="0" smtClean="0">
                <a:solidFill>
                  <a:prstClr val="white"/>
                </a:solidFill>
                <a:latin typeface="Calibri"/>
              </a:rPr>
              <a:t> and may not be disclosed in any manner, in whole or in part, to any third party without the express written consent of NPD.</a:t>
            </a:r>
            <a:endParaRPr lang="en-US" sz="7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214" y="3933570"/>
            <a:ext cx="2468562" cy="276225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Date (Optional)</a:t>
            </a:r>
          </a:p>
        </p:txBody>
      </p:sp>
    </p:spTree>
    <p:extLst>
      <p:ext uri="{BB962C8B-B14F-4D97-AF65-F5344CB8AC3E}">
        <p14:creationId xmlns:p14="http://schemas.microsoft.com/office/powerpoint/2010/main" val="1716282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/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050"/>
            <a:ext cx="9144000" cy="48420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6"/>
          <p:cNvSpPr txBox="1">
            <a:spLocks noChangeArrowheads="1"/>
          </p:cNvSpPr>
          <p:nvPr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1" name="TextBox 4"/>
          <p:cNvSpPr txBox="1">
            <a:spLocks noChangeArrowheads="1"/>
          </p:cNvSpPr>
          <p:nvPr userDrawn="1"/>
        </p:nvSpPr>
        <p:spPr bwMode="auto">
          <a:xfrm>
            <a:off x="7217834" y="433263"/>
            <a:ext cx="1729894" cy="394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spcCol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are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lianc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utomotiv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2B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eaut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ook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Consumer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E-commer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ashion Accessor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 Consumption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servi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twear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Hom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Juvenile Products</a:t>
            </a:r>
          </a:p>
          <a:p>
            <a:pPr eaLnBrk="1" hangingPunct="1">
              <a:spcAft>
                <a:spcPts val="300"/>
              </a:spcAft>
              <a:defRPr/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edia Entertainment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obil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Office Suppl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Sport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oy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ravel 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Video Gam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Watches / Jewelry</a:t>
            </a:r>
          </a:p>
        </p:txBody>
      </p:sp>
    </p:spTree>
    <p:extLst>
      <p:ext uri="{BB962C8B-B14F-4D97-AF65-F5344CB8AC3E}">
        <p14:creationId xmlns:p14="http://schemas.microsoft.com/office/powerpoint/2010/main" val="126161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09963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Font typeface="+mj-lt"/>
              <a:buAutoNum type="arabicPeriod"/>
              <a:defRPr sz="2800" b="0">
                <a:solidFill>
                  <a:schemeClr val="tx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Click To Create Your 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214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814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103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0078BE">
              <a:alpha val="60000"/>
            </a:srgbClr>
          </a:solidFill>
        </p:spPr>
        <p:txBody>
          <a:bodyPr lIns="365760" tIns="1371600" rIns="365760" bIns="1371600" anchor="ctr"/>
          <a:lstStyle>
            <a:lvl1pPr algn="ctr">
              <a:lnSpc>
                <a:spcPct val="80000"/>
              </a:lnSpc>
              <a:defRPr sz="5400" b="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538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D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2037644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11480" y="2330527"/>
            <a:ext cx="8321040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 smtClean="0"/>
              <a:t>Transition Slid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23305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2980266"/>
            <a:ext cx="8321040" cy="1491633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spcAft>
                <a:spcPts val="1000"/>
              </a:spcAft>
              <a:defRPr sz="2400"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8997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3635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 baseline="0"/>
            </a:lvl1pPr>
            <a:lvl3pPr>
              <a:defRPr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8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55476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1231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669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297521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none"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2195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646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4267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 hasCustomPrompt="1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 hasCustomPrompt="1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 hasCustomPrompt="1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291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22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383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49229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00109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060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7636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hon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7211501" y="1568584"/>
            <a:ext cx="1340761" cy="240583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5"/>
            <a:ext cx="6244740" cy="265176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E5E2FCC6-9731-48B8-B2A2-39E9FD0F42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3362" y="1073899"/>
            <a:ext cx="1699776" cy="33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36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  <a:p>
            <a:pPr lvl="0"/>
            <a:endParaRPr lang="en-US" dirty="0" smtClean="0"/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476366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ptop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="" xmlns:a16="http://schemas.microsoft.com/office/drawing/2014/main" id="{69D3E401-F6DF-4A44-858C-E9410373BE6E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194050" y="1489753"/>
            <a:ext cx="3949950" cy="24783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  Picture</a:t>
            </a:r>
            <a:endParaRPr lang="en-US" dirty="0"/>
          </a:p>
        </p:txBody>
      </p:sp>
      <p:pic>
        <p:nvPicPr>
          <p:cNvPr id="3" name="Picture 2" descr="A picture containing electronics, display&#10;&#10;Description generated with very high confidence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6060" y="1319842"/>
            <a:ext cx="4567940" cy="3019246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</p:spPr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89753"/>
            <a:ext cx="4374815" cy="2478024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03560682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4"/>
            <a:ext cx="4059936" cy="2474601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6357922" y="1490674"/>
            <a:ext cx="1277283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Picture Placeholder 11"/>
          <p:cNvSpPr>
            <a:spLocks noGrp="1" noChangeAspect="1"/>
          </p:cNvSpPr>
          <p:nvPr>
            <p:ph type="pic" sz="quarter" idx="39"/>
          </p:nvPr>
        </p:nvSpPr>
        <p:spPr>
          <a:xfrm>
            <a:off x="484912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40"/>
          </p:nvPr>
        </p:nvSpPr>
        <p:spPr>
          <a:xfrm>
            <a:off x="786671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314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411480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672584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672584" y="1664884"/>
            <a:ext cx="4059936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Second Chart Goes Her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1664884"/>
            <a:ext cx="4057069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First Chart Goes He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291442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5479015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01194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786408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01194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33" hasCustomPrompt="1"/>
          </p:nvPr>
        </p:nvSpPr>
        <p:spPr>
          <a:xfrm>
            <a:off x="717162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34" hasCustomPrompt="1"/>
          </p:nvPr>
        </p:nvSpPr>
        <p:spPr>
          <a:xfrm>
            <a:off x="209380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35" hasCustomPrompt="1"/>
          </p:nvPr>
        </p:nvSpPr>
        <p:spPr>
          <a:xfrm>
            <a:off x="717162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209380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786408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5479015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40" name="Text Placeholder 12"/>
          <p:cNvSpPr>
            <a:spLocks noGrp="1"/>
          </p:cNvSpPr>
          <p:nvPr>
            <p:ph type="body" sz="quarter" idx="40"/>
          </p:nvPr>
        </p:nvSpPr>
        <p:spPr>
          <a:xfrm>
            <a:off x="401194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12"/>
          <p:cNvSpPr>
            <a:spLocks noGrp="1"/>
          </p:cNvSpPr>
          <p:nvPr>
            <p:ph type="body" sz="quarter" idx="41"/>
          </p:nvPr>
        </p:nvSpPr>
        <p:spPr>
          <a:xfrm>
            <a:off x="717162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42"/>
          </p:nvPr>
        </p:nvSpPr>
        <p:spPr>
          <a:xfrm>
            <a:off x="209380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12"/>
          <p:cNvSpPr>
            <a:spLocks noGrp="1"/>
          </p:cNvSpPr>
          <p:nvPr>
            <p:ph type="body" sz="quarter" idx="43"/>
          </p:nvPr>
        </p:nvSpPr>
        <p:spPr>
          <a:xfrm>
            <a:off x="3786408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12"/>
          <p:cNvSpPr>
            <a:spLocks noGrp="1"/>
          </p:cNvSpPr>
          <p:nvPr>
            <p:ph type="body" sz="quarter" idx="44"/>
          </p:nvPr>
        </p:nvSpPr>
        <p:spPr>
          <a:xfrm>
            <a:off x="5479015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401194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717162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209380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3786408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51" hasCustomPrompt="1"/>
          </p:nvPr>
        </p:nvSpPr>
        <p:spPr>
          <a:xfrm>
            <a:off x="5479015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52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01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QUESTIONS</a:t>
            </a:r>
            <a:r>
              <a:rPr lang="en-US" sz="5400" b="0" dirty="0" smtClean="0">
                <a:solidFill>
                  <a:srgbClr val="0078BE"/>
                </a:solidFill>
              </a:rPr>
              <a:t>?</a:t>
            </a:r>
            <a:endParaRPr lang="en-US" sz="2800" b="0" dirty="0">
              <a:solidFill>
                <a:srgbClr val="0078B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244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APPENDIX</a:t>
            </a:r>
            <a:endParaRPr lang="en-US" sz="2800" b="0" dirty="0">
              <a:solidFill>
                <a:srgbClr val="0051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83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8279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4500" y="1197769"/>
            <a:ext cx="8321040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rgbClr val="8E908F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44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99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chemeClr val="accent1">
              <a:alpha val="75000"/>
            </a:scheme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0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chemeClr val="bg1"/>
                </a:solidFill>
              </a:rPr>
              <a:t>QUESTIONS</a:t>
            </a:r>
            <a:r>
              <a:rPr lang="en-US" sz="5400" b="0" dirty="0" smtClean="0">
                <a:solidFill>
                  <a:srgbClr val="8E908F"/>
                </a:solidFill>
              </a:rPr>
              <a:t>?</a:t>
            </a:r>
            <a:endParaRPr lang="en-US" sz="2800" b="0" dirty="0">
              <a:solidFill>
                <a:srgbClr val="8E908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179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chemeClr val="bg2">
              <a:alpha val="60000"/>
            </a:scheme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216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612894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931823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599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48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418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887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indent="0">
              <a:buNone/>
              <a:defRPr sz="900"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05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328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030520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chemeClr val="bg1"/>
                </a:solidFill>
              </a:rPr>
              <a:t>APPENDIX</a:t>
            </a:r>
            <a:endParaRPr lang="en-US" sz="2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911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20200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890146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  <a:p>
            <a:pPr lvl="0"/>
            <a:endParaRPr lang="en-US" dirty="0" smtClean="0"/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767695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E908F"/>
                </a:solidFill>
              </a:rPr>
              <a:t>?</a:t>
            </a:r>
            <a:endParaRPr lang="en-US" sz="2800" b="0" dirty="0">
              <a:solidFill>
                <a:srgbClr val="8E908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3271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822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735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5115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chemeClr val="accent2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314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439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565A5C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75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565A5C">
              <a:alpha val="60000"/>
            </a:srgb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900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861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64740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18195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2C341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14300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854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900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6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37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8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99686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92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92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614123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901222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5115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chemeClr val="accent2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733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solidFill>
              <a:srgbClr val="56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40161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568767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2C341"/>
                </a:solidFill>
              </a:rPr>
              <a:t>?</a:t>
            </a:r>
            <a:endParaRPr lang="en-US" sz="2800" b="0" dirty="0">
              <a:solidFill>
                <a:srgbClr val="82C34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962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6449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755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yl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4913551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Slide layout"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="" xmlns:a16="http://schemas.microsoft.com/office/drawing/2014/main" id="{AF5DEDB2-78E8-45EC-AB12-C2290127F53E}"/>
              </a:ext>
            </a:extLst>
          </p:cNvPr>
          <p:cNvSpPr/>
          <p:nvPr userDrawn="1"/>
        </p:nvSpPr>
        <p:spPr>
          <a:xfrm rot="18900000">
            <a:off x="2437817" y="-1492038"/>
            <a:ext cx="8127573" cy="8127575"/>
          </a:xfrm>
          <a:custGeom>
            <a:avLst/>
            <a:gdLst>
              <a:gd name="connsiteX0" fmla="*/ 4849337 w 10836764"/>
              <a:gd name="connsiteY0" fmla="*/ 0 h 10836766"/>
              <a:gd name="connsiteX1" fmla="*/ 10836764 w 10836764"/>
              <a:gd name="connsiteY1" fmla="*/ 5987428 h 10836766"/>
              <a:gd name="connsiteX2" fmla="*/ 5987426 w 10836764"/>
              <a:gd name="connsiteY2" fmla="*/ 10836766 h 10836766"/>
              <a:gd name="connsiteX3" fmla="*/ 1 w 10836764"/>
              <a:gd name="connsiteY3" fmla="*/ 4849340 h 10836766"/>
              <a:gd name="connsiteX4" fmla="*/ 0 w 10836764"/>
              <a:gd name="connsiteY4" fmla="*/ 1529113 h 10836766"/>
              <a:gd name="connsiteX5" fmla="*/ 1529113 w 10836764"/>
              <a:gd name="connsiteY5" fmla="*/ 0 h 10836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36764" h="10836766">
                <a:moveTo>
                  <a:pt x="4849337" y="0"/>
                </a:moveTo>
                <a:lnTo>
                  <a:pt x="10836764" y="5987428"/>
                </a:lnTo>
                <a:lnTo>
                  <a:pt x="5987426" y="10836766"/>
                </a:lnTo>
                <a:lnTo>
                  <a:pt x="1" y="4849340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89000">
                <a:schemeClr val="accent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E769B23C-815D-4713-8F2F-BE8E52CBCEEB}"/>
              </a:ext>
            </a:extLst>
          </p:cNvPr>
          <p:cNvSpPr/>
          <p:nvPr userDrawn="1"/>
        </p:nvSpPr>
        <p:spPr>
          <a:xfrm rot="18900000">
            <a:off x="8517299" y="1426573"/>
            <a:ext cx="2330225" cy="2330225"/>
          </a:xfrm>
          <a:custGeom>
            <a:avLst/>
            <a:gdLst>
              <a:gd name="connsiteX0" fmla="*/ 3106966 w 3106966"/>
              <a:gd name="connsiteY0" fmla="*/ 0 h 3106966"/>
              <a:gd name="connsiteX1" fmla="*/ 1 w 3106966"/>
              <a:gd name="connsiteY1" fmla="*/ 3106966 h 3106966"/>
              <a:gd name="connsiteX2" fmla="*/ 0 w 3106966"/>
              <a:gd name="connsiteY2" fmla="*/ 1529113 h 3106966"/>
              <a:gd name="connsiteX3" fmla="*/ 1529113 w 3106966"/>
              <a:gd name="connsiteY3" fmla="*/ 0 h 3106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6966" h="3106966">
                <a:moveTo>
                  <a:pt x="3106966" y="0"/>
                </a:moveTo>
                <a:lnTo>
                  <a:pt x="1" y="3106966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623266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50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="" xmlns:a16="http://schemas.microsoft.com/office/drawing/2014/main" id="{B3CA5F7E-D45F-4887-AF9C-BB7E27A9C9CE}"/>
              </a:ext>
            </a:extLst>
          </p:cNvPr>
          <p:cNvSpPr/>
          <p:nvPr userDrawn="1"/>
        </p:nvSpPr>
        <p:spPr>
          <a:xfrm>
            <a:off x="5421090" y="1407112"/>
            <a:ext cx="3240000" cy="32400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" name="그림 개체 틀 5">
            <a:extLst>
              <a:ext uri="{FF2B5EF4-FFF2-40B4-BE49-F238E27FC236}">
                <a16:creationId xmlns="" xmlns:a16="http://schemas.microsoft.com/office/drawing/2014/main" id="{1C677DB5-A9F3-459B-9D51-37160E08512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93016" y="547007"/>
            <a:ext cx="3736584" cy="373658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685800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9905496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4">
            <a:extLst>
              <a:ext uri="{FF2B5EF4-FFF2-40B4-BE49-F238E27FC236}">
                <a16:creationId xmlns="" xmlns:a16="http://schemas.microsoft.com/office/drawing/2014/main" id="{C3CDBC2D-C9C0-4D36-A0F9-7EDE3B294276}"/>
              </a:ext>
            </a:extLst>
          </p:cNvPr>
          <p:cNvSpPr/>
          <p:nvPr userDrawn="1"/>
        </p:nvSpPr>
        <p:spPr>
          <a:xfrm>
            <a:off x="2659899" y="453912"/>
            <a:ext cx="5804833" cy="42406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694249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763651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2833053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6" name="Rectangle 48">
            <a:extLst>
              <a:ext uri="{FF2B5EF4-FFF2-40B4-BE49-F238E27FC236}">
                <a16:creationId xmlns="" xmlns:a16="http://schemas.microsoft.com/office/drawing/2014/main" id="{7877AA66-AAFD-429C-B217-380BEF1ADDE2}"/>
              </a:ext>
            </a:extLst>
          </p:cNvPr>
          <p:cNvSpPr/>
          <p:nvPr userDrawn="1"/>
        </p:nvSpPr>
        <p:spPr>
          <a:xfrm>
            <a:off x="2833053" y="2743256"/>
            <a:ext cx="1620000" cy="48600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="" xmlns:a16="http://schemas.microsoft.com/office/drawing/2014/main" id="{852C85C1-7D9E-4F23-85EA-6A451FF0BEF6}"/>
              </a:ext>
            </a:extLst>
          </p:cNvPr>
          <p:cNvSpPr/>
          <p:nvPr userDrawn="1"/>
        </p:nvSpPr>
        <p:spPr>
          <a:xfrm>
            <a:off x="4763651" y="2735528"/>
            <a:ext cx="1620000" cy="486000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9" name="Rectangle 20">
            <a:extLst>
              <a:ext uri="{FF2B5EF4-FFF2-40B4-BE49-F238E27FC236}">
                <a16:creationId xmlns="" xmlns:a16="http://schemas.microsoft.com/office/drawing/2014/main" id="{E05C1512-E9F1-4355-8FF9-6A6F0DFFCB7B}"/>
              </a:ext>
            </a:extLst>
          </p:cNvPr>
          <p:cNvSpPr/>
          <p:nvPr userDrawn="1"/>
        </p:nvSpPr>
        <p:spPr>
          <a:xfrm>
            <a:off x="6694249" y="2743256"/>
            <a:ext cx="1620000" cy="48600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48650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021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="" xmlns:a16="http://schemas.microsoft.com/office/drawing/2014/main" id="{2760AC20-0645-4AE6-BC4F-285B18B690B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834742" y="1378743"/>
            <a:ext cx="6309259" cy="3050383"/>
          </a:xfrm>
          <a:custGeom>
            <a:avLst/>
            <a:gdLst>
              <a:gd name="connsiteX0" fmla="*/ 0 w 8412345"/>
              <a:gd name="connsiteY0" fmla="*/ 0 h 4067177"/>
              <a:gd name="connsiteX1" fmla="*/ 8412345 w 8412345"/>
              <a:gd name="connsiteY1" fmla="*/ 0 h 4067177"/>
              <a:gd name="connsiteX2" fmla="*/ 8412345 w 8412345"/>
              <a:gd name="connsiteY2" fmla="*/ 4067177 h 4067177"/>
              <a:gd name="connsiteX3" fmla="*/ 1452936 w 8412345"/>
              <a:gd name="connsiteY3" fmla="*/ 4067177 h 4067177"/>
              <a:gd name="connsiteX4" fmla="*/ 1340647 w 8412345"/>
              <a:gd name="connsiteY4" fmla="*/ 3752847 h 4067177"/>
              <a:gd name="connsiteX5" fmla="*/ 8412344 w 8412345"/>
              <a:gd name="connsiteY5" fmla="*/ 3752847 h 4067177"/>
              <a:gd name="connsiteX6" fmla="*/ 8412344 w 8412345"/>
              <a:gd name="connsiteY6" fmla="*/ 3524256 h 4067177"/>
              <a:gd name="connsiteX7" fmla="*/ 1258986 w 8412345"/>
              <a:gd name="connsiteY7" fmla="*/ 3524256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12345" h="4067177">
                <a:moveTo>
                  <a:pt x="0" y="0"/>
                </a:moveTo>
                <a:lnTo>
                  <a:pt x="8412345" y="0"/>
                </a:lnTo>
                <a:lnTo>
                  <a:pt x="8412345" y="4067177"/>
                </a:lnTo>
                <a:lnTo>
                  <a:pt x="1452936" y="4067177"/>
                </a:lnTo>
                <a:lnTo>
                  <a:pt x="1340647" y="3752847"/>
                </a:lnTo>
                <a:lnTo>
                  <a:pt x="8412344" y="3752847"/>
                </a:lnTo>
                <a:lnTo>
                  <a:pt x="8412344" y="3524256"/>
                </a:lnTo>
                <a:lnTo>
                  <a:pt x="1258986" y="3524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="" xmlns:a16="http://schemas.microsoft.com/office/drawing/2014/main" id="{DF0D5D85-25EF-40C1-9119-2AE98DC382AC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964406"/>
            <a:ext cx="3324186" cy="3050383"/>
          </a:xfrm>
          <a:custGeom>
            <a:avLst/>
            <a:gdLst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904875 w 4432248"/>
              <a:gd name="connsiteY2" fmla="*/ 0 h 4067177"/>
              <a:gd name="connsiteX3" fmla="*/ 2979312 w 4432248"/>
              <a:gd name="connsiteY3" fmla="*/ 0 h 4067177"/>
              <a:gd name="connsiteX4" fmla="*/ 4432248 w 4432248"/>
              <a:gd name="connsiteY4" fmla="*/ 4067177 h 4067177"/>
              <a:gd name="connsiteX5" fmla="*/ 571500 w 4432248"/>
              <a:gd name="connsiteY5" fmla="*/ 4067177 h 4067177"/>
              <a:gd name="connsiteX6" fmla="*/ 571500 w 4432248"/>
              <a:gd name="connsiteY6" fmla="*/ 4067175 h 4067177"/>
              <a:gd name="connsiteX7" fmla="*/ 0 w 4432248"/>
              <a:gd name="connsiteY7" fmla="*/ 4067175 h 4067177"/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2979312 w 4432248"/>
              <a:gd name="connsiteY2" fmla="*/ 0 h 4067177"/>
              <a:gd name="connsiteX3" fmla="*/ 4432248 w 4432248"/>
              <a:gd name="connsiteY3" fmla="*/ 4067177 h 4067177"/>
              <a:gd name="connsiteX4" fmla="*/ 571500 w 4432248"/>
              <a:gd name="connsiteY4" fmla="*/ 4067177 h 4067177"/>
              <a:gd name="connsiteX5" fmla="*/ 571500 w 4432248"/>
              <a:gd name="connsiteY5" fmla="*/ 4067175 h 4067177"/>
              <a:gd name="connsiteX6" fmla="*/ 0 w 4432248"/>
              <a:gd name="connsiteY6" fmla="*/ 4067175 h 4067177"/>
              <a:gd name="connsiteX7" fmla="*/ 0 w 4432248"/>
              <a:gd name="connsiteY7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571500 w 4432248"/>
              <a:gd name="connsiteY4" fmla="*/ 4067175 h 4067177"/>
              <a:gd name="connsiteX5" fmla="*/ 0 w 4432248"/>
              <a:gd name="connsiteY5" fmla="*/ 4067175 h 4067177"/>
              <a:gd name="connsiteX6" fmla="*/ 0 w 4432248"/>
              <a:gd name="connsiteY6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0 w 4432248"/>
              <a:gd name="connsiteY4" fmla="*/ 4067175 h 4067177"/>
              <a:gd name="connsiteX5" fmla="*/ 0 w 4432248"/>
              <a:gd name="connsiteY5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0 w 4432248"/>
              <a:gd name="connsiteY3" fmla="*/ 4067175 h 4067177"/>
              <a:gd name="connsiteX4" fmla="*/ 0 w 4432248"/>
              <a:gd name="connsiteY4" fmla="*/ 0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2248" h="4067177">
                <a:moveTo>
                  <a:pt x="0" y="0"/>
                </a:moveTo>
                <a:lnTo>
                  <a:pt x="2979312" y="0"/>
                </a:lnTo>
                <a:lnTo>
                  <a:pt x="4432248" y="4067177"/>
                </a:lnTo>
                <a:lnTo>
                  <a:pt x="0" y="406717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04689838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15114" y="3851952"/>
            <a:ext cx="8457515" cy="434579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437129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228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7CB68201-6AEB-4BFE-B92F-F7D14A3CB566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5366888" cy="5143500"/>
          </a:xfrm>
          <a:custGeom>
            <a:avLst/>
            <a:gdLst>
              <a:gd name="connsiteX0" fmla="*/ 0 w 7155850"/>
              <a:gd name="connsiteY0" fmla="*/ 3024930 h 6858000"/>
              <a:gd name="connsiteX1" fmla="*/ 2358530 w 7155850"/>
              <a:gd name="connsiteY1" fmla="*/ 6858000 h 6858000"/>
              <a:gd name="connsiteX2" fmla="*/ 1329860 w 7155850"/>
              <a:gd name="connsiteY2" fmla="*/ 6858000 h 6858000"/>
              <a:gd name="connsiteX3" fmla="*/ 0 w 7155850"/>
              <a:gd name="connsiteY3" fmla="*/ 4691859 h 6858000"/>
              <a:gd name="connsiteX4" fmla="*/ 1 w 7155850"/>
              <a:gd name="connsiteY4" fmla="*/ 397145 h 6858000"/>
              <a:gd name="connsiteX5" fmla="*/ 3459898 w 7155850"/>
              <a:gd name="connsiteY5" fmla="*/ 6020152 h 6858000"/>
              <a:gd name="connsiteX6" fmla="*/ 2945517 w 7155850"/>
              <a:gd name="connsiteY6" fmla="*/ 6858000 h 6858000"/>
              <a:gd name="connsiteX7" fmla="*/ 1 w 7155850"/>
              <a:gd name="connsiteY7" fmla="*/ 2060197 h 6858000"/>
              <a:gd name="connsiteX8" fmla="*/ 396861 w 7155850"/>
              <a:gd name="connsiteY8" fmla="*/ 0 h 6858000"/>
              <a:gd name="connsiteX9" fmla="*/ 7155850 w 7155850"/>
              <a:gd name="connsiteY9" fmla="*/ 0 h 6858000"/>
              <a:gd name="connsiteX10" fmla="*/ 3780151 w 7155850"/>
              <a:gd name="connsiteY10" fmla="*/ 54985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55850" h="6858000">
                <a:moveTo>
                  <a:pt x="0" y="3024930"/>
                </a:moveTo>
                <a:lnTo>
                  <a:pt x="2358530" y="6858000"/>
                </a:lnTo>
                <a:lnTo>
                  <a:pt x="1329860" y="6858000"/>
                </a:lnTo>
                <a:lnTo>
                  <a:pt x="0" y="4691859"/>
                </a:lnTo>
                <a:close/>
                <a:moveTo>
                  <a:pt x="1" y="397145"/>
                </a:moveTo>
                <a:lnTo>
                  <a:pt x="3459898" y="6020152"/>
                </a:lnTo>
                <a:lnTo>
                  <a:pt x="2945517" y="6858000"/>
                </a:lnTo>
                <a:lnTo>
                  <a:pt x="1" y="2060197"/>
                </a:lnTo>
                <a:close/>
                <a:moveTo>
                  <a:pt x="396861" y="0"/>
                </a:moveTo>
                <a:lnTo>
                  <a:pt x="7155850" y="0"/>
                </a:lnTo>
                <a:lnTo>
                  <a:pt x="3780151" y="54985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7" tIns="34289" rIns="68577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899" indent="0">
              <a:buNone/>
              <a:defRPr sz="2100"/>
            </a:lvl2pPr>
            <a:lvl3pPr marL="685801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2" indent="0">
              <a:buNone/>
              <a:defRPr sz="1500"/>
            </a:lvl6pPr>
            <a:lvl7pPr marL="2057401" indent="0">
              <a:buNone/>
              <a:defRPr sz="1500"/>
            </a:lvl7pPr>
            <a:lvl8pPr marL="2400300" indent="0">
              <a:buNone/>
              <a:defRPr sz="1500"/>
            </a:lvl8pPr>
            <a:lvl9pPr marL="2743199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85300617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792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5" y="1501752"/>
            <a:ext cx="8450164" cy="297014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8460824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373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an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5383941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4" y="1656523"/>
            <a:ext cx="5383941" cy="281537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5385542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5980042" y="-1"/>
            <a:ext cx="3163957" cy="4819487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702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B, partial image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182880" tIns="502920" rIns="182880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85763" y="2308225"/>
            <a:ext cx="8494712" cy="397115"/>
          </a:xfrm>
        </p:spPr>
        <p:txBody>
          <a:bodyPr/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3054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003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52984"/>
          </a:xfrm>
          <a:prstGeom prst="rect">
            <a:avLst/>
          </a:prstGeom>
        </p:spPr>
      </p:pic>
      <p:pic>
        <p:nvPicPr>
          <p:cNvPr id="16" name="Picture 15" descr="NPD_logo_RGB_Reverse_300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6091" y="3769599"/>
            <a:ext cx="914400" cy="9144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7213" y="1504950"/>
            <a:ext cx="6400800" cy="515541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>
                <a:solidFill>
                  <a:srgbClr val="FFFFFF"/>
                </a:solidFill>
              </a:defRPr>
            </a:lvl1pPr>
            <a:lvl2pPr marL="341313" indent="0">
              <a:buNone/>
              <a:defRPr>
                <a:solidFill>
                  <a:srgbClr val="FFFFFF"/>
                </a:solidFill>
              </a:defRPr>
            </a:lvl2pPr>
            <a:lvl3pPr marL="627062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Subhead of Presentation can go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7213" y="731887"/>
            <a:ext cx="6400800" cy="729763"/>
          </a:xfrm>
        </p:spPr>
        <p:txBody>
          <a:bodyPr wrap="square" lIns="0" tIns="0" rIns="0" bIns="0" anchor="t" anchorCtr="0"/>
          <a:lstStyle>
            <a:lvl1pPr>
              <a:lnSpc>
                <a:spcPct val="80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FFFFFF"/>
                </a:solidFill>
              </a:rPr>
              <a:t>Click To Add Title of Present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557214" y="4369078"/>
            <a:ext cx="279239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Arial" charset="0"/>
                <a:ea typeface="ＭＳ Ｐゴシック" charset="0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prstClr val="white"/>
                </a:solidFill>
                <a:latin typeface="Calibri"/>
              </a:rPr>
              <a:t>Copyright 2019. The NPD Group, Inc. All Rights Reserved. This presentation is </a:t>
            </a:r>
            <a:r>
              <a:rPr lang="en-US" b="1" dirty="0" smtClean="0">
                <a:solidFill>
                  <a:prstClr val="white"/>
                </a:solidFill>
                <a:latin typeface="Calibri"/>
              </a:rPr>
              <a:t>proprietary and confidential</a:t>
            </a:r>
            <a:r>
              <a:rPr lang="en-US" dirty="0" smtClean="0">
                <a:solidFill>
                  <a:prstClr val="white"/>
                </a:solidFill>
                <a:latin typeface="Calibri"/>
              </a:rPr>
              <a:t> and may not be disclosed in any manner, in whole or in part, to any third party without the express written consent of NPD.</a:t>
            </a:r>
            <a:endParaRPr lang="en-US" sz="7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214" y="3933570"/>
            <a:ext cx="2468562" cy="276225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Date (Optional)</a:t>
            </a:r>
          </a:p>
        </p:txBody>
      </p:sp>
    </p:spTree>
    <p:extLst>
      <p:ext uri="{BB962C8B-B14F-4D97-AF65-F5344CB8AC3E}">
        <p14:creationId xmlns:p14="http://schemas.microsoft.com/office/powerpoint/2010/main" val="354766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/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050"/>
            <a:ext cx="9144000" cy="48420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6"/>
          <p:cNvSpPr txBox="1">
            <a:spLocks noChangeArrowheads="1"/>
          </p:cNvSpPr>
          <p:nvPr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1" name="TextBox 4"/>
          <p:cNvSpPr txBox="1">
            <a:spLocks noChangeArrowheads="1"/>
          </p:cNvSpPr>
          <p:nvPr userDrawn="1"/>
        </p:nvSpPr>
        <p:spPr bwMode="auto">
          <a:xfrm>
            <a:off x="7217834" y="433263"/>
            <a:ext cx="1729894" cy="394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spcCol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are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lianc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utomotiv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2B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eaut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ook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Consumer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E-commer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ashion Accessor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 Consumption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servi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twear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Hom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Juvenile Products</a:t>
            </a:r>
          </a:p>
          <a:p>
            <a:pPr eaLnBrk="1" hangingPunct="1">
              <a:spcAft>
                <a:spcPts val="300"/>
              </a:spcAft>
              <a:defRPr/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edia Entertainment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obil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Office Suppl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Sport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oy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ravel 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Video Gam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Watches / Jewelry</a:t>
            </a:r>
          </a:p>
        </p:txBody>
      </p:sp>
    </p:spTree>
    <p:extLst>
      <p:ext uri="{BB962C8B-B14F-4D97-AF65-F5344CB8AC3E}">
        <p14:creationId xmlns:p14="http://schemas.microsoft.com/office/powerpoint/2010/main" val="3064162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565A5C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576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09963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Font typeface="+mj-lt"/>
              <a:buAutoNum type="arabicPeriod"/>
              <a:defRPr sz="2800" b="0">
                <a:solidFill>
                  <a:schemeClr val="tx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Click To Create Your 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349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62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342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0078BE">
              <a:alpha val="60000"/>
            </a:srgbClr>
          </a:solidFill>
        </p:spPr>
        <p:txBody>
          <a:bodyPr lIns="365760" tIns="1371600" rIns="365760" bIns="1371600" anchor="ctr"/>
          <a:lstStyle>
            <a:lvl1pPr algn="ctr">
              <a:lnSpc>
                <a:spcPct val="80000"/>
              </a:lnSpc>
              <a:defRPr sz="5400" b="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222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D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2037644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11480" y="2330527"/>
            <a:ext cx="8321040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 smtClean="0"/>
              <a:t>Transition Slid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23305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2980266"/>
            <a:ext cx="8321040" cy="1491633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spcAft>
                <a:spcPts val="1000"/>
              </a:spcAft>
              <a:defRPr sz="2400"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5249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3635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 baseline="0"/>
            </a:lvl1pPr>
            <a:lvl3pPr>
              <a:defRPr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393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665486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1231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659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none"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2195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341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1824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432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565A5C">
              <a:alpha val="60000"/>
            </a:srgb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62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 hasCustomPrompt="1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 hasCustomPrompt="1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 hasCustomPrompt="1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32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80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69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104538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058708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070983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661232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hon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7211501" y="1568584"/>
            <a:ext cx="1340761" cy="240583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5"/>
            <a:ext cx="6244740" cy="265176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E5E2FCC6-9731-48B8-B2A2-39E9FD0F42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3362" y="1073899"/>
            <a:ext cx="1699776" cy="33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396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ptop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="" xmlns:a16="http://schemas.microsoft.com/office/drawing/2014/main" id="{69D3E401-F6DF-4A44-858C-E9410373BE6E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194050" y="1489753"/>
            <a:ext cx="3949950" cy="24783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  Picture</a:t>
            </a:r>
            <a:endParaRPr lang="en-US" dirty="0"/>
          </a:p>
        </p:txBody>
      </p:sp>
      <p:pic>
        <p:nvPicPr>
          <p:cNvPr id="3" name="Picture 2" descr="A picture containing electronics, display&#10;&#10;Description generated with very high confidence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6060" y="1319842"/>
            <a:ext cx="4567940" cy="3019246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</p:spPr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89753"/>
            <a:ext cx="4374815" cy="2478024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67592741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4"/>
            <a:ext cx="4059936" cy="2474601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6357922" y="1490674"/>
            <a:ext cx="1277283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Picture Placeholder 11"/>
          <p:cNvSpPr>
            <a:spLocks noGrp="1" noChangeAspect="1"/>
          </p:cNvSpPr>
          <p:nvPr>
            <p:ph type="pic" sz="quarter" idx="39"/>
          </p:nvPr>
        </p:nvSpPr>
        <p:spPr>
          <a:xfrm>
            <a:off x="484912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40"/>
          </p:nvPr>
        </p:nvSpPr>
        <p:spPr>
          <a:xfrm>
            <a:off x="786671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165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528167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411480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672584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672584" y="1664884"/>
            <a:ext cx="4059936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Second Chart Goes Her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1664884"/>
            <a:ext cx="4057069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First Chart Goes He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230381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5479015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01194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786408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01194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33" hasCustomPrompt="1"/>
          </p:nvPr>
        </p:nvSpPr>
        <p:spPr>
          <a:xfrm>
            <a:off x="717162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34" hasCustomPrompt="1"/>
          </p:nvPr>
        </p:nvSpPr>
        <p:spPr>
          <a:xfrm>
            <a:off x="209380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35" hasCustomPrompt="1"/>
          </p:nvPr>
        </p:nvSpPr>
        <p:spPr>
          <a:xfrm>
            <a:off x="717162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209380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786408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5479015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40" name="Text Placeholder 12"/>
          <p:cNvSpPr>
            <a:spLocks noGrp="1"/>
          </p:cNvSpPr>
          <p:nvPr>
            <p:ph type="body" sz="quarter" idx="40"/>
          </p:nvPr>
        </p:nvSpPr>
        <p:spPr>
          <a:xfrm>
            <a:off x="401194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12"/>
          <p:cNvSpPr>
            <a:spLocks noGrp="1"/>
          </p:cNvSpPr>
          <p:nvPr>
            <p:ph type="body" sz="quarter" idx="41"/>
          </p:nvPr>
        </p:nvSpPr>
        <p:spPr>
          <a:xfrm>
            <a:off x="717162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42"/>
          </p:nvPr>
        </p:nvSpPr>
        <p:spPr>
          <a:xfrm>
            <a:off x="209380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12"/>
          <p:cNvSpPr>
            <a:spLocks noGrp="1"/>
          </p:cNvSpPr>
          <p:nvPr>
            <p:ph type="body" sz="quarter" idx="43"/>
          </p:nvPr>
        </p:nvSpPr>
        <p:spPr>
          <a:xfrm>
            <a:off x="3786408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12"/>
          <p:cNvSpPr>
            <a:spLocks noGrp="1"/>
          </p:cNvSpPr>
          <p:nvPr>
            <p:ph type="body" sz="quarter" idx="44"/>
          </p:nvPr>
        </p:nvSpPr>
        <p:spPr>
          <a:xfrm>
            <a:off x="5479015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401194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717162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209380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3786408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51" hasCustomPrompt="1"/>
          </p:nvPr>
        </p:nvSpPr>
        <p:spPr>
          <a:xfrm>
            <a:off x="5479015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52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843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QUESTIONS</a:t>
            </a:r>
            <a:r>
              <a:rPr lang="en-US" sz="5400" b="0" dirty="0" smtClean="0">
                <a:solidFill>
                  <a:srgbClr val="0078BE"/>
                </a:solidFill>
              </a:rPr>
              <a:t>?</a:t>
            </a:r>
            <a:endParaRPr lang="en-US" sz="2800" b="0" dirty="0">
              <a:solidFill>
                <a:srgbClr val="0078B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189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APPENDIX</a:t>
            </a:r>
            <a:endParaRPr lang="en-US" sz="2800" b="0" dirty="0">
              <a:solidFill>
                <a:srgbClr val="0051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09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806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4500" y="1197769"/>
            <a:ext cx="8321040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rgbClr val="8E908F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197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244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chemeClr val="accent1">
              <a:alpha val="75000"/>
            </a:scheme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012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chemeClr val="bg2">
              <a:alpha val="60000"/>
            </a:scheme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383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565820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919228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37141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646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2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7125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900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indent="0">
              <a:buNone/>
              <a:defRPr sz="900"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421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6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922797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017934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02771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2C341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14300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400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  <a:p>
            <a:pPr lvl="0"/>
            <a:endParaRPr lang="en-US" dirty="0" smtClean="0"/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63278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E908F"/>
                </a:solidFill>
              </a:rPr>
              <a:t>?</a:t>
            </a:r>
            <a:endParaRPr lang="en-US" sz="2800" b="0" dirty="0">
              <a:solidFill>
                <a:srgbClr val="8E908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70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328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4997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5115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chemeClr val="accent2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018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528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565A5C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070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565A5C">
              <a:alpha val="60000"/>
            </a:srgb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608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662020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565398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65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2C341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14300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755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3892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656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37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8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7251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2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642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82551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754926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solidFill>
              <a:srgbClr val="56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810663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346164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96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2C341"/>
                </a:solidFill>
              </a:rPr>
              <a:t>?</a:t>
            </a:r>
            <a:endParaRPr lang="en-US" sz="2800" b="0" dirty="0">
              <a:solidFill>
                <a:srgbClr val="82C34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769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11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100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Slide layout"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="" xmlns:a16="http://schemas.microsoft.com/office/drawing/2014/main" id="{AF5DEDB2-78E8-45EC-AB12-C2290127F53E}"/>
              </a:ext>
            </a:extLst>
          </p:cNvPr>
          <p:cNvSpPr/>
          <p:nvPr userDrawn="1"/>
        </p:nvSpPr>
        <p:spPr>
          <a:xfrm rot="18900000">
            <a:off x="2437817" y="-1492038"/>
            <a:ext cx="8127573" cy="8127575"/>
          </a:xfrm>
          <a:custGeom>
            <a:avLst/>
            <a:gdLst>
              <a:gd name="connsiteX0" fmla="*/ 4849337 w 10836764"/>
              <a:gd name="connsiteY0" fmla="*/ 0 h 10836766"/>
              <a:gd name="connsiteX1" fmla="*/ 10836764 w 10836764"/>
              <a:gd name="connsiteY1" fmla="*/ 5987428 h 10836766"/>
              <a:gd name="connsiteX2" fmla="*/ 5987426 w 10836764"/>
              <a:gd name="connsiteY2" fmla="*/ 10836766 h 10836766"/>
              <a:gd name="connsiteX3" fmla="*/ 1 w 10836764"/>
              <a:gd name="connsiteY3" fmla="*/ 4849340 h 10836766"/>
              <a:gd name="connsiteX4" fmla="*/ 0 w 10836764"/>
              <a:gd name="connsiteY4" fmla="*/ 1529113 h 10836766"/>
              <a:gd name="connsiteX5" fmla="*/ 1529113 w 10836764"/>
              <a:gd name="connsiteY5" fmla="*/ 0 h 10836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36764" h="10836766">
                <a:moveTo>
                  <a:pt x="4849337" y="0"/>
                </a:moveTo>
                <a:lnTo>
                  <a:pt x="10836764" y="5987428"/>
                </a:lnTo>
                <a:lnTo>
                  <a:pt x="5987426" y="10836766"/>
                </a:lnTo>
                <a:lnTo>
                  <a:pt x="1" y="4849340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89000">
                <a:schemeClr val="accent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E769B23C-815D-4713-8F2F-BE8E52CBCEEB}"/>
              </a:ext>
            </a:extLst>
          </p:cNvPr>
          <p:cNvSpPr/>
          <p:nvPr userDrawn="1"/>
        </p:nvSpPr>
        <p:spPr>
          <a:xfrm rot="18900000">
            <a:off x="8517299" y="1426573"/>
            <a:ext cx="2330225" cy="2330225"/>
          </a:xfrm>
          <a:custGeom>
            <a:avLst/>
            <a:gdLst>
              <a:gd name="connsiteX0" fmla="*/ 3106966 w 3106966"/>
              <a:gd name="connsiteY0" fmla="*/ 0 h 3106966"/>
              <a:gd name="connsiteX1" fmla="*/ 1 w 3106966"/>
              <a:gd name="connsiteY1" fmla="*/ 3106966 h 3106966"/>
              <a:gd name="connsiteX2" fmla="*/ 0 w 3106966"/>
              <a:gd name="connsiteY2" fmla="*/ 1529113 h 3106966"/>
              <a:gd name="connsiteX3" fmla="*/ 1529113 w 3106966"/>
              <a:gd name="connsiteY3" fmla="*/ 0 h 3106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6966" h="3106966">
                <a:moveTo>
                  <a:pt x="3106966" y="0"/>
                </a:moveTo>
                <a:lnTo>
                  <a:pt x="1" y="3106966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043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="" xmlns:a16="http://schemas.microsoft.com/office/drawing/2014/main" id="{B3CA5F7E-D45F-4887-AF9C-BB7E27A9C9CE}"/>
              </a:ext>
            </a:extLst>
          </p:cNvPr>
          <p:cNvSpPr/>
          <p:nvPr userDrawn="1"/>
        </p:nvSpPr>
        <p:spPr>
          <a:xfrm>
            <a:off x="5421090" y="1407112"/>
            <a:ext cx="3240000" cy="32400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" name="그림 개체 틀 5">
            <a:extLst>
              <a:ext uri="{FF2B5EF4-FFF2-40B4-BE49-F238E27FC236}">
                <a16:creationId xmlns="" xmlns:a16="http://schemas.microsoft.com/office/drawing/2014/main" id="{1C677DB5-A9F3-459B-9D51-37160E08512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93016" y="547007"/>
            <a:ext cx="3736584" cy="373658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685800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5616901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4">
            <a:extLst>
              <a:ext uri="{FF2B5EF4-FFF2-40B4-BE49-F238E27FC236}">
                <a16:creationId xmlns="" xmlns:a16="http://schemas.microsoft.com/office/drawing/2014/main" id="{C3CDBC2D-C9C0-4D36-A0F9-7EDE3B294276}"/>
              </a:ext>
            </a:extLst>
          </p:cNvPr>
          <p:cNvSpPr/>
          <p:nvPr userDrawn="1"/>
        </p:nvSpPr>
        <p:spPr>
          <a:xfrm>
            <a:off x="2659899" y="453912"/>
            <a:ext cx="5804833" cy="42406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694249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763651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2833053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6" name="Rectangle 48">
            <a:extLst>
              <a:ext uri="{FF2B5EF4-FFF2-40B4-BE49-F238E27FC236}">
                <a16:creationId xmlns="" xmlns:a16="http://schemas.microsoft.com/office/drawing/2014/main" id="{7877AA66-AAFD-429C-B217-380BEF1ADDE2}"/>
              </a:ext>
            </a:extLst>
          </p:cNvPr>
          <p:cNvSpPr/>
          <p:nvPr userDrawn="1"/>
        </p:nvSpPr>
        <p:spPr>
          <a:xfrm>
            <a:off x="2833053" y="2743256"/>
            <a:ext cx="1620000" cy="48600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="" xmlns:a16="http://schemas.microsoft.com/office/drawing/2014/main" id="{852C85C1-7D9E-4F23-85EA-6A451FF0BEF6}"/>
              </a:ext>
            </a:extLst>
          </p:cNvPr>
          <p:cNvSpPr/>
          <p:nvPr userDrawn="1"/>
        </p:nvSpPr>
        <p:spPr>
          <a:xfrm>
            <a:off x="4763651" y="2735528"/>
            <a:ext cx="1620000" cy="486000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9" name="Rectangle 20">
            <a:extLst>
              <a:ext uri="{FF2B5EF4-FFF2-40B4-BE49-F238E27FC236}">
                <a16:creationId xmlns="" xmlns:a16="http://schemas.microsoft.com/office/drawing/2014/main" id="{E05C1512-E9F1-4355-8FF9-6A6F0DFFCB7B}"/>
              </a:ext>
            </a:extLst>
          </p:cNvPr>
          <p:cNvSpPr/>
          <p:nvPr userDrawn="1"/>
        </p:nvSpPr>
        <p:spPr>
          <a:xfrm>
            <a:off x="6694249" y="2743256"/>
            <a:ext cx="1620000" cy="48600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77052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="" xmlns:a16="http://schemas.microsoft.com/office/drawing/2014/main" id="{2760AC20-0645-4AE6-BC4F-285B18B690B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834742" y="1378743"/>
            <a:ext cx="6309259" cy="3050383"/>
          </a:xfrm>
          <a:custGeom>
            <a:avLst/>
            <a:gdLst>
              <a:gd name="connsiteX0" fmla="*/ 0 w 8412345"/>
              <a:gd name="connsiteY0" fmla="*/ 0 h 4067177"/>
              <a:gd name="connsiteX1" fmla="*/ 8412345 w 8412345"/>
              <a:gd name="connsiteY1" fmla="*/ 0 h 4067177"/>
              <a:gd name="connsiteX2" fmla="*/ 8412345 w 8412345"/>
              <a:gd name="connsiteY2" fmla="*/ 4067177 h 4067177"/>
              <a:gd name="connsiteX3" fmla="*/ 1452936 w 8412345"/>
              <a:gd name="connsiteY3" fmla="*/ 4067177 h 4067177"/>
              <a:gd name="connsiteX4" fmla="*/ 1340647 w 8412345"/>
              <a:gd name="connsiteY4" fmla="*/ 3752847 h 4067177"/>
              <a:gd name="connsiteX5" fmla="*/ 8412344 w 8412345"/>
              <a:gd name="connsiteY5" fmla="*/ 3752847 h 4067177"/>
              <a:gd name="connsiteX6" fmla="*/ 8412344 w 8412345"/>
              <a:gd name="connsiteY6" fmla="*/ 3524256 h 4067177"/>
              <a:gd name="connsiteX7" fmla="*/ 1258986 w 8412345"/>
              <a:gd name="connsiteY7" fmla="*/ 3524256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12345" h="4067177">
                <a:moveTo>
                  <a:pt x="0" y="0"/>
                </a:moveTo>
                <a:lnTo>
                  <a:pt x="8412345" y="0"/>
                </a:lnTo>
                <a:lnTo>
                  <a:pt x="8412345" y="4067177"/>
                </a:lnTo>
                <a:lnTo>
                  <a:pt x="1452936" y="4067177"/>
                </a:lnTo>
                <a:lnTo>
                  <a:pt x="1340647" y="3752847"/>
                </a:lnTo>
                <a:lnTo>
                  <a:pt x="8412344" y="3752847"/>
                </a:lnTo>
                <a:lnTo>
                  <a:pt x="8412344" y="3524256"/>
                </a:lnTo>
                <a:lnTo>
                  <a:pt x="1258986" y="3524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="" xmlns:a16="http://schemas.microsoft.com/office/drawing/2014/main" id="{DF0D5D85-25EF-40C1-9119-2AE98DC382AC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964406"/>
            <a:ext cx="3324186" cy="3050383"/>
          </a:xfrm>
          <a:custGeom>
            <a:avLst/>
            <a:gdLst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904875 w 4432248"/>
              <a:gd name="connsiteY2" fmla="*/ 0 h 4067177"/>
              <a:gd name="connsiteX3" fmla="*/ 2979312 w 4432248"/>
              <a:gd name="connsiteY3" fmla="*/ 0 h 4067177"/>
              <a:gd name="connsiteX4" fmla="*/ 4432248 w 4432248"/>
              <a:gd name="connsiteY4" fmla="*/ 4067177 h 4067177"/>
              <a:gd name="connsiteX5" fmla="*/ 571500 w 4432248"/>
              <a:gd name="connsiteY5" fmla="*/ 4067177 h 4067177"/>
              <a:gd name="connsiteX6" fmla="*/ 571500 w 4432248"/>
              <a:gd name="connsiteY6" fmla="*/ 4067175 h 4067177"/>
              <a:gd name="connsiteX7" fmla="*/ 0 w 4432248"/>
              <a:gd name="connsiteY7" fmla="*/ 4067175 h 4067177"/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2979312 w 4432248"/>
              <a:gd name="connsiteY2" fmla="*/ 0 h 4067177"/>
              <a:gd name="connsiteX3" fmla="*/ 4432248 w 4432248"/>
              <a:gd name="connsiteY3" fmla="*/ 4067177 h 4067177"/>
              <a:gd name="connsiteX4" fmla="*/ 571500 w 4432248"/>
              <a:gd name="connsiteY4" fmla="*/ 4067177 h 4067177"/>
              <a:gd name="connsiteX5" fmla="*/ 571500 w 4432248"/>
              <a:gd name="connsiteY5" fmla="*/ 4067175 h 4067177"/>
              <a:gd name="connsiteX6" fmla="*/ 0 w 4432248"/>
              <a:gd name="connsiteY6" fmla="*/ 4067175 h 4067177"/>
              <a:gd name="connsiteX7" fmla="*/ 0 w 4432248"/>
              <a:gd name="connsiteY7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571500 w 4432248"/>
              <a:gd name="connsiteY4" fmla="*/ 4067175 h 4067177"/>
              <a:gd name="connsiteX5" fmla="*/ 0 w 4432248"/>
              <a:gd name="connsiteY5" fmla="*/ 4067175 h 4067177"/>
              <a:gd name="connsiteX6" fmla="*/ 0 w 4432248"/>
              <a:gd name="connsiteY6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0 w 4432248"/>
              <a:gd name="connsiteY4" fmla="*/ 4067175 h 4067177"/>
              <a:gd name="connsiteX5" fmla="*/ 0 w 4432248"/>
              <a:gd name="connsiteY5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0 w 4432248"/>
              <a:gd name="connsiteY3" fmla="*/ 4067175 h 4067177"/>
              <a:gd name="connsiteX4" fmla="*/ 0 w 4432248"/>
              <a:gd name="connsiteY4" fmla="*/ 0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2248" h="4067177">
                <a:moveTo>
                  <a:pt x="0" y="0"/>
                </a:moveTo>
                <a:lnTo>
                  <a:pt x="2979312" y="0"/>
                </a:lnTo>
                <a:lnTo>
                  <a:pt x="4432248" y="4067177"/>
                </a:lnTo>
                <a:lnTo>
                  <a:pt x="0" y="406717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83351748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15114" y="3851952"/>
            <a:ext cx="8457515" cy="434579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437129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9465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7CB68201-6AEB-4BFE-B92F-F7D14A3CB566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5366888" cy="5143500"/>
          </a:xfrm>
          <a:custGeom>
            <a:avLst/>
            <a:gdLst>
              <a:gd name="connsiteX0" fmla="*/ 0 w 7155850"/>
              <a:gd name="connsiteY0" fmla="*/ 3024930 h 6858000"/>
              <a:gd name="connsiteX1" fmla="*/ 2358530 w 7155850"/>
              <a:gd name="connsiteY1" fmla="*/ 6858000 h 6858000"/>
              <a:gd name="connsiteX2" fmla="*/ 1329860 w 7155850"/>
              <a:gd name="connsiteY2" fmla="*/ 6858000 h 6858000"/>
              <a:gd name="connsiteX3" fmla="*/ 0 w 7155850"/>
              <a:gd name="connsiteY3" fmla="*/ 4691859 h 6858000"/>
              <a:gd name="connsiteX4" fmla="*/ 1 w 7155850"/>
              <a:gd name="connsiteY4" fmla="*/ 397145 h 6858000"/>
              <a:gd name="connsiteX5" fmla="*/ 3459898 w 7155850"/>
              <a:gd name="connsiteY5" fmla="*/ 6020152 h 6858000"/>
              <a:gd name="connsiteX6" fmla="*/ 2945517 w 7155850"/>
              <a:gd name="connsiteY6" fmla="*/ 6858000 h 6858000"/>
              <a:gd name="connsiteX7" fmla="*/ 1 w 7155850"/>
              <a:gd name="connsiteY7" fmla="*/ 2060197 h 6858000"/>
              <a:gd name="connsiteX8" fmla="*/ 396861 w 7155850"/>
              <a:gd name="connsiteY8" fmla="*/ 0 h 6858000"/>
              <a:gd name="connsiteX9" fmla="*/ 7155850 w 7155850"/>
              <a:gd name="connsiteY9" fmla="*/ 0 h 6858000"/>
              <a:gd name="connsiteX10" fmla="*/ 3780151 w 7155850"/>
              <a:gd name="connsiteY10" fmla="*/ 54985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55850" h="6858000">
                <a:moveTo>
                  <a:pt x="0" y="3024930"/>
                </a:moveTo>
                <a:lnTo>
                  <a:pt x="2358530" y="6858000"/>
                </a:lnTo>
                <a:lnTo>
                  <a:pt x="1329860" y="6858000"/>
                </a:lnTo>
                <a:lnTo>
                  <a:pt x="0" y="4691859"/>
                </a:lnTo>
                <a:close/>
                <a:moveTo>
                  <a:pt x="1" y="397145"/>
                </a:moveTo>
                <a:lnTo>
                  <a:pt x="3459898" y="6020152"/>
                </a:lnTo>
                <a:lnTo>
                  <a:pt x="2945517" y="6858000"/>
                </a:lnTo>
                <a:lnTo>
                  <a:pt x="1" y="2060197"/>
                </a:lnTo>
                <a:close/>
                <a:moveTo>
                  <a:pt x="396861" y="0"/>
                </a:moveTo>
                <a:lnTo>
                  <a:pt x="7155850" y="0"/>
                </a:lnTo>
                <a:lnTo>
                  <a:pt x="3780151" y="54985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7" tIns="34289" rIns="68577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899" indent="0">
              <a:buNone/>
              <a:defRPr sz="2100"/>
            </a:lvl2pPr>
            <a:lvl3pPr marL="685801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2" indent="0">
              <a:buNone/>
              <a:defRPr sz="1500"/>
            </a:lvl6pPr>
            <a:lvl7pPr marL="2057401" indent="0">
              <a:buNone/>
              <a:defRPr sz="1500"/>
            </a:lvl7pPr>
            <a:lvl8pPr marL="2400300" indent="0">
              <a:buNone/>
              <a:defRPr sz="1500"/>
            </a:lvl8pPr>
            <a:lvl9pPr marL="2743199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85499375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430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37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8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382487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5" y="1501752"/>
            <a:ext cx="8450164" cy="297014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8460824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705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an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5383941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4" y="1656523"/>
            <a:ext cx="5383941" cy="281537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5385542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5980042" y="-1"/>
            <a:ext cx="3163957" cy="4819487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836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B, partial image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182880" tIns="502920" rIns="182880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85763" y="2308225"/>
            <a:ext cx="8494712" cy="397115"/>
          </a:xfrm>
        </p:spPr>
        <p:txBody>
          <a:bodyPr/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5333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659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52984"/>
          </a:xfrm>
          <a:prstGeom prst="rect">
            <a:avLst/>
          </a:prstGeom>
        </p:spPr>
      </p:pic>
      <p:pic>
        <p:nvPicPr>
          <p:cNvPr id="16" name="Picture 15" descr="NPD_logo_RGB_Reverse_300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6091" y="3769599"/>
            <a:ext cx="914400" cy="9144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7213" y="1504950"/>
            <a:ext cx="6400800" cy="515541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>
                <a:solidFill>
                  <a:srgbClr val="FFFFFF"/>
                </a:solidFill>
              </a:defRPr>
            </a:lvl1pPr>
            <a:lvl2pPr marL="341313" indent="0">
              <a:buNone/>
              <a:defRPr>
                <a:solidFill>
                  <a:srgbClr val="FFFFFF"/>
                </a:solidFill>
              </a:defRPr>
            </a:lvl2pPr>
            <a:lvl3pPr marL="627062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Subhead of Presentation can go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7213" y="731887"/>
            <a:ext cx="6400800" cy="729763"/>
          </a:xfrm>
        </p:spPr>
        <p:txBody>
          <a:bodyPr wrap="square" lIns="0" tIns="0" rIns="0" bIns="0" anchor="t" anchorCtr="0"/>
          <a:lstStyle>
            <a:lvl1pPr>
              <a:lnSpc>
                <a:spcPct val="80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FFFFFF"/>
                </a:solidFill>
              </a:rPr>
              <a:t>Click To Add Title of Present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557214" y="4369078"/>
            <a:ext cx="279239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Arial" charset="0"/>
                <a:ea typeface="ＭＳ Ｐゴシック" charset="0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prstClr val="white"/>
                </a:solidFill>
                <a:latin typeface="Calibri"/>
              </a:rPr>
              <a:t>Copyright 2019. The NPD Group, Inc. All Rights Reserved. This presentation is </a:t>
            </a:r>
            <a:r>
              <a:rPr lang="en-US" b="1" dirty="0" smtClean="0">
                <a:solidFill>
                  <a:prstClr val="white"/>
                </a:solidFill>
                <a:latin typeface="Calibri"/>
              </a:rPr>
              <a:t>proprietary and confidential</a:t>
            </a:r>
            <a:r>
              <a:rPr lang="en-US" dirty="0" smtClean="0">
                <a:solidFill>
                  <a:prstClr val="white"/>
                </a:solidFill>
                <a:latin typeface="Calibri"/>
              </a:rPr>
              <a:t> and may not be disclosed in any manner, in whole or in part, to any third party without the express written consent of NPD.</a:t>
            </a:r>
            <a:endParaRPr lang="en-US" sz="7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214" y="3933570"/>
            <a:ext cx="2468562" cy="276225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Date (Optional)</a:t>
            </a:r>
          </a:p>
        </p:txBody>
      </p:sp>
    </p:spTree>
    <p:extLst>
      <p:ext uri="{BB962C8B-B14F-4D97-AF65-F5344CB8AC3E}">
        <p14:creationId xmlns:p14="http://schemas.microsoft.com/office/powerpoint/2010/main" val="2381414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/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050"/>
            <a:ext cx="9144000" cy="48420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6"/>
          <p:cNvSpPr txBox="1">
            <a:spLocks noChangeArrowheads="1"/>
          </p:cNvSpPr>
          <p:nvPr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1" name="TextBox 4"/>
          <p:cNvSpPr txBox="1">
            <a:spLocks noChangeArrowheads="1"/>
          </p:cNvSpPr>
          <p:nvPr userDrawn="1"/>
        </p:nvSpPr>
        <p:spPr bwMode="auto">
          <a:xfrm>
            <a:off x="7217834" y="433263"/>
            <a:ext cx="1729894" cy="394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spcCol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are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lianc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utomotiv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2B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eaut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ook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Consumer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E-commer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ashion Accessor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 Consumption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servi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twear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Hom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Juvenile Products</a:t>
            </a:r>
          </a:p>
          <a:p>
            <a:pPr eaLnBrk="1" hangingPunct="1">
              <a:spcAft>
                <a:spcPts val="300"/>
              </a:spcAft>
              <a:defRPr/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edia Entertainment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obil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Office Suppl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Sport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oy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ravel 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Video Gam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Watches / Jewelry</a:t>
            </a:r>
          </a:p>
        </p:txBody>
      </p:sp>
    </p:spTree>
    <p:extLst>
      <p:ext uri="{BB962C8B-B14F-4D97-AF65-F5344CB8AC3E}">
        <p14:creationId xmlns:p14="http://schemas.microsoft.com/office/powerpoint/2010/main" val="3788630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09963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Font typeface="+mj-lt"/>
              <a:buAutoNum type="arabicPeriod"/>
              <a:defRPr sz="2800" b="0">
                <a:solidFill>
                  <a:schemeClr val="tx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Click To Create Your 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081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8146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1465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0078BE">
              <a:alpha val="60000"/>
            </a:srgbClr>
          </a:solidFill>
        </p:spPr>
        <p:txBody>
          <a:bodyPr lIns="365760" tIns="1371600" rIns="365760" bIns="1371600" anchor="ctr"/>
          <a:lstStyle>
            <a:lvl1pPr algn="ctr">
              <a:lnSpc>
                <a:spcPct val="80000"/>
              </a:lnSpc>
              <a:defRPr sz="5400" b="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29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98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D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2037644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11480" y="2330527"/>
            <a:ext cx="8321040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 smtClean="0"/>
              <a:t>Transition Slid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23305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2980266"/>
            <a:ext cx="8321040" cy="1491633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spcAft>
                <a:spcPts val="1000"/>
              </a:spcAft>
              <a:defRPr sz="2400"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25102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3635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 baseline="0"/>
            </a:lvl1pPr>
            <a:lvl3pPr>
              <a:defRPr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149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64936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1231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608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none"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2195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33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08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 hasCustomPrompt="1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 hasCustomPrompt="1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 hasCustomPrompt="1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402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66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29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30592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210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78291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915756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30134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hon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7211501" y="1568584"/>
            <a:ext cx="1340761" cy="240583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5"/>
            <a:ext cx="6244740" cy="265176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E5E2FCC6-9731-48B8-B2A2-39E9FD0F42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3362" y="1073899"/>
            <a:ext cx="1699776" cy="33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265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ptop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="" xmlns:a16="http://schemas.microsoft.com/office/drawing/2014/main" id="{69D3E401-F6DF-4A44-858C-E9410373BE6E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194050" y="1489753"/>
            <a:ext cx="3949950" cy="24783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  Picture</a:t>
            </a:r>
            <a:endParaRPr lang="en-US" dirty="0"/>
          </a:p>
        </p:txBody>
      </p:sp>
      <p:pic>
        <p:nvPicPr>
          <p:cNvPr id="3" name="Picture 2" descr="A picture containing electronics, display&#10;&#10;Description generated with very high confidence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6060" y="1319842"/>
            <a:ext cx="4567940" cy="3019246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</p:spPr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89753"/>
            <a:ext cx="4374815" cy="2478024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4377984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4"/>
            <a:ext cx="4059936" cy="2474601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6357922" y="1490674"/>
            <a:ext cx="1277283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Picture Placeholder 11"/>
          <p:cNvSpPr>
            <a:spLocks noGrp="1" noChangeAspect="1"/>
          </p:cNvSpPr>
          <p:nvPr>
            <p:ph type="pic" sz="quarter" idx="39"/>
          </p:nvPr>
        </p:nvSpPr>
        <p:spPr>
          <a:xfrm>
            <a:off x="484912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40"/>
          </p:nvPr>
        </p:nvSpPr>
        <p:spPr>
          <a:xfrm>
            <a:off x="786671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895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411480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672584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672584" y="1664884"/>
            <a:ext cx="4059936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Second Chart Goes Her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1664884"/>
            <a:ext cx="4057069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First Chart Goes He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927138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5479015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01194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786408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01194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33" hasCustomPrompt="1"/>
          </p:nvPr>
        </p:nvSpPr>
        <p:spPr>
          <a:xfrm>
            <a:off x="717162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34" hasCustomPrompt="1"/>
          </p:nvPr>
        </p:nvSpPr>
        <p:spPr>
          <a:xfrm>
            <a:off x="209380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35" hasCustomPrompt="1"/>
          </p:nvPr>
        </p:nvSpPr>
        <p:spPr>
          <a:xfrm>
            <a:off x="717162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209380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786408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5479015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40" name="Text Placeholder 12"/>
          <p:cNvSpPr>
            <a:spLocks noGrp="1"/>
          </p:cNvSpPr>
          <p:nvPr>
            <p:ph type="body" sz="quarter" idx="40"/>
          </p:nvPr>
        </p:nvSpPr>
        <p:spPr>
          <a:xfrm>
            <a:off x="401194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12"/>
          <p:cNvSpPr>
            <a:spLocks noGrp="1"/>
          </p:cNvSpPr>
          <p:nvPr>
            <p:ph type="body" sz="quarter" idx="41"/>
          </p:nvPr>
        </p:nvSpPr>
        <p:spPr>
          <a:xfrm>
            <a:off x="717162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42"/>
          </p:nvPr>
        </p:nvSpPr>
        <p:spPr>
          <a:xfrm>
            <a:off x="209380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12"/>
          <p:cNvSpPr>
            <a:spLocks noGrp="1"/>
          </p:cNvSpPr>
          <p:nvPr>
            <p:ph type="body" sz="quarter" idx="43"/>
          </p:nvPr>
        </p:nvSpPr>
        <p:spPr>
          <a:xfrm>
            <a:off x="3786408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12"/>
          <p:cNvSpPr>
            <a:spLocks noGrp="1"/>
          </p:cNvSpPr>
          <p:nvPr>
            <p:ph type="body" sz="quarter" idx="44"/>
          </p:nvPr>
        </p:nvSpPr>
        <p:spPr>
          <a:xfrm>
            <a:off x="5479015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401194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717162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209380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3786408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51" hasCustomPrompt="1"/>
          </p:nvPr>
        </p:nvSpPr>
        <p:spPr>
          <a:xfrm>
            <a:off x="5479015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52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029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QUESTIONS</a:t>
            </a:r>
            <a:r>
              <a:rPr lang="en-US" sz="5400" b="0" dirty="0" smtClean="0">
                <a:solidFill>
                  <a:srgbClr val="0078BE"/>
                </a:solidFill>
              </a:rPr>
              <a:t>?</a:t>
            </a:r>
            <a:endParaRPr lang="en-US" sz="2800" b="0" dirty="0">
              <a:solidFill>
                <a:srgbClr val="0078B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9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APPENDIX</a:t>
            </a:r>
            <a:endParaRPr lang="en-US" sz="2800" b="0" dirty="0">
              <a:solidFill>
                <a:srgbClr val="0051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72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chemeClr val="accent4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chemeClr val="tx2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chemeClr val="tx2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913220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87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4500" y="1197769"/>
            <a:ext cx="8321040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rgbClr val="8E908F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54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969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chemeClr val="accent1">
              <a:alpha val="75000"/>
            </a:scheme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43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chemeClr val="bg2">
              <a:alpha val="60000"/>
            </a:scheme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70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251508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87210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497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906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62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0078BE">
              <a:alpha val="60000"/>
            </a:srgbClr>
          </a:solidFill>
        </p:spPr>
        <p:txBody>
          <a:bodyPr lIns="365760" tIns="1371600" rIns="365760" bIns="1371600" anchor="ctr"/>
          <a:lstStyle>
            <a:lvl1pPr algn="ctr">
              <a:lnSpc>
                <a:spcPct val="80000"/>
              </a:lnSpc>
              <a:defRPr sz="5400" b="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96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chemeClr val="accent4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chemeClr val="tx2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chemeClr val="tx2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chemeClr val="tx2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278044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169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indent="0">
              <a:buNone/>
              <a:defRPr sz="900"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543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126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14616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06179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584724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  <a:p>
            <a:pPr lvl="0"/>
            <a:endParaRPr lang="en-US" dirty="0" smtClean="0"/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66975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E908F"/>
                </a:solidFill>
              </a:rPr>
              <a:t>?</a:t>
            </a:r>
            <a:endParaRPr lang="en-US" sz="2800" b="0" dirty="0">
              <a:solidFill>
                <a:srgbClr val="8E908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718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358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207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solidFill>
              <a:srgbClr val="56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08676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5115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chemeClr val="accent2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99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991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565A5C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089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565A5C">
              <a:alpha val="60000"/>
            </a:srgb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36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09998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077105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2C341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14300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655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35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334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37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8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10111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82703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53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36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17509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324526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solidFill>
              <a:srgbClr val="56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309227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092807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2C341"/>
                </a:solidFill>
              </a:rPr>
              <a:t>?</a:t>
            </a:r>
            <a:endParaRPr lang="en-US" sz="2800" b="0" dirty="0">
              <a:solidFill>
                <a:srgbClr val="82C34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30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279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288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268909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chemeClr val="bg1"/>
                </a:solidFill>
              </a:rPr>
              <a:t>QUESTIONS</a:t>
            </a:r>
            <a:r>
              <a:rPr lang="en-US" sz="5400" b="0" dirty="0" smtClean="0">
                <a:solidFill>
                  <a:schemeClr val="accent2"/>
                </a:solidFill>
              </a:rPr>
              <a:t>?</a:t>
            </a:r>
            <a:endParaRPr lang="en-US" sz="2800" b="0" dirty="0">
              <a:solidFill>
                <a:schemeClr val="accent2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3540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Slide layout"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="" xmlns:a16="http://schemas.microsoft.com/office/drawing/2014/main" id="{AF5DEDB2-78E8-45EC-AB12-C2290127F53E}"/>
              </a:ext>
            </a:extLst>
          </p:cNvPr>
          <p:cNvSpPr/>
          <p:nvPr userDrawn="1"/>
        </p:nvSpPr>
        <p:spPr>
          <a:xfrm rot="18900000">
            <a:off x="2437817" y="-1492038"/>
            <a:ext cx="8127573" cy="8127575"/>
          </a:xfrm>
          <a:custGeom>
            <a:avLst/>
            <a:gdLst>
              <a:gd name="connsiteX0" fmla="*/ 4849337 w 10836764"/>
              <a:gd name="connsiteY0" fmla="*/ 0 h 10836766"/>
              <a:gd name="connsiteX1" fmla="*/ 10836764 w 10836764"/>
              <a:gd name="connsiteY1" fmla="*/ 5987428 h 10836766"/>
              <a:gd name="connsiteX2" fmla="*/ 5987426 w 10836764"/>
              <a:gd name="connsiteY2" fmla="*/ 10836766 h 10836766"/>
              <a:gd name="connsiteX3" fmla="*/ 1 w 10836764"/>
              <a:gd name="connsiteY3" fmla="*/ 4849340 h 10836766"/>
              <a:gd name="connsiteX4" fmla="*/ 0 w 10836764"/>
              <a:gd name="connsiteY4" fmla="*/ 1529113 h 10836766"/>
              <a:gd name="connsiteX5" fmla="*/ 1529113 w 10836764"/>
              <a:gd name="connsiteY5" fmla="*/ 0 h 10836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36764" h="10836766">
                <a:moveTo>
                  <a:pt x="4849337" y="0"/>
                </a:moveTo>
                <a:lnTo>
                  <a:pt x="10836764" y="5987428"/>
                </a:lnTo>
                <a:lnTo>
                  <a:pt x="5987426" y="10836766"/>
                </a:lnTo>
                <a:lnTo>
                  <a:pt x="1" y="4849340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89000">
                <a:schemeClr val="accent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E769B23C-815D-4713-8F2F-BE8E52CBCEEB}"/>
              </a:ext>
            </a:extLst>
          </p:cNvPr>
          <p:cNvSpPr/>
          <p:nvPr userDrawn="1"/>
        </p:nvSpPr>
        <p:spPr>
          <a:xfrm rot="18900000">
            <a:off x="8517299" y="1426573"/>
            <a:ext cx="2330225" cy="2330225"/>
          </a:xfrm>
          <a:custGeom>
            <a:avLst/>
            <a:gdLst>
              <a:gd name="connsiteX0" fmla="*/ 3106966 w 3106966"/>
              <a:gd name="connsiteY0" fmla="*/ 0 h 3106966"/>
              <a:gd name="connsiteX1" fmla="*/ 1 w 3106966"/>
              <a:gd name="connsiteY1" fmla="*/ 3106966 h 3106966"/>
              <a:gd name="connsiteX2" fmla="*/ 0 w 3106966"/>
              <a:gd name="connsiteY2" fmla="*/ 1529113 h 3106966"/>
              <a:gd name="connsiteX3" fmla="*/ 1529113 w 3106966"/>
              <a:gd name="connsiteY3" fmla="*/ 0 h 3106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6966" h="3106966">
                <a:moveTo>
                  <a:pt x="3106966" y="0"/>
                </a:moveTo>
                <a:lnTo>
                  <a:pt x="1" y="3106966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6391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763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="" xmlns:a16="http://schemas.microsoft.com/office/drawing/2014/main" id="{B3CA5F7E-D45F-4887-AF9C-BB7E27A9C9CE}"/>
              </a:ext>
            </a:extLst>
          </p:cNvPr>
          <p:cNvSpPr/>
          <p:nvPr userDrawn="1"/>
        </p:nvSpPr>
        <p:spPr>
          <a:xfrm>
            <a:off x="5421090" y="1407112"/>
            <a:ext cx="3240000" cy="32400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" name="그림 개체 틀 5">
            <a:extLst>
              <a:ext uri="{FF2B5EF4-FFF2-40B4-BE49-F238E27FC236}">
                <a16:creationId xmlns="" xmlns:a16="http://schemas.microsoft.com/office/drawing/2014/main" id="{1C677DB5-A9F3-459B-9D51-37160E08512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93016" y="547007"/>
            <a:ext cx="3736584" cy="373658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685800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6327575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4">
            <a:extLst>
              <a:ext uri="{FF2B5EF4-FFF2-40B4-BE49-F238E27FC236}">
                <a16:creationId xmlns="" xmlns:a16="http://schemas.microsoft.com/office/drawing/2014/main" id="{C3CDBC2D-C9C0-4D36-A0F9-7EDE3B294276}"/>
              </a:ext>
            </a:extLst>
          </p:cNvPr>
          <p:cNvSpPr/>
          <p:nvPr userDrawn="1"/>
        </p:nvSpPr>
        <p:spPr>
          <a:xfrm>
            <a:off x="2659899" y="453912"/>
            <a:ext cx="5804833" cy="42406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694249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763651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2833053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6" name="Rectangle 48">
            <a:extLst>
              <a:ext uri="{FF2B5EF4-FFF2-40B4-BE49-F238E27FC236}">
                <a16:creationId xmlns="" xmlns:a16="http://schemas.microsoft.com/office/drawing/2014/main" id="{7877AA66-AAFD-429C-B217-380BEF1ADDE2}"/>
              </a:ext>
            </a:extLst>
          </p:cNvPr>
          <p:cNvSpPr/>
          <p:nvPr userDrawn="1"/>
        </p:nvSpPr>
        <p:spPr>
          <a:xfrm>
            <a:off x="2833053" y="2743256"/>
            <a:ext cx="1620000" cy="48600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="" xmlns:a16="http://schemas.microsoft.com/office/drawing/2014/main" id="{852C85C1-7D9E-4F23-85EA-6A451FF0BEF6}"/>
              </a:ext>
            </a:extLst>
          </p:cNvPr>
          <p:cNvSpPr/>
          <p:nvPr userDrawn="1"/>
        </p:nvSpPr>
        <p:spPr>
          <a:xfrm>
            <a:off x="4763651" y="2735528"/>
            <a:ext cx="1620000" cy="486000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9" name="Rectangle 20">
            <a:extLst>
              <a:ext uri="{FF2B5EF4-FFF2-40B4-BE49-F238E27FC236}">
                <a16:creationId xmlns="" xmlns:a16="http://schemas.microsoft.com/office/drawing/2014/main" id="{E05C1512-E9F1-4355-8FF9-6A6F0DFFCB7B}"/>
              </a:ext>
            </a:extLst>
          </p:cNvPr>
          <p:cNvSpPr/>
          <p:nvPr userDrawn="1"/>
        </p:nvSpPr>
        <p:spPr>
          <a:xfrm>
            <a:off x="6694249" y="2743256"/>
            <a:ext cx="1620000" cy="48600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340730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="" xmlns:a16="http://schemas.microsoft.com/office/drawing/2014/main" id="{2760AC20-0645-4AE6-BC4F-285B18B690B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834742" y="1378743"/>
            <a:ext cx="6309259" cy="3050383"/>
          </a:xfrm>
          <a:custGeom>
            <a:avLst/>
            <a:gdLst>
              <a:gd name="connsiteX0" fmla="*/ 0 w 8412345"/>
              <a:gd name="connsiteY0" fmla="*/ 0 h 4067177"/>
              <a:gd name="connsiteX1" fmla="*/ 8412345 w 8412345"/>
              <a:gd name="connsiteY1" fmla="*/ 0 h 4067177"/>
              <a:gd name="connsiteX2" fmla="*/ 8412345 w 8412345"/>
              <a:gd name="connsiteY2" fmla="*/ 4067177 h 4067177"/>
              <a:gd name="connsiteX3" fmla="*/ 1452936 w 8412345"/>
              <a:gd name="connsiteY3" fmla="*/ 4067177 h 4067177"/>
              <a:gd name="connsiteX4" fmla="*/ 1340647 w 8412345"/>
              <a:gd name="connsiteY4" fmla="*/ 3752847 h 4067177"/>
              <a:gd name="connsiteX5" fmla="*/ 8412344 w 8412345"/>
              <a:gd name="connsiteY5" fmla="*/ 3752847 h 4067177"/>
              <a:gd name="connsiteX6" fmla="*/ 8412344 w 8412345"/>
              <a:gd name="connsiteY6" fmla="*/ 3524256 h 4067177"/>
              <a:gd name="connsiteX7" fmla="*/ 1258986 w 8412345"/>
              <a:gd name="connsiteY7" fmla="*/ 3524256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12345" h="4067177">
                <a:moveTo>
                  <a:pt x="0" y="0"/>
                </a:moveTo>
                <a:lnTo>
                  <a:pt x="8412345" y="0"/>
                </a:lnTo>
                <a:lnTo>
                  <a:pt x="8412345" y="4067177"/>
                </a:lnTo>
                <a:lnTo>
                  <a:pt x="1452936" y="4067177"/>
                </a:lnTo>
                <a:lnTo>
                  <a:pt x="1340647" y="3752847"/>
                </a:lnTo>
                <a:lnTo>
                  <a:pt x="8412344" y="3752847"/>
                </a:lnTo>
                <a:lnTo>
                  <a:pt x="8412344" y="3524256"/>
                </a:lnTo>
                <a:lnTo>
                  <a:pt x="1258986" y="3524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="" xmlns:a16="http://schemas.microsoft.com/office/drawing/2014/main" id="{DF0D5D85-25EF-40C1-9119-2AE98DC382AC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964406"/>
            <a:ext cx="3324186" cy="3050383"/>
          </a:xfrm>
          <a:custGeom>
            <a:avLst/>
            <a:gdLst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904875 w 4432248"/>
              <a:gd name="connsiteY2" fmla="*/ 0 h 4067177"/>
              <a:gd name="connsiteX3" fmla="*/ 2979312 w 4432248"/>
              <a:gd name="connsiteY3" fmla="*/ 0 h 4067177"/>
              <a:gd name="connsiteX4" fmla="*/ 4432248 w 4432248"/>
              <a:gd name="connsiteY4" fmla="*/ 4067177 h 4067177"/>
              <a:gd name="connsiteX5" fmla="*/ 571500 w 4432248"/>
              <a:gd name="connsiteY5" fmla="*/ 4067177 h 4067177"/>
              <a:gd name="connsiteX6" fmla="*/ 571500 w 4432248"/>
              <a:gd name="connsiteY6" fmla="*/ 4067175 h 4067177"/>
              <a:gd name="connsiteX7" fmla="*/ 0 w 4432248"/>
              <a:gd name="connsiteY7" fmla="*/ 4067175 h 4067177"/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2979312 w 4432248"/>
              <a:gd name="connsiteY2" fmla="*/ 0 h 4067177"/>
              <a:gd name="connsiteX3" fmla="*/ 4432248 w 4432248"/>
              <a:gd name="connsiteY3" fmla="*/ 4067177 h 4067177"/>
              <a:gd name="connsiteX4" fmla="*/ 571500 w 4432248"/>
              <a:gd name="connsiteY4" fmla="*/ 4067177 h 4067177"/>
              <a:gd name="connsiteX5" fmla="*/ 571500 w 4432248"/>
              <a:gd name="connsiteY5" fmla="*/ 4067175 h 4067177"/>
              <a:gd name="connsiteX6" fmla="*/ 0 w 4432248"/>
              <a:gd name="connsiteY6" fmla="*/ 4067175 h 4067177"/>
              <a:gd name="connsiteX7" fmla="*/ 0 w 4432248"/>
              <a:gd name="connsiteY7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571500 w 4432248"/>
              <a:gd name="connsiteY4" fmla="*/ 4067175 h 4067177"/>
              <a:gd name="connsiteX5" fmla="*/ 0 w 4432248"/>
              <a:gd name="connsiteY5" fmla="*/ 4067175 h 4067177"/>
              <a:gd name="connsiteX6" fmla="*/ 0 w 4432248"/>
              <a:gd name="connsiteY6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0 w 4432248"/>
              <a:gd name="connsiteY4" fmla="*/ 4067175 h 4067177"/>
              <a:gd name="connsiteX5" fmla="*/ 0 w 4432248"/>
              <a:gd name="connsiteY5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0 w 4432248"/>
              <a:gd name="connsiteY3" fmla="*/ 4067175 h 4067177"/>
              <a:gd name="connsiteX4" fmla="*/ 0 w 4432248"/>
              <a:gd name="connsiteY4" fmla="*/ 0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2248" h="4067177">
                <a:moveTo>
                  <a:pt x="0" y="0"/>
                </a:moveTo>
                <a:lnTo>
                  <a:pt x="2979312" y="0"/>
                </a:lnTo>
                <a:lnTo>
                  <a:pt x="4432248" y="4067177"/>
                </a:lnTo>
                <a:lnTo>
                  <a:pt x="0" y="406717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252179891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15114" y="3851952"/>
            <a:ext cx="8457515" cy="434579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437129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0358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7CB68201-6AEB-4BFE-B92F-F7D14A3CB566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5366888" cy="5143500"/>
          </a:xfrm>
          <a:custGeom>
            <a:avLst/>
            <a:gdLst>
              <a:gd name="connsiteX0" fmla="*/ 0 w 7155850"/>
              <a:gd name="connsiteY0" fmla="*/ 3024930 h 6858000"/>
              <a:gd name="connsiteX1" fmla="*/ 2358530 w 7155850"/>
              <a:gd name="connsiteY1" fmla="*/ 6858000 h 6858000"/>
              <a:gd name="connsiteX2" fmla="*/ 1329860 w 7155850"/>
              <a:gd name="connsiteY2" fmla="*/ 6858000 h 6858000"/>
              <a:gd name="connsiteX3" fmla="*/ 0 w 7155850"/>
              <a:gd name="connsiteY3" fmla="*/ 4691859 h 6858000"/>
              <a:gd name="connsiteX4" fmla="*/ 1 w 7155850"/>
              <a:gd name="connsiteY4" fmla="*/ 397145 h 6858000"/>
              <a:gd name="connsiteX5" fmla="*/ 3459898 w 7155850"/>
              <a:gd name="connsiteY5" fmla="*/ 6020152 h 6858000"/>
              <a:gd name="connsiteX6" fmla="*/ 2945517 w 7155850"/>
              <a:gd name="connsiteY6" fmla="*/ 6858000 h 6858000"/>
              <a:gd name="connsiteX7" fmla="*/ 1 w 7155850"/>
              <a:gd name="connsiteY7" fmla="*/ 2060197 h 6858000"/>
              <a:gd name="connsiteX8" fmla="*/ 396861 w 7155850"/>
              <a:gd name="connsiteY8" fmla="*/ 0 h 6858000"/>
              <a:gd name="connsiteX9" fmla="*/ 7155850 w 7155850"/>
              <a:gd name="connsiteY9" fmla="*/ 0 h 6858000"/>
              <a:gd name="connsiteX10" fmla="*/ 3780151 w 7155850"/>
              <a:gd name="connsiteY10" fmla="*/ 54985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55850" h="6858000">
                <a:moveTo>
                  <a:pt x="0" y="3024930"/>
                </a:moveTo>
                <a:lnTo>
                  <a:pt x="2358530" y="6858000"/>
                </a:lnTo>
                <a:lnTo>
                  <a:pt x="1329860" y="6858000"/>
                </a:lnTo>
                <a:lnTo>
                  <a:pt x="0" y="4691859"/>
                </a:lnTo>
                <a:close/>
                <a:moveTo>
                  <a:pt x="1" y="397145"/>
                </a:moveTo>
                <a:lnTo>
                  <a:pt x="3459898" y="6020152"/>
                </a:lnTo>
                <a:lnTo>
                  <a:pt x="2945517" y="6858000"/>
                </a:lnTo>
                <a:lnTo>
                  <a:pt x="1" y="2060197"/>
                </a:lnTo>
                <a:close/>
                <a:moveTo>
                  <a:pt x="396861" y="0"/>
                </a:moveTo>
                <a:lnTo>
                  <a:pt x="7155850" y="0"/>
                </a:lnTo>
                <a:lnTo>
                  <a:pt x="3780151" y="54985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7" tIns="34289" rIns="68577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899" indent="0">
              <a:buNone/>
              <a:defRPr sz="2100"/>
            </a:lvl2pPr>
            <a:lvl3pPr marL="685801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2" indent="0">
              <a:buNone/>
              <a:defRPr sz="1500"/>
            </a:lvl6pPr>
            <a:lvl7pPr marL="2057401" indent="0">
              <a:buNone/>
              <a:defRPr sz="1500"/>
            </a:lvl7pPr>
            <a:lvl8pPr marL="2400300" indent="0">
              <a:buNone/>
              <a:defRPr sz="1500"/>
            </a:lvl8pPr>
            <a:lvl9pPr marL="2743199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49241961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26907" y="-31989"/>
            <a:ext cx="4211157" cy="5175489"/>
          </a:xfrm>
          <a:custGeom>
            <a:avLst/>
            <a:gdLst>
              <a:gd name="connsiteX0" fmla="*/ 0 w 4181475"/>
              <a:gd name="connsiteY0" fmla="*/ 0 h 6905625"/>
              <a:gd name="connsiteX1" fmla="*/ 4181475 w 4181475"/>
              <a:gd name="connsiteY1" fmla="*/ 9525 h 6905625"/>
              <a:gd name="connsiteX2" fmla="*/ 1000125 w 4181475"/>
              <a:gd name="connsiteY2" fmla="*/ 6877050 h 6905625"/>
              <a:gd name="connsiteX3" fmla="*/ 38100 w 4181475"/>
              <a:gd name="connsiteY3" fmla="*/ 6905625 h 6905625"/>
              <a:gd name="connsiteX4" fmla="*/ 0 w 4181475"/>
              <a:gd name="connsiteY4" fmla="*/ 0 h 6905625"/>
              <a:gd name="connsiteX0" fmla="*/ 125 w 4143375"/>
              <a:gd name="connsiteY0" fmla="*/ 0 h 6915198"/>
              <a:gd name="connsiteX1" fmla="*/ 4143375 w 4143375"/>
              <a:gd name="connsiteY1" fmla="*/ 19098 h 6915198"/>
              <a:gd name="connsiteX2" fmla="*/ 962025 w 4143375"/>
              <a:gd name="connsiteY2" fmla="*/ 6886623 h 6915198"/>
              <a:gd name="connsiteX3" fmla="*/ 0 w 4143375"/>
              <a:gd name="connsiteY3" fmla="*/ 6915198 h 6915198"/>
              <a:gd name="connsiteX4" fmla="*/ 125 w 4143375"/>
              <a:gd name="connsiteY4" fmla="*/ 0 h 6915198"/>
              <a:gd name="connsiteX0" fmla="*/ 125 w 4143375"/>
              <a:gd name="connsiteY0" fmla="*/ 0 h 6915198"/>
              <a:gd name="connsiteX1" fmla="*/ 4143375 w 4143375"/>
              <a:gd name="connsiteY1" fmla="*/ 19098 h 6915198"/>
              <a:gd name="connsiteX2" fmla="*/ 990694 w 4143375"/>
              <a:gd name="connsiteY2" fmla="*/ 6905770 h 6915198"/>
              <a:gd name="connsiteX3" fmla="*/ 0 w 4143375"/>
              <a:gd name="connsiteY3" fmla="*/ 6915198 h 6915198"/>
              <a:gd name="connsiteX4" fmla="*/ 125 w 4143375"/>
              <a:gd name="connsiteY4" fmla="*/ 0 h 6915198"/>
              <a:gd name="connsiteX0" fmla="*/ 125 w 4191156"/>
              <a:gd name="connsiteY0" fmla="*/ 28768 h 6943966"/>
              <a:gd name="connsiteX1" fmla="*/ 4191156 w 4191156"/>
              <a:gd name="connsiteY1" fmla="*/ 0 h 6943966"/>
              <a:gd name="connsiteX2" fmla="*/ 990694 w 4191156"/>
              <a:gd name="connsiteY2" fmla="*/ 6934538 h 6943966"/>
              <a:gd name="connsiteX3" fmla="*/ 0 w 4191156"/>
              <a:gd name="connsiteY3" fmla="*/ 6943966 h 6943966"/>
              <a:gd name="connsiteX4" fmla="*/ 125 w 4191156"/>
              <a:gd name="connsiteY4" fmla="*/ 28768 h 6943966"/>
              <a:gd name="connsiteX0" fmla="*/ 125 w 4191156"/>
              <a:gd name="connsiteY0" fmla="*/ 28768 h 6943966"/>
              <a:gd name="connsiteX1" fmla="*/ 4191156 w 4191156"/>
              <a:gd name="connsiteY1" fmla="*/ 0 h 6943966"/>
              <a:gd name="connsiteX2" fmla="*/ 1028919 w 4191156"/>
              <a:gd name="connsiteY2" fmla="*/ 6924966 h 6943966"/>
              <a:gd name="connsiteX3" fmla="*/ 0 w 4191156"/>
              <a:gd name="connsiteY3" fmla="*/ 6943966 h 6943966"/>
              <a:gd name="connsiteX4" fmla="*/ 125 w 4191156"/>
              <a:gd name="connsiteY4" fmla="*/ 28768 h 6943966"/>
              <a:gd name="connsiteX0" fmla="*/ 125 w 4213174"/>
              <a:gd name="connsiteY0" fmla="*/ 0 h 6915198"/>
              <a:gd name="connsiteX1" fmla="*/ 4213174 w 4213174"/>
              <a:gd name="connsiteY1" fmla="*/ 7993 h 6915198"/>
              <a:gd name="connsiteX2" fmla="*/ 1028919 w 4213174"/>
              <a:gd name="connsiteY2" fmla="*/ 6896198 h 6915198"/>
              <a:gd name="connsiteX3" fmla="*/ 0 w 4213174"/>
              <a:gd name="connsiteY3" fmla="*/ 6915198 h 6915198"/>
              <a:gd name="connsiteX4" fmla="*/ 125 w 4213174"/>
              <a:gd name="connsiteY4" fmla="*/ 0 h 6915198"/>
              <a:gd name="connsiteX0" fmla="*/ 125 w 4191156"/>
              <a:gd name="connsiteY0" fmla="*/ 0 h 6915198"/>
              <a:gd name="connsiteX1" fmla="*/ 4191156 w 4191156"/>
              <a:gd name="connsiteY1" fmla="*/ 640 h 6915198"/>
              <a:gd name="connsiteX2" fmla="*/ 1028919 w 4191156"/>
              <a:gd name="connsiteY2" fmla="*/ 6896198 h 6915198"/>
              <a:gd name="connsiteX3" fmla="*/ 0 w 4191156"/>
              <a:gd name="connsiteY3" fmla="*/ 6915198 h 6915198"/>
              <a:gd name="connsiteX4" fmla="*/ 125 w 4191156"/>
              <a:gd name="connsiteY4" fmla="*/ 0 h 6915198"/>
              <a:gd name="connsiteX0" fmla="*/ 125 w 4212595"/>
              <a:gd name="connsiteY0" fmla="*/ 0 h 6915198"/>
              <a:gd name="connsiteX1" fmla="*/ 4212595 w 4212595"/>
              <a:gd name="connsiteY1" fmla="*/ 38821 h 6915198"/>
              <a:gd name="connsiteX2" fmla="*/ 1028919 w 4212595"/>
              <a:gd name="connsiteY2" fmla="*/ 6896198 h 6915198"/>
              <a:gd name="connsiteX3" fmla="*/ 0 w 4212595"/>
              <a:gd name="connsiteY3" fmla="*/ 6915198 h 6915198"/>
              <a:gd name="connsiteX4" fmla="*/ 125 w 4212595"/>
              <a:gd name="connsiteY4" fmla="*/ 0 h 6915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2595" h="6915198">
                <a:moveTo>
                  <a:pt x="125" y="0"/>
                </a:moveTo>
                <a:lnTo>
                  <a:pt x="4212595" y="38821"/>
                </a:lnTo>
                <a:lnTo>
                  <a:pt x="1028919" y="6896198"/>
                </a:lnTo>
                <a:lnTo>
                  <a:pt x="0" y="6915198"/>
                </a:lnTo>
                <a:cubicBezTo>
                  <a:pt x="42" y="4610132"/>
                  <a:pt x="83" y="2305066"/>
                  <a:pt x="125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 sz="1400" dirty="0">
              <a:solidFill>
                <a:prstClr val="white"/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015065" y="-11950"/>
            <a:ext cx="2322042" cy="1850243"/>
            <a:chOff x="1827359" y="-19597"/>
            <a:chExt cx="3253206" cy="317333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" name="Freeform 3"/>
            <p:cNvSpPr/>
            <p:nvPr userDrawn="1"/>
          </p:nvSpPr>
          <p:spPr>
            <a:xfrm>
              <a:off x="2727889" y="-19597"/>
              <a:ext cx="2352676" cy="3171824"/>
            </a:xfrm>
            <a:custGeom>
              <a:avLst/>
              <a:gdLst>
                <a:gd name="connsiteX0" fmla="*/ 1447800 w 2352675"/>
                <a:gd name="connsiteY0" fmla="*/ 0 h 3171825"/>
                <a:gd name="connsiteX1" fmla="*/ 2352675 w 2352675"/>
                <a:gd name="connsiteY1" fmla="*/ 0 h 3171825"/>
                <a:gd name="connsiteX2" fmla="*/ 971550 w 2352675"/>
                <a:gd name="connsiteY2" fmla="*/ 3171825 h 3171825"/>
                <a:gd name="connsiteX3" fmla="*/ 0 w 2352675"/>
                <a:gd name="connsiteY3" fmla="*/ 3171825 h 3171825"/>
                <a:gd name="connsiteX4" fmla="*/ 1447800 w 2352675"/>
                <a:gd name="connsiteY4" fmla="*/ 0 h 317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2675" h="3171825">
                  <a:moveTo>
                    <a:pt x="1447800" y="0"/>
                  </a:moveTo>
                  <a:lnTo>
                    <a:pt x="2352675" y="0"/>
                  </a:lnTo>
                  <a:lnTo>
                    <a:pt x="971550" y="3171825"/>
                  </a:lnTo>
                  <a:lnTo>
                    <a:pt x="0" y="3171825"/>
                  </a:lnTo>
                  <a:lnTo>
                    <a:pt x="144780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6" name="Freeform 65"/>
            <p:cNvSpPr/>
            <p:nvPr userDrawn="1"/>
          </p:nvSpPr>
          <p:spPr>
            <a:xfrm>
              <a:off x="1827359" y="-18083"/>
              <a:ext cx="2352675" cy="3171825"/>
            </a:xfrm>
            <a:custGeom>
              <a:avLst/>
              <a:gdLst>
                <a:gd name="connsiteX0" fmla="*/ 1447800 w 2352675"/>
                <a:gd name="connsiteY0" fmla="*/ 0 h 3171825"/>
                <a:gd name="connsiteX1" fmla="*/ 2352675 w 2352675"/>
                <a:gd name="connsiteY1" fmla="*/ 0 h 3171825"/>
                <a:gd name="connsiteX2" fmla="*/ 971550 w 2352675"/>
                <a:gd name="connsiteY2" fmla="*/ 3171825 h 3171825"/>
                <a:gd name="connsiteX3" fmla="*/ 0 w 2352675"/>
                <a:gd name="connsiteY3" fmla="*/ 3171825 h 3171825"/>
                <a:gd name="connsiteX4" fmla="*/ 1447800 w 2352675"/>
                <a:gd name="connsiteY4" fmla="*/ 0 h 317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2675" h="3171825">
                  <a:moveTo>
                    <a:pt x="1447800" y="0"/>
                  </a:moveTo>
                  <a:lnTo>
                    <a:pt x="2352675" y="0"/>
                  </a:lnTo>
                  <a:lnTo>
                    <a:pt x="971550" y="3171825"/>
                  </a:lnTo>
                  <a:lnTo>
                    <a:pt x="0" y="3171825"/>
                  </a:lnTo>
                  <a:lnTo>
                    <a:pt x="144780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40" name="Group 57">
            <a:extLst>
              <a:ext uri="{FF2B5EF4-FFF2-40B4-BE49-F238E27FC236}">
                <a16:creationId xmlns="" xmlns:a16="http://schemas.microsoft.com/office/drawing/2014/main" id="{EAB9B68E-0E3B-4BE0-B8F8-151B4F9AA20D}"/>
              </a:ext>
            </a:extLst>
          </p:cNvPr>
          <p:cNvGrpSpPr/>
          <p:nvPr userDrawn="1"/>
        </p:nvGrpSpPr>
        <p:grpSpPr>
          <a:xfrm>
            <a:off x="638097" y="1493733"/>
            <a:ext cx="1595147" cy="2755253"/>
            <a:chOff x="1438761" y="2033015"/>
            <a:chExt cx="1980000" cy="3420000"/>
          </a:xfrm>
        </p:grpSpPr>
        <p:sp>
          <p:nvSpPr>
            <p:cNvPr id="41" name="Rounded Rectangle 58">
              <a:extLst>
                <a:ext uri="{FF2B5EF4-FFF2-40B4-BE49-F238E27FC236}">
                  <a16:creationId xmlns="" xmlns:a16="http://schemas.microsoft.com/office/drawing/2014/main" id="{FDB5674B-8954-45D6-856F-8635A461E0AC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44" name="Rectangle 59">
              <a:extLst>
                <a:ext uri="{FF2B5EF4-FFF2-40B4-BE49-F238E27FC236}">
                  <a16:creationId xmlns="" xmlns:a16="http://schemas.microsoft.com/office/drawing/2014/main" id="{232323F7-730B-4115-90EB-2F2AD78DC6BD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48" name="Group 60">
              <a:extLst>
                <a:ext uri="{FF2B5EF4-FFF2-40B4-BE49-F238E27FC236}">
                  <a16:creationId xmlns="" xmlns:a16="http://schemas.microsoft.com/office/drawing/2014/main" id="{95EF7343-DE98-475F-9C99-3A196A57B891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49" name="Oval 61">
                <a:extLst>
                  <a:ext uri="{FF2B5EF4-FFF2-40B4-BE49-F238E27FC236}">
                    <a16:creationId xmlns="" xmlns:a16="http://schemas.microsoft.com/office/drawing/2014/main" id="{EAD9F21B-B819-474E-BF4D-5B3F0F9C074D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50" name="Rounded Rectangle 62">
                <a:extLst>
                  <a:ext uri="{FF2B5EF4-FFF2-40B4-BE49-F238E27FC236}">
                    <a16:creationId xmlns="" xmlns:a16="http://schemas.microsoft.com/office/drawing/2014/main" id="{F2404D1F-E10C-4A44-82A1-AF5E7CBB6610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51" name="Group 51">
            <a:extLst>
              <a:ext uri="{FF2B5EF4-FFF2-40B4-BE49-F238E27FC236}">
                <a16:creationId xmlns="" xmlns:a16="http://schemas.microsoft.com/office/drawing/2014/main" id="{029C3365-4C47-476F-BD96-60948EEED497}"/>
              </a:ext>
            </a:extLst>
          </p:cNvPr>
          <p:cNvGrpSpPr/>
          <p:nvPr userDrawn="1"/>
        </p:nvGrpSpPr>
        <p:grpSpPr>
          <a:xfrm>
            <a:off x="2571207" y="1468332"/>
            <a:ext cx="1595147" cy="2755253"/>
            <a:chOff x="1438761" y="2033015"/>
            <a:chExt cx="1980000" cy="3420000"/>
          </a:xfrm>
        </p:grpSpPr>
        <p:sp>
          <p:nvSpPr>
            <p:cNvPr id="64" name="Rounded Rectangle 52">
              <a:extLst>
                <a:ext uri="{FF2B5EF4-FFF2-40B4-BE49-F238E27FC236}">
                  <a16:creationId xmlns="" xmlns:a16="http://schemas.microsoft.com/office/drawing/2014/main" id="{903C2877-5648-4EA2-AAFC-71345F2CC0B8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65" name="Rectangle 53">
              <a:extLst>
                <a:ext uri="{FF2B5EF4-FFF2-40B4-BE49-F238E27FC236}">
                  <a16:creationId xmlns="" xmlns:a16="http://schemas.microsoft.com/office/drawing/2014/main" id="{D839E5E7-18B9-45E8-AE00-5146A6801EBA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67" name="Group 54">
              <a:extLst>
                <a:ext uri="{FF2B5EF4-FFF2-40B4-BE49-F238E27FC236}">
                  <a16:creationId xmlns="" xmlns:a16="http://schemas.microsoft.com/office/drawing/2014/main" id="{BCF7304E-770A-438E-AF0D-155014D0B1F0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68" name="Oval 55">
                <a:extLst>
                  <a:ext uri="{FF2B5EF4-FFF2-40B4-BE49-F238E27FC236}">
                    <a16:creationId xmlns="" xmlns:a16="http://schemas.microsoft.com/office/drawing/2014/main" id="{5B498A21-13F9-4FD8-BA7A-4CF5B592C91E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69" name="Rounded Rectangle 56">
                <a:extLst>
                  <a:ext uri="{FF2B5EF4-FFF2-40B4-BE49-F238E27FC236}">
                    <a16:creationId xmlns="" xmlns:a16="http://schemas.microsoft.com/office/drawing/2014/main" id="{A6711C24-306E-4C85-8E21-5B5B12708D31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Picture Placeholder 9">
            <a:extLst>
              <a:ext uri="{FF2B5EF4-FFF2-40B4-BE49-F238E27FC236}">
                <a16:creationId xmlns="" xmlns:a16="http://schemas.microsoft.com/office/drawing/2014/main" id="{A9684557-E735-4F99-9200-B752FE63292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67021" y="1680852"/>
            <a:ext cx="795685" cy="21791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71" name="Picture Placeholder 9">
            <a:extLst>
              <a:ext uri="{FF2B5EF4-FFF2-40B4-BE49-F238E27FC236}">
                <a16:creationId xmlns="" xmlns:a16="http://schemas.microsoft.com/office/drawing/2014/main" id="{E207400C-59DF-4155-A4E2-8588593E2F7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2133" y="1717525"/>
            <a:ext cx="815282" cy="21791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grpSp>
        <p:nvGrpSpPr>
          <p:cNvPr id="72" name="Group 5">
            <a:extLst>
              <a:ext uri="{FF2B5EF4-FFF2-40B4-BE49-F238E27FC236}">
                <a16:creationId xmlns="" xmlns:a16="http://schemas.microsoft.com/office/drawing/2014/main" id="{6E65A757-CCD5-48A1-8DD3-F86E193ABBCE}"/>
              </a:ext>
            </a:extLst>
          </p:cNvPr>
          <p:cNvGrpSpPr/>
          <p:nvPr userDrawn="1"/>
        </p:nvGrpSpPr>
        <p:grpSpPr>
          <a:xfrm>
            <a:off x="1558338" y="1364962"/>
            <a:ext cx="1728217" cy="2985103"/>
            <a:chOff x="1438761" y="2033015"/>
            <a:chExt cx="1980000" cy="3420000"/>
          </a:xfrm>
        </p:grpSpPr>
        <p:sp>
          <p:nvSpPr>
            <p:cNvPr id="73" name="Rounded Rectangle 41">
              <a:extLst>
                <a:ext uri="{FF2B5EF4-FFF2-40B4-BE49-F238E27FC236}">
                  <a16:creationId xmlns="" xmlns:a16="http://schemas.microsoft.com/office/drawing/2014/main" id="{7DF5FFA1-E879-4ECA-9B4C-31AAE46B98D6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74" name="Rectangle 42">
              <a:extLst>
                <a:ext uri="{FF2B5EF4-FFF2-40B4-BE49-F238E27FC236}">
                  <a16:creationId xmlns="" xmlns:a16="http://schemas.microsoft.com/office/drawing/2014/main" id="{085BC32C-E608-44B8-A7A0-89B00F110C46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75" name="Group 6">
              <a:extLst>
                <a:ext uri="{FF2B5EF4-FFF2-40B4-BE49-F238E27FC236}">
                  <a16:creationId xmlns="" xmlns:a16="http://schemas.microsoft.com/office/drawing/2014/main" id="{56422AC3-6C41-4DC1-BFCF-E1FB16737474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76" name="Oval 44">
                <a:extLst>
                  <a:ext uri="{FF2B5EF4-FFF2-40B4-BE49-F238E27FC236}">
                    <a16:creationId xmlns="" xmlns:a16="http://schemas.microsoft.com/office/drawing/2014/main" id="{2EC257C4-0911-426B-A877-20FB5F821CDD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Rounded Rectangle 45">
                <a:extLst>
                  <a:ext uri="{FF2B5EF4-FFF2-40B4-BE49-F238E27FC236}">
                    <a16:creationId xmlns="" xmlns:a16="http://schemas.microsoft.com/office/drawing/2014/main" id="{8E296D12-D65E-431F-A0FB-A693E4FA6848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8" name="Picture Placeholder 9">
            <a:extLst>
              <a:ext uri="{FF2B5EF4-FFF2-40B4-BE49-F238E27FC236}">
                <a16:creationId xmlns="" xmlns:a16="http://schemas.microsoft.com/office/drawing/2014/main" id="{FBF029D3-590C-4B47-A9C3-7C543074FD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663086" y="1613689"/>
            <a:ext cx="1517540" cy="23566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38" name="Text Placeholder 9">
            <a:extLst>
              <a:ext uri="{FF2B5EF4-FFF2-40B4-BE49-F238E27FC236}">
                <a16:creationId xmlns="" xmlns:a16="http://schemas.microsoft.com/office/drawing/2014/main" id="{4D7B1FD0-5E10-43C8-B28F-F43B7DABDC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2647" y="336629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873881306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5" y="1501752"/>
            <a:ext cx="8450164" cy="297014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8460824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8967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777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chemeClr val="bg1"/>
                </a:solidFill>
              </a:rPr>
              <a:t>APPENDIX</a:t>
            </a:r>
            <a:endParaRPr lang="en-US" sz="2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086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93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94862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</p:spTree>
    <p:extLst>
      <p:ext uri="{BB962C8B-B14F-4D97-AF65-F5344CB8AC3E}">
        <p14:creationId xmlns:p14="http://schemas.microsoft.com/office/powerpoint/2010/main" val="1474297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B, partial image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182880" tIns="502920" rIns="182880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85763" y="2308225"/>
            <a:ext cx="8494712" cy="397115"/>
          </a:xfrm>
        </p:spPr>
        <p:txBody>
          <a:bodyPr/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2236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5" y="1501752"/>
            <a:ext cx="8450164" cy="297014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8460824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224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an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5383941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4" y="1656523"/>
            <a:ext cx="5383941" cy="281537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5385542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5980042" y="-1"/>
            <a:ext cx="3163957" cy="4819487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649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52984"/>
          </a:xfrm>
          <a:prstGeom prst="rect">
            <a:avLst/>
          </a:prstGeom>
        </p:spPr>
      </p:pic>
      <p:pic>
        <p:nvPicPr>
          <p:cNvPr id="16" name="Picture 15" descr="NPD_logo_RGB_Reverse_300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6091" y="3769599"/>
            <a:ext cx="914400" cy="9144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7213" y="1504950"/>
            <a:ext cx="6400800" cy="515541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>
                <a:solidFill>
                  <a:srgbClr val="FFFFFF"/>
                </a:solidFill>
              </a:defRPr>
            </a:lvl1pPr>
            <a:lvl2pPr marL="341313" indent="0">
              <a:buNone/>
              <a:defRPr>
                <a:solidFill>
                  <a:srgbClr val="FFFFFF"/>
                </a:solidFill>
              </a:defRPr>
            </a:lvl2pPr>
            <a:lvl3pPr marL="627062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Subhead of Presentation can go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7213" y="731887"/>
            <a:ext cx="6400800" cy="729763"/>
          </a:xfrm>
        </p:spPr>
        <p:txBody>
          <a:bodyPr wrap="square" lIns="0" tIns="0" rIns="0" bIns="0" anchor="t" anchorCtr="0"/>
          <a:lstStyle>
            <a:lvl1pPr>
              <a:lnSpc>
                <a:spcPct val="80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FFFFFF"/>
                </a:solidFill>
              </a:rPr>
              <a:t>Click To Add Title of Present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557214" y="4369078"/>
            <a:ext cx="279239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Arial" charset="0"/>
                <a:ea typeface="ＭＳ Ｐゴシック" charset="0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prstClr val="white"/>
                </a:solidFill>
                <a:latin typeface="Calibri"/>
              </a:rPr>
              <a:t>Copyright 2019. The NPD Group, Inc. All Rights Reserved. This presentation is </a:t>
            </a:r>
            <a:r>
              <a:rPr lang="en-US" b="1" dirty="0" smtClean="0">
                <a:solidFill>
                  <a:prstClr val="white"/>
                </a:solidFill>
                <a:latin typeface="Calibri"/>
              </a:rPr>
              <a:t>proprietary and confidential</a:t>
            </a:r>
            <a:r>
              <a:rPr lang="en-US" dirty="0" smtClean="0">
                <a:solidFill>
                  <a:prstClr val="white"/>
                </a:solidFill>
                <a:latin typeface="Calibri"/>
              </a:rPr>
              <a:t> and may not be disclosed in any manner, in whole or in part, to any third party without the express written consent of NPD.</a:t>
            </a:r>
            <a:endParaRPr lang="en-US" sz="7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214" y="3933570"/>
            <a:ext cx="2468562" cy="276225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Date (Optional)</a:t>
            </a:r>
          </a:p>
        </p:txBody>
      </p:sp>
    </p:spTree>
    <p:extLst>
      <p:ext uri="{BB962C8B-B14F-4D97-AF65-F5344CB8AC3E}">
        <p14:creationId xmlns:p14="http://schemas.microsoft.com/office/powerpoint/2010/main" val="681793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/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050"/>
            <a:ext cx="9144000" cy="48420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6"/>
          <p:cNvSpPr txBox="1">
            <a:spLocks noChangeArrowheads="1"/>
          </p:cNvSpPr>
          <p:nvPr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1" name="TextBox 4"/>
          <p:cNvSpPr txBox="1">
            <a:spLocks noChangeArrowheads="1"/>
          </p:cNvSpPr>
          <p:nvPr userDrawn="1"/>
        </p:nvSpPr>
        <p:spPr bwMode="auto">
          <a:xfrm>
            <a:off x="7217834" y="433263"/>
            <a:ext cx="1729894" cy="394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spcCol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are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lianc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utomotiv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2B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eaut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ook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Consumer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E-commer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ashion Accessor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 Consumption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servi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twear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Hom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Juvenile Products</a:t>
            </a:r>
          </a:p>
          <a:p>
            <a:pPr eaLnBrk="1" hangingPunct="1">
              <a:spcAft>
                <a:spcPts val="300"/>
              </a:spcAft>
              <a:defRPr/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edia Entertainment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obil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Office Suppl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Sport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oy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ravel 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Video Gam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Watches / Jewelry</a:t>
            </a:r>
          </a:p>
        </p:txBody>
      </p:sp>
    </p:spTree>
    <p:extLst>
      <p:ext uri="{BB962C8B-B14F-4D97-AF65-F5344CB8AC3E}">
        <p14:creationId xmlns:p14="http://schemas.microsoft.com/office/powerpoint/2010/main" val="353628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09963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Font typeface="+mj-lt"/>
              <a:buAutoNum type="arabicPeriod"/>
              <a:defRPr sz="2800" b="0">
                <a:solidFill>
                  <a:schemeClr val="tx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Click To Create Your 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426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400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635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07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0078BE">
              <a:alpha val="60000"/>
            </a:srgbClr>
          </a:solidFill>
        </p:spPr>
        <p:txBody>
          <a:bodyPr lIns="365760" tIns="1371600" rIns="365760" bIns="1371600" anchor="ctr"/>
          <a:lstStyle>
            <a:lvl1pPr algn="ctr">
              <a:lnSpc>
                <a:spcPct val="80000"/>
              </a:lnSpc>
              <a:defRPr sz="5400" b="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6478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D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2037644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11480" y="2330527"/>
            <a:ext cx="8321040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 smtClean="0"/>
              <a:t>Transition Slid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23305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2980266"/>
            <a:ext cx="8321040" cy="1491633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spcAft>
                <a:spcPts val="1000"/>
              </a:spcAft>
              <a:defRPr sz="2400"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34534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3635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 baseline="0"/>
            </a:lvl1pPr>
            <a:lvl3pPr>
              <a:defRPr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898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997009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1231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2704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none"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2195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75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512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 hasCustomPrompt="1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 hasCustomPrompt="1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 hasCustomPrompt="1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018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815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378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yl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9764829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096629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928911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111015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074726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hon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7211501" y="1568584"/>
            <a:ext cx="1340761" cy="240583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5"/>
            <a:ext cx="6244740" cy="265176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E5E2FCC6-9731-48B8-B2A2-39E9FD0F42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3362" y="1073899"/>
            <a:ext cx="1699776" cy="33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6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ptop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="" xmlns:a16="http://schemas.microsoft.com/office/drawing/2014/main" id="{69D3E401-F6DF-4A44-858C-E9410373BE6E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194050" y="1489753"/>
            <a:ext cx="3949950" cy="24783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  Picture</a:t>
            </a:r>
            <a:endParaRPr lang="en-US" dirty="0"/>
          </a:p>
        </p:txBody>
      </p:sp>
      <p:pic>
        <p:nvPicPr>
          <p:cNvPr id="3" name="Picture 2" descr="A picture containing electronics, display&#10;&#10;Description generated with very high confidence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6060" y="1319842"/>
            <a:ext cx="4567940" cy="3019246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</p:spPr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89753"/>
            <a:ext cx="4374815" cy="2478024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38890296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4"/>
            <a:ext cx="4059936" cy="2474601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6357922" y="1490674"/>
            <a:ext cx="1277283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Picture Placeholder 11"/>
          <p:cNvSpPr>
            <a:spLocks noGrp="1" noChangeAspect="1"/>
          </p:cNvSpPr>
          <p:nvPr>
            <p:ph type="pic" sz="quarter" idx="39"/>
          </p:nvPr>
        </p:nvSpPr>
        <p:spPr>
          <a:xfrm>
            <a:off x="484912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40"/>
          </p:nvPr>
        </p:nvSpPr>
        <p:spPr>
          <a:xfrm>
            <a:off x="786671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6214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411480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672584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672584" y="1664884"/>
            <a:ext cx="4059936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Second Chart Goes Her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1664884"/>
            <a:ext cx="4057069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First Chart Goes He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55405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5479015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01194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786408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01194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33" hasCustomPrompt="1"/>
          </p:nvPr>
        </p:nvSpPr>
        <p:spPr>
          <a:xfrm>
            <a:off x="717162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34" hasCustomPrompt="1"/>
          </p:nvPr>
        </p:nvSpPr>
        <p:spPr>
          <a:xfrm>
            <a:off x="209380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35" hasCustomPrompt="1"/>
          </p:nvPr>
        </p:nvSpPr>
        <p:spPr>
          <a:xfrm>
            <a:off x="717162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209380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786408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5479015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40" name="Text Placeholder 12"/>
          <p:cNvSpPr>
            <a:spLocks noGrp="1"/>
          </p:cNvSpPr>
          <p:nvPr>
            <p:ph type="body" sz="quarter" idx="40"/>
          </p:nvPr>
        </p:nvSpPr>
        <p:spPr>
          <a:xfrm>
            <a:off x="401194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12"/>
          <p:cNvSpPr>
            <a:spLocks noGrp="1"/>
          </p:cNvSpPr>
          <p:nvPr>
            <p:ph type="body" sz="quarter" idx="41"/>
          </p:nvPr>
        </p:nvSpPr>
        <p:spPr>
          <a:xfrm>
            <a:off x="717162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42"/>
          </p:nvPr>
        </p:nvSpPr>
        <p:spPr>
          <a:xfrm>
            <a:off x="209380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12"/>
          <p:cNvSpPr>
            <a:spLocks noGrp="1"/>
          </p:cNvSpPr>
          <p:nvPr>
            <p:ph type="body" sz="quarter" idx="43"/>
          </p:nvPr>
        </p:nvSpPr>
        <p:spPr>
          <a:xfrm>
            <a:off x="3786408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12"/>
          <p:cNvSpPr>
            <a:spLocks noGrp="1"/>
          </p:cNvSpPr>
          <p:nvPr>
            <p:ph type="body" sz="quarter" idx="44"/>
          </p:nvPr>
        </p:nvSpPr>
        <p:spPr>
          <a:xfrm>
            <a:off x="5479015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401194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717162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209380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3786408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51" hasCustomPrompt="1"/>
          </p:nvPr>
        </p:nvSpPr>
        <p:spPr>
          <a:xfrm>
            <a:off x="5479015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52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972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QUESTIONS</a:t>
            </a:r>
            <a:r>
              <a:rPr lang="en-US" sz="5400" b="0" dirty="0" smtClean="0">
                <a:solidFill>
                  <a:srgbClr val="0078BE"/>
                </a:solidFill>
              </a:rPr>
              <a:t>?</a:t>
            </a:r>
            <a:endParaRPr lang="en-US" sz="2800" b="0" dirty="0">
              <a:solidFill>
                <a:srgbClr val="0078B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200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926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APPENDIX</a:t>
            </a:r>
            <a:endParaRPr lang="en-US" sz="2800" b="0" dirty="0">
              <a:solidFill>
                <a:srgbClr val="0051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17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038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4500" y="1197769"/>
            <a:ext cx="8321040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rgbClr val="8E908F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449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007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chemeClr val="accent1">
              <a:alpha val="75000"/>
            </a:scheme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626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chemeClr val="bg2">
              <a:alpha val="60000"/>
            </a:scheme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137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359703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992739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032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994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an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5383941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4" y="1656523"/>
            <a:ext cx="5383941" cy="281537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5385542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5980042" y="-1"/>
            <a:ext cx="3163957" cy="4819487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57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19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90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indent="0">
              <a:buNone/>
              <a:defRPr sz="900"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71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45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94535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137263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49133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  <a:p>
            <a:pPr lvl="0"/>
            <a:endParaRPr lang="en-US" dirty="0" smtClean="0"/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34983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E908F"/>
                </a:solidFill>
              </a:rPr>
              <a:t>?</a:t>
            </a:r>
            <a:endParaRPr lang="en-US" sz="2800" b="0" dirty="0">
              <a:solidFill>
                <a:srgbClr val="8E908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770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752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Frame 67">
            <a:extLst>
              <a:ext uri="{FF2B5EF4-FFF2-40B4-BE49-F238E27FC236}">
                <a16:creationId xmlns="" xmlns:a16="http://schemas.microsoft.com/office/drawing/2014/main" id="{71F7F2F9-06B9-4C4A-A315-7234E3D0EA9B}"/>
              </a:ext>
            </a:extLst>
          </p:cNvPr>
          <p:cNvSpPr/>
          <p:nvPr userDrawn="1"/>
        </p:nvSpPr>
        <p:spPr>
          <a:xfrm>
            <a:off x="170363" y="176318"/>
            <a:ext cx="8803275" cy="4790865"/>
          </a:xfrm>
          <a:prstGeom prst="frame">
            <a:avLst>
              <a:gd name="adj1" fmla="val 36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en-US" sz="1400">
              <a:solidFill>
                <a:prstClr val="black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="" xmlns:a16="http://schemas.microsoft.com/office/drawing/2014/main" id="{8298AB30-4CC4-4E40-A400-C63256AF74D7}"/>
              </a:ext>
            </a:extLst>
          </p:cNvPr>
          <p:cNvSpPr/>
          <p:nvPr userDrawn="1"/>
        </p:nvSpPr>
        <p:spPr>
          <a:xfrm>
            <a:off x="8743950" y="0"/>
            <a:ext cx="400050" cy="14237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="" xmlns:a16="http://schemas.microsoft.com/office/drawing/2014/main" id="{0A3BBC8D-D100-4F6F-AD90-78F516190CAA}"/>
              </a:ext>
            </a:extLst>
          </p:cNvPr>
          <p:cNvSpPr/>
          <p:nvPr userDrawn="1"/>
        </p:nvSpPr>
        <p:spPr>
          <a:xfrm>
            <a:off x="7655615" y="0"/>
            <a:ext cx="1488384" cy="3321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en-US" sz="1400">
              <a:solidFill>
                <a:prstClr val="white"/>
              </a:solidFill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="" xmlns:a16="http://schemas.microsoft.com/office/drawing/2014/main" id="{B224FBA7-6BED-42DE-A0FA-6A940E4B60CF}"/>
              </a:ext>
            </a:extLst>
          </p:cNvPr>
          <p:cNvGrpSpPr/>
          <p:nvPr userDrawn="1"/>
        </p:nvGrpSpPr>
        <p:grpSpPr>
          <a:xfrm>
            <a:off x="7748388" y="1"/>
            <a:ext cx="1338462" cy="1371491"/>
            <a:chOff x="10211914" y="309106"/>
            <a:chExt cx="1980086" cy="2028947"/>
          </a:xfrm>
          <a:solidFill>
            <a:schemeClr val="accent1">
              <a:alpha val="70000"/>
            </a:schemeClr>
          </a:solidFill>
        </p:grpSpPr>
        <p:sp>
          <p:nvSpPr>
            <p:cNvPr id="54" name="Freeform: Shape 53">
              <a:extLst>
                <a:ext uri="{FF2B5EF4-FFF2-40B4-BE49-F238E27FC236}">
                  <a16:creationId xmlns="" xmlns:a16="http://schemas.microsoft.com/office/drawing/2014/main" id="{44C975F1-8C2C-478C-83E8-8ACBDE2B4250}"/>
                </a:ext>
              </a:extLst>
            </p:cNvPr>
            <p:cNvSpPr/>
            <p:nvPr userDrawn="1"/>
          </p:nvSpPr>
          <p:spPr>
            <a:xfrm>
              <a:off x="10397155" y="1209459"/>
              <a:ext cx="1565331" cy="1128594"/>
            </a:xfrm>
            <a:custGeom>
              <a:avLst/>
              <a:gdLst>
                <a:gd name="connsiteX0" fmla="*/ 293748 w 2003413"/>
                <a:gd name="connsiteY0" fmla="*/ 0 h 1444449"/>
                <a:gd name="connsiteX1" fmla="*/ 327507 w 2003413"/>
                <a:gd name="connsiteY1" fmla="*/ 121754 h 1444449"/>
                <a:gd name="connsiteX2" fmla="*/ 399453 w 2003413"/>
                <a:gd name="connsiteY2" fmla="*/ 322649 h 1444449"/>
                <a:gd name="connsiteX3" fmla="*/ 519547 w 2003413"/>
                <a:gd name="connsiteY3" fmla="*/ 539593 h 1444449"/>
                <a:gd name="connsiteX4" fmla="*/ 797368 w 2003413"/>
                <a:gd name="connsiteY4" fmla="*/ 791957 h 1444449"/>
                <a:gd name="connsiteX5" fmla="*/ 936832 w 2003413"/>
                <a:gd name="connsiteY5" fmla="*/ 873864 h 1444449"/>
                <a:gd name="connsiteX6" fmla="*/ 948454 w 2003413"/>
                <a:gd name="connsiteY6" fmla="*/ 881059 h 1444449"/>
                <a:gd name="connsiteX7" fmla="*/ 986641 w 2003413"/>
                <a:gd name="connsiteY7" fmla="*/ 786423 h 1444449"/>
                <a:gd name="connsiteX8" fmla="*/ 1126105 w 2003413"/>
                <a:gd name="connsiteY8" fmla="*/ 681271 h 1444449"/>
                <a:gd name="connsiteX9" fmla="*/ 1520700 w 2003413"/>
                <a:gd name="connsiteY9" fmla="*/ 669649 h 1444449"/>
                <a:gd name="connsiteX10" fmla="*/ 1664592 w 2003413"/>
                <a:gd name="connsiteY10" fmla="*/ 724992 h 1444449"/>
                <a:gd name="connsiteX11" fmla="*/ 1685068 w 2003413"/>
                <a:gd name="connsiteY11" fmla="*/ 744362 h 1444449"/>
                <a:gd name="connsiteX12" fmla="*/ 1645221 w 2003413"/>
                <a:gd name="connsiteY12" fmla="*/ 732740 h 1444449"/>
                <a:gd name="connsiteX13" fmla="*/ 1393965 w 2003413"/>
                <a:gd name="connsiteY13" fmla="*/ 680718 h 1444449"/>
                <a:gd name="connsiteX14" fmla="*/ 1198051 w 2003413"/>
                <a:gd name="connsiteY14" fmla="*/ 715584 h 1444449"/>
                <a:gd name="connsiteX15" fmla="*/ 1138280 w 2003413"/>
                <a:gd name="connsiteY15" fmla="*/ 938062 h 1444449"/>
                <a:gd name="connsiteX16" fmla="*/ 1328660 w 2003413"/>
                <a:gd name="connsiteY16" fmla="*/ 1125675 h 1444449"/>
                <a:gd name="connsiteX17" fmla="*/ 1687835 w 2003413"/>
                <a:gd name="connsiteY17" fmla="*/ 1311073 h 1444449"/>
                <a:gd name="connsiteX18" fmla="*/ 1997202 w 2003413"/>
                <a:gd name="connsiteY18" fmla="*/ 1437255 h 1444449"/>
                <a:gd name="connsiteX19" fmla="*/ 2006057 w 2003413"/>
                <a:gd name="connsiteY19" fmla="*/ 1446110 h 1444449"/>
                <a:gd name="connsiteX20" fmla="*/ 1938539 w 2003413"/>
                <a:gd name="connsiteY20" fmla="*/ 1440022 h 1444449"/>
                <a:gd name="connsiteX21" fmla="*/ 1697244 w 2003413"/>
                <a:gd name="connsiteY21" fmla="*/ 1383019 h 1444449"/>
                <a:gd name="connsiteX22" fmla="*/ 1260588 w 2003413"/>
                <a:gd name="connsiteY22" fmla="*/ 1208689 h 1444449"/>
                <a:gd name="connsiteX23" fmla="*/ 996603 w 2003413"/>
                <a:gd name="connsiteY23" fmla="*/ 1006687 h 1444449"/>
                <a:gd name="connsiteX24" fmla="*/ 953435 w 2003413"/>
                <a:gd name="connsiteY24" fmla="*/ 902643 h 1444449"/>
                <a:gd name="connsiteX25" fmla="*/ 940706 w 2003413"/>
                <a:gd name="connsiteY25" fmla="*/ 887700 h 1444449"/>
                <a:gd name="connsiteX26" fmla="*/ 804563 w 2003413"/>
                <a:gd name="connsiteY26" fmla="*/ 821842 h 1444449"/>
                <a:gd name="connsiteX27" fmla="*/ 625805 w 2003413"/>
                <a:gd name="connsiteY27" fmla="*/ 712263 h 1444449"/>
                <a:gd name="connsiteX28" fmla="*/ 439300 w 2003413"/>
                <a:gd name="connsiteY28" fmla="*/ 602131 h 1444449"/>
                <a:gd name="connsiteX29" fmla="*/ 272164 w 2003413"/>
                <a:gd name="connsiteY29" fmla="*/ 543467 h 1444449"/>
                <a:gd name="connsiteX30" fmla="*/ 118311 w 2003413"/>
                <a:gd name="connsiteY30" fmla="*/ 475396 h 1444449"/>
                <a:gd name="connsiteX31" fmla="*/ 4304 w 2003413"/>
                <a:gd name="connsiteY31" fmla="*/ 330951 h 1444449"/>
                <a:gd name="connsiteX32" fmla="*/ 132146 w 2003413"/>
                <a:gd name="connsiteY32" fmla="*/ 142785 h 1444449"/>
                <a:gd name="connsiteX33" fmla="*/ 288767 w 2003413"/>
                <a:gd name="connsiteY33" fmla="*/ 178758 h 1444449"/>
                <a:gd name="connsiteX34" fmla="*/ 309797 w 2003413"/>
                <a:gd name="connsiteY34" fmla="*/ 192593 h 1444449"/>
                <a:gd name="connsiteX35" fmla="*/ 295408 w 2003413"/>
                <a:gd name="connsiteY35" fmla="*/ 95190 h 1444449"/>
                <a:gd name="connsiteX36" fmla="*/ 289874 w 2003413"/>
                <a:gd name="connsiteY36" fmla="*/ 553 h 1444449"/>
                <a:gd name="connsiteX37" fmla="*/ 293748 w 2003413"/>
                <a:gd name="connsiteY37" fmla="*/ 0 h 1444449"/>
                <a:gd name="connsiteX38" fmla="*/ 155944 w 2003413"/>
                <a:gd name="connsiteY38" fmla="*/ 283356 h 1444449"/>
                <a:gd name="connsiteX39" fmla="*/ 194684 w 2003413"/>
                <a:gd name="connsiteY39" fmla="*/ 400129 h 1444449"/>
                <a:gd name="connsiteX40" fmla="*/ 221249 w 2003413"/>
                <a:gd name="connsiteY40" fmla="*/ 405664 h 1444449"/>
                <a:gd name="connsiteX41" fmla="*/ 339682 w 2003413"/>
                <a:gd name="connsiteY41" fmla="*/ 344233 h 1444449"/>
                <a:gd name="connsiteX42" fmla="*/ 346323 w 2003413"/>
                <a:gd name="connsiteY42" fmla="*/ 326523 h 1444449"/>
                <a:gd name="connsiteX43" fmla="*/ 314778 w 2003413"/>
                <a:gd name="connsiteY43" fmla="*/ 225799 h 1444449"/>
                <a:gd name="connsiteX44" fmla="*/ 296515 w 2003413"/>
                <a:gd name="connsiteY44" fmla="*/ 209196 h 1444449"/>
                <a:gd name="connsiteX45" fmla="*/ 231210 w 2003413"/>
                <a:gd name="connsiteY45" fmla="*/ 204769 h 1444449"/>
                <a:gd name="connsiteX46" fmla="*/ 155944 w 2003413"/>
                <a:gd name="connsiteY46" fmla="*/ 283356 h 1444449"/>
                <a:gd name="connsiteX47" fmla="*/ 216268 w 2003413"/>
                <a:gd name="connsiteY47" fmla="*/ 419499 h 1444449"/>
                <a:gd name="connsiteX48" fmla="*/ 479700 w 2003413"/>
                <a:gd name="connsiteY48" fmla="*/ 557303 h 1444449"/>
                <a:gd name="connsiteX49" fmla="*/ 355732 w 2003413"/>
                <a:gd name="connsiteY49" fmla="*/ 349767 h 1444449"/>
                <a:gd name="connsiteX50" fmla="*/ 216268 w 2003413"/>
                <a:gd name="connsiteY50" fmla="*/ 419499 h 144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2003413" h="1444449">
                  <a:moveTo>
                    <a:pt x="293748" y="0"/>
                  </a:moveTo>
                  <a:cubicBezTo>
                    <a:pt x="304816" y="40954"/>
                    <a:pt x="314225" y="81908"/>
                    <a:pt x="327507" y="121754"/>
                  </a:cubicBezTo>
                  <a:cubicBezTo>
                    <a:pt x="349644" y="189273"/>
                    <a:pt x="370121" y="258451"/>
                    <a:pt x="399453" y="322649"/>
                  </a:cubicBezTo>
                  <a:cubicBezTo>
                    <a:pt x="434319" y="397362"/>
                    <a:pt x="472505" y="472075"/>
                    <a:pt x="519547" y="539593"/>
                  </a:cubicBezTo>
                  <a:cubicBezTo>
                    <a:pt x="591493" y="644191"/>
                    <a:pt x="681148" y="732740"/>
                    <a:pt x="797368" y="791957"/>
                  </a:cubicBezTo>
                  <a:cubicBezTo>
                    <a:pt x="845517" y="816308"/>
                    <a:pt x="890344" y="846193"/>
                    <a:pt x="936832" y="873864"/>
                  </a:cubicBezTo>
                  <a:cubicBezTo>
                    <a:pt x="941813" y="876632"/>
                    <a:pt x="946241" y="879952"/>
                    <a:pt x="948454" y="881059"/>
                  </a:cubicBezTo>
                  <a:cubicBezTo>
                    <a:pt x="961183" y="848960"/>
                    <a:pt x="970591" y="815754"/>
                    <a:pt x="986641" y="786423"/>
                  </a:cubicBezTo>
                  <a:cubicBezTo>
                    <a:pt x="1016526" y="731080"/>
                    <a:pt x="1067995" y="701748"/>
                    <a:pt x="1126105" y="681271"/>
                  </a:cubicBezTo>
                  <a:cubicBezTo>
                    <a:pt x="1256714" y="635890"/>
                    <a:pt x="1387877" y="639211"/>
                    <a:pt x="1520700" y="669649"/>
                  </a:cubicBezTo>
                  <a:cubicBezTo>
                    <a:pt x="1571615" y="681271"/>
                    <a:pt x="1619764" y="698981"/>
                    <a:pt x="1664592" y="724992"/>
                  </a:cubicBezTo>
                  <a:cubicBezTo>
                    <a:pt x="1672339" y="729420"/>
                    <a:pt x="1679534" y="735507"/>
                    <a:pt x="1685068" y="744362"/>
                  </a:cubicBezTo>
                  <a:cubicBezTo>
                    <a:pt x="1671786" y="740488"/>
                    <a:pt x="1658504" y="736614"/>
                    <a:pt x="1645221" y="732740"/>
                  </a:cubicBezTo>
                  <a:cubicBezTo>
                    <a:pt x="1562761" y="707836"/>
                    <a:pt x="1479746" y="686252"/>
                    <a:pt x="1393965" y="680718"/>
                  </a:cubicBezTo>
                  <a:cubicBezTo>
                    <a:pt x="1326446" y="676290"/>
                    <a:pt x="1260035" y="682378"/>
                    <a:pt x="1198051" y="715584"/>
                  </a:cubicBezTo>
                  <a:cubicBezTo>
                    <a:pt x="1116697" y="758751"/>
                    <a:pt x="1095666" y="866116"/>
                    <a:pt x="1138280" y="938062"/>
                  </a:cubicBezTo>
                  <a:cubicBezTo>
                    <a:pt x="1185322" y="1017756"/>
                    <a:pt x="1255054" y="1073653"/>
                    <a:pt x="1328660" y="1125675"/>
                  </a:cubicBezTo>
                  <a:cubicBezTo>
                    <a:pt x="1439899" y="1204262"/>
                    <a:pt x="1562761" y="1260158"/>
                    <a:pt x="1687835" y="1311073"/>
                  </a:cubicBezTo>
                  <a:cubicBezTo>
                    <a:pt x="1790773" y="1353134"/>
                    <a:pt x="1893711" y="1395195"/>
                    <a:pt x="1997202" y="1437255"/>
                  </a:cubicBezTo>
                  <a:cubicBezTo>
                    <a:pt x="2000523" y="1438362"/>
                    <a:pt x="2003290" y="1440022"/>
                    <a:pt x="2006057" y="1446110"/>
                  </a:cubicBezTo>
                  <a:cubicBezTo>
                    <a:pt x="1983367" y="1443896"/>
                    <a:pt x="1961230" y="1442789"/>
                    <a:pt x="1938539" y="1440022"/>
                  </a:cubicBezTo>
                  <a:cubicBezTo>
                    <a:pt x="1856078" y="1428954"/>
                    <a:pt x="1776384" y="1406817"/>
                    <a:pt x="1697244" y="1383019"/>
                  </a:cubicBezTo>
                  <a:cubicBezTo>
                    <a:pt x="1546711" y="1337638"/>
                    <a:pt x="1402819" y="1274547"/>
                    <a:pt x="1260588" y="1208689"/>
                  </a:cubicBezTo>
                  <a:cubicBezTo>
                    <a:pt x="1157650" y="1160541"/>
                    <a:pt x="1068548" y="1094683"/>
                    <a:pt x="996603" y="1006687"/>
                  </a:cubicBezTo>
                  <a:cubicBezTo>
                    <a:pt x="972252" y="976802"/>
                    <a:pt x="953435" y="943597"/>
                    <a:pt x="953435" y="902643"/>
                  </a:cubicBezTo>
                  <a:cubicBezTo>
                    <a:pt x="953435" y="897662"/>
                    <a:pt x="946241" y="890467"/>
                    <a:pt x="940706" y="887700"/>
                  </a:cubicBezTo>
                  <a:cubicBezTo>
                    <a:pt x="895325" y="865563"/>
                    <a:pt x="848284" y="846193"/>
                    <a:pt x="804563" y="821842"/>
                  </a:cubicBezTo>
                  <a:cubicBezTo>
                    <a:pt x="743686" y="787530"/>
                    <a:pt x="683915" y="751003"/>
                    <a:pt x="625805" y="712263"/>
                  </a:cubicBezTo>
                  <a:cubicBezTo>
                    <a:pt x="565481" y="671863"/>
                    <a:pt x="507925" y="627588"/>
                    <a:pt x="439300" y="602131"/>
                  </a:cubicBezTo>
                  <a:cubicBezTo>
                    <a:pt x="383957" y="581654"/>
                    <a:pt x="326953" y="565051"/>
                    <a:pt x="272164" y="543467"/>
                  </a:cubicBezTo>
                  <a:cubicBezTo>
                    <a:pt x="220142" y="522990"/>
                    <a:pt x="167012" y="502514"/>
                    <a:pt x="118311" y="475396"/>
                  </a:cubicBezTo>
                  <a:cubicBezTo>
                    <a:pt x="61308" y="444404"/>
                    <a:pt x="19800" y="395702"/>
                    <a:pt x="4304" y="330951"/>
                  </a:cubicBezTo>
                  <a:cubicBezTo>
                    <a:pt x="-15619" y="249043"/>
                    <a:pt x="34743" y="159388"/>
                    <a:pt x="132146" y="142785"/>
                  </a:cubicBezTo>
                  <a:cubicBezTo>
                    <a:pt x="189150" y="133376"/>
                    <a:pt x="241725" y="143892"/>
                    <a:pt x="288767" y="178758"/>
                  </a:cubicBezTo>
                  <a:cubicBezTo>
                    <a:pt x="294855" y="183185"/>
                    <a:pt x="300942" y="186506"/>
                    <a:pt x="309797" y="192593"/>
                  </a:cubicBezTo>
                  <a:cubicBezTo>
                    <a:pt x="304816" y="157727"/>
                    <a:pt x="298729" y="126735"/>
                    <a:pt x="295408" y="95190"/>
                  </a:cubicBezTo>
                  <a:cubicBezTo>
                    <a:pt x="292087" y="63644"/>
                    <a:pt x="291534" y="32099"/>
                    <a:pt x="289874" y="553"/>
                  </a:cubicBezTo>
                  <a:cubicBezTo>
                    <a:pt x="290981" y="0"/>
                    <a:pt x="292087" y="0"/>
                    <a:pt x="293748" y="0"/>
                  </a:cubicBezTo>
                  <a:close/>
                  <a:moveTo>
                    <a:pt x="155944" y="283356"/>
                  </a:moveTo>
                  <a:cubicBezTo>
                    <a:pt x="155390" y="330397"/>
                    <a:pt x="173100" y="365817"/>
                    <a:pt x="194684" y="400129"/>
                  </a:cubicBezTo>
                  <a:cubicBezTo>
                    <a:pt x="202432" y="411751"/>
                    <a:pt x="209073" y="412858"/>
                    <a:pt x="221249" y="405664"/>
                  </a:cubicBezTo>
                  <a:cubicBezTo>
                    <a:pt x="259989" y="384080"/>
                    <a:pt x="299835" y="364156"/>
                    <a:pt x="339682" y="344233"/>
                  </a:cubicBezTo>
                  <a:cubicBezTo>
                    <a:pt x="349644" y="339252"/>
                    <a:pt x="348537" y="334271"/>
                    <a:pt x="346323" y="326523"/>
                  </a:cubicBezTo>
                  <a:cubicBezTo>
                    <a:pt x="335808" y="292764"/>
                    <a:pt x="326400" y="259005"/>
                    <a:pt x="314778" y="225799"/>
                  </a:cubicBezTo>
                  <a:cubicBezTo>
                    <a:pt x="312564" y="218604"/>
                    <a:pt x="303156" y="210303"/>
                    <a:pt x="296515" y="209196"/>
                  </a:cubicBezTo>
                  <a:cubicBezTo>
                    <a:pt x="274931" y="205876"/>
                    <a:pt x="252794" y="203109"/>
                    <a:pt x="231210" y="204769"/>
                  </a:cubicBezTo>
                  <a:cubicBezTo>
                    <a:pt x="185276" y="206982"/>
                    <a:pt x="155390" y="241849"/>
                    <a:pt x="155944" y="283356"/>
                  </a:cubicBezTo>
                  <a:close/>
                  <a:moveTo>
                    <a:pt x="216268" y="419499"/>
                  </a:moveTo>
                  <a:cubicBezTo>
                    <a:pt x="252794" y="459346"/>
                    <a:pt x="432658" y="552876"/>
                    <a:pt x="479700" y="557303"/>
                  </a:cubicBezTo>
                  <a:cubicBezTo>
                    <a:pt x="431552" y="492552"/>
                    <a:pt x="384510" y="427801"/>
                    <a:pt x="355732" y="349767"/>
                  </a:cubicBezTo>
                  <a:cubicBezTo>
                    <a:pt x="305370" y="366924"/>
                    <a:pt x="258328" y="387400"/>
                    <a:pt x="216268" y="419499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 dirty="0">
                <a:solidFill>
                  <a:prstClr val="black"/>
                </a:solidFill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="" xmlns:a16="http://schemas.microsoft.com/office/drawing/2014/main" id="{BEC5CA15-6612-47A7-B65D-CEBFD262B6FA}"/>
                </a:ext>
              </a:extLst>
            </p:cNvPr>
            <p:cNvSpPr/>
            <p:nvPr/>
          </p:nvSpPr>
          <p:spPr>
            <a:xfrm>
              <a:off x="10211914" y="508637"/>
              <a:ext cx="1617220" cy="864823"/>
            </a:xfrm>
            <a:custGeom>
              <a:avLst/>
              <a:gdLst>
                <a:gd name="connsiteX0" fmla="*/ 579532 w 2069824"/>
                <a:gd name="connsiteY0" fmla="*/ 774097 h 1106858"/>
                <a:gd name="connsiteX1" fmla="*/ 565143 w 2069824"/>
                <a:gd name="connsiteY1" fmla="*/ 786272 h 1106858"/>
                <a:gd name="connsiteX2" fmla="*/ 554628 w 2069824"/>
                <a:gd name="connsiteY2" fmla="*/ 870393 h 1106858"/>
                <a:gd name="connsiteX3" fmla="*/ 633768 w 2069824"/>
                <a:gd name="connsiteY3" fmla="*/ 944553 h 1106858"/>
                <a:gd name="connsiteX4" fmla="*/ 693539 w 2069824"/>
                <a:gd name="connsiteY4" fmla="*/ 976651 h 1106858"/>
                <a:gd name="connsiteX5" fmla="*/ 711802 w 2069824"/>
                <a:gd name="connsiteY5" fmla="*/ 975545 h 1106858"/>
                <a:gd name="connsiteX6" fmla="*/ 891113 w 2069824"/>
                <a:gd name="connsiteY6" fmla="*/ 873714 h 1106858"/>
                <a:gd name="connsiteX7" fmla="*/ 898861 w 2069824"/>
                <a:gd name="connsiteY7" fmla="*/ 869840 h 1106858"/>
                <a:gd name="connsiteX8" fmla="*/ 776553 w 2069824"/>
                <a:gd name="connsiteY8" fmla="*/ 811730 h 1106858"/>
                <a:gd name="connsiteX9" fmla="*/ 344325 w 2069824"/>
                <a:gd name="connsiteY9" fmla="*/ 580396 h 1106858"/>
                <a:gd name="connsiteX10" fmla="*/ 72591 w 2069824"/>
                <a:gd name="connsiteY10" fmla="*/ 351830 h 1106858"/>
                <a:gd name="connsiteX11" fmla="*/ 13928 w 2069824"/>
                <a:gd name="connsiteY11" fmla="*/ 85631 h 1106858"/>
                <a:gd name="connsiteX12" fmla="*/ 57095 w 2069824"/>
                <a:gd name="connsiteY12" fmla="*/ 19773 h 1106858"/>
                <a:gd name="connsiteX13" fmla="*/ 145090 w 2069824"/>
                <a:gd name="connsiteY13" fmla="*/ 13132 h 1106858"/>
                <a:gd name="connsiteX14" fmla="*/ 209288 w 2069824"/>
                <a:gd name="connsiteY14" fmla="*/ 74009 h 1106858"/>
                <a:gd name="connsiteX15" fmla="*/ 181617 w 2069824"/>
                <a:gd name="connsiteY15" fmla="*/ 127691 h 1106858"/>
                <a:gd name="connsiteX16" fmla="*/ 208735 w 2069824"/>
                <a:gd name="connsiteY16" fmla="*/ 316964 h 1106858"/>
                <a:gd name="connsiteX17" fmla="*/ 317207 w 2069824"/>
                <a:gd name="connsiteY17" fmla="*/ 466943 h 1106858"/>
                <a:gd name="connsiteX18" fmla="*/ 722870 w 2069824"/>
                <a:gd name="connsiteY18" fmla="*/ 741998 h 1106858"/>
                <a:gd name="connsiteX19" fmla="*/ 872296 w 2069824"/>
                <a:gd name="connsiteY19" fmla="*/ 816710 h 1106858"/>
                <a:gd name="connsiteX20" fmla="*/ 1147904 w 2069824"/>
                <a:gd name="connsiteY20" fmla="*/ 986613 h 1106858"/>
                <a:gd name="connsiteX21" fmla="*/ 1221510 w 2069824"/>
                <a:gd name="connsiteY21" fmla="*/ 1050258 h 1106858"/>
                <a:gd name="connsiteX22" fmla="*/ 1281834 w 2069824"/>
                <a:gd name="connsiteY22" fmla="*/ 1074608 h 1106858"/>
                <a:gd name="connsiteX23" fmla="*/ 1569063 w 2069824"/>
                <a:gd name="connsiteY23" fmla="*/ 1069074 h 1106858"/>
                <a:gd name="connsiteX24" fmla="*/ 2022875 w 2069824"/>
                <a:gd name="connsiteY24" fmla="*/ 1015945 h 1106858"/>
                <a:gd name="connsiteX25" fmla="*/ 2050547 w 2069824"/>
                <a:gd name="connsiteY25" fmla="*/ 1012624 h 1106858"/>
                <a:gd name="connsiteX26" fmla="*/ 2070470 w 2069824"/>
                <a:gd name="connsiteY26" fmla="*/ 1004876 h 1106858"/>
                <a:gd name="connsiteX27" fmla="*/ 2058295 w 2069824"/>
                <a:gd name="connsiteY27" fmla="*/ 1018159 h 1106858"/>
                <a:gd name="connsiteX28" fmla="*/ 1883964 w 2069824"/>
                <a:gd name="connsiteY28" fmla="*/ 1051364 h 1106858"/>
                <a:gd name="connsiteX29" fmla="*/ 1492690 w 2069824"/>
                <a:gd name="connsiteY29" fmla="*/ 1102833 h 1106858"/>
                <a:gd name="connsiteX30" fmla="*/ 1163953 w 2069824"/>
                <a:gd name="connsiteY30" fmla="*/ 1106154 h 1106858"/>
                <a:gd name="connsiteX31" fmla="*/ 928746 w 2069824"/>
                <a:gd name="connsiteY31" fmla="*/ 1083463 h 1106858"/>
                <a:gd name="connsiteX32" fmla="*/ 712909 w 2069824"/>
                <a:gd name="connsiteY32" fmla="*/ 1024246 h 1106858"/>
                <a:gd name="connsiteX33" fmla="*/ 562376 w 2069824"/>
                <a:gd name="connsiteY33" fmla="*/ 917435 h 1106858"/>
                <a:gd name="connsiteX34" fmla="*/ 544666 w 2069824"/>
                <a:gd name="connsiteY34" fmla="*/ 803982 h 1106858"/>
                <a:gd name="connsiteX35" fmla="*/ 573444 w 2069824"/>
                <a:gd name="connsiteY35" fmla="*/ 769116 h 1106858"/>
                <a:gd name="connsiteX36" fmla="*/ 579532 w 2069824"/>
                <a:gd name="connsiteY36" fmla="*/ 774097 h 110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069824" h="1106858">
                  <a:moveTo>
                    <a:pt x="579532" y="774097"/>
                  </a:moveTo>
                  <a:cubicBezTo>
                    <a:pt x="574551" y="777970"/>
                    <a:pt x="569571" y="781845"/>
                    <a:pt x="565143" y="786272"/>
                  </a:cubicBezTo>
                  <a:cubicBezTo>
                    <a:pt x="540239" y="810623"/>
                    <a:pt x="536918" y="839955"/>
                    <a:pt x="554628" y="870393"/>
                  </a:cubicBezTo>
                  <a:cubicBezTo>
                    <a:pt x="573444" y="903045"/>
                    <a:pt x="602776" y="925183"/>
                    <a:pt x="633768" y="944553"/>
                  </a:cubicBezTo>
                  <a:cubicBezTo>
                    <a:pt x="652585" y="956728"/>
                    <a:pt x="673062" y="967243"/>
                    <a:pt x="693539" y="976651"/>
                  </a:cubicBezTo>
                  <a:cubicBezTo>
                    <a:pt x="698519" y="978865"/>
                    <a:pt x="707374" y="978312"/>
                    <a:pt x="711802" y="975545"/>
                  </a:cubicBezTo>
                  <a:cubicBezTo>
                    <a:pt x="767145" y="933484"/>
                    <a:pt x="824701" y="896404"/>
                    <a:pt x="891113" y="873714"/>
                  </a:cubicBezTo>
                  <a:cubicBezTo>
                    <a:pt x="892773" y="873160"/>
                    <a:pt x="894433" y="872053"/>
                    <a:pt x="898861" y="869840"/>
                  </a:cubicBezTo>
                  <a:cubicBezTo>
                    <a:pt x="855693" y="849363"/>
                    <a:pt x="816400" y="829993"/>
                    <a:pt x="776553" y="811730"/>
                  </a:cubicBezTo>
                  <a:cubicBezTo>
                    <a:pt x="627681" y="743658"/>
                    <a:pt x="482682" y="668392"/>
                    <a:pt x="344325" y="580396"/>
                  </a:cubicBezTo>
                  <a:cubicBezTo>
                    <a:pt x="244154" y="516199"/>
                    <a:pt x="147304" y="445913"/>
                    <a:pt x="72591" y="351830"/>
                  </a:cubicBezTo>
                  <a:cubicBezTo>
                    <a:pt x="9500" y="274904"/>
                    <a:pt x="-19278" y="186355"/>
                    <a:pt x="13928" y="85631"/>
                  </a:cubicBezTo>
                  <a:cubicBezTo>
                    <a:pt x="22229" y="59620"/>
                    <a:pt x="37172" y="38036"/>
                    <a:pt x="57095" y="19773"/>
                  </a:cubicBezTo>
                  <a:cubicBezTo>
                    <a:pt x="81999" y="-2918"/>
                    <a:pt x="117972" y="-7345"/>
                    <a:pt x="145090" y="13132"/>
                  </a:cubicBezTo>
                  <a:cubicBezTo>
                    <a:pt x="167781" y="30288"/>
                    <a:pt x="186598" y="52425"/>
                    <a:pt x="209288" y="74009"/>
                  </a:cubicBezTo>
                  <a:cubicBezTo>
                    <a:pt x="184937" y="87844"/>
                    <a:pt x="184937" y="108875"/>
                    <a:pt x="181617" y="127691"/>
                  </a:cubicBezTo>
                  <a:cubicBezTo>
                    <a:pt x="169441" y="193549"/>
                    <a:pt x="181063" y="256087"/>
                    <a:pt x="208735" y="316964"/>
                  </a:cubicBezTo>
                  <a:cubicBezTo>
                    <a:pt x="234746" y="374521"/>
                    <a:pt x="272933" y="422669"/>
                    <a:pt x="317207" y="466943"/>
                  </a:cubicBezTo>
                  <a:cubicBezTo>
                    <a:pt x="435087" y="584270"/>
                    <a:pt x="576212" y="666731"/>
                    <a:pt x="722870" y="741998"/>
                  </a:cubicBezTo>
                  <a:cubicBezTo>
                    <a:pt x="772126" y="767455"/>
                    <a:pt x="821934" y="792913"/>
                    <a:pt x="872296" y="816710"/>
                  </a:cubicBezTo>
                  <a:cubicBezTo>
                    <a:pt x="970253" y="863752"/>
                    <a:pt x="1062122" y="919648"/>
                    <a:pt x="1147904" y="986613"/>
                  </a:cubicBezTo>
                  <a:cubicBezTo>
                    <a:pt x="1173362" y="1006537"/>
                    <a:pt x="1197712" y="1028120"/>
                    <a:pt x="1221510" y="1050258"/>
                  </a:cubicBezTo>
                  <a:cubicBezTo>
                    <a:pt x="1239220" y="1066861"/>
                    <a:pt x="1256929" y="1075162"/>
                    <a:pt x="1281834" y="1074608"/>
                  </a:cubicBezTo>
                  <a:cubicBezTo>
                    <a:pt x="1377577" y="1071841"/>
                    <a:pt x="1473320" y="1073502"/>
                    <a:pt x="1569063" y="1069074"/>
                  </a:cubicBezTo>
                  <a:cubicBezTo>
                    <a:pt x="1721810" y="1062433"/>
                    <a:pt x="1872896" y="1043616"/>
                    <a:pt x="2022875" y="1015945"/>
                  </a:cubicBezTo>
                  <a:cubicBezTo>
                    <a:pt x="2031730" y="1014285"/>
                    <a:pt x="2041692" y="1014285"/>
                    <a:pt x="2050547" y="1012624"/>
                  </a:cubicBezTo>
                  <a:cubicBezTo>
                    <a:pt x="2057188" y="1011518"/>
                    <a:pt x="2062722" y="1008197"/>
                    <a:pt x="2070470" y="1004876"/>
                  </a:cubicBezTo>
                  <a:cubicBezTo>
                    <a:pt x="2074344" y="1014838"/>
                    <a:pt x="2066596" y="1016498"/>
                    <a:pt x="2058295" y="1018159"/>
                  </a:cubicBezTo>
                  <a:cubicBezTo>
                    <a:pt x="2000185" y="1029227"/>
                    <a:pt x="1942628" y="1043063"/>
                    <a:pt x="1883964" y="1051364"/>
                  </a:cubicBezTo>
                  <a:cubicBezTo>
                    <a:pt x="1753909" y="1070181"/>
                    <a:pt x="1623299" y="1087891"/>
                    <a:pt x="1492690" y="1102833"/>
                  </a:cubicBezTo>
                  <a:cubicBezTo>
                    <a:pt x="1383665" y="1115009"/>
                    <a:pt x="1273532" y="1113349"/>
                    <a:pt x="1163953" y="1106154"/>
                  </a:cubicBezTo>
                  <a:cubicBezTo>
                    <a:pt x="1085366" y="1101173"/>
                    <a:pt x="1006226" y="1095639"/>
                    <a:pt x="928746" y="1083463"/>
                  </a:cubicBezTo>
                  <a:cubicBezTo>
                    <a:pt x="855140" y="1071841"/>
                    <a:pt x="781534" y="1055238"/>
                    <a:pt x="712909" y="1024246"/>
                  </a:cubicBezTo>
                  <a:cubicBezTo>
                    <a:pt x="655905" y="998789"/>
                    <a:pt x="603883" y="965030"/>
                    <a:pt x="562376" y="917435"/>
                  </a:cubicBezTo>
                  <a:cubicBezTo>
                    <a:pt x="529170" y="879248"/>
                    <a:pt x="523636" y="839401"/>
                    <a:pt x="544666" y="803982"/>
                  </a:cubicBezTo>
                  <a:cubicBezTo>
                    <a:pt x="552414" y="791253"/>
                    <a:pt x="564036" y="780738"/>
                    <a:pt x="573444" y="769116"/>
                  </a:cubicBezTo>
                  <a:cubicBezTo>
                    <a:pt x="575658" y="770776"/>
                    <a:pt x="577872" y="772436"/>
                    <a:pt x="579532" y="774097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="" xmlns:a16="http://schemas.microsoft.com/office/drawing/2014/main" id="{725172A5-F699-434F-A1EB-542441C23D51}"/>
                </a:ext>
              </a:extLst>
            </p:cNvPr>
            <p:cNvSpPr/>
            <p:nvPr/>
          </p:nvSpPr>
          <p:spPr>
            <a:xfrm>
              <a:off x="10232073" y="1273699"/>
              <a:ext cx="1176160" cy="1029139"/>
            </a:xfrm>
            <a:custGeom>
              <a:avLst/>
              <a:gdLst>
                <a:gd name="connsiteX0" fmla="*/ 1507844 w 1505326"/>
                <a:gd name="connsiteY0" fmla="*/ 1291392 h 1317161"/>
                <a:gd name="connsiteX1" fmla="*/ 1399371 w 1505326"/>
                <a:gd name="connsiteY1" fmla="*/ 1301908 h 1317161"/>
                <a:gd name="connsiteX2" fmla="*/ 973784 w 1505326"/>
                <a:gd name="connsiteY2" fmla="*/ 1315743 h 1317161"/>
                <a:gd name="connsiteX3" fmla="*/ 562033 w 1505326"/>
                <a:gd name="connsiteY3" fmla="*/ 1262614 h 1317161"/>
                <a:gd name="connsiteX4" fmla="*/ 228869 w 1505326"/>
                <a:gd name="connsiteY4" fmla="*/ 1130898 h 1317161"/>
                <a:gd name="connsiteX5" fmla="*/ 50665 w 1505326"/>
                <a:gd name="connsiteY5" fmla="*/ 961549 h 1317161"/>
                <a:gd name="connsiteX6" fmla="*/ 26867 w 1505326"/>
                <a:gd name="connsiteY6" fmla="*/ 657716 h 1317161"/>
                <a:gd name="connsiteX7" fmla="*/ 200091 w 1505326"/>
                <a:gd name="connsiteY7" fmla="*/ 465676 h 1317161"/>
                <a:gd name="connsiteX8" fmla="*/ 228316 w 1505326"/>
                <a:gd name="connsiteY8" fmla="*/ 449074 h 1317161"/>
                <a:gd name="connsiteX9" fmla="*/ 164671 w 1505326"/>
                <a:gd name="connsiteY9" fmla="*/ 391517 h 1317161"/>
                <a:gd name="connsiteX10" fmla="*/ 92172 w 1505326"/>
                <a:gd name="connsiteY10" fmla="*/ 289133 h 1317161"/>
                <a:gd name="connsiteX11" fmla="*/ 141981 w 1505326"/>
                <a:gd name="connsiteY11" fmla="*/ 78830 h 1317161"/>
                <a:gd name="connsiteX12" fmla="*/ 368886 w 1505326"/>
                <a:gd name="connsiteY12" fmla="*/ 4670 h 1317161"/>
                <a:gd name="connsiteX13" fmla="*/ 444706 w 1505326"/>
                <a:gd name="connsiteY13" fmla="*/ 20719 h 1317161"/>
                <a:gd name="connsiteX14" fmla="*/ 444153 w 1505326"/>
                <a:gd name="connsiteY14" fmla="*/ 27361 h 1317161"/>
                <a:gd name="connsiteX15" fmla="*/ 425890 w 1505326"/>
                <a:gd name="connsiteY15" fmla="*/ 25700 h 1317161"/>
                <a:gd name="connsiteX16" fmla="*/ 407073 w 1505326"/>
                <a:gd name="connsiteY16" fmla="*/ 22380 h 1317161"/>
                <a:gd name="connsiteX17" fmla="*/ 175186 w 1505326"/>
                <a:gd name="connsiteY17" fmla="*/ 92665 h 1317161"/>
                <a:gd name="connsiteX18" fmla="*/ 147515 w 1505326"/>
                <a:gd name="connsiteY18" fmla="*/ 292453 h 1317161"/>
                <a:gd name="connsiteX19" fmla="*/ 332914 w 1505326"/>
                <a:gd name="connsiteY19" fmla="*/ 465123 h 1317161"/>
                <a:gd name="connsiteX20" fmla="*/ 551518 w 1505326"/>
                <a:gd name="connsiteY20" fmla="*/ 543710 h 1317161"/>
                <a:gd name="connsiteX21" fmla="*/ 786172 w 1505326"/>
                <a:gd name="connsiteY21" fmla="*/ 633919 h 1317161"/>
                <a:gd name="connsiteX22" fmla="*/ 858671 w 1505326"/>
                <a:gd name="connsiteY22" fmla="*/ 690369 h 1317161"/>
                <a:gd name="connsiteX23" fmla="*/ 865866 w 1505326"/>
                <a:gd name="connsiteY23" fmla="*/ 699223 h 1317161"/>
                <a:gd name="connsiteX24" fmla="*/ 750199 w 1505326"/>
                <a:gd name="connsiteY24" fmla="*/ 628938 h 1317161"/>
                <a:gd name="connsiteX25" fmla="*/ 552625 w 1505326"/>
                <a:gd name="connsiteY25" fmla="*/ 564187 h 1317161"/>
                <a:gd name="connsiteX26" fmla="*/ 369440 w 1505326"/>
                <a:gd name="connsiteY26" fmla="*/ 516038 h 1317161"/>
                <a:gd name="connsiteX27" fmla="*/ 268716 w 1505326"/>
                <a:gd name="connsiteY27" fmla="*/ 470657 h 1317161"/>
                <a:gd name="connsiteX28" fmla="*/ 237724 w 1505326"/>
                <a:gd name="connsiteY28" fmla="*/ 469550 h 1317161"/>
                <a:gd name="connsiteX29" fmla="*/ 129805 w 1505326"/>
                <a:gd name="connsiteY29" fmla="*/ 566954 h 1317161"/>
                <a:gd name="connsiteX30" fmla="*/ 63947 w 1505326"/>
                <a:gd name="connsiteY30" fmla="*/ 734089 h 1317161"/>
                <a:gd name="connsiteX31" fmla="*/ 115969 w 1505326"/>
                <a:gd name="connsiteY31" fmla="*/ 897904 h 1317161"/>
                <a:gd name="connsiteX32" fmla="*/ 290300 w 1505326"/>
                <a:gd name="connsiteY32" fmla="*/ 1058952 h 1317161"/>
                <a:gd name="connsiteX33" fmla="*/ 637853 w 1505326"/>
                <a:gd name="connsiteY33" fmla="*/ 1211145 h 1317161"/>
                <a:gd name="connsiteX34" fmla="*/ 1114909 w 1505326"/>
                <a:gd name="connsiteY34" fmla="*/ 1281984 h 1317161"/>
                <a:gd name="connsiteX35" fmla="*/ 1478512 w 1505326"/>
                <a:gd name="connsiteY35" fmla="*/ 1286965 h 1317161"/>
                <a:gd name="connsiteX36" fmla="*/ 1508950 w 1505326"/>
                <a:gd name="connsiteY36" fmla="*/ 1288625 h 1317161"/>
                <a:gd name="connsiteX37" fmla="*/ 1507844 w 1505326"/>
                <a:gd name="connsiteY37" fmla="*/ 1291392 h 131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505326" h="1317161">
                  <a:moveTo>
                    <a:pt x="1507844" y="1291392"/>
                  </a:moveTo>
                  <a:cubicBezTo>
                    <a:pt x="1471871" y="1294713"/>
                    <a:pt x="1435344" y="1298587"/>
                    <a:pt x="1399371" y="1301908"/>
                  </a:cubicBezTo>
                  <a:cubicBezTo>
                    <a:pt x="1257694" y="1314636"/>
                    <a:pt x="1116016" y="1320171"/>
                    <a:pt x="973784" y="1315743"/>
                  </a:cubicBezTo>
                  <a:cubicBezTo>
                    <a:pt x="834874" y="1311316"/>
                    <a:pt x="697070" y="1295820"/>
                    <a:pt x="562033" y="1262614"/>
                  </a:cubicBezTo>
                  <a:cubicBezTo>
                    <a:pt x="445260" y="1234389"/>
                    <a:pt x="331807" y="1193989"/>
                    <a:pt x="228869" y="1130898"/>
                  </a:cubicBezTo>
                  <a:cubicBezTo>
                    <a:pt x="157477" y="1087177"/>
                    <a:pt x="93279" y="1035708"/>
                    <a:pt x="50665" y="961549"/>
                  </a:cubicBezTo>
                  <a:cubicBezTo>
                    <a:pt x="-5232" y="864145"/>
                    <a:pt x="-17407" y="760654"/>
                    <a:pt x="26867" y="657716"/>
                  </a:cubicBezTo>
                  <a:cubicBezTo>
                    <a:pt x="62287" y="575809"/>
                    <a:pt x="123164" y="512164"/>
                    <a:pt x="200091" y="465676"/>
                  </a:cubicBezTo>
                  <a:cubicBezTo>
                    <a:pt x="208945" y="460142"/>
                    <a:pt x="217800" y="455161"/>
                    <a:pt x="228316" y="449074"/>
                  </a:cubicBezTo>
                  <a:cubicBezTo>
                    <a:pt x="206178" y="429150"/>
                    <a:pt x="184595" y="411440"/>
                    <a:pt x="164671" y="391517"/>
                  </a:cubicBezTo>
                  <a:cubicBezTo>
                    <a:pt x="134233" y="362185"/>
                    <a:pt x="104347" y="331747"/>
                    <a:pt x="92172" y="289133"/>
                  </a:cubicBezTo>
                  <a:cubicBezTo>
                    <a:pt x="70035" y="209992"/>
                    <a:pt x="87745" y="140260"/>
                    <a:pt x="141981" y="78830"/>
                  </a:cubicBezTo>
                  <a:cubicBezTo>
                    <a:pt x="202858" y="9651"/>
                    <a:pt x="280338" y="-10273"/>
                    <a:pt x="368886" y="4670"/>
                  </a:cubicBezTo>
                  <a:cubicBezTo>
                    <a:pt x="394344" y="9097"/>
                    <a:pt x="419249" y="15185"/>
                    <a:pt x="444706" y="20719"/>
                  </a:cubicBezTo>
                  <a:cubicBezTo>
                    <a:pt x="444706" y="22933"/>
                    <a:pt x="444153" y="25147"/>
                    <a:pt x="444153" y="27361"/>
                  </a:cubicBezTo>
                  <a:cubicBezTo>
                    <a:pt x="438065" y="26807"/>
                    <a:pt x="431977" y="26254"/>
                    <a:pt x="425890" y="25700"/>
                  </a:cubicBezTo>
                  <a:cubicBezTo>
                    <a:pt x="419802" y="24594"/>
                    <a:pt x="413161" y="23487"/>
                    <a:pt x="407073" y="22380"/>
                  </a:cubicBezTo>
                  <a:cubicBezTo>
                    <a:pt x="316864" y="3563"/>
                    <a:pt x="239384" y="27361"/>
                    <a:pt x="175186" y="92665"/>
                  </a:cubicBezTo>
                  <a:cubicBezTo>
                    <a:pt x="120397" y="148008"/>
                    <a:pt x="115416" y="229362"/>
                    <a:pt x="147515" y="292453"/>
                  </a:cubicBezTo>
                  <a:cubicBezTo>
                    <a:pt x="188469" y="372147"/>
                    <a:pt x="258754" y="421402"/>
                    <a:pt x="332914" y="465123"/>
                  </a:cubicBezTo>
                  <a:cubicBezTo>
                    <a:pt x="400432" y="505523"/>
                    <a:pt x="476805" y="522680"/>
                    <a:pt x="551518" y="543710"/>
                  </a:cubicBezTo>
                  <a:cubicBezTo>
                    <a:pt x="632872" y="566401"/>
                    <a:pt x="713673" y="589091"/>
                    <a:pt x="786172" y="633919"/>
                  </a:cubicBezTo>
                  <a:cubicBezTo>
                    <a:pt x="812183" y="649968"/>
                    <a:pt x="834874" y="670999"/>
                    <a:pt x="858671" y="690369"/>
                  </a:cubicBezTo>
                  <a:cubicBezTo>
                    <a:pt x="861992" y="693136"/>
                    <a:pt x="864205" y="697010"/>
                    <a:pt x="865866" y="699223"/>
                  </a:cubicBezTo>
                  <a:cubicBezTo>
                    <a:pt x="827679" y="675979"/>
                    <a:pt x="790046" y="650522"/>
                    <a:pt x="750199" y="628938"/>
                  </a:cubicBezTo>
                  <a:cubicBezTo>
                    <a:pt x="688769" y="595179"/>
                    <a:pt x="620143" y="580790"/>
                    <a:pt x="552625" y="564187"/>
                  </a:cubicBezTo>
                  <a:cubicBezTo>
                    <a:pt x="491194" y="548691"/>
                    <a:pt x="429764" y="534855"/>
                    <a:pt x="369440" y="516038"/>
                  </a:cubicBezTo>
                  <a:cubicBezTo>
                    <a:pt x="334574" y="504970"/>
                    <a:pt x="301922" y="486707"/>
                    <a:pt x="268716" y="470657"/>
                  </a:cubicBezTo>
                  <a:cubicBezTo>
                    <a:pt x="257647" y="465676"/>
                    <a:pt x="248792" y="459589"/>
                    <a:pt x="237724" y="469550"/>
                  </a:cubicBezTo>
                  <a:cubicBezTo>
                    <a:pt x="201751" y="502203"/>
                    <a:pt x="161904" y="530981"/>
                    <a:pt x="129805" y="566954"/>
                  </a:cubicBezTo>
                  <a:cubicBezTo>
                    <a:pt x="88851" y="613442"/>
                    <a:pt x="61180" y="669338"/>
                    <a:pt x="63947" y="734089"/>
                  </a:cubicBezTo>
                  <a:cubicBezTo>
                    <a:pt x="66161" y="793306"/>
                    <a:pt x="85531" y="847543"/>
                    <a:pt x="115969" y="897904"/>
                  </a:cubicBezTo>
                  <a:cubicBezTo>
                    <a:pt x="158583" y="968743"/>
                    <a:pt x="222781" y="1015785"/>
                    <a:pt x="290300" y="1058952"/>
                  </a:cubicBezTo>
                  <a:cubicBezTo>
                    <a:pt x="398218" y="1127578"/>
                    <a:pt x="515545" y="1176279"/>
                    <a:pt x="637853" y="1211145"/>
                  </a:cubicBezTo>
                  <a:cubicBezTo>
                    <a:pt x="793920" y="1255420"/>
                    <a:pt x="953308" y="1278664"/>
                    <a:pt x="1114909" y="1281984"/>
                  </a:cubicBezTo>
                  <a:cubicBezTo>
                    <a:pt x="1236110" y="1284752"/>
                    <a:pt x="1357311" y="1285305"/>
                    <a:pt x="1478512" y="1286965"/>
                  </a:cubicBezTo>
                  <a:cubicBezTo>
                    <a:pt x="1488473" y="1286965"/>
                    <a:pt x="1498989" y="1288072"/>
                    <a:pt x="1508950" y="1288625"/>
                  </a:cubicBezTo>
                  <a:cubicBezTo>
                    <a:pt x="1507844" y="1289732"/>
                    <a:pt x="1507844" y="1290839"/>
                    <a:pt x="1507844" y="1291392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="" xmlns:a16="http://schemas.microsoft.com/office/drawing/2014/main" id="{476E5181-0308-4AAA-8FF0-7953A53B1C14}"/>
                </a:ext>
              </a:extLst>
            </p:cNvPr>
            <p:cNvSpPr/>
            <p:nvPr/>
          </p:nvSpPr>
          <p:spPr>
            <a:xfrm>
              <a:off x="10383787" y="607109"/>
              <a:ext cx="1106974" cy="709156"/>
            </a:xfrm>
            <a:custGeom>
              <a:avLst/>
              <a:gdLst>
                <a:gd name="connsiteX0" fmla="*/ 4810 w 1416778"/>
                <a:gd name="connsiteY0" fmla="*/ 0 h 907623"/>
                <a:gd name="connsiteX1" fmla="*/ 38570 w 1416778"/>
                <a:gd name="connsiteY1" fmla="*/ 66411 h 907623"/>
                <a:gd name="connsiteX2" fmla="*/ 130439 w 1416778"/>
                <a:gd name="connsiteY2" fmla="*/ 203108 h 907623"/>
                <a:gd name="connsiteX3" fmla="*/ 316391 w 1416778"/>
                <a:gd name="connsiteY3" fmla="*/ 395702 h 907623"/>
                <a:gd name="connsiteX4" fmla="*/ 655643 w 1416778"/>
                <a:gd name="connsiteY4" fmla="*/ 623714 h 907623"/>
                <a:gd name="connsiteX5" fmla="*/ 752493 w 1416778"/>
                <a:gd name="connsiteY5" fmla="*/ 675183 h 907623"/>
                <a:gd name="connsiteX6" fmla="*/ 874801 w 1416778"/>
                <a:gd name="connsiteY6" fmla="*/ 700088 h 907623"/>
                <a:gd name="connsiteX7" fmla="*/ 1096726 w 1416778"/>
                <a:gd name="connsiteY7" fmla="*/ 680164 h 907623"/>
                <a:gd name="connsiteX8" fmla="*/ 1400558 w 1416778"/>
                <a:gd name="connsiteY8" fmla="*/ 664668 h 907623"/>
                <a:gd name="connsiteX9" fmla="*/ 1416608 w 1416778"/>
                <a:gd name="connsiteY9" fmla="*/ 665775 h 907623"/>
                <a:gd name="connsiteX10" fmla="*/ 1417161 w 1416778"/>
                <a:gd name="connsiteY10" fmla="*/ 670203 h 907623"/>
                <a:gd name="connsiteX11" fmla="*/ 1289873 w 1416778"/>
                <a:gd name="connsiteY11" fmla="*/ 683485 h 907623"/>
                <a:gd name="connsiteX12" fmla="*/ 1117756 w 1416778"/>
                <a:gd name="connsiteY12" fmla="*/ 715584 h 907623"/>
                <a:gd name="connsiteX13" fmla="*/ 1040830 w 1416778"/>
                <a:gd name="connsiteY13" fmla="*/ 758198 h 907623"/>
                <a:gd name="connsiteX14" fmla="*/ 1032528 w 1416778"/>
                <a:gd name="connsiteY14" fmla="*/ 835678 h 907623"/>
                <a:gd name="connsiteX15" fmla="*/ 1091192 w 1416778"/>
                <a:gd name="connsiteY15" fmla="*/ 899322 h 907623"/>
                <a:gd name="connsiteX16" fmla="*/ 1096172 w 1416778"/>
                <a:gd name="connsiteY16" fmla="*/ 908730 h 907623"/>
                <a:gd name="connsiteX17" fmla="*/ 1006517 w 1416778"/>
                <a:gd name="connsiteY17" fmla="*/ 857262 h 907623"/>
                <a:gd name="connsiteX18" fmla="*/ 769649 w 1416778"/>
                <a:gd name="connsiteY18" fmla="*/ 732740 h 907623"/>
                <a:gd name="connsiteX19" fmla="*/ 227842 w 1416778"/>
                <a:gd name="connsiteY19" fmla="*/ 411751 h 907623"/>
                <a:gd name="connsiteX20" fmla="*/ 35802 w 1416778"/>
                <a:gd name="connsiteY20" fmla="*/ 190380 h 907623"/>
                <a:gd name="connsiteX21" fmla="*/ 4810 w 1416778"/>
                <a:gd name="connsiteY21" fmla="*/ 0 h 90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6778" h="907623">
                  <a:moveTo>
                    <a:pt x="4810" y="0"/>
                  </a:moveTo>
                  <a:cubicBezTo>
                    <a:pt x="16432" y="23244"/>
                    <a:pt x="25841" y="45935"/>
                    <a:pt x="38570" y="66411"/>
                  </a:cubicBezTo>
                  <a:cubicBezTo>
                    <a:pt x="67901" y="112899"/>
                    <a:pt x="94466" y="162155"/>
                    <a:pt x="130439" y="203108"/>
                  </a:cubicBezTo>
                  <a:cubicBezTo>
                    <a:pt x="189102" y="270073"/>
                    <a:pt x="253300" y="332057"/>
                    <a:pt x="316391" y="395702"/>
                  </a:cubicBezTo>
                  <a:cubicBezTo>
                    <a:pt x="414348" y="494212"/>
                    <a:pt x="534995" y="558963"/>
                    <a:pt x="655643" y="623714"/>
                  </a:cubicBezTo>
                  <a:cubicBezTo>
                    <a:pt x="687742" y="640871"/>
                    <a:pt x="720394" y="657474"/>
                    <a:pt x="752493" y="675183"/>
                  </a:cubicBezTo>
                  <a:cubicBezTo>
                    <a:pt x="790680" y="696214"/>
                    <a:pt x="831080" y="704515"/>
                    <a:pt x="874801" y="700088"/>
                  </a:cubicBezTo>
                  <a:cubicBezTo>
                    <a:pt x="948407" y="692340"/>
                    <a:pt x="1022566" y="686805"/>
                    <a:pt x="1096726" y="680164"/>
                  </a:cubicBezTo>
                  <a:cubicBezTo>
                    <a:pt x="1198003" y="671309"/>
                    <a:pt x="1298727" y="660794"/>
                    <a:pt x="1400558" y="664668"/>
                  </a:cubicBezTo>
                  <a:cubicBezTo>
                    <a:pt x="1406093" y="664668"/>
                    <a:pt x="1411627" y="665222"/>
                    <a:pt x="1416608" y="665775"/>
                  </a:cubicBezTo>
                  <a:cubicBezTo>
                    <a:pt x="1416608" y="667435"/>
                    <a:pt x="1416608" y="669096"/>
                    <a:pt x="1417161" y="670203"/>
                  </a:cubicBezTo>
                  <a:cubicBezTo>
                    <a:pt x="1374547" y="674630"/>
                    <a:pt x="1332487" y="679611"/>
                    <a:pt x="1289873" y="683485"/>
                  </a:cubicBezTo>
                  <a:cubicBezTo>
                    <a:pt x="1231209" y="689019"/>
                    <a:pt x="1172546" y="693447"/>
                    <a:pt x="1117756" y="715584"/>
                  </a:cubicBezTo>
                  <a:cubicBezTo>
                    <a:pt x="1090638" y="726652"/>
                    <a:pt x="1064074" y="741041"/>
                    <a:pt x="1040830" y="758198"/>
                  </a:cubicBezTo>
                  <a:cubicBezTo>
                    <a:pt x="1016479" y="776461"/>
                    <a:pt x="1013711" y="811880"/>
                    <a:pt x="1032528" y="835678"/>
                  </a:cubicBezTo>
                  <a:cubicBezTo>
                    <a:pt x="1050238" y="858368"/>
                    <a:pt x="1071268" y="878292"/>
                    <a:pt x="1091192" y="899322"/>
                  </a:cubicBezTo>
                  <a:cubicBezTo>
                    <a:pt x="1093405" y="901536"/>
                    <a:pt x="1095619" y="903750"/>
                    <a:pt x="1096172" y="908730"/>
                  </a:cubicBezTo>
                  <a:cubicBezTo>
                    <a:pt x="1066287" y="891574"/>
                    <a:pt x="1036956" y="873311"/>
                    <a:pt x="1006517" y="857262"/>
                  </a:cubicBezTo>
                  <a:cubicBezTo>
                    <a:pt x="927930" y="815201"/>
                    <a:pt x="849343" y="772587"/>
                    <a:pt x="769649" y="732740"/>
                  </a:cubicBezTo>
                  <a:cubicBezTo>
                    <a:pt x="581483" y="638104"/>
                    <a:pt x="392764" y="545128"/>
                    <a:pt x="227842" y="411751"/>
                  </a:cubicBezTo>
                  <a:cubicBezTo>
                    <a:pt x="150916" y="349214"/>
                    <a:pt x="80630" y="280588"/>
                    <a:pt x="35802" y="190380"/>
                  </a:cubicBezTo>
                  <a:cubicBezTo>
                    <a:pt x="5364" y="130609"/>
                    <a:pt x="-7919" y="68625"/>
                    <a:pt x="4810" y="0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="" xmlns:a16="http://schemas.microsoft.com/office/drawing/2014/main" id="{76497464-B3E8-4C3B-BB51-53391021FCDC}"/>
                </a:ext>
              </a:extLst>
            </p:cNvPr>
            <p:cNvSpPr/>
            <p:nvPr userDrawn="1"/>
          </p:nvSpPr>
          <p:spPr>
            <a:xfrm>
              <a:off x="11776885" y="1615030"/>
              <a:ext cx="415115" cy="683210"/>
            </a:xfrm>
            <a:custGeom>
              <a:avLst/>
              <a:gdLst>
                <a:gd name="connsiteX0" fmla="*/ 0 w 531291"/>
                <a:gd name="connsiteY0" fmla="*/ 226944 h 874417"/>
                <a:gd name="connsiteX1" fmla="*/ 103491 w 531291"/>
                <a:gd name="connsiteY1" fmla="*/ 77518 h 874417"/>
                <a:gd name="connsiteX2" fmla="*/ 396809 w 531291"/>
                <a:gd name="connsiteY2" fmla="*/ 11107 h 874417"/>
                <a:gd name="connsiteX3" fmla="*/ 474289 w 531291"/>
                <a:gd name="connsiteY3" fmla="*/ 61469 h 874417"/>
                <a:gd name="connsiteX4" fmla="*/ 530738 w 531291"/>
                <a:gd name="connsiteY4" fmla="*/ 163300 h 874417"/>
                <a:gd name="connsiteX5" fmla="*/ 520777 w 531291"/>
                <a:gd name="connsiteY5" fmla="*/ 280073 h 874417"/>
                <a:gd name="connsiteX6" fmla="*/ 446064 w 531291"/>
                <a:gd name="connsiteY6" fmla="*/ 449423 h 874417"/>
                <a:gd name="connsiteX7" fmla="*/ 379099 w 531291"/>
                <a:gd name="connsiteY7" fmla="*/ 613238 h 874417"/>
                <a:gd name="connsiteX8" fmla="*/ 341466 w 531291"/>
                <a:gd name="connsiteY8" fmla="*/ 759343 h 874417"/>
                <a:gd name="connsiteX9" fmla="*/ 321542 w 531291"/>
                <a:gd name="connsiteY9" fmla="*/ 876670 h 874417"/>
                <a:gd name="connsiteX10" fmla="*/ 314348 w 531291"/>
                <a:gd name="connsiteY10" fmla="*/ 819113 h 874417"/>
                <a:gd name="connsiteX11" fmla="*/ 363049 w 531291"/>
                <a:gd name="connsiteY11" fmla="*/ 575605 h 874417"/>
                <a:gd name="connsiteX12" fmla="*/ 461007 w 531291"/>
                <a:gd name="connsiteY12" fmla="*/ 350912 h 874417"/>
                <a:gd name="connsiteX13" fmla="*/ 492552 w 531291"/>
                <a:gd name="connsiteY13" fmla="*/ 194292 h 874417"/>
                <a:gd name="connsiteX14" fmla="*/ 344786 w 531291"/>
                <a:gd name="connsiteY14" fmla="*/ 44866 h 874417"/>
                <a:gd name="connsiteX15" fmla="*/ 104598 w 531291"/>
                <a:gd name="connsiteY15" fmla="*/ 115152 h 874417"/>
                <a:gd name="connsiteX16" fmla="*/ 0 w 531291"/>
                <a:gd name="connsiteY16" fmla="*/ 226944 h 874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31291" h="874417">
                  <a:moveTo>
                    <a:pt x="0" y="226944"/>
                  </a:moveTo>
                  <a:cubicBezTo>
                    <a:pt x="17156" y="164960"/>
                    <a:pt x="54789" y="117365"/>
                    <a:pt x="103491" y="77518"/>
                  </a:cubicBezTo>
                  <a:cubicBezTo>
                    <a:pt x="189826" y="6679"/>
                    <a:pt x="289444" y="-16011"/>
                    <a:pt x="396809" y="11107"/>
                  </a:cubicBezTo>
                  <a:cubicBezTo>
                    <a:pt x="425034" y="18302"/>
                    <a:pt x="451045" y="41546"/>
                    <a:pt x="474289" y="61469"/>
                  </a:cubicBezTo>
                  <a:cubicBezTo>
                    <a:pt x="504727" y="88034"/>
                    <a:pt x="524097" y="123453"/>
                    <a:pt x="530738" y="163300"/>
                  </a:cubicBezTo>
                  <a:cubicBezTo>
                    <a:pt x="536826" y="202593"/>
                    <a:pt x="531845" y="241887"/>
                    <a:pt x="520777" y="280073"/>
                  </a:cubicBezTo>
                  <a:cubicBezTo>
                    <a:pt x="503620" y="339844"/>
                    <a:pt x="472628" y="394080"/>
                    <a:pt x="446064" y="449423"/>
                  </a:cubicBezTo>
                  <a:cubicBezTo>
                    <a:pt x="420606" y="502552"/>
                    <a:pt x="397915" y="557342"/>
                    <a:pt x="379099" y="613238"/>
                  </a:cubicBezTo>
                  <a:cubicBezTo>
                    <a:pt x="363049" y="660832"/>
                    <a:pt x="351981" y="710088"/>
                    <a:pt x="341466" y="759343"/>
                  </a:cubicBezTo>
                  <a:cubicBezTo>
                    <a:pt x="333718" y="797530"/>
                    <a:pt x="330397" y="836823"/>
                    <a:pt x="321542" y="876670"/>
                  </a:cubicBezTo>
                  <a:cubicBezTo>
                    <a:pt x="318775" y="857300"/>
                    <a:pt x="314901" y="838483"/>
                    <a:pt x="314348" y="819113"/>
                  </a:cubicBezTo>
                  <a:cubicBezTo>
                    <a:pt x="309920" y="733885"/>
                    <a:pt x="330951" y="653638"/>
                    <a:pt x="363049" y="575605"/>
                  </a:cubicBezTo>
                  <a:cubicBezTo>
                    <a:pt x="394595" y="500338"/>
                    <a:pt x="430014" y="426732"/>
                    <a:pt x="461007" y="350912"/>
                  </a:cubicBezTo>
                  <a:cubicBezTo>
                    <a:pt x="481483" y="301104"/>
                    <a:pt x="500853" y="249635"/>
                    <a:pt x="492552" y="194292"/>
                  </a:cubicBezTo>
                  <a:cubicBezTo>
                    <a:pt x="480377" y="110724"/>
                    <a:pt x="428908" y="53721"/>
                    <a:pt x="344786" y="44866"/>
                  </a:cubicBezTo>
                  <a:cubicBezTo>
                    <a:pt x="255684" y="35458"/>
                    <a:pt x="177097" y="64790"/>
                    <a:pt x="104598" y="115152"/>
                  </a:cubicBezTo>
                  <a:cubicBezTo>
                    <a:pt x="61431" y="144483"/>
                    <a:pt x="26011" y="181563"/>
                    <a:pt x="0" y="226944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="" xmlns:a16="http://schemas.microsoft.com/office/drawing/2014/main" id="{E420EDE7-2BF9-4E05-81B2-88D3886D1F65}"/>
                </a:ext>
              </a:extLst>
            </p:cNvPr>
            <p:cNvGrpSpPr/>
            <p:nvPr userDrawn="1"/>
          </p:nvGrpSpPr>
          <p:grpSpPr>
            <a:xfrm>
              <a:off x="11017480" y="309106"/>
              <a:ext cx="667060" cy="841378"/>
              <a:chOff x="10512715" y="-139148"/>
              <a:chExt cx="1292932" cy="1630806"/>
            </a:xfrm>
            <a:grpFill/>
          </p:grpSpPr>
          <p:sp>
            <p:nvSpPr>
              <p:cNvPr id="53" name="Freeform: Shape 52">
                <a:extLst>
                  <a:ext uri="{FF2B5EF4-FFF2-40B4-BE49-F238E27FC236}">
                    <a16:creationId xmlns="" xmlns:a16="http://schemas.microsoft.com/office/drawing/2014/main" id="{A22C5BA3-128D-4B16-AF22-A729590AD7A2}"/>
                  </a:ext>
                </a:extLst>
              </p:cNvPr>
              <p:cNvSpPr/>
              <p:nvPr/>
            </p:nvSpPr>
            <p:spPr>
              <a:xfrm>
                <a:off x="10512715" y="-139148"/>
                <a:ext cx="1292932" cy="1630806"/>
              </a:xfrm>
              <a:custGeom>
                <a:avLst/>
                <a:gdLst>
                  <a:gd name="connsiteX0" fmla="*/ 687060 w 1588341"/>
                  <a:gd name="connsiteY0" fmla="*/ 478632 h 2003413"/>
                  <a:gd name="connsiteX1" fmla="*/ 675992 w 1588341"/>
                  <a:gd name="connsiteY1" fmla="*/ 459815 h 2003413"/>
                  <a:gd name="connsiteX2" fmla="*/ 513837 w 1588341"/>
                  <a:gd name="connsiteY2" fmla="*/ 217967 h 2003413"/>
                  <a:gd name="connsiteX3" fmla="*/ 350022 w 1588341"/>
                  <a:gd name="connsiteY3" fmla="*/ 107281 h 2003413"/>
                  <a:gd name="connsiteX4" fmla="*/ 181226 w 1588341"/>
                  <a:gd name="connsiteY4" fmla="*/ 156536 h 2003413"/>
                  <a:gd name="connsiteX5" fmla="*/ 138612 w 1588341"/>
                  <a:gd name="connsiteY5" fmla="*/ 298214 h 2003413"/>
                  <a:gd name="connsiteX6" fmla="*/ 146914 w 1588341"/>
                  <a:gd name="connsiteY6" fmla="*/ 473651 h 2003413"/>
                  <a:gd name="connsiteX7" fmla="*/ 169051 w 1588341"/>
                  <a:gd name="connsiteY7" fmla="*/ 600386 h 2003413"/>
                  <a:gd name="connsiteX8" fmla="*/ 221627 w 1588341"/>
                  <a:gd name="connsiteY8" fmla="*/ 781911 h 2003413"/>
                  <a:gd name="connsiteX9" fmla="*/ 285824 w 1588341"/>
                  <a:gd name="connsiteY9" fmla="*/ 945172 h 2003413"/>
                  <a:gd name="connsiteX10" fmla="*/ 384888 w 1588341"/>
                  <a:gd name="connsiteY10" fmla="*/ 1122270 h 2003413"/>
                  <a:gd name="connsiteX11" fmla="*/ 564753 w 1588341"/>
                  <a:gd name="connsiteY11" fmla="*/ 1288298 h 2003413"/>
                  <a:gd name="connsiteX12" fmla="*/ 741296 w 1588341"/>
                  <a:gd name="connsiteY12" fmla="*/ 1304348 h 2003413"/>
                  <a:gd name="connsiteX13" fmla="*/ 927249 w 1588341"/>
                  <a:gd name="connsiteY13" fmla="*/ 1231295 h 2003413"/>
                  <a:gd name="connsiteX14" fmla="*/ 1272035 w 1588341"/>
                  <a:gd name="connsiteY14" fmla="*/ 1158243 h 2003413"/>
                  <a:gd name="connsiteX15" fmla="*/ 1485105 w 1588341"/>
                  <a:gd name="connsiteY15" fmla="*/ 1217460 h 2003413"/>
                  <a:gd name="connsiteX16" fmla="*/ 1589703 w 1588341"/>
                  <a:gd name="connsiteY16" fmla="*/ 1410053 h 2003413"/>
                  <a:gd name="connsiteX17" fmla="*/ 1515544 w 1588341"/>
                  <a:gd name="connsiteY17" fmla="*/ 1687874 h 2003413"/>
                  <a:gd name="connsiteX18" fmla="*/ 1291958 w 1588341"/>
                  <a:gd name="connsiteY18" fmla="*/ 1953520 h 2003413"/>
                  <a:gd name="connsiteX19" fmla="*/ 1182379 w 1588341"/>
                  <a:gd name="connsiteY19" fmla="*/ 2007203 h 2003413"/>
                  <a:gd name="connsiteX20" fmla="*/ 1229421 w 1588341"/>
                  <a:gd name="connsiteY20" fmla="*/ 1940238 h 2003413"/>
                  <a:gd name="connsiteX21" fmla="*/ 1358923 w 1588341"/>
                  <a:gd name="connsiteY21" fmla="*/ 1770335 h 2003413"/>
                  <a:gd name="connsiteX22" fmla="*/ 1453006 w 1588341"/>
                  <a:gd name="connsiteY22" fmla="*/ 1470930 h 2003413"/>
                  <a:gd name="connsiteX23" fmla="*/ 1441938 w 1588341"/>
                  <a:gd name="connsiteY23" fmla="*/ 1385149 h 2003413"/>
                  <a:gd name="connsiteX24" fmla="*/ 1420907 w 1588341"/>
                  <a:gd name="connsiteY24" fmla="*/ 1348069 h 2003413"/>
                  <a:gd name="connsiteX25" fmla="*/ 1283104 w 1588341"/>
                  <a:gd name="connsiteY25" fmla="*/ 1266715 h 2003413"/>
                  <a:gd name="connsiteX26" fmla="*/ 1087190 w 1588341"/>
                  <a:gd name="connsiteY26" fmla="*/ 1278890 h 2003413"/>
                  <a:gd name="connsiteX27" fmla="*/ 860837 w 1588341"/>
                  <a:gd name="connsiteY27" fmla="*/ 1353050 h 2003413"/>
                  <a:gd name="connsiteX28" fmla="*/ 460155 w 1588341"/>
                  <a:gd name="connsiteY28" fmla="*/ 1282211 h 2003413"/>
                  <a:gd name="connsiteX29" fmla="*/ 279737 w 1588341"/>
                  <a:gd name="connsiteY29" fmla="*/ 1072461 h 2003413"/>
                  <a:gd name="connsiteX30" fmla="*/ 138059 w 1588341"/>
                  <a:gd name="connsiteY30" fmla="*/ 782464 h 2003413"/>
                  <a:gd name="connsiteX31" fmla="*/ 39548 w 1588341"/>
                  <a:gd name="connsiteY31" fmla="*/ 491361 h 2003413"/>
                  <a:gd name="connsiteX32" fmla="*/ 1362 w 1588341"/>
                  <a:gd name="connsiteY32" fmla="*/ 311496 h 2003413"/>
                  <a:gd name="connsiteX33" fmla="*/ 5236 w 1588341"/>
                  <a:gd name="connsiteY33" fmla="*/ 153769 h 2003413"/>
                  <a:gd name="connsiteX34" fmla="*/ 102639 w 1588341"/>
                  <a:gd name="connsiteY34" fmla="*/ 23713 h 2003413"/>
                  <a:gd name="connsiteX35" fmla="*/ 286378 w 1588341"/>
                  <a:gd name="connsiteY35" fmla="*/ 15965 h 2003413"/>
                  <a:gd name="connsiteX36" fmla="*/ 622309 w 1588341"/>
                  <a:gd name="connsiteY36" fmla="*/ 305409 h 2003413"/>
                  <a:gd name="connsiteX37" fmla="*/ 686507 w 1588341"/>
                  <a:gd name="connsiteY37" fmla="*/ 453174 h 2003413"/>
                  <a:gd name="connsiteX38" fmla="*/ 689274 w 1588341"/>
                  <a:gd name="connsiteY38" fmla="*/ 478078 h 2003413"/>
                  <a:gd name="connsiteX39" fmla="*/ 687060 w 1588341"/>
                  <a:gd name="connsiteY39" fmla="*/ 478632 h 2003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1588341" h="2003413">
                    <a:moveTo>
                      <a:pt x="687060" y="478632"/>
                    </a:moveTo>
                    <a:cubicBezTo>
                      <a:pt x="683186" y="472544"/>
                      <a:pt x="679312" y="466456"/>
                      <a:pt x="675992" y="459815"/>
                    </a:cubicBezTo>
                    <a:cubicBezTo>
                      <a:pt x="631718" y="372373"/>
                      <a:pt x="579142" y="290466"/>
                      <a:pt x="513837" y="217967"/>
                    </a:cubicBezTo>
                    <a:cubicBezTo>
                      <a:pt x="468456" y="167605"/>
                      <a:pt x="416434" y="126651"/>
                      <a:pt x="350022" y="107281"/>
                    </a:cubicBezTo>
                    <a:cubicBezTo>
                      <a:pt x="284164" y="88464"/>
                      <a:pt x="226054" y="105067"/>
                      <a:pt x="181226" y="156536"/>
                    </a:cubicBezTo>
                    <a:cubicBezTo>
                      <a:pt x="146360" y="196383"/>
                      <a:pt x="136952" y="246745"/>
                      <a:pt x="138612" y="298214"/>
                    </a:cubicBezTo>
                    <a:cubicBezTo>
                      <a:pt x="140273" y="356877"/>
                      <a:pt x="141379" y="414987"/>
                      <a:pt x="146914" y="473651"/>
                    </a:cubicBezTo>
                    <a:cubicBezTo>
                      <a:pt x="150788" y="516265"/>
                      <a:pt x="159089" y="558879"/>
                      <a:pt x="169051" y="600386"/>
                    </a:cubicBezTo>
                    <a:cubicBezTo>
                      <a:pt x="184547" y="661263"/>
                      <a:pt x="201703" y="722141"/>
                      <a:pt x="221627" y="781911"/>
                    </a:cubicBezTo>
                    <a:cubicBezTo>
                      <a:pt x="240443" y="837254"/>
                      <a:pt x="264794" y="890936"/>
                      <a:pt x="285824" y="945172"/>
                    </a:cubicBezTo>
                    <a:cubicBezTo>
                      <a:pt x="310729" y="1008817"/>
                      <a:pt x="345041" y="1066927"/>
                      <a:pt x="384888" y="1122270"/>
                    </a:cubicBezTo>
                    <a:cubicBezTo>
                      <a:pt x="434143" y="1189235"/>
                      <a:pt x="491700" y="1247898"/>
                      <a:pt x="564753" y="1288298"/>
                    </a:cubicBezTo>
                    <a:cubicBezTo>
                      <a:pt x="621202" y="1319844"/>
                      <a:pt x="680973" y="1325378"/>
                      <a:pt x="741296" y="1304348"/>
                    </a:cubicBezTo>
                    <a:cubicBezTo>
                      <a:pt x="804387" y="1282211"/>
                      <a:pt x="865818" y="1256753"/>
                      <a:pt x="927249" y="1231295"/>
                    </a:cubicBezTo>
                    <a:cubicBezTo>
                      <a:pt x="1037934" y="1185361"/>
                      <a:pt x="1151387" y="1155476"/>
                      <a:pt x="1272035" y="1158243"/>
                    </a:cubicBezTo>
                    <a:cubicBezTo>
                      <a:pt x="1347855" y="1160456"/>
                      <a:pt x="1420907" y="1174292"/>
                      <a:pt x="1485105" y="1217460"/>
                    </a:cubicBezTo>
                    <a:cubicBezTo>
                      <a:pt x="1553730" y="1263394"/>
                      <a:pt x="1585276" y="1329252"/>
                      <a:pt x="1589703" y="1410053"/>
                    </a:cubicBezTo>
                    <a:cubicBezTo>
                      <a:pt x="1595238" y="1510777"/>
                      <a:pt x="1565906" y="1602093"/>
                      <a:pt x="1515544" y="1687874"/>
                    </a:cubicBezTo>
                    <a:cubicBezTo>
                      <a:pt x="1455773" y="1789152"/>
                      <a:pt x="1384381" y="1880468"/>
                      <a:pt x="1291958" y="1953520"/>
                    </a:cubicBezTo>
                    <a:cubicBezTo>
                      <a:pt x="1260413" y="1978425"/>
                      <a:pt x="1225547" y="1999455"/>
                      <a:pt x="1182379" y="2007203"/>
                    </a:cubicBezTo>
                    <a:cubicBezTo>
                      <a:pt x="1197876" y="1985066"/>
                      <a:pt x="1213372" y="1962375"/>
                      <a:pt x="1229421" y="1940238"/>
                    </a:cubicBezTo>
                    <a:cubicBezTo>
                      <a:pt x="1272588" y="1883235"/>
                      <a:pt x="1318523" y="1828445"/>
                      <a:pt x="1358923" y="1770335"/>
                    </a:cubicBezTo>
                    <a:cubicBezTo>
                      <a:pt x="1421461" y="1680680"/>
                      <a:pt x="1459647" y="1582169"/>
                      <a:pt x="1453006" y="1470930"/>
                    </a:cubicBezTo>
                    <a:cubicBezTo>
                      <a:pt x="1451346" y="1442152"/>
                      <a:pt x="1448025" y="1412820"/>
                      <a:pt x="1441938" y="1385149"/>
                    </a:cubicBezTo>
                    <a:cubicBezTo>
                      <a:pt x="1439170" y="1371866"/>
                      <a:pt x="1429209" y="1359137"/>
                      <a:pt x="1420907" y="1348069"/>
                    </a:cubicBezTo>
                    <a:cubicBezTo>
                      <a:pt x="1386041" y="1302688"/>
                      <a:pt x="1337893" y="1279444"/>
                      <a:pt x="1283104" y="1266715"/>
                    </a:cubicBezTo>
                    <a:cubicBezTo>
                      <a:pt x="1216692" y="1251772"/>
                      <a:pt x="1150834" y="1260627"/>
                      <a:pt x="1087190" y="1278890"/>
                    </a:cubicBezTo>
                    <a:cubicBezTo>
                      <a:pt x="1010816" y="1301027"/>
                      <a:pt x="936657" y="1329252"/>
                      <a:pt x="860837" y="1353050"/>
                    </a:cubicBezTo>
                    <a:cubicBezTo>
                      <a:pt x="715285" y="1398984"/>
                      <a:pt x="581356" y="1375740"/>
                      <a:pt x="460155" y="1282211"/>
                    </a:cubicBezTo>
                    <a:cubicBezTo>
                      <a:pt x="385995" y="1224654"/>
                      <a:pt x="328992" y="1151602"/>
                      <a:pt x="279737" y="1072461"/>
                    </a:cubicBezTo>
                    <a:cubicBezTo>
                      <a:pt x="222180" y="980592"/>
                      <a:pt x="174585" y="883742"/>
                      <a:pt x="138059" y="782464"/>
                    </a:cubicBezTo>
                    <a:cubicBezTo>
                      <a:pt x="103193" y="686168"/>
                      <a:pt x="73308" y="588211"/>
                      <a:pt x="39548" y="491361"/>
                    </a:cubicBezTo>
                    <a:cubicBezTo>
                      <a:pt x="19625" y="432697"/>
                      <a:pt x="4682" y="372927"/>
                      <a:pt x="1362" y="311496"/>
                    </a:cubicBezTo>
                    <a:cubicBezTo>
                      <a:pt x="-1959" y="258921"/>
                      <a:pt x="1362" y="206345"/>
                      <a:pt x="5236" y="153769"/>
                    </a:cubicBezTo>
                    <a:cubicBezTo>
                      <a:pt x="10217" y="90678"/>
                      <a:pt x="49510" y="50278"/>
                      <a:pt x="102639" y="23713"/>
                    </a:cubicBezTo>
                    <a:cubicBezTo>
                      <a:pt x="161856" y="-6172"/>
                      <a:pt x="222733" y="-6725"/>
                      <a:pt x="286378" y="15965"/>
                    </a:cubicBezTo>
                    <a:cubicBezTo>
                      <a:pt x="435250" y="70201"/>
                      <a:pt x="538188" y="175906"/>
                      <a:pt x="622309" y="305409"/>
                    </a:cubicBezTo>
                    <a:cubicBezTo>
                      <a:pt x="651641" y="351343"/>
                      <a:pt x="674885" y="399492"/>
                      <a:pt x="686507" y="453174"/>
                    </a:cubicBezTo>
                    <a:cubicBezTo>
                      <a:pt x="688167" y="461476"/>
                      <a:pt x="688167" y="469777"/>
                      <a:pt x="689274" y="478078"/>
                    </a:cubicBezTo>
                    <a:cubicBezTo>
                      <a:pt x="689274" y="478078"/>
                      <a:pt x="688167" y="478632"/>
                      <a:pt x="687060" y="478632"/>
                    </a:cubicBezTo>
                    <a:close/>
                  </a:path>
                </a:pathLst>
              </a:custGeom>
              <a:grpFill/>
              <a:ln w="55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698"/>
                <a:endParaRPr lang="en-US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="" xmlns:a16="http://schemas.microsoft.com/office/drawing/2014/main" id="{EC7E54EB-BE1F-4506-A298-64C9A4F9FE05}"/>
                  </a:ext>
                </a:extLst>
              </p:cNvPr>
              <p:cNvSpPr/>
              <p:nvPr/>
            </p:nvSpPr>
            <p:spPr>
              <a:xfrm>
                <a:off x="10895396" y="64446"/>
                <a:ext cx="563124" cy="558619"/>
              </a:xfrm>
              <a:custGeom>
                <a:avLst/>
                <a:gdLst>
                  <a:gd name="connsiteX0" fmla="*/ 0 w 691786"/>
                  <a:gd name="connsiteY0" fmla="*/ 688974 h 686251"/>
                  <a:gd name="connsiteX1" fmla="*/ 97404 w 691786"/>
                  <a:gd name="connsiteY1" fmla="*/ 594337 h 686251"/>
                  <a:gd name="connsiteX2" fmla="*/ 407877 w 691786"/>
                  <a:gd name="connsiteY2" fmla="*/ 465942 h 686251"/>
                  <a:gd name="connsiteX3" fmla="*/ 565051 w 691786"/>
                  <a:gd name="connsiteY3" fmla="*/ 401744 h 686251"/>
                  <a:gd name="connsiteX4" fmla="*/ 607112 w 691786"/>
                  <a:gd name="connsiteY4" fmla="*/ 139419 h 686251"/>
                  <a:gd name="connsiteX5" fmla="*/ 343126 w 691786"/>
                  <a:gd name="connsiteY5" fmla="*/ 24859 h 686251"/>
                  <a:gd name="connsiteX6" fmla="*/ 242955 w 691786"/>
                  <a:gd name="connsiteY6" fmla="*/ 30947 h 686251"/>
                  <a:gd name="connsiteX7" fmla="*/ 346447 w 691786"/>
                  <a:gd name="connsiteY7" fmla="*/ 1062 h 686251"/>
                  <a:gd name="connsiteX8" fmla="*/ 587742 w 691786"/>
                  <a:gd name="connsiteY8" fmla="*/ 61939 h 686251"/>
                  <a:gd name="connsiteX9" fmla="*/ 679611 w 691786"/>
                  <a:gd name="connsiteY9" fmla="*/ 158235 h 686251"/>
                  <a:gd name="connsiteX10" fmla="*/ 695107 w 691786"/>
                  <a:gd name="connsiteY10" fmla="*/ 260066 h 686251"/>
                  <a:gd name="connsiteX11" fmla="*/ 570032 w 691786"/>
                  <a:gd name="connsiteY11" fmla="*/ 438270 h 686251"/>
                  <a:gd name="connsiteX12" fmla="*/ 409537 w 691786"/>
                  <a:gd name="connsiteY12" fmla="*/ 494167 h 686251"/>
                  <a:gd name="connsiteX13" fmla="*/ 198681 w 691786"/>
                  <a:gd name="connsiteY13" fmla="*/ 569987 h 686251"/>
                  <a:gd name="connsiteX14" fmla="*/ 0 w 691786"/>
                  <a:gd name="connsiteY14" fmla="*/ 688974 h 686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691786" h="686251">
                    <a:moveTo>
                      <a:pt x="0" y="688974"/>
                    </a:moveTo>
                    <a:cubicBezTo>
                      <a:pt x="26011" y="650234"/>
                      <a:pt x="59770" y="619795"/>
                      <a:pt x="97404" y="594337"/>
                    </a:cubicBezTo>
                    <a:cubicBezTo>
                      <a:pt x="192040" y="530693"/>
                      <a:pt x="299405" y="496934"/>
                      <a:pt x="407877" y="465942"/>
                    </a:cubicBezTo>
                    <a:cubicBezTo>
                      <a:pt x="462667" y="449892"/>
                      <a:pt x="515242" y="428862"/>
                      <a:pt x="565051" y="401744"/>
                    </a:cubicBezTo>
                    <a:cubicBezTo>
                      <a:pt x="673523" y="342527"/>
                      <a:pt x="679611" y="218559"/>
                      <a:pt x="607112" y="139419"/>
                    </a:cubicBezTo>
                    <a:cubicBezTo>
                      <a:pt x="536273" y="62492"/>
                      <a:pt x="444404" y="30393"/>
                      <a:pt x="343126" y="24859"/>
                    </a:cubicBezTo>
                    <a:cubicBezTo>
                      <a:pt x="309367" y="22645"/>
                      <a:pt x="275608" y="28733"/>
                      <a:pt x="242955" y="30947"/>
                    </a:cubicBezTo>
                    <a:cubicBezTo>
                      <a:pt x="274501" y="14344"/>
                      <a:pt x="309367" y="3275"/>
                      <a:pt x="346447" y="1062"/>
                    </a:cubicBezTo>
                    <a:cubicBezTo>
                      <a:pt x="433335" y="-4473"/>
                      <a:pt x="515242" y="11023"/>
                      <a:pt x="587742" y="61939"/>
                    </a:cubicBezTo>
                    <a:cubicBezTo>
                      <a:pt x="624821" y="87950"/>
                      <a:pt x="656920" y="118388"/>
                      <a:pt x="679611" y="158235"/>
                    </a:cubicBezTo>
                    <a:cubicBezTo>
                      <a:pt x="697321" y="189781"/>
                      <a:pt x="696214" y="225200"/>
                      <a:pt x="695107" y="260066"/>
                    </a:cubicBezTo>
                    <a:cubicBezTo>
                      <a:pt x="692340" y="346401"/>
                      <a:pt x="642531" y="400084"/>
                      <a:pt x="570032" y="438270"/>
                    </a:cubicBezTo>
                    <a:cubicBezTo>
                      <a:pt x="519116" y="464835"/>
                      <a:pt x="464880" y="480331"/>
                      <a:pt x="409537" y="494167"/>
                    </a:cubicBezTo>
                    <a:cubicBezTo>
                      <a:pt x="337038" y="512430"/>
                      <a:pt x="266753" y="537888"/>
                      <a:pt x="198681" y="569987"/>
                    </a:cubicBezTo>
                    <a:cubicBezTo>
                      <a:pt x="128396" y="602086"/>
                      <a:pt x="63091" y="643593"/>
                      <a:pt x="0" y="688974"/>
                    </a:cubicBezTo>
                    <a:close/>
                  </a:path>
                </a:pathLst>
              </a:custGeom>
              <a:grpFill/>
              <a:ln w="55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698"/>
                <a:endParaRPr lang="en-US" sz="14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0" name="Freeform: Shape 59">
              <a:extLst>
                <a:ext uri="{FF2B5EF4-FFF2-40B4-BE49-F238E27FC236}">
                  <a16:creationId xmlns="" xmlns:a16="http://schemas.microsoft.com/office/drawing/2014/main" id="{47E083E7-BB4C-4C68-8894-E1185CCE478B}"/>
                </a:ext>
              </a:extLst>
            </p:cNvPr>
            <p:cNvSpPr/>
            <p:nvPr/>
          </p:nvSpPr>
          <p:spPr>
            <a:xfrm>
              <a:off x="10524814" y="1876042"/>
              <a:ext cx="185936" cy="138371"/>
            </a:xfrm>
            <a:custGeom>
              <a:avLst/>
              <a:gdLst>
                <a:gd name="connsiteX0" fmla="*/ 242154 w 237974"/>
                <a:gd name="connsiteY0" fmla="*/ 132519 h 177097"/>
                <a:gd name="connsiteX1" fmla="*/ 139770 w 237974"/>
                <a:gd name="connsiteY1" fmla="*/ 121451 h 177097"/>
                <a:gd name="connsiteX2" fmla="*/ 139217 w 237974"/>
                <a:gd name="connsiteY2" fmla="*/ 126432 h 177097"/>
                <a:gd name="connsiteX3" fmla="*/ 220571 w 237974"/>
                <a:gd name="connsiteY3" fmla="*/ 135287 h 177097"/>
                <a:gd name="connsiteX4" fmla="*/ 221678 w 237974"/>
                <a:gd name="connsiteY4" fmla="*/ 139161 h 177097"/>
                <a:gd name="connsiteX5" fmla="*/ 172976 w 237974"/>
                <a:gd name="connsiteY5" fmla="*/ 152443 h 177097"/>
                <a:gd name="connsiteX6" fmla="*/ 82767 w 237974"/>
                <a:gd name="connsiteY6" fmla="*/ 177901 h 177097"/>
                <a:gd name="connsiteX7" fmla="*/ 10268 w 237974"/>
                <a:gd name="connsiteY7" fmla="*/ 149676 h 177097"/>
                <a:gd name="connsiteX8" fmla="*/ 16355 w 237974"/>
                <a:gd name="connsiteY8" fmla="*/ 72749 h 177097"/>
                <a:gd name="connsiteX9" fmla="*/ 85534 w 237974"/>
                <a:gd name="connsiteY9" fmla="*/ 65001 h 177097"/>
                <a:gd name="connsiteX10" fmla="*/ 98263 w 237974"/>
                <a:gd name="connsiteY10" fmla="*/ 74409 h 177097"/>
                <a:gd name="connsiteX11" fmla="*/ 93282 w 237974"/>
                <a:gd name="connsiteY11" fmla="*/ 65555 h 177097"/>
                <a:gd name="connsiteX12" fmla="*/ 92729 w 237974"/>
                <a:gd name="connsiteY12" fmla="*/ 10765 h 177097"/>
                <a:gd name="connsiteX13" fmla="*/ 154713 w 237974"/>
                <a:gd name="connsiteY13" fmla="*/ 8551 h 177097"/>
                <a:gd name="connsiteX14" fmla="*/ 202861 w 237974"/>
                <a:gd name="connsiteY14" fmla="*/ 59467 h 177097"/>
                <a:gd name="connsiteX15" fmla="*/ 242154 w 237974"/>
                <a:gd name="connsiteY15" fmla="*/ 132519 h 177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7974" h="177097">
                  <a:moveTo>
                    <a:pt x="242154" y="132519"/>
                  </a:moveTo>
                  <a:cubicBezTo>
                    <a:pt x="203968" y="128645"/>
                    <a:pt x="171869" y="124771"/>
                    <a:pt x="139770" y="121451"/>
                  </a:cubicBezTo>
                  <a:cubicBezTo>
                    <a:pt x="139770" y="123111"/>
                    <a:pt x="139217" y="124771"/>
                    <a:pt x="139217" y="126432"/>
                  </a:cubicBezTo>
                  <a:cubicBezTo>
                    <a:pt x="166335" y="129199"/>
                    <a:pt x="193453" y="131966"/>
                    <a:pt x="220571" y="135287"/>
                  </a:cubicBezTo>
                  <a:cubicBezTo>
                    <a:pt x="221124" y="136394"/>
                    <a:pt x="221124" y="138054"/>
                    <a:pt x="221678" y="139161"/>
                  </a:cubicBezTo>
                  <a:cubicBezTo>
                    <a:pt x="205628" y="143588"/>
                    <a:pt x="189025" y="148015"/>
                    <a:pt x="172976" y="152443"/>
                  </a:cubicBezTo>
                  <a:cubicBezTo>
                    <a:pt x="143091" y="160744"/>
                    <a:pt x="113206" y="171259"/>
                    <a:pt x="82767" y="177901"/>
                  </a:cubicBezTo>
                  <a:cubicBezTo>
                    <a:pt x="53435" y="184542"/>
                    <a:pt x="29638" y="171259"/>
                    <a:pt x="10268" y="149676"/>
                  </a:cubicBezTo>
                  <a:cubicBezTo>
                    <a:pt x="-5782" y="130859"/>
                    <a:pt x="-2461" y="93779"/>
                    <a:pt x="16355" y="72749"/>
                  </a:cubicBezTo>
                  <a:cubicBezTo>
                    <a:pt x="33512" y="53379"/>
                    <a:pt x="63950" y="50059"/>
                    <a:pt x="85534" y="65001"/>
                  </a:cubicBezTo>
                  <a:cubicBezTo>
                    <a:pt x="88855" y="67215"/>
                    <a:pt x="91622" y="69428"/>
                    <a:pt x="98263" y="74409"/>
                  </a:cubicBezTo>
                  <a:cubicBezTo>
                    <a:pt x="94942" y="68875"/>
                    <a:pt x="93836" y="67215"/>
                    <a:pt x="93282" y="65555"/>
                  </a:cubicBezTo>
                  <a:cubicBezTo>
                    <a:pt x="80553" y="41757"/>
                    <a:pt x="80553" y="21834"/>
                    <a:pt x="92729" y="10765"/>
                  </a:cubicBezTo>
                  <a:cubicBezTo>
                    <a:pt x="105458" y="-1410"/>
                    <a:pt x="137556" y="-4731"/>
                    <a:pt x="154713" y="8551"/>
                  </a:cubicBezTo>
                  <a:cubicBezTo>
                    <a:pt x="172976" y="22941"/>
                    <a:pt x="189579" y="40650"/>
                    <a:pt x="202861" y="59467"/>
                  </a:cubicBezTo>
                  <a:cubicBezTo>
                    <a:pt x="217804" y="80497"/>
                    <a:pt x="227765" y="104848"/>
                    <a:pt x="242154" y="132519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="" xmlns:a16="http://schemas.microsoft.com/office/drawing/2014/main" id="{9A303229-68D9-4F64-96A1-276F451D9CE9}"/>
                </a:ext>
              </a:extLst>
            </p:cNvPr>
            <p:cNvSpPr/>
            <p:nvPr/>
          </p:nvSpPr>
          <p:spPr>
            <a:xfrm>
              <a:off x="10925676" y="2126505"/>
              <a:ext cx="207558" cy="112427"/>
            </a:xfrm>
            <a:custGeom>
              <a:avLst/>
              <a:gdLst>
                <a:gd name="connsiteX0" fmla="*/ 267589 w 265645"/>
                <a:gd name="connsiteY0" fmla="*/ 92549 h 143891"/>
                <a:gd name="connsiteX1" fmla="*/ 259288 w 265645"/>
                <a:gd name="connsiteY1" fmla="*/ 101404 h 143891"/>
                <a:gd name="connsiteX2" fmla="*/ 109309 w 265645"/>
                <a:gd name="connsiteY2" fmla="*/ 144571 h 143891"/>
                <a:gd name="connsiteX3" fmla="*/ 11905 w 265645"/>
                <a:gd name="connsiteY3" fmla="*/ 109152 h 143891"/>
                <a:gd name="connsiteX4" fmla="*/ 50092 w 265645"/>
                <a:gd name="connsiteY4" fmla="*/ 2340 h 143891"/>
                <a:gd name="connsiteX5" fmla="*/ 121484 w 265645"/>
                <a:gd name="connsiteY5" fmla="*/ 28905 h 143891"/>
                <a:gd name="connsiteX6" fmla="*/ 144728 w 265645"/>
                <a:gd name="connsiteY6" fmla="*/ 56023 h 143891"/>
                <a:gd name="connsiteX7" fmla="*/ 181254 w 265645"/>
                <a:gd name="connsiteY7" fmla="*/ 87015 h 143891"/>
                <a:gd name="connsiteX8" fmla="*/ 267589 w 265645"/>
                <a:gd name="connsiteY8" fmla="*/ 92549 h 143891"/>
                <a:gd name="connsiteX9" fmla="*/ 267589 w 265645"/>
                <a:gd name="connsiteY9" fmla="*/ 92549 h 143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5645" h="143891">
                  <a:moveTo>
                    <a:pt x="267589" y="92549"/>
                  </a:moveTo>
                  <a:cubicBezTo>
                    <a:pt x="264822" y="95316"/>
                    <a:pt x="262609" y="100297"/>
                    <a:pt x="259288" y="101404"/>
                  </a:cubicBezTo>
                  <a:cubicBezTo>
                    <a:pt x="209479" y="116347"/>
                    <a:pt x="160224" y="132950"/>
                    <a:pt x="109309" y="144571"/>
                  </a:cubicBezTo>
                  <a:cubicBezTo>
                    <a:pt x="71122" y="153426"/>
                    <a:pt x="36809" y="139591"/>
                    <a:pt x="11905" y="109152"/>
                  </a:cubicBezTo>
                  <a:cubicBezTo>
                    <a:pt x="-15766" y="75393"/>
                    <a:pt x="8031" y="13409"/>
                    <a:pt x="50092" y="2340"/>
                  </a:cubicBezTo>
                  <a:cubicBezTo>
                    <a:pt x="81637" y="-5961"/>
                    <a:pt x="102114" y="8981"/>
                    <a:pt x="121484" y="28905"/>
                  </a:cubicBezTo>
                  <a:cubicBezTo>
                    <a:pt x="129232" y="37760"/>
                    <a:pt x="136980" y="47168"/>
                    <a:pt x="144728" y="56023"/>
                  </a:cubicBezTo>
                  <a:cubicBezTo>
                    <a:pt x="149709" y="74286"/>
                    <a:pt x="161331" y="85355"/>
                    <a:pt x="181254" y="87015"/>
                  </a:cubicBezTo>
                  <a:cubicBezTo>
                    <a:pt x="211140" y="88675"/>
                    <a:pt x="239365" y="90889"/>
                    <a:pt x="267589" y="92549"/>
                  </a:cubicBezTo>
                  <a:lnTo>
                    <a:pt x="267589" y="92549"/>
                  </a:ln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="" xmlns:a16="http://schemas.microsoft.com/office/drawing/2014/main" id="{3E6C28CD-A16D-42C2-AA83-4E1BC90825E1}"/>
                </a:ext>
              </a:extLst>
            </p:cNvPr>
            <p:cNvSpPr/>
            <p:nvPr/>
          </p:nvSpPr>
          <p:spPr>
            <a:xfrm>
              <a:off x="11004127" y="2075118"/>
              <a:ext cx="142696" cy="121076"/>
            </a:xfrm>
            <a:custGeom>
              <a:avLst/>
              <a:gdLst>
                <a:gd name="connsiteX0" fmla="*/ 45430 w 182631"/>
                <a:gd name="connsiteY0" fmla="*/ 121790 h 154960"/>
                <a:gd name="connsiteX1" fmla="*/ 22186 w 182631"/>
                <a:gd name="connsiteY1" fmla="*/ 94672 h 154960"/>
                <a:gd name="connsiteX2" fmla="*/ 2816 w 182631"/>
                <a:gd name="connsiteY2" fmla="*/ 56486 h 154960"/>
                <a:gd name="connsiteX3" fmla="*/ 36022 w 182631"/>
                <a:gd name="connsiteY3" fmla="*/ 1143 h 154960"/>
                <a:gd name="connsiteX4" fmla="*/ 127338 w 182631"/>
                <a:gd name="connsiteY4" fmla="*/ 46524 h 154960"/>
                <a:gd name="connsiteX5" fmla="*/ 182681 w 182631"/>
                <a:gd name="connsiteY5" fmla="*/ 142821 h 154960"/>
                <a:gd name="connsiteX6" fmla="*/ 187108 w 182631"/>
                <a:gd name="connsiteY6" fmla="*/ 158870 h 154960"/>
                <a:gd name="connsiteX7" fmla="*/ 168292 w 182631"/>
                <a:gd name="connsiteY7" fmla="*/ 158870 h 154960"/>
                <a:gd name="connsiteX8" fmla="*/ 168845 w 182631"/>
                <a:gd name="connsiteY8" fmla="*/ 159424 h 154960"/>
                <a:gd name="connsiteX9" fmla="*/ 99113 w 182631"/>
                <a:gd name="connsiteY9" fmla="*/ 149462 h 154960"/>
                <a:gd name="connsiteX10" fmla="*/ 45430 w 182631"/>
                <a:gd name="connsiteY10" fmla="*/ 121790 h 154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2631" h="154960">
                  <a:moveTo>
                    <a:pt x="45430" y="121790"/>
                  </a:moveTo>
                  <a:cubicBezTo>
                    <a:pt x="37682" y="112936"/>
                    <a:pt x="29935" y="103527"/>
                    <a:pt x="22186" y="94672"/>
                  </a:cubicBezTo>
                  <a:cubicBezTo>
                    <a:pt x="15545" y="81944"/>
                    <a:pt x="7244" y="69768"/>
                    <a:pt x="2816" y="56486"/>
                  </a:cubicBezTo>
                  <a:cubicBezTo>
                    <a:pt x="-6592" y="30474"/>
                    <a:pt x="8351" y="5570"/>
                    <a:pt x="36022" y="1143"/>
                  </a:cubicBezTo>
                  <a:cubicBezTo>
                    <a:pt x="76976" y="-5498"/>
                    <a:pt x="105754" y="17746"/>
                    <a:pt x="127338" y="46524"/>
                  </a:cubicBezTo>
                  <a:cubicBezTo>
                    <a:pt x="148922" y="76409"/>
                    <a:pt x="164418" y="110168"/>
                    <a:pt x="182681" y="142821"/>
                  </a:cubicBezTo>
                  <a:cubicBezTo>
                    <a:pt x="184895" y="147248"/>
                    <a:pt x="185448" y="152229"/>
                    <a:pt x="187108" y="158870"/>
                  </a:cubicBezTo>
                  <a:cubicBezTo>
                    <a:pt x="179360" y="158870"/>
                    <a:pt x="173826" y="158870"/>
                    <a:pt x="168292" y="158870"/>
                  </a:cubicBezTo>
                  <a:cubicBezTo>
                    <a:pt x="168292" y="158870"/>
                    <a:pt x="168845" y="159424"/>
                    <a:pt x="168845" y="159424"/>
                  </a:cubicBezTo>
                  <a:cubicBezTo>
                    <a:pt x="145601" y="156103"/>
                    <a:pt x="122357" y="151676"/>
                    <a:pt x="99113" y="149462"/>
                  </a:cubicBezTo>
                  <a:cubicBezTo>
                    <a:pt x="76976" y="146141"/>
                    <a:pt x="57606" y="141160"/>
                    <a:pt x="45430" y="121790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="" xmlns:a16="http://schemas.microsoft.com/office/drawing/2014/main" id="{655A8FA9-0385-444C-8B81-2428754B2685}"/>
                </a:ext>
              </a:extLst>
            </p:cNvPr>
            <p:cNvSpPr/>
            <p:nvPr/>
          </p:nvSpPr>
          <p:spPr>
            <a:xfrm>
              <a:off x="10841578" y="953039"/>
              <a:ext cx="665914" cy="77834"/>
            </a:xfrm>
            <a:custGeom>
              <a:avLst/>
              <a:gdLst>
                <a:gd name="connsiteX0" fmla="*/ 0 w 852280"/>
                <a:gd name="connsiteY0" fmla="*/ 99617 h 99617"/>
                <a:gd name="connsiteX1" fmla="*/ 114560 w 852280"/>
                <a:gd name="connsiteY1" fmla="*/ 66965 h 99617"/>
                <a:gd name="connsiteX2" fmla="*/ 489785 w 852280"/>
                <a:gd name="connsiteY2" fmla="*/ 14389 h 99617"/>
                <a:gd name="connsiteX3" fmla="*/ 857262 w 852280"/>
                <a:gd name="connsiteY3" fmla="*/ 0 h 99617"/>
                <a:gd name="connsiteX4" fmla="*/ 847853 w 852280"/>
                <a:gd name="connsiteY4" fmla="*/ 3321 h 99617"/>
                <a:gd name="connsiteX5" fmla="*/ 694553 w 852280"/>
                <a:gd name="connsiteY5" fmla="*/ 22691 h 99617"/>
                <a:gd name="connsiteX6" fmla="*/ 250703 w 852280"/>
                <a:gd name="connsiteY6" fmla="*/ 57003 h 99617"/>
                <a:gd name="connsiteX7" fmla="*/ 23244 w 852280"/>
                <a:gd name="connsiteY7" fmla="*/ 99064 h 99617"/>
                <a:gd name="connsiteX8" fmla="*/ 1660 w 852280"/>
                <a:gd name="connsiteY8" fmla="*/ 104045 h 99617"/>
                <a:gd name="connsiteX9" fmla="*/ 0 w 852280"/>
                <a:gd name="connsiteY9" fmla="*/ 99617 h 9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2280" h="99617">
                  <a:moveTo>
                    <a:pt x="0" y="99617"/>
                  </a:moveTo>
                  <a:cubicBezTo>
                    <a:pt x="38187" y="88549"/>
                    <a:pt x="76373" y="76927"/>
                    <a:pt x="114560" y="66965"/>
                  </a:cubicBezTo>
                  <a:cubicBezTo>
                    <a:pt x="237421" y="35419"/>
                    <a:pt x="363049" y="21030"/>
                    <a:pt x="489785" y="14389"/>
                  </a:cubicBezTo>
                  <a:cubicBezTo>
                    <a:pt x="612093" y="7748"/>
                    <a:pt x="734400" y="3321"/>
                    <a:pt x="857262" y="0"/>
                  </a:cubicBezTo>
                  <a:cubicBezTo>
                    <a:pt x="853941" y="1107"/>
                    <a:pt x="851174" y="2767"/>
                    <a:pt x="847853" y="3321"/>
                  </a:cubicBezTo>
                  <a:cubicBezTo>
                    <a:pt x="796938" y="9962"/>
                    <a:pt x="746022" y="18817"/>
                    <a:pt x="694553" y="22691"/>
                  </a:cubicBezTo>
                  <a:cubicBezTo>
                    <a:pt x="546788" y="34866"/>
                    <a:pt x="397915" y="42061"/>
                    <a:pt x="250703" y="57003"/>
                  </a:cubicBezTo>
                  <a:cubicBezTo>
                    <a:pt x="174330" y="64751"/>
                    <a:pt x="99064" y="84675"/>
                    <a:pt x="23244" y="99064"/>
                  </a:cubicBezTo>
                  <a:cubicBezTo>
                    <a:pt x="16049" y="100724"/>
                    <a:pt x="8855" y="102384"/>
                    <a:pt x="1660" y="104045"/>
                  </a:cubicBezTo>
                  <a:cubicBezTo>
                    <a:pt x="553" y="102938"/>
                    <a:pt x="0" y="101277"/>
                    <a:pt x="0" y="99617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="" xmlns:a16="http://schemas.microsoft.com/office/drawing/2014/main" id="{FD667E06-DC25-4D7F-87A4-868711F9DA6B}"/>
                </a:ext>
              </a:extLst>
            </p:cNvPr>
            <p:cNvSpPr/>
            <p:nvPr/>
          </p:nvSpPr>
          <p:spPr>
            <a:xfrm>
              <a:off x="10728735" y="1770729"/>
              <a:ext cx="441060" cy="237826"/>
            </a:xfrm>
            <a:custGeom>
              <a:avLst/>
              <a:gdLst>
                <a:gd name="connsiteX0" fmla="*/ 13815 w 564497"/>
                <a:gd name="connsiteY0" fmla="*/ 0 h 304385"/>
                <a:gd name="connsiteX1" fmla="*/ 16582 w 564497"/>
                <a:gd name="connsiteY1" fmla="*/ 20477 h 304385"/>
                <a:gd name="connsiteX2" fmla="*/ 74692 w 564497"/>
                <a:gd name="connsiteY2" fmla="*/ 150533 h 304385"/>
                <a:gd name="connsiteX3" fmla="*/ 251789 w 564497"/>
                <a:gd name="connsiteY3" fmla="*/ 233547 h 304385"/>
                <a:gd name="connsiteX4" fmla="*/ 555622 w 564497"/>
                <a:gd name="connsiteY4" fmla="*/ 297745 h 304385"/>
                <a:gd name="connsiteX5" fmla="*/ 565030 w 564497"/>
                <a:gd name="connsiteY5" fmla="*/ 300512 h 304385"/>
                <a:gd name="connsiteX6" fmla="*/ 565030 w 564497"/>
                <a:gd name="connsiteY6" fmla="*/ 304939 h 304385"/>
                <a:gd name="connsiteX7" fmla="*/ 529057 w 564497"/>
                <a:gd name="connsiteY7" fmla="*/ 304939 h 304385"/>
                <a:gd name="connsiteX8" fmla="*/ 490871 w 564497"/>
                <a:gd name="connsiteY8" fmla="*/ 303279 h 304385"/>
                <a:gd name="connsiteX9" fmla="*/ 149405 w 564497"/>
                <a:gd name="connsiteY9" fmla="*/ 213623 h 304385"/>
                <a:gd name="connsiteX10" fmla="*/ 32078 w 564497"/>
                <a:gd name="connsiteY10" fmla="*/ 131163 h 304385"/>
                <a:gd name="connsiteX11" fmla="*/ 13815 w 564497"/>
                <a:gd name="connsiteY11" fmla="*/ 0 h 304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4497" h="304385">
                  <a:moveTo>
                    <a:pt x="13815" y="0"/>
                  </a:moveTo>
                  <a:cubicBezTo>
                    <a:pt x="14922" y="6641"/>
                    <a:pt x="17689" y="13836"/>
                    <a:pt x="16582" y="20477"/>
                  </a:cubicBezTo>
                  <a:cubicBezTo>
                    <a:pt x="6620" y="76927"/>
                    <a:pt x="30971" y="118434"/>
                    <a:pt x="74692" y="150533"/>
                  </a:cubicBezTo>
                  <a:cubicBezTo>
                    <a:pt x="127821" y="190380"/>
                    <a:pt x="189805" y="212517"/>
                    <a:pt x="251789" y="233547"/>
                  </a:cubicBezTo>
                  <a:cubicBezTo>
                    <a:pt x="350853" y="267306"/>
                    <a:pt x="452131" y="286123"/>
                    <a:pt x="555622" y="297745"/>
                  </a:cubicBezTo>
                  <a:cubicBezTo>
                    <a:pt x="558942" y="298298"/>
                    <a:pt x="561710" y="299405"/>
                    <a:pt x="565030" y="300512"/>
                  </a:cubicBezTo>
                  <a:cubicBezTo>
                    <a:pt x="565030" y="302172"/>
                    <a:pt x="565030" y="303279"/>
                    <a:pt x="565030" y="304939"/>
                  </a:cubicBezTo>
                  <a:cubicBezTo>
                    <a:pt x="552855" y="304939"/>
                    <a:pt x="540679" y="304939"/>
                    <a:pt x="529057" y="304939"/>
                  </a:cubicBezTo>
                  <a:cubicBezTo>
                    <a:pt x="516328" y="304386"/>
                    <a:pt x="503600" y="304386"/>
                    <a:pt x="490871" y="303279"/>
                  </a:cubicBezTo>
                  <a:cubicBezTo>
                    <a:pt x="372437" y="291104"/>
                    <a:pt x="257877" y="263986"/>
                    <a:pt x="149405" y="213623"/>
                  </a:cubicBezTo>
                  <a:cubicBezTo>
                    <a:pt x="105684" y="193147"/>
                    <a:pt x="65837" y="166582"/>
                    <a:pt x="32078" y="131163"/>
                  </a:cubicBezTo>
                  <a:cubicBezTo>
                    <a:pt x="-3341" y="95190"/>
                    <a:pt x="-9429" y="32652"/>
                    <a:pt x="13815" y="0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="" xmlns:a16="http://schemas.microsoft.com/office/drawing/2014/main" id="{2D163A48-A625-4EAC-9F67-CF014897D8F8}"/>
                </a:ext>
              </a:extLst>
            </p:cNvPr>
            <p:cNvSpPr/>
            <p:nvPr/>
          </p:nvSpPr>
          <p:spPr>
            <a:xfrm>
              <a:off x="11039622" y="2170278"/>
              <a:ext cx="95131" cy="25945"/>
            </a:xfrm>
            <a:custGeom>
              <a:avLst/>
              <a:gdLst>
                <a:gd name="connsiteX0" fmla="*/ 0 w 121754"/>
                <a:gd name="connsiteY0" fmla="*/ 0 h 33205"/>
                <a:gd name="connsiteX1" fmla="*/ 52576 w 121754"/>
                <a:gd name="connsiteY1" fmla="*/ 27118 h 33205"/>
                <a:gd name="connsiteX2" fmla="*/ 122308 w 121754"/>
                <a:gd name="connsiteY2" fmla="*/ 37080 h 33205"/>
                <a:gd name="connsiteX3" fmla="*/ 36526 w 121754"/>
                <a:gd name="connsiteY3" fmla="*/ 30992 h 33205"/>
                <a:gd name="connsiteX4" fmla="*/ 0 w 121754"/>
                <a:gd name="connsiteY4" fmla="*/ 0 h 33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754" h="33205">
                  <a:moveTo>
                    <a:pt x="0" y="0"/>
                  </a:moveTo>
                  <a:cubicBezTo>
                    <a:pt x="12176" y="19370"/>
                    <a:pt x="31546" y="24904"/>
                    <a:pt x="52576" y="27118"/>
                  </a:cubicBezTo>
                  <a:cubicBezTo>
                    <a:pt x="75820" y="29332"/>
                    <a:pt x="99064" y="33759"/>
                    <a:pt x="122308" y="37080"/>
                  </a:cubicBezTo>
                  <a:cubicBezTo>
                    <a:pt x="93530" y="34866"/>
                    <a:pt x="64751" y="33206"/>
                    <a:pt x="36526" y="30992"/>
                  </a:cubicBezTo>
                  <a:cubicBezTo>
                    <a:pt x="17156" y="29332"/>
                    <a:pt x="5534" y="18263"/>
                    <a:pt x="0" y="0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</p:grpSp>
      <p:sp>
        <p:nvSpPr>
          <p:cNvPr id="69" name="Text Placeholder 9">
            <a:extLst>
              <a:ext uri="{FF2B5EF4-FFF2-40B4-BE49-F238E27FC236}">
                <a16:creationId xmlns="" xmlns:a16="http://schemas.microsoft.com/office/drawing/2014/main" id="{09328019-552A-4D8D-A2FA-EC8410BE3A0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2648" y="336630"/>
            <a:ext cx="8679898" cy="543185"/>
          </a:xfrm>
          <a:prstGeom prst="rect">
            <a:avLst/>
          </a:prstGeom>
        </p:spPr>
        <p:txBody>
          <a:bodyPr lIns="68579" tIns="34289" rIns="68579" bIns="34289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1171536709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23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5115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chemeClr val="accent2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304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37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565A5C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429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565A5C">
              <a:alpha val="60000"/>
            </a:srgb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378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273804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67019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2C341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14300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5185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963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49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D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2037644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11480" y="2330527"/>
            <a:ext cx="8321040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 smtClean="0"/>
              <a:t>Transition Slid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23305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2980266"/>
            <a:ext cx="8321040" cy="1491633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spcAft>
                <a:spcPts val="1000"/>
              </a:spcAft>
              <a:defRPr sz="2400"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8167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42648" y="336630"/>
            <a:ext cx="8679898" cy="543185"/>
          </a:xfrm>
          <a:prstGeom prst="rect">
            <a:avLst/>
          </a:prstGeom>
        </p:spPr>
        <p:txBody>
          <a:bodyPr lIns="68579" tIns="34289" rIns="68579" bIns="34289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54" name="Frame 53">
            <a:extLst>
              <a:ext uri="{FF2B5EF4-FFF2-40B4-BE49-F238E27FC236}">
                <a16:creationId xmlns="" xmlns:a16="http://schemas.microsoft.com/office/drawing/2014/main" id="{EA3C1A19-98AB-4AE1-AA50-CFAFE72BA9B3}"/>
              </a:ext>
            </a:extLst>
          </p:cNvPr>
          <p:cNvSpPr/>
          <p:nvPr userDrawn="1"/>
        </p:nvSpPr>
        <p:spPr>
          <a:xfrm>
            <a:off x="170363" y="176318"/>
            <a:ext cx="8803275" cy="4790865"/>
          </a:xfrm>
          <a:prstGeom prst="frame">
            <a:avLst>
              <a:gd name="adj1" fmla="val 36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en-US" sz="1400">
              <a:solidFill>
                <a:prstClr val="black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="" xmlns:a16="http://schemas.microsoft.com/office/drawing/2014/main" id="{2A5A2085-C8F4-42E8-AE7A-DE98A7BB0208}"/>
              </a:ext>
            </a:extLst>
          </p:cNvPr>
          <p:cNvSpPr/>
          <p:nvPr userDrawn="1"/>
        </p:nvSpPr>
        <p:spPr>
          <a:xfrm>
            <a:off x="8743950" y="3950805"/>
            <a:ext cx="400050" cy="1192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="" xmlns:a16="http://schemas.microsoft.com/office/drawing/2014/main" id="{311D007F-2130-45F0-ABBB-58A343741F57}"/>
              </a:ext>
            </a:extLst>
          </p:cNvPr>
          <p:cNvSpPr/>
          <p:nvPr userDrawn="1"/>
        </p:nvSpPr>
        <p:spPr>
          <a:xfrm>
            <a:off x="6583164" y="4811361"/>
            <a:ext cx="2560837" cy="3321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en-US" sz="1400">
              <a:solidFill>
                <a:prstClr val="white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="" xmlns:a16="http://schemas.microsoft.com/office/drawing/2014/main" id="{9124E619-D48B-4FE8-A8D5-803C8127E373}"/>
              </a:ext>
            </a:extLst>
          </p:cNvPr>
          <p:cNvGrpSpPr/>
          <p:nvPr userDrawn="1"/>
        </p:nvGrpSpPr>
        <p:grpSpPr>
          <a:xfrm>
            <a:off x="6583164" y="4373893"/>
            <a:ext cx="1347920" cy="666564"/>
            <a:chOff x="8777551" y="5831857"/>
            <a:chExt cx="1797226" cy="888752"/>
          </a:xfrm>
        </p:grpSpPr>
        <p:sp>
          <p:nvSpPr>
            <p:cNvPr id="9" name="Freeform: Shape 8">
              <a:extLst>
                <a:ext uri="{FF2B5EF4-FFF2-40B4-BE49-F238E27FC236}">
                  <a16:creationId xmlns="" xmlns:a16="http://schemas.microsoft.com/office/drawing/2014/main" id="{0268641D-29B8-455B-9512-62D783BB839D}"/>
                </a:ext>
              </a:extLst>
            </p:cNvPr>
            <p:cNvSpPr/>
            <p:nvPr/>
          </p:nvSpPr>
          <p:spPr>
            <a:xfrm>
              <a:off x="8961268" y="5987308"/>
              <a:ext cx="612315" cy="567729"/>
            </a:xfrm>
            <a:custGeom>
              <a:avLst/>
              <a:gdLst>
                <a:gd name="connsiteX0" fmla="*/ 323153 w 1140063"/>
                <a:gd name="connsiteY0" fmla="*/ 519398 h 1057049"/>
                <a:gd name="connsiteX1" fmla="*/ 198632 w 1140063"/>
                <a:gd name="connsiteY1" fmla="*/ 487299 h 1057049"/>
                <a:gd name="connsiteX2" fmla="*/ 44225 w 1140063"/>
                <a:gd name="connsiteY2" fmla="*/ 392663 h 1057049"/>
                <a:gd name="connsiteX3" fmla="*/ 60274 w 1140063"/>
                <a:gd name="connsiteY3" fmla="*/ 125357 h 1057049"/>
                <a:gd name="connsiteX4" fmla="*/ 319833 w 1140063"/>
                <a:gd name="connsiteY4" fmla="*/ 6923 h 1057049"/>
                <a:gd name="connsiteX5" fmla="*/ 608169 w 1140063"/>
                <a:gd name="connsiteY5" fmla="*/ 22972 h 1057049"/>
                <a:gd name="connsiteX6" fmla="*/ 882117 w 1140063"/>
                <a:gd name="connsiteY6" fmla="*/ 135318 h 1057049"/>
                <a:gd name="connsiteX7" fmla="*/ 930265 w 1140063"/>
                <a:gd name="connsiteY7" fmla="*/ 143066 h 1057049"/>
                <a:gd name="connsiteX8" fmla="*/ 1085225 w 1140063"/>
                <a:gd name="connsiteY8" fmla="*/ 144173 h 1057049"/>
                <a:gd name="connsiteX9" fmla="*/ 1118431 w 1140063"/>
                <a:gd name="connsiteY9" fmla="*/ 264821 h 1057049"/>
                <a:gd name="connsiteX10" fmla="*/ 1080244 w 1140063"/>
                <a:gd name="connsiteY10" fmla="*/ 305221 h 1057049"/>
                <a:gd name="connsiteX11" fmla="*/ 1108469 w 1140063"/>
                <a:gd name="connsiteY11" fmla="*/ 350602 h 1057049"/>
                <a:gd name="connsiteX12" fmla="*/ 1143335 w 1140063"/>
                <a:gd name="connsiteY12" fmla="*/ 463502 h 1057049"/>
                <a:gd name="connsiteX13" fmla="*/ 1134480 w 1140063"/>
                <a:gd name="connsiteY13" fmla="*/ 481212 h 1057049"/>
                <a:gd name="connsiteX14" fmla="*/ 1123412 w 1140063"/>
                <a:gd name="connsiteY14" fmla="*/ 464609 h 1057049"/>
                <a:gd name="connsiteX15" fmla="*/ 1094633 w 1140063"/>
                <a:gd name="connsiteY15" fmla="*/ 354476 h 1057049"/>
                <a:gd name="connsiteX16" fmla="*/ 1072496 w 1140063"/>
                <a:gd name="connsiteY16" fmla="*/ 319610 h 1057049"/>
                <a:gd name="connsiteX17" fmla="*/ 1058107 w 1140063"/>
                <a:gd name="connsiteY17" fmla="*/ 317950 h 1057049"/>
                <a:gd name="connsiteX18" fmla="*/ 797995 w 1140063"/>
                <a:gd name="connsiteY18" fmla="*/ 451326 h 1057049"/>
                <a:gd name="connsiteX19" fmla="*/ 537330 w 1140063"/>
                <a:gd name="connsiteY19" fmla="*/ 516631 h 1057049"/>
                <a:gd name="connsiteX20" fmla="*/ 436606 w 1140063"/>
                <a:gd name="connsiteY20" fmla="*/ 524932 h 1057049"/>
                <a:gd name="connsiteX21" fmla="*/ 420003 w 1140063"/>
                <a:gd name="connsiteY21" fmla="*/ 534341 h 1057049"/>
                <a:gd name="connsiteX22" fmla="*/ 337542 w 1140063"/>
                <a:gd name="connsiteY22" fmla="*/ 705904 h 1057049"/>
                <a:gd name="connsiteX23" fmla="*/ 333668 w 1140063"/>
                <a:gd name="connsiteY23" fmla="*/ 912886 h 1057049"/>
                <a:gd name="connsiteX24" fmla="*/ 493056 w 1140063"/>
                <a:gd name="connsiteY24" fmla="*/ 1044049 h 1057049"/>
                <a:gd name="connsiteX25" fmla="*/ 781393 w 1140063"/>
                <a:gd name="connsiteY25" fmla="*/ 979851 h 1057049"/>
                <a:gd name="connsiteX26" fmla="*/ 993909 w 1140063"/>
                <a:gd name="connsiteY26" fmla="*/ 730255 h 1057049"/>
                <a:gd name="connsiteX27" fmla="*/ 1017153 w 1140063"/>
                <a:gd name="connsiteY27" fmla="*/ 584703 h 1057049"/>
                <a:gd name="connsiteX28" fmla="*/ 908681 w 1140063"/>
                <a:gd name="connsiteY28" fmla="*/ 493940 h 1057049"/>
                <a:gd name="connsiteX29" fmla="*/ 747080 w 1140063"/>
                <a:gd name="connsiteY29" fmla="*/ 553157 h 1057049"/>
                <a:gd name="connsiteX30" fmla="*/ 648016 w 1140063"/>
                <a:gd name="connsiteY30" fmla="*/ 650007 h 1057049"/>
                <a:gd name="connsiteX31" fmla="*/ 599868 w 1140063"/>
                <a:gd name="connsiteY31" fmla="*/ 784491 h 1057049"/>
                <a:gd name="connsiteX32" fmla="*/ 614257 w 1140063"/>
                <a:gd name="connsiteY32" fmla="*/ 772315 h 1057049"/>
                <a:gd name="connsiteX33" fmla="*/ 660745 w 1140063"/>
                <a:gd name="connsiteY33" fmla="*/ 761800 h 1057049"/>
                <a:gd name="connsiteX34" fmla="*/ 682329 w 1140063"/>
                <a:gd name="connsiteY34" fmla="*/ 798326 h 1057049"/>
                <a:gd name="connsiteX35" fmla="*/ 617577 w 1140063"/>
                <a:gd name="connsiteY35" fmla="*/ 854223 h 1057049"/>
                <a:gd name="connsiteX36" fmla="*/ 587692 w 1140063"/>
                <a:gd name="connsiteY36" fmla="*/ 825998 h 1057049"/>
                <a:gd name="connsiteX37" fmla="*/ 618131 w 1140063"/>
                <a:gd name="connsiteY37" fmla="*/ 662736 h 1057049"/>
                <a:gd name="connsiteX38" fmla="*/ 813491 w 1140063"/>
                <a:gd name="connsiteY38" fmla="*/ 498921 h 1057049"/>
                <a:gd name="connsiteX39" fmla="*/ 939673 w 1140063"/>
                <a:gd name="connsiteY39" fmla="*/ 486192 h 1057049"/>
                <a:gd name="connsiteX40" fmla="*/ 1029882 w 1140063"/>
                <a:gd name="connsiteY40" fmla="*/ 572527 h 1057049"/>
                <a:gd name="connsiteX41" fmla="*/ 990589 w 1140063"/>
                <a:gd name="connsiteY41" fmla="*/ 808841 h 1057049"/>
                <a:gd name="connsiteX42" fmla="*/ 607062 w 1140063"/>
                <a:gd name="connsiteY42" fmla="*/ 1056778 h 1057049"/>
                <a:gd name="connsiteX43" fmla="*/ 377943 w 1140063"/>
                <a:gd name="connsiteY43" fmla="*/ 1010290 h 1057049"/>
                <a:gd name="connsiteX44" fmla="*/ 246780 w 1140063"/>
                <a:gd name="connsiteY44" fmla="*/ 769548 h 1057049"/>
                <a:gd name="connsiteX45" fmla="*/ 309871 w 1140063"/>
                <a:gd name="connsiteY45" fmla="*/ 538215 h 1057049"/>
                <a:gd name="connsiteX46" fmla="*/ 323153 w 1140063"/>
                <a:gd name="connsiteY46" fmla="*/ 519398 h 1057049"/>
                <a:gd name="connsiteX47" fmla="*/ 878243 w 1140063"/>
                <a:gd name="connsiteY47" fmla="*/ 149708 h 1057049"/>
                <a:gd name="connsiteX48" fmla="*/ 879350 w 1140063"/>
                <a:gd name="connsiteY48" fmla="*/ 145280 h 1057049"/>
                <a:gd name="connsiteX49" fmla="*/ 788034 w 1140063"/>
                <a:gd name="connsiteY49" fmla="*/ 104326 h 1057049"/>
                <a:gd name="connsiteX50" fmla="*/ 500804 w 1140063"/>
                <a:gd name="connsiteY50" fmla="*/ 40129 h 1057049"/>
                <a:gd name="connsiteX51" fmla="*/ 233498 w 1140063"/>
                <a:gd name="connsiteY51" fmla="*/ 69460 h 1057049"/>
                <a:gd name="connsiteX52" fmla="*/ 68022 w 1140063"/>
                <a:gd name="connsiteY52" fmla="*/ 180146 h 1057049"/>
                <a:gd name="connsiteX53" fmla="*/ 83518 w 1140063"/>
                <a:gd name="connsiteY53" fmla="*/ 413693 h 1057049"/>
                <a:gd name="connsiteX54" fmla="*/ 132774 w 1140063"/>
                <a:gd name="connsiteY54" fmla="*/ 448559 h 1057049"/>
                <a:gd name="connsiteX55" fmla="*/ 320939 w 1140063"/>
                <a:gd name="connsiteY55" fmla="*/ 506116 h 1057049"/>
                <a:gd name="connsiteX56" fmla="*/ 336989 w 1140063"/>
                <a:gd name="connsiteY56" fmla="*/ 497261 h 1057049"/>
                <a:gd name="connsiteX57" fmla="*/ 759809 w 1140063"/>
                <a:gd name="connsiteY57" fmla="*/ 188448 h 1057049"/>
                <a:gd name="connsiteX58" fmla="*/ 878243 w 1140063"/>
                <a:gd name="connsiteY58" fmla="*/ 149708 h 1057049"/>
                <a:gd name="connsiteX59" fmla="*/ 440480 w 1140063"/>
                <a:gd name="connsiteY59" fmla="*/ 506669 h 1057049"/>
                <a:gd name="connsiteX60" fmla="*/ 442141 w 1140063"/>
                <a:gd name="connsiteY60" fmla="*/ 511650 h 1057049"/>
                <a:gd name="connsiteX61" fmla="*/ 524601 w 1140063"/>
                <a:gd name="connsiteY61" fmla="*/ 503902 h 1057049"/>
                <a:gd name="connsiteX62" fmla="*/ 851124 w 1140063"/>
                <a:gd name="connsiteY62" fmla="*/ 415907 h 1057049"/>
                <a:gd name="connsiteX63" fmla="*/ 1046485 w 1140063"/>
                <a:gd name="connsiteY63" fmla="*/ 310755 h 1057049"/>
                <a:gd name="connsiteX64" fmla="*/ 1049252 w 1140063"/>
                <a:gd name="connsiteY64" fmla="*/ 284191 h 1057049"/>
                <a:gd name="connsiteX65" fmla="*/ 915876 w 1140063"/>
                <a:gd name="connsiteY65" fmla="*/ 169078 h 1057049"/>
                <a:gd name="connsiteX66" fmla="*/ 897059 w 1140063"/>
                <a:gd name="connsiteY66" fmla="*/ 166310 h 1057049"/>
                <a:gd name="connsiteX67" fmla="*/ 812938 w 1140063"/>
                <a:gd name="connsiteY67" fmla="*/ 198963 h 1057049"/>
                <a:gd name="connsiteX68" fmla="*/ 572750 w 1140063"/>
                <a:gd name="connsiteY68" fmla="*/ 358904 h 1057049"/>
                <a:gd name="connsiteX69" fmla="*/ 440480 w 1140063"/>
                <a:gd name="connsiteY69" fmla="*/ 506669 h 1057049"/>
                <a:gd name="connsiteX70" fmla="*/ 1070836 w 1140063"/>
                <a:gd name="connsiteY70" fmla="*/ 292492 h 1057049"/>
                <a:gd name="connsiteX71" fmla="*/ 1124519 w 1140063"/>
                <a:gd name="connsiteY71" fmla="*/ 226081 h 1057049"/>
                <a:gd name="connsiteX72" fmla="*/ 1091313 w 1140063"/>
                <a:gd name="connsiteY72" fmla="*/ 156349 h 1057049"/>
                <a:gd name="connsiteX73" fmla="*/ 924730 w 1140063"/>
                <a:gd name="connsiteY73" fmla="*/ 160223 h 1057049"/>
                <a:gd name="connsiteX74" fmla="*/ 1070836 w 1140063"/>
                <a:gd name="connsiteY74" fmla="*/ 292492 h 1057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1140063" h="1057049">
                  <a:moveTo>
                    <a:pt x="323153" y="519398"/>
                  </a:moveTo>
                  <a:cubicBezTo>
                    <a:pt x="279986" y="508329"/>
                    <a:pt x="239032" y="499475"/>
                    <a:pt x="198632" y="487299"/>
                  </a:cubicBezTo>
                  <a:cubicBezTo>
                    <a:pt x="138861" y="469589"/>
                    <a:pt x="84072" y="441918"/>
                    <a:pt x="44225" y="392663"/>
                  </a:cubicBezTo>
                  <a:cubicBezTo>
                    <a:pt x="-20526" y="311862"/>
                    <a:pt x="-13332" y="198409"/>
                    <a:pt x="60274" y="125357"/>
                  </a:cubicBezTo>
                  <a:cubicBezTo>
                    <a:pt x="132220" y="54518"/>
                    <a:pt x="221876" y="20759"/>
                    <a:pt x="319833" y="6923"/>
                  </a:cubicBezTo>
                  <a:cubicBezTo>
                    <a:pt x="416683" y="-6360"/>
                    <a:pt x="512979" y="-272"/>
                    <a:pt x="608169" y="22972"/>
                  </a:cubicBezTo>
                  <a:cubicBezTo>
                    <a:pt x="705019" y="46216"/>
                    <a:pt x="796888" y="83296"/>
                    <a:pt x="882117" y="135318"/>
                  </a:cubicBezTo>
                  <a:cubicBezTo>
                    <a:pt x="897613" y="144727"/>
                    <a:pt x="911448" y="147494"/>
                    <a:pt x="930265" y="143066"/>
                  </a:cubicBezTo>
                  <a:cubicBezTo>
                    <a:pt x="981734" y="131998"/>
                    <a:pt x="1033756" y="130338"/>
                    <a:pt x="1085225" y="144173"/>
                  </a:cubicBezTo>
                  <a:cubicBezTo>
                    <a:pt x="1153850" y="162436"/>
                    <a:pt x="1152190" y="224420"/>
                    <a:pt x="1118431" y="264821"/>
                  </a:cubicBezTo>
                  <a:cubicBezTo>
                    <a:pt x="1106809" y="278103"/>
                    <a:pt x="1094080" y="290832"/>
                    <a:pt x="1080244" y="305221"/>
                  </a:cubicBezTo>
                  <a:cubicBezTo>
                    <a:pt x="1089099" y="319610"/>
                    <a:pt x="1099061" y="334553"/>
                    <a:pt x="1108469" y="350602"/>
                  </a:cubicBezTo>
                  <a:cubicBezTo>
                    <a:pt x="1128393" y="385468"/>
                    <a:pt x="1144995" y="421995"/>
                    <a:pt x="1143335" y="463502"/>
                  </a:cubicBezTo>
                  <a:cubicBezTo>
                    <a:pt x="1143335" y="469589"/>
                    <a:pt x="1137801" y="475677"/>
                    <a:pt x="1134480" y="481212"/>
                  </a:cubicBezTo>
                  <a:cubicBezTo>
                    <a:pt x="1130606" y="475677"/>
                    <a:pt x="1123965" y="470143"/>
                    <a:pt x="1123412" y="464609"/>
                  </a:cubicBezTo>
                  <a:cubicBezTo>
                    <a:pt x="1122305" y="425869"/>
                    <a:pt x="1113450" y="388789"/>
                    <a:pt x="1094633" y="354476"/>
                  </a:cubicBezTo>
                  <a:cubicBezTo>
                    <a:pt x="1087992" y="342301"/>
                    <a:pt x="1080798" y="330679"/>
                    <a:pt x="1072496" y="319610"/>
                  </a:cubicBezTo>
                  <a:cubicBezTo>
                    <a:pt x="1070283" y="316843"/>
                    <a:pt x="1061428" y="315736"/>
                    <a:pt x="1058107" y="317950"/>
                  </a:cubicBezTo>
                  <a:cubicBezTo>
                    <a:pt x="980073" y="379381"/>
                    <a:pt x="890418" y="417567"/>
                    <a:pt x="797995" y="451326"/>
                  </a:cubicBezTo>
                  <a:cubicBezTo>
                    <a:pt x="713321" y="481765"/>
                    <a:pt x="626432" y="505009"/>
                    <a:pt x="537330" y="516631"/>
                  </a:cubicBezTo>
                  <a:cubicBezTo>
                    <a:pt x="504124" y="521058"/>
                    <a:pt x="470365" y="521612"/>
                    <a:pt x="436606" y="524932"/>
                  </a:cubicBezTo>
                  <a:cubicBezTo>
                    <a:pt x="430518" y="525486"/>
                    <a:pt x="423324" y="529360"/>
                    <a:pt x="420003" y="534341"/>
                  </a:cubicBezTo>
                  <a:cubicBezTo>
                    <a:pt x="384031" y="587470"/>
                    <a:pt x="355252" y="644473"/>
                    <a:pt x="337542" y="705904"/>
                  </a:cubicBezTo>
                  <a:cubicBezTo>
                    <a:pt x="318172" y="773975"/>
                    <a:pt x="309871" y="844261"/>
                    <a:pt x="333668" y="912886"/>
                  </a:cubicBezTo>
                  <a:cubicBezTo>
                    <a:pt x="359126" y="988706"/>
                    <a:pt x="415576" y="1031320"/>
                    <a:pt x="493056" y="1044049"/>
                  </a:cubicBezTo>
                  <a:cubicBezTo>
                    <a:pt x="597101" y="1061205"/>
                    <a:pt x="693951" y="1037961"/>
                    <a:pt x="781393" y="979851"/>
                  </a:cubicBezTo>
                  <a:cubicBezTo>
                    <a:pt x="876029" y="917314"/>
                    <a:pt x="946314" y="832639"/>
                    <a:pt x="993909" y="730255"/>
                  </a:cubicBezTo>
                  <a:cubicBezTo>
                    <a:pt x="1014940" y="684874"/>
                    <a:pt x="1027115" y="636172"/>
                    <a:pt x="1017153" y="584703"/>
                  </a:cubicBezTo>
                  <a:cubicBezTo>
                    <a:pt x="1006638" y="531574"/>
                    <a:pt x="962917" y="496154"/>
                    <a:pt x="908681" y="493940"/>
                  </a:cubicBezTo>
                  <a:cubicBezTo>
                    <a:pt x="846697" y="491727"/>
                    <a:pt x="793568" y="516078"/>
                    <a:pt x="747080" y="553157"/>
                  </a:cubicBezTo>
                  <a:cubicBezTo>
                    <a:pt x="711107" y="581936"/>
                    <a:pt x="677901" y="615141"/>
                    <a:pt x="648016" y="650007"/>
                  </a:cubicBezTo>
                  <a:cubicBezTo>
                    <a:pt x="616471" y="686534"/>
                    <a:pt x="596547" y="729701"/>
                    <a:pt x="599868" y="784491"/>
                  </a:cubicBezTo>
                  <a:cubicBezTo>
                    <a:pt x="606509" y="778956"/>
                    <a:pt x="610936" y="775636"/>
                    <a:pt x="614257" y="772315"/>
                  </a:cubicBezTo>
                  <a:cubicBezTo>
                    <a:pt x="627539" y="759033"/>
                    <a:pt x="643035" y="755712"/>
                    <a:pt x="660745" y="761800"/>
                  </a:cubicBezTo>
                  <a:cubicBezTo>
                    <a:pt x="677901" y="767334"/>
                    <a:pt x="681222" y="782830"/>
                    <a:pt x="682329" y="798326"/>
                  </a:cubicBezTo>
                  <a:cubicBezTo>
                    <a:pt x="686203" y="840941"/>
                    <a:pt x="659638" y="864184"/>
                    <a:pt x="617577" y="854223"/>
                  </a:cubicBezTo>
                  <a:cubicBezTo>
                    <a:pt x="602635" y="850902"/>
                    <a:pt x="591566" y="842601"/>
                    <a:pt x="587692" y="825998"/>
                  </a:cubicBezTo>
                  <a:cubicBezTo>
                    <a:pt x="573857" y="766781"/>
                    <a:pt x="587139" y="711991"/>
                    <a:pt x="618131" y="662736"/>
                  </a:cubicBezTo>
                  <a:cubicBezTo>
                    <a:pt x="665726" y="588577"/>
                    <a:pt x="729370" y="530467"/>
                    <a:pt x="813491" y="498921"/>
                  </a:cubicBezTo>
                  <a:cubicBezTo>
                    <a:pt x="853892" y="483425"/>
                    <a:pt x="896506" y="476784"/>
                    <a:pt x="939673" y="486192"/>
                  </a:cubicBezTo>
                  <a:cubicBezTo>
                    <a:pt x="987821" y="496154"/>
                    <a:pt x="1017707" y="526593"/>
                    <a:pt x="1029882" y="572527"/>
                  </a:cubicBezTo>
                  <a:cubicBezTo>
                    <a:pt x="1052019" y="656649"/>
                    <a:pt x="1036523" y="736896"/>
                    <a:pt x="990589" y="808841"/>
                  </a:cubicBezTo>
                  <a:cubicBezTo>
                    <a:pt x="901487" y="949966"/>
                    <a:pt x="773091" y="1033534"/>
                    <a:pt x="607062" y="1056778"/>
                  </a:cubicBezTo>
                  <a:cubicBezTo>
                    <a:pt x="525708" y="1068400"/>
                    <a:pt x="447121" y="1059545"/>
                    <a:pt x="377943" y="1010290"/>
                  </a:cubicBezTo>
                  <a:cubicBezTo>
                    <a:pt x="294928" y="951626"/>
                    <a:pt x="252314" y="871379"/>
                    <a:pt x="246780" y="769548"/>
                  </a:cubicBezTo>
                  <a:cubicBezTo>
                    <a:pt x="242352" y="684874"/>
                    <a:pt x="269471" y="610161"/>
                    <a:pt x="309871" y="538215"/>
                  </a:cubicBezTo>
                  <a:cubicBezTo>
                    <a:pt x="315958" y="532127"/>
                    <a:pt x="319279" y="526039"/>
                    <a:pt x="323153" y="519398"/>
                  </a:cubicBezTo>
                  <a:close/>
                  <a:moveTo>
                    <a:pt x="878243" y="149708"/>
                  </a:moveTo>
                  <a:cubicBezTo>
                    <a:pt x="878796" y="148047"/>
                    <a:pt x="879350" y="146387"/>
                    <a:pt x="879350" y="145280"/>
                  </a:cubicBezTo>
                  <a:cubicBezTo>
                    <a:pt x="848911" y="131444"/>
                    <a:pt x="819026" y="116502"/>
                    <a:pt x="788034" y="104326"/>
                  </a:cubicBezTo>
                  <a:cubicBezTo>
                    <a:pt x="695611" y="68353"/>
                    <a:pt x="599868" y="46770"/>
                    <a:pt x="500804" y="40129"/>
                  </a:cubicBezTo>
                  <a:cubicBezTo>
                    <a:pt x="410041" y="34041"/>
                    <a:pt x="319833" y="36255"/>
                    <a:pt x="233498" y="69460"/>
                  </a:cubicBezTo>
                  <a:cubicBezTo>
                    <a:pt x="170407" y="93811"/>
                    <a:pt x="112297" y="126463"/>
                    <a:pt x="68022" y="180146"/>
                  </a:cubicBezTo>
                  <a:cubicBezTo>
                    <a:pt x="12679" y="246558"/>
                    <a:pt x="12679" y="353923"/>
                    <a:pt x="83518" y="413693"/>
                  </a:cubicBezTo>
                  <a:cubicBezTo>
                    <a:pt x="99014" y="426976"/>
                    <a:pt x="115617" y="438598"/>
                    <a:pt x="132774" y="448559"/>
                  </a:cubicBezTo>
                  <a:cubicBezTo>
                    <a:pt x="190884" y="482872"/>
                    <a:pt x="256188" y="493940"/>
                    <a:pt x="320939" y="506116"/>
                  </a:cubicBezTo>
                  <a:cubicBezTo>
                    <a:pt x="325367" y="507223"/>
                    <a:pt x="333668" y="501688"/>
                    <a:pt x="336989" y="497261"/>
                  </a:cubicBezTo>
                  <a:cubicBezTo>
                    <a:pt x="443247" y="346728"/>
                    <a:pt x="588246" y="249878"/>
                    <a:pt x="759809" y="188448"/>
                  </a:cubicBezTo>
                  <a:cubicBezTo>
                    <a:pt x="799102" y="174058"/>
                    <a:pt x="838949" y="162436"/>
                    <a:pt x="878243" y="149708"/>
                  </a:cubicBezTo>
                  <a:close/>
                  <a:moveTo>
                    <a:pt x="440480" y="506669"/>
                  </a:moveTo>
                  <a:cubicBezTo>
                    <a:pt x="441034" y="508329"/>
                    <a:pt x="441587" y="509990"/>
                    <a:pt x="442141" y="511650"/>
                  </a:cubicBezTo>
                  <a:cubicBezTo>
                    <a:pt x="469812" y="508883"/>
                    <a:pt x="497483" y="507776"/>
                    <a:pt x="524601" y="503902"/>
                  </a:cubicBezTo>
                  <a:cubicBezTo>
                    <a:pt x="636947" y="488406"/>
                    <a:pt x="745420" y="457968"/>
                    <a:pt x="851124" y="415907"/>
                  </a:cubicBezTo>
                  <a:cubicBezTo>
                    <a:pt x="920303" y="388236"/>
                    <a:pt x="986161" y="355030"/>
                    <a:pt x="1046485" y="310755"/>
                  </a:cubicBezTo>
                  <a:cubicBezTo>
                    <a:pt x="1058660" y="301901"/>
                    <a:pt x="1058107" y="294706"/>
                    <a:pt x="1049252" y="284191"/>
                  </a:cubicBezTo>
                  <a:cubicBezTo>
                    <a:pt x="1010512" y="238810"/>
                    <a:pt x="966791" y="199516"/>
                    <a:pt x="915876" y="169078"/>
                  </a:cubicBezTo>
                  <a:cubicBezTo>
                    <a:pt x="910895" y="165757"/>
                    <a:pt x="902593" y="164650"/>
                    <a:pt x="897059" y="166310"/>
                  </a:cubicBezTo>
                  <a:cubicBezTo>
                    <a:pt x="868834" y="176272"/>
                    <a:pt x="840056" y="186234"/>
                    <a:pt x="812938" y="198963"/>
                  </a:cubicBezTo>
                  <a:cubicBezTo>
                    <a:pt x="724943" y="239916"/>
                    <a:pt x="645249" y="293599"/>
                    <a:pt x="572750" y="358904"/>
                  </a:cubicBezTo>
                  <a:cubicBezTo>
                    <a:pt x="522941" y="403731"/>
                    <a:pt x="479774" y="453540"/>
                    <a:pt x="440480" y="506669"/>
                  </a:cubicBezTo>
                  <a:close/>
                  <a:moveTo>
                    <a:pt x="1070836" y="292492"/>
                  </a:moveTo>
                  <a:cubicBezTo>
                    <a:pt x="1092973" y="272569"/>
                    <a:pt x="1112896" y="252645"/>
                    <a:pt x="1124519" y="226081"/>
                  </a:cubicBezTo>
                  <a:cubicBezTo>
                    <a:pt x="1141121" y="187341"/>
                    <a:pt x="1119538" y="164097"/>
                    <a:pt x="1091313" y="156349"/>
                  </a:cubicBezTo>
                  <a:cubicBezTo>
                    <a:pt x="1036523" y="140853"/>
                    <a:pt x="982840" y="146387"/>
                    <a:pt x="924730" y="160223"/>
                  </a:cubicBezTo>
                  <a:cubicBezTo>
                    <a:pt x="980627" y="198409"/>
                    <a:pt x="1030436" y="239916"/>
                    <a:pt x="1070836" y="292492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="" xmlns:a16="http://schemas.microsoft.com/office/drawing/2014/main" id="{6C91CC2C-F738-415D-9065-116ABF663F5E}"/>
                </a:ext>
              </a:extLst>
            </p:cNvPr>
            <p:cNvSpPr/>
            <p:nvPr/>
          </p:nvSpPr>
          <p:spPr>
            <a:xfrm>
              <a:off x="9528376" y="6090459"/>
              <a:ext cx="564757" cy="630150"/>
            </a:xfrm>
            <a:custGeom>
              <a:avLst/>
              <a:gdLst>
                <a:gd name="connsiteX0" fmla="*/ 636997 w 1051515"/>
                <a:gd name="connsiteY0" fmla="*/ 412571 h 1173269"/>
                <a:gd name="connsiteX1" fmla="*/ 566158 w 1051515"/>
                <a:gd name="connsiteY1" fmla="*/ 412571 h 1173269"/>
                <a:gd name="connsiteX2" fmla="*/ 565051 w 1051515"/>
                <a:gd name="connsiteY2" fmla="*/ 408143 h 1173269"/>
                <a:gd name="connsiteX3" fmla="*/ 579440 w 1051515"/>
                <a:gd name="connsiteY3" fmla="*/ 403162 h 1173269"/>
                <a:gd name="connsiteX4" fmla="*/ 631463 w 1051515"/>
                <a:gd name="connsiteY4" fmla="*/ 401502 h 1173269"/>
                <a:gd name="connsiteX5" fmla="*/ 652493 w 1051515"/>
                <a:gd name="connsiteY5" fmla="*/ 388220 h 1173269"/>
                <a:gd name="connsiteX6" fmla="*/ 809113 w 1051515"/>
                <a:gd name="connsiteY6" fmla="*/ 165188 h 1173269"/>
                <a:gd name="connsiteX7" fmla="*/ 920352 w 1051515"/>
                <a:gd name="connsiteY7" fmla="*/ 50628 h 1173269"/>
                <a:gd name="connsiteX8" fmla="*/ 1008901 w 1051515"/>
                <a:gd name="connsiteY8" fmla="*/ 1373 h 1173269"/>
                <a:gd name="connsiteX9" fmla="*/ 1051515 w 1051515"/>
                <a:gd name="connsiteY9" fmla="*/ 30705 h 1173269"/>
                <a:gd name="connsiteX10" fmla="*/ 1018309 w 1051515"/>
                <a:gd name="connsiteY10" fmla="*/ 136963 h 1173269"/>
                <a:gd name="connsiteX11" fmla="*/ 799705 w 1051515"/>
                <a:gd name="connsiteY11" fmla="*/ 351140 h 1173269"/>
                <a:gd name="connsiteX12" fmla="*/ 735507 w 1051515"/>
                <a:gd name="connsiteY12" fmla="*/ 397628 h 1173269"/>
                <a:gd name="connsiteX13" fmla="*/ 814648 w 1051515"/>
                <a:gd name="connsiteY13" fmla="*/ 397628 h 1173269"/>
                <a:gd name="connsiteX14" fmla="*/ 815755 w 1051515"/>
                <a:gd name="connsiteY14" fmla="*/ 402056 h 1173269"/>
                <a:gd name="connsiteX15" fmla="*/ 799152 w 1051515"/>
                <a:gd name="connsiteY15" fmla="*/ 407037 h 1173269"/>
                <a:gd name="connsiteX16" fmla="*/ 741595 w 1051515"/>
                <a:gd name="connsiteY16" fmla="*/ 409250 h 1173269"/>
                <a:gd name="connsiteX17" fmla="*/ 714477 w 1051515"/>
                <a:gd name="connsiteY17" fmla="*/ 426960 h 1173269"/>
                <a:gd name="connsiteX18" fmla="*/ 536826 w 1051515"/>
                <a:gd name="connsiteY18" fmla="*/ 776727 h 1173269"/>
                <a:gd name="connsiteX19" fmla="*/ 371351 w 1051515"/>
                <a:gd name="connsiteY19" fmla="*/ 999206 h 1173269"/>
                <a:gd name="connsiteX20" fmla="*/ 188720 w 1051515"/>
                <a:gd name="connsiteY20" fmla="*/ 1139223 h 1173269"/>
                <a:gd name="connsiteX21" fmla="*/ 33206 w 1051515"/>
                <a:gd name="connsiteY21" fmla="*/ 1176856 h 1173269"/>
                <a:gd name="connsiteX22" fmla="*/ 6088 w 1051515"/>
                <a:gd name="connsiteY22" fmla="*/ 1171322 h 1173269"/>
                <a:gd name="connsiteX23" fmla="*/ 0 w 1051515"/>
                <a:gd name="connsiteY23" fmla="*/ 1160807 h 1173269"/>
                <a:gd name="connsiteX24" fmla="*/ 9962 w 1051515"/>
                <a:gd name="connsiteY24" fmla="*/ 1154719 h 1173269"/>
                <a:gd name="connsiteX25" fmla="*/ 297745 w 1051515"/>
                <a:gd name="connsiteY25" fmla="*/ 1025770 h 1173269"/>
                <a:gd name="connsiteX26" fmla="*/ 410644 w 1051515"/>
                <a:gd name="connsiteY26" fmla="*/ 851440 h 1173269"/>
                <a:gd name="connsiteX27" fmla="*/ 506388 w 1051515"/>
                <a:gd name="connsiteY27" fmla="*/ 666041 h 1173269"/>
                <a:gd name="connsiteX28" fmla="*/ 624268 w 1051515"/>
                <a:gd name="connsiteY28" fmla="*/ 441349 h 1173269"/>
                <a:gd name="connsiteX29" fmla="*/ 636997 w 1051515"/>
                <a:gd name="connsiteY29" fmla="*/ 412571 h 1173269"/>
                <a:gd name="connsiteX30" fmla="*/ 743255 w 1051515"/>
                <a:gd name="connsiteY30" fmla="*/ 371617 h 1173269"/>
                <a:gd name="connsiteX31" fmla="*/ 751003 w 1051515"/>
                <a:gd name="connsiteY31" fmla="*/ 369403 h 1173269"/>
                <a:gd name="connsiteX32" fmla="*/ 1002260 w 1051515"/>
                <a:gd name="connsiteY32" fmla="*/ 120360 h 1173269"/>
                <a:gd name="connsiteX33" fmla="*/ 1044874 w 1051515"/>
                <a:gd name="connsiteY33" fmla="*/ 34025 h 1173269"/>
                <a:gd name="connsiteX34" fmla="*/ 1019970 w 1051515"/>
                <a:gd name="connsiteY34" fmla="*/ 8014 h 1173269"/>
                <a:gd name="connsiteX35" fmla="*/ 995619 w 1051515"/>
                <a:gd name="connsiteY35" fmla="*/ 15209 h 1173269"/>
                <a:gd name="connsiteX36" fmla="*/ 940276 w 1051515"/>
                <a:gd name="connsiteY36" fmla="*/ 59483 h 1173269"/>
                <a:gd name="connsiteX37" fmla="*/ 786423 w 1051515"/>
                <a:gd name="connsiteY37" fmla="*/ 289710 h 1173269"/>
                <a:gd name="connsiteX38" fmla="*/ 743255 w 1051515"/>
                <a:gd name="connsiteY38" fmla="*/ 371617 h 1173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051515" h="1173269">
                  <a:moveTo>
                    <a:pt x="636997" y="412571"/>
                  </a:moveTo>
                  <a:cubicBezTo>
                    <a:pt x="611539" y="412571"/>
                    <a:pt x="588849" y="412571"/>
                    <a:pt x="566158" y="412571"/>
                  </a:cubicBezTo>
                  <a:cubicBezTo>
                    <a:pt x="565605" y="410910"/>
                    <a:pt x="565051" y="409804"/>
                    <a:pt x="565051" y="408143"/>
                  </a:cubicBezTo>
                  <a:cubicBezTo>
                    <a:pt x="570032" y="406483"/>
                    <a:pt x="574459" y="403162"/>
                    <a:pt x="579440" y="403162"/>
                  </a:cubicBezTo>
                  <a:cubicBezTo>
                    <a:pt x="596596" y="402056"/>
                    <a:pt x="614306" y="402056"/>
                    <a:pt x="631463" y="401502"/>
                  </a:cubicBezTo>
                  <a:cubicBezTo>
                    <a:pt x="641424" y="401502"/>
                    <a:pt x="646959" y="397628"/>
                    <a:pt x="652493" y="388220"/>
                  </a:cubicBezTo>
                  <a:cubicBezTo>
                    <a:pt x="697874" y="309080"/>
                    <a:pt x="747129" y="232706"/>
                    <a:pt x="809113" y="165188"/>
                  </a:cubicBezTo>
                  <a:cubicBezTo>
                    <a:pt x="845086" y="125894"/>
                    <a:pt x="882166" y="87708"/>
                    <a:pt x="920352" y="50628"/>
                  </a:cubicBezTo>
                  <a:cubicBezTo>
                    <a:pt x="945257" y="26831"/>
                    <a:pt x="974035" y="8014"/>
                    <a:pt x="1008901" y="1373"/>
                  </a:cubicBezTo>
                  <a:cubicBezTo>
                    <a:pt x="1034912" y="-3608"/>
                    <a:pt x="1047088" y="4694"/>
                    <a:pt x="1051515" y="30705"/>
                  </a:cubicBezTo>
                  <a:cubicBezTo>
                    <a:pt x="1058156" y="71659"/>
                    <a:pt x="1039893" y="105418"/>
                    <a:pt x="1018309" y="136963"/>
                  </a:cubicBezTo>
                  <a:cubicBezTo>
                    <a:pt x="959092" y="222191"/>
                    <a:pt x="882719" y="289710"/>
                    <a:pt x="799705" y="351140"/>
                  </a:cubicBezTo>
                  <a:cubicBezTo>
                    <a:pt x="779228" y="366083"/>
                    <a:pt x="758751" y="381025"/>
                    <a:pt x="735507" y="397628"/>
                  </a:cubicBezTo>
                  <a:cubicBezTo>
                    <a:pt x="763732" y="397628"/>
                    <a:pt x="789190" y="397628"/>
                    <a:pt x="814648" y="397628"/>
                  </a:cubicBezTo>
                  <a:cubicBezTo>
                    <a:pt x="815201" y="399288"/>
                    <a:pt x="815201" y="400949"/>
                    <a:pt x="815755" y="402056"/>
                  </a:cubicBezTo>
                  <a:cubicBezTo>
                    <a:pt x="810220" y="403716"/>
                    <a:pt x="804686" y="406483"/>
                    <a:pt x="799152" y="407037"/>
                  </a:cubicBezTo>
                  <a:cubicBezTo>
                    <a:pt x="780335" y="408143"/>
                    <a:pt x="760965" y="409804"/>
                    <a:pt x="741595" y="409250"/>
                  </a:cubicBezTo>
                  <a:cubicBezTo>
                    <a:pt x="727206" y="408697"/>
                    <a:pt x="720565" y="414231"/>
                    <a:pt x="714477" y="426960"/>
                  </a:cubicBezTo>
                  <a:cubicBezTo>
                    <a:pt x="655813" y="543733"/>
                    <a:pt x="598257" y="661614"/>
                    <a:pt x="536826" y="776727"/>
                  </a:cubicBezTo>
                  <a:cubicBezTo>
                    <a:pt x="493105" y="858634"/>
                    <a:pt x="436656" y="932794"/>
                    <a:pt x="371351" y="999206"/>
                  </a:cubicBezTo>
                  <a:cubicBezTo>
                    <a:pt x="317115" y="1053995"/>
                    <a:pt x="259005" y="1104357"/>
                    <a:pt x="188720" y="1139223"/>
                  </a:cubicBezTo>
                  <a:cubicBezTo>
                    <a:pt x="140017" y="1163574"/>
                    <a:pt x="87995" y="1177410"/>
                    <a:pt x="33206" y="1176856"/>
                  </a:cubicBezTo>
                  <a:cubicBezTo>
                    <a:pt x="24351" y="1176856"/>
                    <a:pt x="14943" y="1174643"/>
                    <a:pt x="6088" y="1171322"/>
                  </a:cubicBezTo>
                  <a:cubicBezTo>
                    <a:pt x="2767" y="1170215"/>
                    <a:pt x="0" y="1164127"/>
                    <a:pt x="0" y="1160807"/>
                  </a:cubicBezTo>
                  <a:cubicBezTo>
                    <a:pt x="0" y="1158593"/>
                    <a:pt x="6641" y="1154166"/>
                    <a:pt x="9962" y="1154719"/>
                  </a:cubicBezTo>
                  <a:cubicBezTo>
                    <a:pt x="135590" y="1177963"/>
                    <a:pt x="220265" y="1109891"/>
                    <a:pt x="297745" y="1025770"/>
                  </a:cubicBezTo>
                  <a:cubicBezTo>
                    <a:pt x="345340" y="973748"/>
                    <a:pt x="378546" y="912870"/>
                    <a:pt x="410644" y="851440"/>
                  </a:cubicBezTo>
                  <a:cubicBezTo>
                    <a:pt x="442743" y="790009"/>
                    <a:pt x="474289" y="728025"/>
                    <a:pt x="506388" y="666041"/>
                  </a:cubicBezTo>
                  <a:cubicBezTo>
                    <a:pt x="545681" y="591328"/>
                    <a:pt x="584975" y="516615"/>
                    <a:pt x="624268" y="441349"/>
                  </a:cubicBezTo>
                  <a:cubicBezTo>
                    <a:pt x="628142" y="433048"/>
                    <a:pt x="632016" y="424193"/>
                    <a:pt x="636997" y="412571"/>
                  </a:cubicBezTo>
                  <a:close/>
                  <a:moveTo>
                    <a:pt x="743255" y="371617"/>
                  </a:moveTo>
                  <a:cubicBezTo>
                    <a:pt x="748236" y="370510"/>
                    <a:pt x="749896" y="370510"/>
                    <a:pt x="751003" y="369403"/>
                  </a:cubicBezTo>
                  <a:cubicBezTo>
                    <a:pt x="845640" y="297457"/>
                    <a:pt x="931421" y="216104"/>
                    <a:pt x="1002260" y="120360"/>
                  </a:cubicBezTo>
                  <a:cubicBezTo>
                    <a:pt x="1021630" y="94349"/>
                    <a:pt x="1040447" y="67784"/>
                    <a:pt x="1044874" y="34025"/>
                  </a:cubicBezTo>
                  <a:cubicBezTo>
                    <a:pt x="1047088" y="16316"/>
                    <a:pt x="1037679" y="5800"/>
                    <a:pt x="1019970" y="8014"/>
                  </a:cubicBezTo>
                  <a:cubicBezTo>
                    <a:pt x="1011668" y="9121"/>
                    <a:pt x="1002260" y="10781"/>
                    <a:pt x="995619" y="15209"/>
                  </a:cubicBezTo>
                  <a:cubicBezTo>
                    <a:pt x="976249" y="29044"/>
                    <a:pt x="956879" y="42880"/>
                    <a:pt x="940276" y="59483"/>
                  </a:cubicBezTo>
                  <a:cubicBezTo>
                    <a:pt x="874972" y="126448"/>
                    <a:pt x="830697" y="208355"/>
                    <a:pt x="786423" y="289710"/>
                  </a:cubicBezTo>
                  <a:cubicBezTo>
                    <a:pt x="772034" y="316828"/>
                    <a:pt x="758198" y="342839"/>
                    <a:pt x="743255" y="371617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="" xmlns:a16="http://schemas.microsoft.com/office/drawing/2014/main" id="{A3F6B22D-F05E-45DC-84CA-24A5983DFEE2}"/>
                </a:ext>
              </a:extLst>
            </p:cNvPr>
            <p:cNvSpPr/>
            <p:nvPr/>
          </p:nvSpPr>
          <p:spPr>
            <a:xfrm>
              <a:off x="9662134" y="6086353"/>
              <a:ext cx="564757" cy="630150"/>
            </a:xfrm>
            <a:custGeom>
              <a:avLst/>
              <a:gdLst>
                <a:gd name="connsiteX0" fmla="*/ 855048 w 1051515"/>
                <a:gd name="connsiteY0" fmla="*/ 401400 h 1173269"/>
                <a:gd name="connsiteX1" fmla="*/ 840105 w 1051515"/>
                <a:gd name="connsiteY1" fmla="*/ 405827 h 1173269"/>
                <a:gd name="connsiteX2" fmla="*/ 739381 w 1051515"/>
                <a:gd name="connsiteY2" fmla="*/ 408594 h 1173269"/>
                <a:gd name="connsiteX3" fmla="*/ 721672 w 1051515"/>
                <a:gd name="connsiteY3" fmla="*/ 420216 h 1173269"/>
                <a:gd name="connsiteX4" fmla="*/ 636997 w 1051515"/>
                <a:gd name="connsiteY4" fmla="*/ 592886 h 1173269"/>
                <a:gd name="connsiteX5" fmla="*/ 572246 w 1051515"/>
                <a:gd name="connsiteY5" fmla="*/ 719068 h 1173269"/>
                <a:gd name="connsiteX6" fmla="*/ 448831 w 1051515"/>
                <a:gd name="connsiteY6" fmla="*/ 905574 h 1173269"/>
                <a:gd name="connsiteX7" fmla="*/ 214177 w 1051515"/>
                <a:gd name="connsiteY7" fmla="*/ 1121411 h 1173269"/>
                <a:gd name="connsiteX8" fmla="*/ 39294 w 1051515"/>
                <a:gd name="connsiteY8" fmla="*/ 1175647 h 1173269"/>
                <a:gd name="connsiteX9" fmla="*/ 8301 w 1051515"/>
                <a:gd name="connsiteY9" fmla="*/ 1171220 h 1173269"/>
                <a:gd name="connsiteX10" fmla="*/ 0 w 1051515"/>
                <a:gd name="connsiteY10" fmla="*/ 1158490 h 1173269"/>
                <a:gd name="connsiteX11" fmla="*/ 12729 w 1051515"/>
                <a:gd name="connsiteY11" fmla="*/ 1154063 h 1173269"/>
                <a:gd name="connsiteX12" fmla="*/ 197574 w 1051515"/>
                <a:gd name="connsiteY12" fmla="*/ 1112003 h 1173269"/>
                <a:gd name="connsiteX13" fmla="*/ 392935 w 1051515"/>
                <a:gd name="connsiteY13" fmla="*/ 882330 h 1173269"/>
                <a:gd name="connsiteX14" fmla="*/ 478716 w 1051515"/>
                <a:gd name="connsiteY14" fmla="*/ 725156 h 1173269"/>
                <a:gd name="connsiteX15" fmla="*/ 523544 w 1051515"/>
                <a:gd name="connsiteY15" fmla="*/ 637161 h 1173269"/>
                <a:gd name="connsiteX16" fmla="*/ 633123 w 1051515"/>
                <a:gd name="connsiteY16" fmla="*/ 427964 h 1173269"/>
                <a:gd name="connsiteX17" fmla="*/ 640871 w 1051515"/>
                <a:gd name="connsiteY17" fmla="*/ 411361 h 1173269"/>
                <a:gd name="connsiteX18" fmla="*/ 604345 w 1051515"/>
                <a:gd name="connsiteY18" fmla="*/ 403060 h 1173269"/>
                <a:gd name="connsiteX19" fmla="*/ 604345 w 1051515"/>
                <a:gd name="connsiteY19" fmla="*/ 396419 h 1173269"/>
                <a:gd name="connsiteX20" fmla="*/ 623161 w 1051515"/>
                <a:gd name="connsiteY20" fmla="*/ 396972 h 1173269"/>
                <a:gd name="connsiteX21" fmla="*/ 663008 w 1051515"/>
                <a:gd name="connsiteY21" fmla="*/ 376495 h 1173269"/>
                <a:gd name="connsiteX22" fmla="*/ 886593 w 1051515"/>
                <a:gd name="connsiteY22" fmla="*/ 82625 h 1173269"/>
                <a:gd name="connsiteX23" fmla="*/ 981783 w 1051515"/>
                <a:gd name="connsiteY23" fmla="*/ 10679 h 1173269"/>
                <a:gd name="connsiteX24" fmla="*/ 1021630 w 1051515"/>
                <a:gd name="connsiteY24" fmla="*/ 163 h 1173269"/>
                <a:gd name="connsiteX25" fmla="*/ 1054836 w 1051515"/>
                <a:gd name="connsiteY25" fmla="*/ 29495 h 1173269"/>
                <a:gd name="connsiteX26" fmla="*/ 1033805 w 1051515"/>
                <a:gd name="connsiteY26" fmla="*/ 110296 h 1173269"/>
                <a:gd name="connsiteX27" fmla="*/ 912051 w 1051515"/>
                <a:gd name="connsiteY27" fmla="*/ 256401 h 1173269"/>
                <a:gd name="connsiteX28" fmla="*/ 742702 w 1051515"/>
                <a:gd name="connsiteY28" fmla="*/ 391991 h 1173269"/>
                <a:gd name="connsiteX29" fmla="*/ 738828 w 1051515"/>
                <a:gd name="connsiteY29" fmla="*/ 396972 h 1173269"/>
                <a:gd name="connsiteX30" fmla="*/ 853941 w 1051515"/>
                <a:gd name="connsiteY30" fmla="*/ 396972 h 1173269"/>
                <a:gd name="connsiteX31" fmla="*/ 855048 w 1051515"/>
                <a:gd name="connsiteY31" fmla="*/ 401400 h 1173269"/>
                <a:gd name="connsiteX32" fmla="*/ 748789 w 1051515"/>
                <a:gd name="connsiteY32" fmla="*/ 368194 h 1173269"/>
                <a:gd name="connsiteX33" fmla="*/ 751003 w 1051515"/>
                <a:gd name="connsiteY33" fmla="*/ 370408 h 1173269"/>
                <a:gd name="connsiteX34" fmla="*/ 761519 w 1051515"/>
                <a:gd name="connsiteY34" fmla="*/ 363213 h 1173269"/>
                <a:gd name="connsiteX35" fmla="*/ 932528 w 1051515"/>
                <a:gd name="connsiteY35" fmla="*/ 204932 h 1173269"/>
                <a:gd name="connsiteX36" fmla="*/ 1037679 w 1051515"/>
                <a:gd name="connsiteY36" fmla="*/ 63255 h 1173269"/>
                <a:gd name="connsiteX37" fmla="*/ 1037679 w 1051515"/>
                <a:gd name="connsiteY37" fmla="*/ 11786 h 1173269"/>
                <a:gd name="connsiteX38" fmla="*/ 989531 w 1051515"/>
                <a:gd name="connsiteY38" fmla="*/ 19534 h 1173269"/>
                <a:gd name="connsiteX39" fmla="*/ 911498 w 1051515"/>
                <a:gd name="connsiteY39" fmla="*/ 95353 h 1173269"/>
                <a:gd name="connsiteX40" fmla="*/ 800812 w 1051515"/>
                <a:gd name="connsiteY40" fmla="*/ 269684 h 1173269"/>
                <a:gd name="connsiteX41" fmla="*/ 748789 w 1051515"/>
                <a:gd name="connsiteY41" fmla="*/ 368194 h 1173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051515" h="1173269">
                  <a:moveTo>
                    <a:pt x="855048" y="401400"/>
                  </a:moveTo>
                  <a:cubicBezTo>
                    <a:pt x="850067" y="403060"/>
                    <a:pt x="845086" y="405827"/>
                    <a:pt x="840105" y="405827"/>
                  </a:cubicBezTo>
                  <a:cubicBezTo>
                    <a:pt x="806346" y="406934"/>
                    <a:pt x="772587" y="406934"/>
                    <a:pt x="739381" y="408594"/>
                  </a:cubicBezTo>
                  <a:cubicBezTo>
                    <a:pt x="733293" y="409148"/>
                    <a:pt x="724439" y="414682"/>
                    <a:pt x="721672" y="420216"/>
                  </a:cubicBezTo>
                  <a:cubicBezTo>
                    <a:pt x="692893" y="477773"/>
                    <a:pt x="665222" y="535329"/>
                    <a:pt x="636997" y="592886"/>
                  </a:cubicBezTo>
                  <a:cubicBezTo>
                    <a:pt x="615966" y="634947"/>
                    <a:pt x="596596" y="678668"/>
                    <a:pt x="572246" y="719068"/>
                  </a:cubicBezTo>
                  <a:cubicBezTo>
                    <a:pt x="533506" y="782712"/>
                    <a:pt x="493105" y="845250"/>
                    <a:pt x="448831" y="905574"/>
                  </a:cubicBezTo>
                  <a:cubicBezTo>
                    <a:pt x="385187" y="992462"/>
                    <a:pt x="304386" y="1062747"/>
                    <a:pt x="214177" y="1121411"/>
                  </a:cubicBezTo>
                  <a:cubicBezTo>
                    <a:pt x="161048" y="1155723"/>
                    <a:pt x="103491" y="1176754"/>
                    <a:pt x="39294" y="1175647"/>
                  </a:cubicBezTo>
                  <a:cubicBezTo>
                    <a:pt x="28778" y="1175647"/>
                    <a:pt x="18263" y="1173987"/>
                    <a:pt x="8301" y="1171220"/>
                  </a:cubicBezTo>
                  <a:cubicBezTo>
                    <a:pt x="4427" y="1170113"/>
                    <a:pt x="2767" y="1162918"/>
                    <a:pt x="0" y="1158490"/>
                  </a:cubicBezTo>
                  <a:cubicBezTo>
                    <a:pt x="4427" y="1156830"/>
                    <a:pt x="9408" y="1152956"/>
                    <a:pt x="12729" y="1154063"/>
                  </a:cubicBezTo>
                  <a:cubicBezTo>
                    <a:pt x="81907" y="1172326"/>
                    <a:pt x="142231" y="1151296"/>
                    <a:pt x="197574" y="1112003"/>
                  </a:cubicBezTo>
                  <a:cubicBezTo>
                    <a:pt x="282249" y="1052232"/>
                    <a:pt x="343680" y="972538"/>
                    <a:pt x="392935" y="882330"/>
                  </a:cubicBezTo>
                  <a:cubicBezTo>
                    <a:pt x="421713" y="830307"/>
                    <a:pt x="450491" y="777731"/>
                    <a:pt x="478716" y="725156"/>
                  </a:cubicBezTo>
                  <a:cubicBezTo>
                    <a:pt x="494212" y="695824"/>
                    <a:pt x="508601" y="665939"/>
                    <a:pt x="523544" y="637161"/>
                  </a:cubicBezTo>
                  <a:cubicBezTo>
                    <a:pt x="560070" y="567428"/>
                    <a:pt x="596596" y="497696"/>
                    <a:pt x="633123" y="427964"/>
                  </a:cubicBezTo>
                  <a:cubicBezTo>
                    <a:pt x="635890" y="422983"/>
                    <a:pt x="637550" y="418002"/>
                    <a:pt x="640871" y="411361"/>
                  </a:cubicBezTo>
                  <a:cubicBezTo>
                    <a:pt x="627589" y="408041"/>
                    <a:pt x="615966" y="405827"/>
                    <a:pt x="604345" y="403060"/>
                  </a:cubicBezTo>
                  <a:cubicBezTo>
                    <a:pt x="604345" y="400846"/>
                    <a:pt x="604345" y="398632"/>
                    <a:pt x="604345" y="396419"/>
                  </a:cubicBezTo>
                  <a:cubicBezTo>
                    <a:pt x="610432" y="396419"/>
                    <a:pt x="617627" y="394758"/>
                    <a:pt x="623161" y="396972"/>
                  </a:cubicBezTo>
                  <a:cubicBezTo>
                    <a:pt x="644192" y="404167"/>
                    <a:pt x="653046" y="394205"/>
                    <a:pt x="663008" y="376495"/>
                  </a:cubicBezTo>
                  <a:cubicBezTo>
                    <a:pt x="723885" y="268023"/>
                    <a:pt x="797491" y="169513"/>
                    <a:pt x="886593" y="82625"/>
                  </a:cubicBezTo>
                  <a:cubicBezTo>
                    <a:pt x="914818" y="54953"/>
                    <a:pt x="949131" y="32816"/>
                    <a:pt x="981783" y="10679"/>
                  </a:cubicBezTo>
                  <a:cubicBezTo>
                    <a:pt x="992298" y="3484"/>
                    <a:pt x="1007795" y="1270"/>
                    <a:pt x="1021630" y="163"/>
                  </a:cubicBezTo>
                  <a:cubicBezTo>
                    <a:pt x="1042107" y="-1497"/>
                    <a:pt x="1052622" y="9572"/>
                    <a:pt x="1054836" y="29495"/>
                  </a:cubicBezTo>
                  <a:cubicBezTo>
                    <a:pt x="1058156" y="59380"/>
                    <a:pt x="1048195" y="85945"/>
                    <a:pt x="1033805" y="110296"/>
                  </a:cubicBezTo>
                  <a:cubicBezTo>
                    <a:pt x="1001707" y="166192"/>
                    <a:pt x="960199" y="214894"/>
                    <a:pt x="912051" y="256401"/>
                  </a:cubicBezTo>
                  <a:cubicBezTo>
                    <a:pt x="857262" y="303443"/>
                    <a:pt x="799152" y="347164"/>
                    <a:pt x="742702" y="391991"/>
                  </a:cubicBezTo>
                  <a:cubicBezTo>
                    <a:pt x="741595" y="393098"/>
                    <a:pt x="741042" y="394205"/>
                    <a:pt x="738828" y="396972"/>
                  </a:cubicBezTo>
                  <a:cubicBezTo>
                    <a:pt x="778121" y="396972"/>
                    <a:pt x="815755" y="396972"/>
                    <a:pt x="853941" y="396972"/>
                  </a:cubicBezTo>
                  <a:cubicBezTo>
                    <a:pt x="853941" y="398632"/>
                    <a:pt x="854495" y="400293"/>
                    <a:pt x="855048" y="401400"/>
                  </a:cubicBezTo>
                  <a:close/>
                  <a:moveTo>
                    <a:pt x="748789" y="368194"/>
                  </a:moveTo>
                  <a:cubicBezTo>
                    <a:pt x="749343" y="368747"/>
                    <a:pt x="750450" y="369854"/>
                    <a:pt x="751003" y="370408"/>
                  </a:cubicBezTo>
                  <a:cubicBezTo>
                    <a:pt x="754324" y="368194"/>
                    <a:pt x="758751" y="365980"/>
                    <a:pt x="761519" y="363213"/>
                  </a:cubicBezTo>
                  <a:cubicBezTo>
                    <a:pt x="818522" y="310637"/>
                    <a:pt x="877185" y="259168"/>
                    <a:pt x="932528" y="204932"/>
                  </a:cubicBezTo>
                  <a:cubicBezTo>
                    <a:pt x="974589" y="163425"/>
                    <a:pt x="1011668" y="117491"/>
                    <a:pt x="1037679" y="63255"/>
                  </a:cubicBezTo>
                  <a:cubicBezTo>
                    <a:pt x="1048748" y="40564"/>
                    <a:pt x="1049855" y="18980"/>
                    <a:pt x="1037679" y="11786"/>
                  </a:cubicBezTo>
                  <a:cubicBezTo>
                    <a:pt x="1020523" y="1270"/>
                    <a:pt x="1002260" y="8465"/>
                    <a:pt x="989531" y="19534"/>
                  </a:cubicBezTo>
                  <a:cubicBezTo>
                    <a:pt x="961860" y="43331"/>
                    <a:pt x="932528" y="66575"/>
                    <a:pt x="911498" y="95353"/>
                  </a:cubicBezTo>
                  <a:cubicBezTo>
                    <a:pt x="871651" y="151250"/>
                    <a:pt x="836232" y="210467"/>
                    <a:pt x="800812" y="269684"/>
                  </a:cubicBezTo>
                  <a:cubicBezTo>
                    <a:pt x="781995" y="301782"/>
                    <a:pt x="765946" y="335542"/>
                    <a:pt x="748789" y="368194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="" xmlns:a16="http://schemas.microsoft.com/office/drawing/2014/main" id="{0835C8BC-2ED6-4E3B-8EB5-D92836849549}"/>
                </a:ext>
              </a:extLst>
            </p:cNvPr>
            <p:cNvSpPr/>
            <p:nvPr/>
          </p:nvSpPr>
          <p:spPr>
            <a:xfrm>
              <a:off x="10357792" y="6506703"/>
              <a:ext cx="216985" cy="160510"/>
            </a:xfrm>
            <a:custGeom>
              <a:avLst/>
              <a:gdLst>
                <a:gd name="connsiteX0" fmla="*/ 376670 w 404003"/>
                <a:gd name="connsiteY0" fmla="*/ 218118 h 298851"/>
                <a:gd name="connsiteX1" fmla="*/ 290888 w 404003"/>
                <a:gd name="connsiteY1" fmla="*/ 210923 h 298851"/>
                <a:gd name="connsiteX2" fmla="*/ 197359 w 404003"/>
                <a:gd name="connsiteY2" fmla="*/ 159454 h 298851"/>
                <a:gd name="connsiteX3" fmla="*/ 154191 w 404003"/>
                <a:gd name="connsiteY3" fmla="*/ 94703 h 298851"/>
                <a:gd name="connsiteX4" fmla="*/ 210087 w 404003"/>
                <a:gd name="connsiteY4" fmla="*/ 67 h 298851"/>
                <a:gd name="connsiteX5" fmla="*/ 293655 w 404003"/>
                <a:gd name="connsiteY5" fmla="*/ 32166 h 298851"/>
                <a:gd name="connsiteX6" fmla="*/ 378883 w 404003"/>
                <a:gd name="connsiteY6" fmla="*/ 157794 h 298851"/>
                <a:gd name="connsiteX7" fmla="*/ 399360 w 404003"/>
                <a:gd name="connsiteY7" fmla="*/ 199855 h 298851"/>
                <a:gd name="connsiteX8" fmla="*/ 389398 w 404003"/>
                <a:gd name="connsiteY8" fmla="*/ 224759 h 298851"/>
                <a:gd name="connsiteX9" fmla="*/ 293102 w 404003"/>
                <a:gd name="connsiteY9" fmla="*/ 255197 h 298851"/>
                <a:gd name="connsiteX10" fmla="*/ 167473 w 404003"/>
                <a:gd name="connsiteY10" fmla="*/ 293938 h 298851"/>
                <a:gd name="connsiteX11" fmla="*/ 62322 w 404003"/>
                <a:gd name="connsiteY11" fmla="*/ 285636 h 298851"/>
                <a:gd name="connsiteX12" fmla="*/ 14174 w 404003"/>
                <a:gd name="connsiteY12" fmla="*/ 245236 h 298851"/>
                <a:gd name="connsiteX13" fmla="*/ 93314 w 404003"/>
                <a:gd name="connsiteY13" fmla="*/ 93596 h 298851"/>
                <a:gd name="connsiteX14" fmla="*/ 146443 w 404003"/>
                <a:gd name="connsiteY14" fmla="*/ 111860 h 298851"/>
                <a:gd name="connsiteX15" fmla="*/ 208427 w 404003"/>
                <a:gd name="connsiteY15" fmla="*/ 184359 h 298851"/>
                <a:gd name="connsiteX16" fmla="*/ 264877 w 404003"/>
                <a:gd name="connsiteY16" fmla="*/ 216457 h 298851"/>
                <a:gd name="connsiteX17" fmla="*/ 376670 w 404003"/>
                <a:gd name="connsiteY17" fmla="*/ 224759 h 298851"/>
                <a:gd name="connsiteX18" fmla="*/ 376670 w 404003"/>
                <a:gd name="connsiteY18" fmla="*/ 218118 h 298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04003" h="298851">
                  <a:moveTo>
                    <a:pt x="376670" y="218118"/>
                  </a:moveTo>
                  <a:cubicBezTo>
                    <a:pt x="347891" y="215351"/>
                    <a:pt x="319113" y="210923"/>
                    <a:pt x="290888" y="210923"/>
                  </a:cubicBezTo>
                  <a:cubicBezTo>
                    <a:pt x="249381" y="210923"/>
                    <a:pt x="218942" y="194320"/>
                    <a:pt x="197359" y="159454"/>
                  </a:cubicBezTo>
                  <a:cubicBezTo>
                    <a:pt x="183523" y="137317"/>
                    <a:pt x="165813" y="117947"/>
                    <a:pt x="154191" y="94703"/>
                  </a:cubicBezTo>
                  <a:cubicBezTo>
                    <a:pt x="128733" y="46555"/>
                    <a:pt x="155851" y="2280"/>
                    <a:pt x="210087" y="67"/>
                  </a:cubicBezTo>
                  <a:cubicBezTo>
                    <a:pt x="242186" y="-1040"/>
                    <a:pt x="269304" y="11689"/>
                    <a:pt x="293655" y="32166"/>
                  </a:cubicBezTo>
                  <a:cubicBezTo>
                    <a:pt x="334056" y="65925"/>
                    <a:pt x="353426" y="114073"/>
                    <a:pt x="378883" y="157794"/>
                  </a:cubicBezTo>
                  <a:cubicBezTo>
                    <a:pt x="386631" y="171076"/>
                    <a:pt x="393273" y="185466"/>
                    <a:pt x="399360" y="199855"/>
                  </a:cubicBezTo>
                  <a:cubicBezTo>
                    <a:pt x="404341" y="210923"/>
                    <a:pt x="411535" y="220332"/>
                    <a:pt x="389398" y="224759"/>
                  </a:cubicBezTo>
                  <a:cubicBezTo>
                    <a:pt x="356746" y="231400"/>
                    <a:pt x="325201" y="245236"/>
                    <a:pt x="293102" y="255197"/>
                  </a:cubicBezTo>
                  <a:cubicBezTo>
                    <a:pt x="251595" y="268480"/>
                    <a:pt x="210087" y="282869"/>
                    <a:pt x="167473" y="293938"/>
                  </a:cubicBezTo>
                  <a:cubicBezTo>
                    <a:pt x="132054" y="303346"/>
                    <a:pt x="95527" y="303346"/>
                    <a:pt x="62322" y="285636"/>
                  </a:cubicBezTo>
                  <a:cubicBezTo>
                    <a:pt x="44059" y="275674"/>
                    <a:pt x="25242" y="261839"/>
                    <a:pt x="14174" y="245236"/>
                  </a:cubicBezTo>
                  <a:cubicBezTo>
                    <a:pt x="-24566" y="187126"/>
                    <a:pt x="20815" y="103004"/>
                    <a:pt x="93314" y="93596"/>
                  </a:cubicBezTo>
                  <a:cubicBezTo>
                    <a:pt x="114897" y="90829"/>
                    <a:pt x="132054" y="95810"/>
                    <a:pt x="146443" y="111860"/>
                  </a:cubicBezTo>
                  <a:cubicBezTo>
                    <a:pt x="167473" y="135657"/>
                    <a:pt x="188504" y="159454"/>
                    <a:pt x="208427" y="184359"/>
                  </a:cubicBezTo>
                  <a:cubicBezTo>
                    <a:pt x="223370" y="203175"/>
                    <a:pt x="239973" y="215351"/>
                    <a:pt x="264877" y="216457"/>
                  </a:cubicBezTo>
                  <a:cubicBezTo>
                    <a:pt x="302510" y="218118"/>
                    <a:pt x="339590" y="221992"/>
                    <a:pt x="376670" y="224759"/>
                  </a:cubicBezTo>
                  <a:cubicBezTo>
                    <a:pt x="376116" y="223099"/>
                    <a:pt x="376116" y="220885"/>
                    <a:pt x="376670" y="218118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="" xmlns:a16="http://schemas.microsoft.com/office/drawing/2014/main" id="{1E3AB4C5-81E9-481C-B8B2-7AF55D4AE61F}"/>
                </a:ext>
              </a:extLst>
            </p:cNvPr>
            <p:cNvSpPr/>
            <p:nvPr/>
          </p:nvSpPr>
          <p:spPr>
            <a:xfrm>
              <a:off x="8919987" y="6540914"/>
              <a:ext cx="225903" cy="121869"/>
            </a:xfrm>
            <a:custGeom>
              <a:avLst/>
              <a:gdLst>
                <a:gd name="connsiteX0" fmla="*/ 421042 w 420606"/>
                <a:gd name="connsiteY0" fmla="*/ 153867 h 226905"/>
                <a:gd name="connsiteX1" fmla="*/ 360165 w 420606"/>
                <a:gd name="connsiteY1" fmla="*/ 170469 h 226905"/>
                <a:gd name="connsiteX2" fmla="*/ 197457 w 420606"/>
                <a:gd name="connsiteY2" fmla="*/ 219171 h 226905"/>
                <a:gd name="connsiteX3" fmla="*/ 50245 w 420606"/>
                <a:gd name="connsiteY3" fmla="*/ 198694 h 226905"/>
                <a:gd name="connsiteX4" fmla="*/ 4310 w 420606"/>
                <a:gd name="connsiteY4" fmla="*/ 145565 h 226905"/>
                <a:gd name="connsiteX5" fmla="*/ 2096 w 420606"/>
                <a:gd name="connsiteY5" fmla="*/ 138924 h 226905"/>
                <a:gd name="connsiteX6" fmla="*/ 118316 w 420606"/>
                <a:gd name="connsiteY6" fmla="*/ 13 h 226905"/>
                <a:gd name="connsiteX7" fmla="*/ 163144 w 420606"/>
                <a:gd name="connsiteY7" fmla="*/ 26578 h 226905"/>
                <a:gd name="connsiteX8" fmla="*/ 225128 w 420606"/>
                <a:gd name="connsiteY8" fmla="*/ 99077 h 226905"/>
                <a:gd name="connsiteX9" fmla="*/ 292647 w 420606"/>
                <a:gd name="connsiteY9" fmla="*/ 135603 h 226905"/>
                <a:gd name="connsiteX10" fmla="*/ 419935 w 420606"/>
                <a:gd name="connsiteY10" fmla="*/ 146672 h 226905"/>
                <a:gd name="connsiteX11" fmla="*/ 421042 w 420606"/>
                <a:gd name="connsiteY11" fmla="*/ 153867 h 226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20606" h="226905">
                  <a:moveTo>
                    <a:pt x="421042" y="153867"/>
                  </a:moveTo>
                  <a:cubicBezTo>
                    <a:pt x="400565" y="159401"/>
                    <a:pt x="380088" y="164382"/>
                    <a:pt x="360165" y="170469"/>
                  </a:cubicBezTo>
                  <a:cubicBezTo>
                    <a:pt x="305929" y="186519"/>
                    <a:pt x="251693" y="203675"/>
                    <a:pt x="197457" y="219171"/>
                  </a:cubicBezTo>
                  <a:cubicBezTo>
                    <a:pt x="145434" y="234114"/>
                    <a:pt x="94519" y="233007"/>
                    <a:pt x="50245" y="198694"/>
                  </a:cubicBezTo>
                  <a:cubicBezTo>
                    <a:pt x="31982" y="184858"/>
                    <a:pt x="19253" y="163828"/>
                    <a:pt x="4310" y="145565"/>
                  </a:cubicBezTo>
                  <a:cubicBezTo>
                    <a:pt x="2650" y="143905"/>
                    <a:pt x="2096" y="141138"/>
                    <a:pt x="2096" y="138924"/>
                  </a:cubicBezTo>
                  <a:cubicBezTo>
                    <a:pt x="-11739" y="66978"/>
                    <a:pt x="44710" y="-1094"/>
                    <a:pt x="118316" y="13"/>
                  </a:cubicBezTo>
                  <a:cubicBezTo>
                    <a:pt x="138240" y="13"/>
                    <a:pt x="151522" y="13849"/>
                    <a:pt x="163144" y="26578"/>
                  </a:cubicBezTo>
                  <a:cubicBezTo>
                    <a:pt x="184728" y="50375"/>
                    <a:pt x="205758" y="74173"/>
                    <a:pt x="225128" y="99077"/>
                  </a:cubicBezTo>
                  <a:cubicBezTo>
                    <a:pt x="242838" y="121768"/>
                    <a:pt x="263315" y="133943"/>
                    <a:pt x="292647" y="135603"/>
                  </a:cubicBezTo>
                  <a:cubicBezTo>
                    <a:pt x="335261" y="137817"/>
                    <a:pt x="377321" y="142798"/>
                    <a:pt x="419935" y="146672"/>
                  </a:cubicBezTo>
                  <a:cubicBezTo>
                    <a:pt x="420489" y="149439"/>
                    <a:pt x="420489" y="151653"/>
                    <a:pt x="421042" y="153867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="" xmlns:a16="http://schemas.microsoft.com/office/drawing/2014/main" id="{5220A4D9-AC36-4C3F-9A28-759C311F8EF1}"/>
                </a:ext>
              </a:extLst>
            </p:cNvPr>
            <p:cNvSpPr/>
            <p:nvPr/>
          </p:nvSpPr>
          <p:spPr>
            <a:xfrm>
              <a:off x="10075965" y="6293455"/>
              <a:ext cx="222930" cy="222930"/>
            </a:xfrm>
            <a:custGeom>
              <a:avLst/>
              <a:gdLst>
                <a:gd name="connsiteX0" fmla="*/ 418258 w 415071"/>
                <a:gd name="connsiteY0" fmla="*/ 161904 h 415071"/>
                <a:gd name="connsiteX1" fmla="*/ 412723 w 415071"/>
                <a:gd name="connsiteY1" fmla="*/ 176293 h 415071"/>
                <a:gd name="connsiteX2" fmla="*/ 247248 w 415071"/>
                <a:gd name="connsiteY2" fmla="*/ 362798 h 415071"/>
                <a:gd name="connsiteX3" fmla="*/ 113318 w 415071"/>
                <a:gd name="connsiteY3" fmla="*/ 417588 h 415071"/>
                <a:gd name="connsiteX4" fmla="*/ 972 w 415071"/>
                <a:gd name="connsiteY4" fmla="*/ 308562 h 415071"/>
                <a:gd name="connsiteX5" fmla="*/ 75132 w 415071"/>
                <a:gd name="connsiteY5" fmla="*/ 127591 h 415071"/>
                <a:gd name="connsiteX6" fmla="*/ 287648 w 415071"/>
                <a:gd name="connsiteY6" fmla="*/ 6390 h 415071"/>
                <a:gd name="connsiteX7" fmla="*/ 330263 w 415071"/>
                <a:gd name="connsiteY7" fmla="*/ 302 h 415071"/>
                <a:gd name="connsiteX8" fmla="*/ 387819 w 415071"/>
                <a:gd name="connsiteY8" fmla="*/ 29634 h 415071"/>
                <a:gd name="connsiteX9" fmla="*/ 384499 w 415071"/>
                <a:gd name="connsiteY9" fmla="*/ 91065 h 415071"/>
                <a:gd name="connsiteX10" fmla="*/ 293183 w 415071"/>
                <a:gd name="connsiteY10" fmla="*/ 159690 h 415071"/>
                <a:gd name="connsiteX11" fmla="*/ 114425 w 415071"/>
                <a:gd name="connsiteY11" fmla="*/ 215586 h 415071"/>
                <a:gd name="connsiteX12" fmla="*/ 97269 w 415071"/>
                <a:gd name="connsiteY12" fmla="*/ 229422 h 415071"/>
                <a:gd name="connsiteX13" fmla="*/ 61849 w 415071"/>
                <a:gd name="connsiteY13" fmla="*/ 319077 h 415071"/>
                <a:gd name="connsiteX14" fmla="*/ 152058 w 415071"/>
                <a:gd name="connsiteY14" fmla="*/ 401538 h 415071"/>
                <a:gd name="connsiteX15" fmla="*/ 249462 w 415071"/>
                <a:gd name="connsiteY15" fmla="*/ 346749 h 415071"/>
                <a:gd name="connsiteX16" fmla="*/ 395014 w 415071"/>
                <a:gd name="connsiteY16" fmla="*/ 179060 h 415071"/>
                <a:gd name="connsiteX17" fmla="*/ 412170 w 415071"/>
                <a:gd name="connsiteY17" fmla="*/ 158583 h 415071"/>
                <a:gd name="connsiteX18" fmla="*/ 418258 w 415071"/>
                <a:gd name="connsiteY18" fmla="*/ 161904 h 415071"/>
                <a:gd name="connsiteX19" fmla="*/ 114425 w 415071"/>
                <a:gd name="connsiteY19" fmla="*/ 202304 h 415071"/>
                <a:gd name="connsiteX20" fmla="*/ 126601 w 415071"/>
                <a:gd name="connsiteY20" fmla="*/ 200644 h 415071"/>
                <a:gd name="connsiteX21" fmla="*/ 314767 w 415071"/>
                <a:gd name="connsiteY21" fmla="*/ 96599 h 415071"/>
                <a:gd name="connsiteX22" fmla="*/ 352400 w 415071"/>
                <a:gd name="connsiteY22" fmla="*/ 34061 h 415071"/>
                <a:gd name="connsiteX23" fmla="*/ 331369 w 415071"/>
                <a:gd name="connsiteY23" fmla="*/ 8604 h 415071"/>
                <a:gd name="connsiteX24" fmla="*/ 305912 w 415071"/>
                <a:gd name="connsiteY24" fmla="*/ 13585 h 415071"/>
                <a:gd name="connsiteX25" fmla="*/ 247248 w 415071"/>
                <a:gd name="connsiteY25" fmla="*/ 49557 h 415071"/>
                <a:gd name="connsiteX26" fmla="*/ 114425 w 415071"/>
                <a:gd name="connsiteY26" fmla="*/ 202304 h 41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5071" h="415071">
                  <a:moveTo>
                    <a:pt x="418258" y="161904"/>
                  </a:moveTo>
                  <a:cubicBezTo>
                    <a:pt x="416597" y="166884"/>
                    <a:pt x="415490" y="172419"/>
                    <a:pt x="412723" y="176293"/>
                  </a:cubicBezTo>
                  <a:cubicBezTo>
                    <a:pt x="362361" y="242704"/>
                    <a:pt x="313106" y="310223"/>
                    <a:pt x="247248" y="362798"/>
                  </a:cubicBezTo>
                  <a:cubicBezTo>
                    <a:pt x="208508" y="393790"/>
                    <a:pt x="165894" y="418694"/>
                    <a:pt x="113318" y="417588"/>
                  </a:cubicBezTo>
                  <a:cubicBezTo>
                    <a:pt x="52441" y="415927"/>
                    <a:pt x="5953" y="368886"/>
                    <a:pt x="972" y="308562"/>
                  </a:cubicBezTo>
                  <a:cubicBezTo>
                    <a:pt x="-5669" y="234956"/>
                    <a:pt x="22002" y="176293"/>
                    <a:pt x="75132" y="127591"/>
                  </a:cubicBezTo>
                  <a:cubicBezTo>
                    <a:pt x="137116" y="71141"/>
                    <a:pt x="207401" y="29634"/>
                    <a:pt x="287648" y="6390"/>
                  </a:cubicBezTo>
                  <a:cubicBezTo>
                    <a:pt x="301484" y="2516"/>
                    <a:pt x="315873" y="1409"/>
                    <a:pt x="330263" y="302"/>
                  </a:cubicBezTo>
                  <a:cubicBezTo>
                    <a:pt x="355167" y="-1911"/>
                    <a:pt x="375644" y="8050"/>
                    <a:pt x="387819" y="29634"/>
                  </a:cubicBezTo>
                  <a:cubicBezTo>
                    <a:pt x="399441" y="49557"/>
                    <a:pt x="396120" y="71695"/>
                    <a:pt x="384499" y="91065"/>
                  </a:cubicBezTo>
                  <a:cubicBezTo>
                    <a:pt x="364022" y="126484"/>
                    <a:pt x="330263" y="146961"/>
                    <a:pt x="293183" y="159690"/>
                  </a:cubicBezTo>
                  <a:cubicBezTo>
                    <a:pt x="233966" y="180167"/>
                    <a:pt x="173642" y="196770"/>
                    <a:pt x="114425" y="215586"/>
                  </a:cubicBezTo>
                  <a:cubicBezTo>
                    <a:pt x="107784" y="217800"/>
                    <a:pt x="99483" y="223334"/>
                    <a:pt x="97269" y="229422"/>
                  </a:cubicBezTo>
                  <a:cubicBezTo>
                    <a:pt x="84540" y="258754"/>
                    <a:pt x="69597" y="288085"/>
                    <a:pt x="61849" y="319077"/>
                  </a:cubicBezTo>
                  <a:cubicBezTo>
                    <a:pt x="43586" y="392130"/>
                    <a:pt x="88414" y="415374"/>
                    <a:pt x="152058" y="401538"/>
                  </a:cubicBezTo>
                  <a:cubicBezTo>
                    <a:pt x="189691" y="393237"/>
                    <a:pt x="221237" y="371653"/>
                    <a:pt x="249462" y="346749"/>
                  </a:cubicBezTo>
                  <a:cubicBezTo>
                    <a:pt x="304805" y="296940"/>
                    <a:pt x="352400" y="239937"/>
                    <a:pt x="395014" y="179060"/>
                  </a:cubicBezTo>
                  <a:cubicBezTo>
                    <a:pt x="399994" y="171865"/>
                    <a:pt x="406636" y="165778"/>
                    <a:pt x="412170" y="158583"/>
                  </a:cubicBezTo>
                  <a:cubicBezTo>
                    <a:pt x="414384" y="159690"/>
                    <a:pt x="416044" y="160797"/>
                    <a:pt x="418258" y="161904"/>
                  </a:cubicBezTo>
                  <a:close/>
                  <a:moveTo>
                    <a:pt x="114425" y="202304"/>
                  </a:moveTo>
                  <a:cubicBezTo>
                    <a:pt x="121066" y="201750"/>
                    <a:pt x="123834" y="201750"/>
                    <a:pt x="126601" y="200644"/>
                  </a:cubicBezTo>
                  <a:cubicBezTo>
                    <a:pt x="196333" y="178506"/>
                    <a:pt x="261637" y="147514"/>
                    <a:pt x="314767" y="96599"/>
                  </a:cubicBezTo>
                  <a:cubicBezTo>
                    <a:pt x="332476" y="79443"/>
                    <a:pt x="349633" y="60626"/>
                    <a:pt x="352400" y="34061"/>
                  </a:cubicBezTo>
                  <a:cubicBezTo>
                    <a:pt x="354613" y="16352"/>
                    <a:pt x="348526" y="8050"/>
                    <a:pt x="331369" y="8604"/>
                  </a:cubicBezTo>
                  <a:cubicBezTo>
                    <a:pt x="323068" y="8604"/>
                    <a:pt x="313660" y="9711"/>
                    <a:pt x="305912" y="13585"/>
                  </a:cubicBezTo>
                  <a:cubicBezTo>
                    <a:pt x="285988" y="24653"/>
                    <a:pt x="265511" y="35722"/>
                    <a:pt x="247248" y="49557"/>
                  </a:cubicBezTo>
                  <a:cubicBezTo>
                    <a:pt x="195226" y="91618"/>
                    <a:pt x="152612" y="142534"/>
                    <a:pt x="114425" y="202304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="" xmlns:a16="http://schemas.microsoft.com/office/drawing/2014/main" id="{FC19C86C-2241-446D-BCA2-CF20D11829E3}"/>
                </a:ext>
              </a:extLst>
            </p:cNvPr>
            <p:cNvSpPr/>
            <p:nvPr/>
          </p:nvSpPr>
          <p:spPr>
            <a:xfrm>
              <a:off x="10300330" y="6286001"/>
              <a:ext cx="231848" cy="222930"/>
            </a:xfrm>
            <a:custGeom>
              <a:avLst/>
              <a:gdLst>
                <a:gd name="connsiteX0" fmla="*/ 437170 w 431674"/>
                <a:gd name="connsiteY0" fmla="*/ 179102 h 415071"/>
                <a:gd name="connsiteX1" fmla="*/ 422781 w 431674"/>
                <a:gd name="connsiteY1" fmla="*/ 199579 h 415071"/>
                <a:gd name="connsiteX2" fmla="*/ 256752 w 431674"/>
                <a:gd name="connsiteY2" fmla="*/ 359520 h 415071"/>
                <a:gd name="connsiteX3" fmla="*/ 117841 w 431674"/>
                <a:gd name="connsiteY3" fmla="*/ 417077 h 415071"/>
                <a:gd name="connsiteX4" fmla="*/ 514 w 431674"/>
                <a:gd name="connsiteY4" fmla="*/ 305284 h 415071"/>
                <a:gd name="connsiteX5" fmla="*/ 80761 w 431674"/>
                <a:gd name="connsiteY5" fmla="*/ 124866 h 415071"/>
                <a:gd name="connsiteX6" fmla="*/ 306007 w 431674"/>
                <a:gd name="connsiteY6" fmla="*/ 3112 h 415071"/>
                <a:gd name="connsiteX7" fmla="*/ 352495 w 431674"/>
                <a:gd name="connsiteY7" fmla="*/ 2005 h 415071"/>
                <a:gd name="connsiteX8" fmla="*/ 377953 w 431674"/>
                <a:gd name="connsiteY8" fmla="*/ 106050 h 415071"/>
                <a:gd name="connsiteX9" fmla="*/ 281103 w 431674"/>
                <a:gd name="connsiteY9" fmla="*/ 165820 h 415071"/>
                <a:gd name="connsiteX10" fmla="*/ 115074 w 431674"/>
                <a:gd name="connsiteY10" fmla="*/ 216735 h 415071"/>
                <a:gd name="connsiteX11" fmla="*/ 102345 w 431674"/>
                <a:gd name="connsiteY11" fmla="*/ 223930 h 415071"/>
                <a:gd name="connsiteX12" fmla="*/ 59178 w 431674"/>
                <a:gd name="connsiteY12" fmla="*/ 332955 h 415071"/>
                <a:gd name="connsiteX13" fmla="*/ 125036 w 431674"/>
                <a:gd name="connsiteY13" fmla="*/ 405455 h 415071"/>
                <a:gd name="connsiteX14" fmla="*/ 239042 w 431674"/>
                <a:gd name="connsiteY14" fmla="*/ 358967 h 415071"/>
                <a:gd name="connsiteX15" fmla="*/ 407284 w 431674"/>
                <a:gd name="connsiteY15" fmla="*/ 198472 h 415071"/>
                <a:gd name="connsiteX16" fmla="*/ 431082 w 431674"/>
                <a:gd name="connsiteY16" fmla="*/ 174121 h 415071"/>
                <a:gd name="connsiteX17" fmla="*/ 437170 w 431674"/>
                <a:gd name="connsiteY17" fmla="*/ 179102 h 415071"/>
                <a:gd name="connsiteX18" fmla="*/ 112307 w 431674"/>
                <a:gd name="connsiteY18" fmla="*/ 204560 h 415071"/>
                <a:gd name="connsiteX19" fmla="*/ 123375 w 431674"/>
                <a:gd name="connsiteY19" fmla="*/ 203453 h 415071"/>
                <a:gd name="connsiteX20" fmla="*/ 328144 w 431674"/>
                <a:gd name="connsiteY20" fmla="*/ 85019 h 415071"/>
                <a:gd name="connsiteX21" fmla="*/ 355262 w 431674"/>
                <a:gd name="connsiteY21" fmla="*/ 31890 h 415071"/>
                <a:gd name="connsiteX22" fmla="*/ 339213 w 431674"/>
                <a:gd name="connsiteY22" fmla="*/ 8646 h 415071"/>
                <a:gd name="connsiteX23" fmla="*/ 313755 w 431674"/>
                <a:gd name="connsiteY23" fmla="*/ 11413 h 415071"/>
                <a:gd name="connsiteX24" fmla="*/ 253431 w 431674"/>
                <a:gd name="connsiteY24" fmla="*/ 47940 h 415071"/>
                <a:gd name="connsiteX25" fmla="*/ 174291 w 431674"/>
                <a:gd name="connsiteY25" fmla="*/ 125420 h 415071"/>
                <a:gd name="connsiteX26" fmla="*/ 112307 w 431674"/>
                <a:gd name="connsiteY26" fmla="*/ 204560 h 41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1674" h="415071">
                  <a:moveTo>
                    <a:pt x="437170" y="179102"/>
                  </a:moveTo>
                  <a:cubicBezTo>
                    <a:pt x="432189" y="185743"/>
                    <a:pt x="428315" y="192938"/>
                    <a:pt x="422781" y="199579"/>
                  </a:cubicBezTo>
                  <a:cubicBezTo>
                    <a:pt x="372418" y="258242"/>
                    <a:pt x="319289" y="313585"/>
                    <a:pt x="256752" y="359520"/>
                  </a:cubicBezTo>
                  <a:cubicBezTo>
                    <a:pt x="215245" y="389959"/>
                    <a:pt x="172077" y="416523"/>
                    <a:pt x="117841" y="417077"/>
                  </a:cubicBezTo>
                  <a:cubicBezTo>
                    <a:pt x="57517" y="418184"/>
                    <a:pt x="4388" y="365608"/>
                    <a:pt x="514" y="305284"/>
                  </a:cubicBezTo>
                  <a:cubicBezTo>
                    <a:pt x="-4467" y="230018"/>
                    <a:pt x="27079" y="172461"/>
                    <a:pt x="80761" y="124866"/>
                  </a:cubicBezTo>
                  <a:cubicBezTo>
                    <a:pt x="146066" y="66756"/>
                    <a:pt x="219118" y="21928"/>
                    <a:pt x="306007" y="3112"/>
                  </a:cubicBezTo>
                  <a:cubicBezTo>
                    <a:pt x="320950" y="-209"/>
                    <a:pt x="337552" y="-1316"/>
                    <a:pt x="352495" y="2005"/>
                  </a:cubicBezTo>
                  <a:cubicBezTo>
                    <a:pt x="398430" y="11967"/>
                    <a:pt x="411712" y="67863"/>
                    <a:pt x="377953" y="106050"/>
                  </a:cubicBezTo>
                  <a:cubicBezTo>
                    <a:pt x="351941" y="135935"/>
                    <a:pt x="317629" y="153091"/>
                    <a:pt x="281103" y="165820"/>
                  </a:cubicBezTo>
                  <a:cubicBezTo>
                    <a:pt x="226313" y="184636"/>
                    <a:pt x="170417" y="199579"/>
                    <a:pt x="115074" y="216735"/>
                  </a:cubicBezTo>
                  <a:cubicBezTo>
                    <a:pt x="110647" y="218396"/>
                    <a:pt x="104559" y="220056"/>
                    <a:pt x="102345" y="223930"/>
                  </a:cubicBezTo>
                  <a:cubicBezTo>
                    <a:pt x="82422" y="257689"/>
                    <a:pt x="63605" y="292555"/>
                    <a:pt x="59178" y="332955"/>
                  </a:cubicBezTo>
                  <a:cubicBezTo>
                    <a:pt x="53643" y="382764"/>
                    <a:pt x="75227" y="406008"/>
                    <a:pt x="125036" y="405455"/>
                  </a:cubicBezTo>
                  <a:cubicBezTo>
                    <a:pt x="169310" y="404901"/>
                    <a:pt x="204729" y="383318"/>
                    <a:pt x="239042" y="358967"/>
                  </a:cubicBezTo>
                  <a:cubicBezTo>
                    <a:pt x="302686" y="313585"/>
                    <a:pt x="356922" y="258242"/>
                    <a:pt x="407284" y="198472"/>
                  </a:cubicBezTo>
                  <a:cubicBezTo>
                    <a:pt x="414479" y="189617"/>
                    <a:pt x="423334" y="182423"/>
                    <a:pt x="431082" y="174121"/>
                  </a:cubicBezTo>
                  <a:cubicBezTo>
                    <a:pt x="432742" y="175228"/>
                    <a:pt x="434956" y="177442"/>
                    <a:pt x="437170" y="179102"/>
                  </a:cubicBezTo>
                  <a:close/>
                  <a:moveTo>
                    <a:pt x="112307" y="204560"/>
                  </a:moveTo>
                  <a:cubicBezTo>
                    <a:pt x="119501" y="204006"/>
                    <a:pt x="121715" y="204006"/>
                    <a:pt x="123375" y="203453"/>
                  </a:cubicBezTo>
                  <a:cubicBezTo>
                    <a:pt x="200302" y="179102"/>
                    <a:pt x="272248" y="145343"/>
                    <a:pt x="328144" y="85019"/>
                  </a:cubicBezTo>
                  <a:cubicBezTo>
                    <a:pt x="341427" y="71184"/>
                    <a:pt x="348068" y="50153"/>
                    <a:pt x="355262" y="31890"/>
                  </a:cubicBezTo>
                  <a:cubicBezTo>
                    <a:pt x="360243" y="19161"/>
                    <a:pt x="351941" y="10306"/>
                    <a:pt x="339213" y="8646"/>
                  </a:cubicBezTo>
                  <a:cubicBezTo>
                    <a:pt x="330911" y="7539"/>
                    <a:pt x="320950" y="7539"/>
                    <a:pt x="313755" y="11413"/>
                  </a:cubicBezTo>
                  <a:cubicBezTo>
                    <a:pt x="292725" y="22482"/>
                    <a:pt x="271141" y="32997"/>
                    <a:pt x="253431" y="47940"/>
                  </a:cubicBezTo>
                  <a:cubicBezTo>
                    <a:pt x="225206" y="71737"/>
                    <a:pt x="198642" y="97748"/>
                    <a:pt x="174291" y="125420"/>
                  </a:cubicBezTo>
                  <a:cubicBezTo>
                    <a:pt x="152707" y="149217"/>
                    <a:pt x="134444" y="175782"/>
                    <a:pt x="112307" y="204560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="" xmlns:a16="http://schemas.microsoft.com/office/drawing/2014/main" id="{8007D3DC-D2A3-432F-981A-384AC24DA6D0}"/>
                </a:ext>
              </a:extLst>
            </p:cNvPr>
            <p:cNvSpPr/>
            <p:nvPr/>
          </p:nvSpPr>
          <p:spPr>
            <a:xfrm>
              <a:off x="9545895" y="6310723"/>
              <a:ext cx="255627" cy="222930"/>
            </a:xfrm>
            <a:custGeom>
              <a:avLst/>
              <a:gdLst>
                <a:gd name="connsiteX0" fmla="*/ 293904 w 475948"/>
                <a:gd name="connsiteY0" fmla="*/ 270322 h 415071"/>
                <a:gd name="connsiteX1" fmla="*/ 345926 w 475948"/>
                <a:gd name="connsiteY1" fmla="*/ 270322 h 415071"/>
                <a:gd name="connsiteX2" fmla="*/ 458826 w 475948"/>
                <a:gd name="connsiteY2" fmla="*/ 173472 h 415071"/>
                <a:gd name="connsiteX3" fmla="*/ 474875 w 475948"/>
                <a:gd name="connsiteY3" fmla="*/ 149674 h 415071"/>
                <a:gd name="connsiteX4" fmla="*/ 452185 w 475948"/>
                <a:gd name="connsiteY4" fmla="*/ 202250 h 415071"/>
                <a:gd name="connsiteX5" fmla="*/ 287816 w 475948"/>
                <a:gd name="connsiteY5" fmla="*/ 279177 h 415071"/>
                <a:gd name="connsiteX6" fmla="*/ 228599 w 475948"/>
                <a:gd name="connsiteY6" fmla="*/ 352783 h 415071"/>
                <a:gd name="connsiteX7" fmla="*/ 131196 w 475948"/>
                <a:gd name="connsiteY7" fmla="*/ 415320 h 415071"/>
                <a:gd name="connsiteX8" fmla="*/ 7781 w 475948"/>
                <a:gd name="connsiteY8" fmla="*/ 340607 h 415071"/>
                <a:gd name="connsiteX9" fmla="*/ 39880 w 475948"/>
                <a:gd name="connsiteY9" fmla="*/ 176239 h 415071"/>
                <a:gd name="connsiteX10" fmla="*/ 255164 w 475948"/>
                <a:gd name="connsiteY10" fmla="*/ 11317 h 415071"/>
                <a:gd name="connsiteX11" fmla="*/ 307740 w 475948"/>
                <a:gd name="connsiteY11" fmla="*/ 249 h 415071"/>
                <a:gd name="connsiteX12" fmla="*/ 370831 w 475948"/>
                <a:gd name="connsiteY12" fmla="*/ 54485 h 415071"/>
                <a:gd name="connsiteX13" fmla="*/ 323235 w 475948"/>
                <a:gd name="connsiteY13" fmla="*/ 223280 h 415071"/>
                <a:gd name="connsiteX14" fmla="*/ 293904 w 475948"/>
                <a:gd name="connsiteY14" fmla="*/ 270322 h 415071"/>
                <a:gd name="connsiteX15" fmla="*/ 274534 w 475948"/>
                <a:gd name="connsiteY15" fmla="*/ 274196 h 415071"/>
                <a:gd name="connsiteX16" fmla="*/ 257378 w 475948"/>
                <a:gd name="connsiteY16" fmla="*/ 229922 h 415071"/>
                <a:gd name="connsiteX17" fmla="*/ 297778 w 475948"/>
                <a:gd name="connsiteY17" fmla="*/ 126984 h 415071"/>
                <a:gd name="connsiteX18" fmla="*/ 354781 w 475948"/>
                <a:gd name="connsiteY18" fmla="*/ 116469 h 415071"/>
                <a:gd name="connsiteX19" fmla="*/ 359762 w 475948"/>
                <a:gd name="connsiteY19" fmla="*/ 52271 h 415071"/>
                <a:gd name="connsiteX20" fmla="*/ 316041 w 475948"/>
                <a:gd name="connsiteY20" fmla="*/ 11317 h 415071"/>
                <a:gd name="connsiteX21" fmla="*/ 266786 w 475948"/>
                <a:gd name="connsiteY21" fmla="*/ 24046 h 415071"/>
                <a:gd name="connsiteX22" fmla="*/ 188199 w 475948"/>
                <a:gd name="connsiteY22" fmla="*/ 93778 h 415071"/>
                <a:gd name="connsiteX23" fmla="*/ 76960 w 475948"/>
                <a:gd name="connsiteY23" fmla="*/ 281944 h 415071"/>
                <a:gd name="connsiteX24" fmla="*/ 64231 w 475948"/>
                <a:gd name="connsiteY24" fmla="*/ 370493 h 415071"/>
                <a:gd name="connsiteX25" fmla="*/ 108505 w 475948"/>
                <a:gd name="connsiteY25" fmla="*/ 405359 h 415071"/>
                <a:gd name="connsiteX26" fmla="*/ 165508 w 475948"/>
                <a:gd name="connsiteY26" fmla="*/ 385989 h 415071"/>
                <a:gd name="connsiteX27" fmla="*/ 274534 w 475948"/>
                <a:gd name="connsiteY27" fmla="*/ 274196 h 41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75948" h="415071">
                  <a:moveTo>
                    <a:pt x="293904" y="270322"/>
                  </a:moveTo>
                  <a:cubicBezTo>
                    <a:pt x="312167" y="278623"/>
                    <a:pt x="329323" y="277517"/>
                    <a:pt x="345926" y="270322"/>
                  </a:cubicBezTo>
                  <a:cubicBezTo>
                    <a:pt x="393521" y="249845"/>
                    <a:pt x="430601" y="216086"/>
                    <a:pt x="458826" y="173472"/>
                  </a:cubicBezTo>
                  <a:cubicBezTo>
                    <a:pt x="463807" y="166277"/>
                    <a:pt x="468788" y="158529"/>
                    <a:pt x="474875" y="149674"/>
                  </a:cubicBezTo>
                  <a:cubicBezTo>
                    <a:pt x="481516" y="166277"/>
                    <a:pt x="480409" y="170705"/>
                    <a:pt x="452185" y="202250"/>
                  </a:cubicBezTo>
                  <a:cubicBezTo>
                    <a:pt x="408464" y="250952"/>
                    <a:pt x="362529" y="296333"/>
                    <a:pt x="287816" y="279177"/>
                  </a:cubicBezTo>
                  <a:cubicBezTo>
                    <a:pt x="268446" y="303528"/>
                    <a:pt x="249076" y="328986"/>
                    <a:pt x="228599" y="352783"/>
                  </a:cubicBezTo>
                  <a:cubicBezTo>
                    <a:pt x="202035" y="382668"/>
                    <a:pt x="170489" y="405359"/>
                    <a:pt x="131196" y="415320"/>
                  </a:cubicBezTo>
                  <a:cubicBezTo>
                    <a:pt x="78066" y="429156"/>
                    <a:pt x="24937" y="397611"/>
                    <a:pt x="7781" y="340607"/>
                  </a:cubicBezTo>
                  <a:cubicBezTo>
                    <a:pt x="-9929" y="280837"/>
                    <a:pt x="3354" y="225494"/>
                    <a:pt x="39880" y="176239"/>
                  </a:cubicBezTo>
                  <a:cubicBezTo>
                    <a:pt x="95776" y="100973"/>
                    <a:pt x="168829" y="46737"/>
                    <a:pt x="255164" y="11317"/>
                  </a:cubicBezTo>
                  <a:cubicBezTo>
                    <a:pt x="271213" y="4676"/>
                    <a:pt x="290030" y="1909"/>
                    <a:pt x="307740" y="249"/>
                  </a:cubicBezTo>
                  <a:cubicBezTo>
                    <a:pt x="344266" y="-2519"/>
                    <a:pt x="366403" y="17958"/>
                    <a:pt x="370831" y="54485"/>
                  </a:cubicBezTo>
                  <a:cubicBezTo>
                    <a:pt x="378578" y="117576"/>
                    <a:pt x="353121" y="170705"/>
                    <a:pt x="323235" y="223280"/>
                  </a:cubicBezTo>
                  <a:cubicBezTo>
                    <a:pt x="313274" y="239330"/>
                    <a:pt x="303865" y="254273"/>
                    <a:pt x="293904" y="270322"/>
                  </a:cubicBezTo>
                  <a:close/>
                  <a:moveTo>
                    <a:pt x="274534" y="274196"/>
                  </a:moveTo>
                  <a:cubicBezTo>
                    <a:pt x="267893" y="257040"/>
                    <a:pt x="259038" y="244311"/>
                    <a:pt x="257378" y="229922"/>
                  </a:cubicBezTo>
                  <a:cubicBezTo>
                    <a:pt x="251843" y="188968"/>
                    <a:pt x="270106" y="155762"/>
                    <a:pt x="297778" y="126984"/>
                  </a:cubicBezTo>
                  <a:cubicBezTo>
                    <a:pt x="316041" y="108167"/>
                    <a:pt x="327663" y="105400"/>
                    <a:pt x="354781" y="116469"/>
                  </a:cubicBezTo>
                  <a:cubicBezTo>
                    <a:pt x="356995" y="94332"/>
                    <a:pt x="360869" y="73301"/>
                    <a:pt x="359762" y="52271"/>
                  </a:cubicBezTo>
                  <a:cubicBezTo>
                    <a:pt x="359208" y="28474"/>
                    <a:pt x="339838" y="10764"/>
                    <a:pt x="316041" y="11317"/>
                  </a:cubicBezTo>
                  <a:cubicBezTo>
                    <a:pt x="299438" y="11871"/>
                    <a:pt x="279515" y="14638"/>
                    <a:pt x="266786" y="24046"/>
                  </a:cubicBezTo>
                  <a:cubicBezTo>
                    <a:pt x="238561" y="44523"/>
                    <a:pt x="210889" y="67214"/>
                    <a:pt x="188199" y="93778"/>
                  </a:cubicBezTo>
                  <a:cubicBezTo>
                    <a:pt x="139497" y="149121"/>
                    <a:pt x="101311" y="212212"/>
                    <a:pt x="76960" y="281944"/>
                  </a:cubicBezTo>
                  <a:cubicBezTo>
                    <a:pt x="66998" y="309616"/>
                    <a:pt x="64231" y="340607"/>
                    <a:pt x="64231" y="370493"/>
                  </a:cubicBezTo>
                  <a:cubicBezTo>
                    <a:pt x="64231" y="398164"/>
                    <a:pt x="81941" y="410340"/>
                    <a:pt x="108505" y="405359"/>
                  </a:cubicBezTo>
                  <a:cubicBezTo>
                    <a:pt x="127875" y="401485"/>
                    <a:pt x="148352" y="395950"/>
                    <a:pt x="165508" y="385989"/>
                  </a:cubicBezTo>
                  <a:cubicBezTo>
                    <a:pt x="214763" y="359424"/>
                    <a:pt x="243542" y="312936"/>
                    <a:pt x="274534" y="274196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="" xmlns:a16="http://schemas.microsoft.com/office/drawing/2014/main" id="{025179F0-A3D1-421F-B293-6473AE211256}"/>
                </a:ext>
              </a:extLst>
            </p:cNvPr>
            <p:cNvSpPr/>
            <p:nvPr/>
          </p:nvSpPr>
          <p:spPr>
            <a:xfrm>
              <a:off x="9004283" y="6487394"/>
              <a:ext cx="151593" cy="127813"/>
            </a:xfrm>
            <a:custGeom>
              <a:avLst/>
              <a:gdLst>
                <a:gd name="connsiteX0" fmla="*/ 74821 w 282248"/>
                <a:gd name="connsiteY0" fmla="*/ 44 h 237974"/>
                <a:gd name="connsiteX1" fmla="*/ 198789 w 282248"/>
                <a:gd name="connsiteY1" fmla="*/ 75310 h 237974"/>
                <a:gd name="connsiteX2" fmla="*/ 276269 w 282248"/>
                <a:gd name="connsiteY2" fmla="*/ 209240 h 237974"/>
                <a:gd name="connsiteX3" fmla="*/ 284570 w 282248"/>
                <a:gd name="connsiteY3" fmla="*/ 242999 h 237974"/>
                <a:gd name="connsiteX4" fmla="*/ 253025 w 282248"/>
                <a:gd name="connsiteY4" fmla="*/ 239679 h 237974"/>
                <a:gd name="connsiteX5" fmla="*/ 134038 w 282248"/>
                <a:gd name="connsiteY5" fmla="*/ 226396 h 237974"/>
                <a:gd name="connsiteX6" fmla="*/ 78141 w 282248"/>
                <a:gd name="connsiteY6" fmla="*/ 195958 h 237974"/>
                <a:gd name="connsiteX7" fmla="*/ 5642 w 282248"/>
                <a:gd name="connsiteY7" fmla="*/ 90806 h 237974"/>
                <a:gd name="connsiteX8" fmla="*/ 65966 w 282248"/>
                <a:gd name="connsiteY8" fmla="*/ 44 h 237974"/>
                <a:gd name="connsiteX9" fmla="*/ 74821 w 282248"/>
                <a:gd name="connsiteY9" fmla="*/ 44 h 237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2248" h="237974">
                  <a:moveTo>
                    <a:pt x="74821" y="44"/>
                  </a:moveTo>
                  <a:cubicBezTo>
                    <a:pt x="130717" y="1151"/>
                    <a:pt x="169457" y="32696"/>
                    <a:pt x="198789" y="75310"/>
                  </a:cubicBezTo>
                  <a:cubicBezTo>
                    <a:pt x="227567" y="117925"/>
                    <a:pt x="251365" y="163859"/>
                    <a:pt x="276269" y="209240"/>
                  </a:cubicBezTo>
                  <a:cubicBezTo>
                    <a:pt x="281803" y="219202"/>
                    <a:pt x="281803" y="231377"/>
                    <a:pt x="284570" y="242999"/>
                  </a:cubicBezTo>
                  <a:cubicBezTo>
                    <a:pt x="274055" y="241893"/>
                    <a:pt x="263540" y="241339"/>
                    <a:pt x="253025" y="239679"/>
                  </a:cubicBezTo>
                  <a:cubicBezTo>
                    <a:pt x="213178" y="235252"/>
                    <a:pt x="173885" y="230271"/>
                    <a:pt x="134038" y="226396"/>
                  </a:cubicBezTo>
                  <a:cubicBezTo>
                    <a:pt x="110794" y="224183"/>
                    <a:pt x="93084" y="215328"/>
                    <a:pt x="78141" y="195958"/>
                  </a:cubicBezTo>
                  <a:cubicBezTo>
                    <a:pt x="52130" y="162199"/>
                    <a:pt x="23352" y="130653"/>
                    <a:pt x="5642" y="90806"/>
                  </a:cubicBezTo>
                  <a:cubicBezTo>
                    <a:pt x="-14835" y="43765"/>
                    <a:pt x="23905" y="-1616"/>
                    <a:pt x="65966" y="44"/>
                  </a:cubicBezTo>
                  <a:cubicBezTo>
                    <a:pt x="68733" y="44"/>
                    <a:pt x="71500" y="44"/>
                    <a:pt x="74821" y="44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="" xmlns:a16="http://schemas.microsoft.com/office/drawing/2014/main" id="{BF7B789A-1B22-4C6C-B398-132E1E36B903}"/>
                </a:ext>
              </a:extLst>
            </p:cNvPr>
            <p:cNvSpPr/>
            <p:nvPr/>
          </p:nvSpPr>
          <p:spPr>
            <a:xfrm>
              <a:off x="9393195" y="5880987"/>
              <a:ext cx="202124" cy="109979"/>
            </a:xfrm>
            <a:custGeom>
              <a:avLst/>
              <a:gdLst>
                <a:gd name="connsiteX0" fmla="*/ 381193 w 376331"/>
                <a:gd name="connsiteY0" fmla="*/ 140682 h 204768"/>
                <a:gd name="connsiteX1" fmla="*/ 315335 w 376331"/>
                <a:gd name="connsiteY1" fmla="*/ 158392 h 204768"/>
                <a:gd name="connsiteX2" fmla="*/ 179191 w 376331"/>
                <a:gd name="connsiteY2" fmla="*/ 199899 h 204768"/>
                <a:gd name="connsiteX3" fmla="*/ 43048 w 376331"/>
                <a:gd name="connsiteY3" fmla="*/ 182743 h 204768"/>
                <a:gd name="connsiteX4" fmla="*/ 9842 w 376331"/>
                <a:gd name="connsiteY4" fmla="*/ 62649 h 204768"/>
                <a:gd name="connsiteX5" fmla="*/ 109459 w 376331"/>
                <a:gd name="connsiteY5" fmla="*/ 665 h 204768"/>
                <a:gd name="connsiteX6" fmla="*/ 143772 w 376331"/>
                <a:gd name="connsiteY6" fmla="*/ 18928 h 204768"/>
                <a:gd name="connsiteX7" fmla="*/ 191367 w 376331"/>
                <a:gd name="connsiteY7" fmla="*/ 73717 h 204768"/>
                <a:gd name="connsiteX8" fmla="*/ 225126 w 376331"/>
                <a:gd name="connsiteY8" fmla="*/ 110797 h 204768"/>
                <a:gd name="connsiteX9" fmla="*/ 254458 w 376331"/>
                <a:gd name="connsiteY9" fmla="*/ 122419 h 204768"/>
                <a:gd name="connsiteX10" fmla="*/ 380639 w 376331"/>
                <a:gd name="connsiteY10" fmla="*/ 134595 h 204768"/>
                <a:gd name="connsiteX11" fmla="*/ 381193 w 376331"/>
                <a:gd name="connsiteY11" fmla="*/ 140682 h 204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6331" h="204768">
                  <a:moveTo>
                    <a:pt x="381193" y="140682"/>
                  </a:moveTo>
                  <a:cubicBezTo>
                    <a:pt x="359056" y="146770"/>
                    <a:pt x="337472" y="152304"/>
                    <a:pt x="315335" y="158392"/>
                  </a:cubicBezTo>
                  <a:cubicBezTo>
                    <a:pt x="269954" y="172228"/>
                    <a:pt x="225126" y="187170"/>
                    <a:pt x="179191" y="199899"/>
                  </a:cubicBezTo>
                  <a:cubicBezTo>
                    <a:pt x="132150" y="212628"/>
                    <a:pt x="85662" y="213735"/>
                    <a:pt x="43048" y="182743"/>
                  </a:cubicBezTo>
                  <a:cubicBezTo>
                    <a:pt x="-2333" y="150644"/>
                    <a:pt x="-8974" y="119652"/>
                    <a:pt x="9842" y="62649"/>
                  </a:cubicBezTo>
                  <a:cubicBezTo>
                    <a:pt x="24231" y="18928"/>
                    <a:pt x="63525" y="-4316"/>
                    <a:pt x="109459" y="665"/>
                  </a:cubicBezTo>
                  <a:cubicBezTo>
                    <a:pt x="121635" y="1772"/>
                    <a:pt x="134364" y="10073"/>
                    <a:pt x="143772" y="18928"/>
                  </a:cubicBezTo>
                  <a:cubicBezTo>
                    <a:pt x="160928" y="36084"/>
                    <a:pt x="175871" y="55454"/>
                    <a:pt x="191367" y="73717"/>
                  </a:cubicBezTo>
                  <a:cubicBezTo>
                    <a:pt x="202436" y="86446"/>
                    <a:pt x="212397" y="100282"/>
                    <a:pt x="225126" y="110797"/>
                  </a:cubicBezTo>
                  <a:cubicBezTo>
                    <a:pt x="232874" y="117438"/>
                    <a:pt x="244496" y="121312"/>
                    <a:pt x="254458" y="122419"/>
                  </a:cubicBezTo>
                  <a:cubicBezTo>
                    <a:pt x="296519" y="127400"/>
                    <a:pt x="338579" y="130720"/>
                    <a:pt x="380639" y="134595"/>
                  </a:cubicBezTo>
                  <a:cubicBezTo>
                    <a:pt x="380639" y="137362"/>
                    <a:pt x="381193" y="139022"/>
                    <a:pt x="381193" y="140682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="" xmlns:a16="http://schemas.microsoft.com/office/drawing/2014/main" id="{AABAFD1B-969F-4E69-93AF-74C8FD524AF5}"/>
                </a:ext>
              </a:extLst>
            </p:cNvPr>
            <p:cNvSpPr/>
            <p:nvPr/>
          </p:nvSpPr>
          <p:spPr>
            <a:xfrm>
              <a:off x="9781415" y="6008508"/>
              <a:ext cx="151593" cy="112951"/>
            </a:xfrm>
            <a:custGeom>
              <a:avLst/>
              <a:gdLst>
                <a:gd name="connsiteX0" fmla="*/ 160885 w 282248"/>
                <a:gd name="connsiteY0" fmla="*/ 142889 h 210303"/>
                <a:gd name="connsiteX1" fmla="*/ 268803 w 282248"/>
                <a:gd name="connsiteY1" fmla="*/ 163919 h 210303"/>
                <a:gd name="connsiteX2" fmla="*/ 230617 w 282248"/>
                <a:gd name="connsiteY2" fmla="*/ 174988 h 210303"/>
                <a:gd name="connsiteX3" fmla="*/ 124359 w 282248"/>
                <a:gd name="connsiteY3" fmla="*/ 207087 h 210303"/>
                <a:gd name="connsiteX4" fmla="*/ 21421 w 282248"/>
                <a:gd name="connsiteY4" fmla="*/ 188823 h 210303"/>
                <a:gd name="connsiteX5" fmla="*/ 1497 w 282248"/>
                <a:gd name="connsiteY5" fmla="*/ 140675 h 210303"/>
                <a:gd name="connsiteX6" fmla="*/ 5371 w 282248"/>
                <a:gd name="connsiteY6" fmla="*/ 118538 h 210303"/>
                <a:gd name="connsiteX7" fmla="*/ 111076 w 282248"/>
                <a:gd name="connsiteY7" fmla="*/ 82565 h 210303"/>
                <a:gd name="connsiteX8" fmla="*/ 109969 w 282248"/>
                <a:gd name="connsiteY8" fmla="*/ 68176 h 210303"/>
                <a:gd name="connsiteX9" fmla="*/ 114397 w 282248"/>
                <a:gd name="connsiteY9" fmla="*/ 15047 h 210303"/>
                <a:gd name="connsiteX10" fmla="*/ 174167 w 282248"/>
                <a:gd name="connsiteY10" fmla="*/ 3425 h 210303"/>
                <a:gd name="connsiteX11" fmla="*/ 236151 w 282248"/>
                <a:gd name="connsiteY11" fmla="*/ 51573 h 210303"/>
                <a:gd name="connsiteX12" fmla="*/ 282086 w 282248"/>
                <a:gd name="connsiteY12" fmla="*/ 135141 h 210303"/>
                <a:gd name="connsiteX13" fmla="*/ 284299 w 282248"/>
                <a:gd name="connsiteY13" fmla="*/ 154511 h 210303"/>
                <a:gd name="connsiteX14" fmla="*/ 266590 w 282248"/>
                <a:gd name="connsiteY14" fmla="*/ 154511 h 210303"/>
                <a:gd name="connsiteX15" fmla="*/ 160885 w 282248"/>
                <a:gd name="connsiteY15" fmla="*/ 142889 h 21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2248" h="210303">
                  <a:moveTo>
                    <a:pt x="160885" y="142889"/>
                  </a:moveTo>
                  <a:cubicBezTo>
                    <a:pt x="192984" y="161705"/>
                    <a:pt x="231170" y="152297"/>
                    <a:pt x="268803" y="163919"/>
                  </a:cubicBezTo>
                  <a:cubicBezTo>
                    <a:pt x="253861" y="168347"/>
                    <a:pt x="242239" y="171667"/>
                    <a:pt x="230617" y="174988"/>
                  </a:cubicBezTo>
                  <a:cubicBezTo>
                    <a:pt x="195197" y="185503"/>
                    <a:pt x="159778" y="196571"/>
                    <a:pt x="124359" y="207087"/>
                  </a:cubicBezTo>
                  <a:cubicBezTo>
                    <a:pt x="87279" y="218155"/>
                    <a:pt x="52413" y="214281"/>
                    <a:pt x="21421" y="188823"/>
                  </a:cubicBezTo>
                  <a:cubicBezTo>
                    <a:pt x="6478" y="176648"/>
                    <a:pt x="-4037" y="162259"/>
                    <a:pt x="1497" y="140675"/>
                  </a:cubicBezTo>
                  <a:cubicBezTo>
                    <a:pt x="3711" y="133481"/>
                    <a:pt x="4264" y="125732"/>
                    <a:pt x="5371" y="118538"/>
                  </a:cubicBezTo>
                  <a:cubicBezTo>
                    <a:pt x="10352" y="77584"/>
                    <a:pt x="71229" y="44932"/>
                    <a:pt x="111076" y="82565"/>
                  </a:cubicBezTo>
                  <a:cubicBezTo>
                    <a:pt x="110523" y="76477"/>
                    <a:pt x="111629" y="71496"/>
                    <a:pt x="109969" y="68176"/>
                  </a:cubicBezTo>
                  <a:cubicBezTo>
                    <a:pt x="100561" y="49359"/>
                    <a:pt x="99454" y="30543"/>
                    <a:pt x="114397" y="15047"/>
                  </a:cubicBezTo>
                  <a:cubicBezTo>
                    <a:pt x="130999" y="-2663"/>
                    <a:pt x="152583" y="-2110"/>
                    <a:pt x="174167" y="3425"/>
                  </a:cubicBezTo>
                  <a:cubicBezTo>
                    <a:pt x="201285" y="10619"/>
                    <a:pt x="221762" y="28329"/>
                    <a:pt x="236151" y="51573"/>
                  </a:cubicBezTo>
                  <a:cubicBezTo>
                    <a:pt x="252754" y="78691"/>
                    <a:pt x="267143" y="106916"/>
                    <a:pt x="282086" y="135141"/>
                  </a:cubicBezTo>
                  <a:cubicBezTo>
                    <a:pt x="284853" y="140675"/>
                    <a:pt x="283746" y="147870"/>
                    <a:pt x="284299" y="154511"/>
                  </a:cubicBezTo>
                  <a:cubicBezTo>
                    <a:pt x="278212" y="154511"/>
                    <a:pt x="272124" y="155618"/>
                    <a:pt x="266590" y="154511"/>
                  </a:cubicBezTo>
                  <a:cubicBezTo>
                    <a:pt x="230617" y="151190"/>
                    <a:pt x="195751" y="147316"/>
                    <a:pt x="160885" y="142889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="" xmlns:a16="http://schemas.microsoft.com/office/drawing/2014/main" id="{F3B01746-8F99-4D52-B8D3-616564D701AE}"/>
                </a:ext>
              </a:extLst>
            </p:cNvPr>
            <p:cNvSpPr/>
            <p:nvPr/>
          </p:nvSpPr>
          <p:spPr>
            <a:xfrm>
              <a:off x="8777551" y="5976521"/>
              <a:ext cx="151593" cy="112951"/>
            </a:xfrm>
            <a:custGeom>
              <a:avLst/>
              <a:gdLst>
                <a:gd name="connsiteX0" fmla="*/ 271725 w 282248"/>
                <a:gd name="connsiteY0" fmla="*/ 158170 h 210303"/>
                <a:gd name="connsiteX1" fmla="*/ 261764 w 282248"/>
                <a:gd name="connsiteY1" fmla="*/ 166471 h 210303"/>
                <a:gd name="connsiteX2" fmla="*/ 111784 w 282248"/>
                <a:gd name="connsiteY2" fmla="*/ 209639 h 210303"/>
                <a:gd name="connsiteX3" fmla="*/ 18255 w 282248"/>
                <a:gd name="connsiteY3" fmla="*/ 185841 h 210303"/>
                <a:gd name="connsiteX4" fmla="*/ 43712 w 282248"/>
                <a:gd name="connsiteY4" fmla="*/ 70175 h 210303"/>
                <a:gd name="connsiteX5" fmla="*/ 116212 w 282248"/>
                <a:gd name="connsiteY5" fmla="*/ 88438 h 210303"/>
                <a:gd name="connsiteX6" fmla="*/ 102929 w 282248"/>
                <a:gd name="connsiteY6" fmla="*/ 61320 h 210303"/>
                <a:gd name="connsiteX7" fmla="*/ 137795 w 282248"/>
                <a:gd name="connsiteY7" fmla="*/ 996 h 210303"/>
                <a:gd name="connsiteX8" fmla="*/ 194799 w 282248"/>
                <a:gd name="connsiteY8" fmla="*/ 15939 h 210303"/>
                <a:gd name="connsiteX9" fmla="*/ 240733 w 282248"/>
                <a:gd name="connsiteY9" fmla="*/ 66854 h 210303"/>
                <a:gd name="connsiteX10" fmla="*/ 282794 w 282248"/>
                <a:gd name="connsiteY10" fmla="*/ 141014 h 210303"/>
                <a:gd name="connsiteX11" fmla="*/ 271725 w 282248"/>
                <a:gd name="connsiteY11" fmla="*/ 158170 h 210303"/>
                <a:gd name="connsiteX12" fmla="*/ 154952 w 282248"/>
                <a:gd name="connsiteY12" fmla="*/ 139353 h 210303"/>
                <a:gd name="connsiteX13" fmla="*/ 271725 w 282248"/>
                <a:gd name="connsiteY13" fmla="*/ 158170 h 21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2248" h="210303">
                  <a:moveTo>
                    <a:pt x="271725" y="158170"/>
                  </a:moveTo>
                  <a:cubicBezTo>
                    <a:pt x="268405" y="160937"/>
                    <a:pt x="265638" y="165365"/>
                    <a:pt x="261764" y="166471"/>
                  </a:cubicBezTo>
                  <a:cubicBezTo>
                    <a:pt x="211955" y="181414"/>
                    <a:pt x="162146" y="196910"/>
                    <a:pt x="111784" y="209639"/>
                  </a:cubicBezTo>
                  <a:cubicBezTo>
                    <a:pt x="77472" y="218494"/>
                    <a:pt x="47033" y="209086"/>
                    <a:pt x="18255" y="185841"/>
                  </a:cubicBezTo>
                  <a:cubicBezTo>
                    <a:pt x="-19378" y="155956"/>
                    <a:pt x="7186" y="79030"/>
                    <a:pt x="43712" y="70175"/>
                  </a:cubicBezTo>
                  <a:cubicBezTo>
                    <a:pt x="72491" y="62980"/>
                    <a:pt x="95735" y="64641"/>
                    <a:pt x="116212" y="88438"/>
                  </a:cubicBezTo>
                  <a:cubicBezTo>
                    <a:pt x="111784" y="79583"/>
                    <a:pt x="106803" y="70728"/>
                    <a:pt x="102929" y="61320"/>
                  </a:cubicBezTo>
                  <a:cubicBezTo>
                    <a:pt x="91307" y="31988"/>
                    <a:pt x="106803" y="5977"/>
                    <a:pt x="137795" y="996"/>
                  </a:cubicBezTo>
                  <a:cubicBezTo>
                    <a:pt x="159379" y="-2324"/>
                    <a:pt x="179303" y="2656"/>
                    <a:pt x="194799" y="15939"/>
                  </a:cubicBezTo>
                  <a:cubicBezTo>
                    <a:pt x="211955" y="30881"/>
                    <a:pt x="228004" y="48038"/>
                    <a:pt x="240733" y="66854"/>
                  </a:cubicBezTo>
                  <a:cubicBezTo>
                    <a:pt x="256783" y="90098"/>
                    <a:pt x="268958" y="116109"/>
                    <a:pt x="282794" y="141014"/>
                  </a:cubicBezTo>
                  <a:cubicBezTo>
                    <a:pt x="289435" y="153189"/>
                    <a:pt x="286668" y="159830"/>
                    <a:pt x="271725" y="158170"/>
                  </a:cubicBezTo>
                  <a:cubicBezTo>
                    <a:pt x="232432" y="152082"/>
                    <a:pt x="193692" y="145995"/>
                    <a:pt x="154952" y="139353"/>
                  </a:cubicBezTo>
                  <a:cubicBezTo>
                    <a:pt x="192031" y="158723"/>
                    <a:pt x="232432" y="157063"/>
                    <a:pt x="271725" y="158170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="" xmlns:a16="http://schemas.microsoft.com/office/drawing/2014/main" id="{B160ED6E-0A7B-4D11-910E-1734ED91DEDE}"/>
                </a:ext>
              </a:extLst>
            </p:cNvPr>
            <p:cNvSpPr/>
            <p:nvPr/>
          </p:nvSpPr>
          <p:spPr>
            <a:xfrm>
              <a:off x="10295719" y="5910303"/>
              <a:ext cx="151593" cy="112951"/>
            </a:xfrm>
            <a:custGeom>
              <a:avLst/>
              <a:gdLst>
                <a:gd name="connsiteX0" fmla="*/ 152990 w 282248"/>
                <a:gd name="connsiteY0" fmla="*/ 142549 h 210303"/>
                <a:gd name="connsiteX1" fmla="*/ 267550 w 282248"/>
                <a:gd name="connsiteY1" fmla="*/ 163579 h 210303"/>
                <a:gd name="connsiteX2" fmla="*/ 248733 w 282248"/>
                <a:gd name="connsiteY2" fmla="*/ 170220 h 210303"/>
                <a:gd name="connsiteX3" fmla="*/ 137494 w 282248"/>
                <a:gd name="connsiteY3" fmla="*/ 203426 h 210303"/>
                <a:gd name="connsiteX4" fmla="*/ 25148 w 282248"/>
                <a:gd name="connsiteY4" fmla="*/ 191804 h 210303"/>
                <a:gd name="connsiteX5" fmla="*/ 1350 w 282248"/>
                <a:gd name="connsiteY5" fmla="*/ 127606 h 210303"/>
                <a:gd name="connsiteX6" fmla="*/ 47285 w 282248"/>
                <a:gd name="connsiteY6" fmla="*/ 70603 h 210303"/>
                <a:gd name="connsiteX7" fmla="*/ 112036 w 282248"/>
                <a:gd name="connsiteY7" fmla="*/ 90527 h 210303"/>
                <a:gd name="connsiteX8" fmla="*/ 121998 w 282248"/>
                <a:gd name="connsiteY8" fmla="*/ 99382 h 210303"/>
                <a:gd name="connsiteX9" fmla="*/ 107609 w 282248"/>
                <a:gd name="connsiteY9" fmla="*/ 67283 h 210303"/>
                <a:gd name="connsiteX10" fmla="*/ 115910 w 282248"/>
                <a:gd name="connsiteY10" fmla="*/ 13047 h 210303"/>
                <a:gd name="connsiteX11" fmla="*/ 171253 w 282248"/>
                <a:gd name="connsiteY11" fmla="*/ 3638 h 210303"/>
                <a:gd name="connsiteX12" fmla="*/ 228256 w 282248"/>
                <a:gd name="connsiteY12" fmla="*/ 46806 h 210303"/>
                <a:gd name="connsiteX13" fmla="*/ 281385 w 282248"/>
                <a:gd name="connsiteY13" fmla="*/ 142549 h 210303"/>
                <a:gd name="connsiteX14" fmla="*/ 286366 w 282248"/>
                <a:gd name="connsiteY14" fmla="*/ 159152 h 210303"/>
                <a:gd name="connsiteX15" fmla="*/ 220508 w 282248"/>
                <a:gd name="connsiteY15" fmla="*/ 150297 h 210303"/>
                <a:gd name="connsiteX16" fmla="*/ 152990 w 282248"/>
                <a:gd name="connsiteY16" fmla="*/ 142549 h 21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2248" h="210303">
                  <a:moveTo>
                    <a:pt x="152990" y="142549"/>
                  </a:moveTo>
                  <a:cubicBezTo>
                    <a:pt x="190623" y="164133"/>
                    <a:pt x="229363" y="151957"/>
                    <a:pt x="267550" y="163579"/>
                  </a:cubicBezTo>
                  <a:cubicBezTo>
                    <a:pt x="259248" y="166347"/>
                    <a:pt x="254267" y="168560"/>
                    <a:pt x="248733" y="170220"/>
                  </a:cubicBezTo>
                  <a:cubicBezTo>
                    <a:pt x="211653" y="181289"/>
                    <a:pt x="174574" y="191804"/>
                    <a:pt x="137494" y="203426"/>
                  </a:cubicBezTo>
                  <a:cubicBezTo>
                    <a:pt x="98200" y="215602"/>
                    <a:pt x="60567" y="218369"/>
                    <a:pt x="25148" y="191804"/>
                  </a:cubicBezTo>
                  <a:cubicBezTo>
                    <a:pt x="3011" y="174648"/>
                    <a:pt x="-3077" y="153618"/>
                    <a:pt x="1350" y="127606"/>
                  </a:cubicBezTo>
                  <a:cubicBezTo>
                    <a:pt x="6331" y="100488"/>
                    <a:pt x="18507" y="78905"/>
                    <a:pt x="47285" y="70603"/>
                  </a:cubicBezTo>
                  <a:cubicBezTo>
                    <a:pt x="73849" y="62855"/>
                    <a:pt x="96540" y="65069"/>
                    <a:pt x="112036" y="90527"/>
                  </a:cubicBezTo>
                  <a:cubicBezTo>
                    <a:pt x="113143" y="92740"/>
                    <a:pt x="115910" y="94401"/>
                    <a:pt x="121998" y="99382"/>
                  </a:cubicBezTo>
                  <a:cubicBezTo>
                    <a:pt x="115910" y="85546"/>
                    <a:pt x="112036" y="76691"/>
                    <a:pt x="107609" y="67283"/>
                  </a:cubicBezTo>
                  <a:cubicBezTo>
                    <a:pt x="98200" y="47359"/>
                    <a:pt x="99307" y="28543"/>
                    <a:pt x="115910" y="13047"/>
                  </a:cubicBezTo>
                  <a:cubicBezTo>
                    <a:pt x="131959" y="-1896"/>
                    <a:pt x="151883" y="-2449"/>
                    <a:pt x="171253" y="3638"/>
                  </a:cubicBezTo>
                  <a:cubicBezTo>
                    <a:pt x="195051" y="10833"/>
                    <a:pt x="215527" y="25222"/>
                    <a:pt x="228256" y="46806"/>
                  </a:cubicBezTo>
                  <a:cubicBezTo>
                    <a:pt x="247073" y="78351"/>
                    <a:pt x="263676" y="110450"/>
                    <a:pt x="281385" y="142549"/>
                  </a:cubicBezTo>
                  <a:cubicBezTo>
                    <a:pt x="283599" y="146423"/>
                    <a:pt x="284152" y="151404"/>
                    <a:pt x="286366" y="159152"/>
                  </a:cubicBezTo>
                  <a:cubicBezTo>
                    <a:pt x="263122" y="155831"/>
                    <a:pt x="242092" y="153064"/>
                    <a:pt x="220508" y="150297"/>
                  </a:cubicBezTo>
                  <a:cubicBezTo>
                    <a:pt x="200031" y="147530"/>
                    <a:pt x="179001" y="145316"/>
                    <a:pt x="152990" y="142549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="" xmlns:a16="http://schemas.microsoft.com/office/drawing/2014/main" id="{4614AEB5-CC7B-4FCF-9F41-132E28C4F086}"/>
                </a:ext>
              </a:extLst>
            </p:cNvPr>
            <p:cNvSpPr/>
            <p:nvPr/>
          </p:nvSpPr>
          <p:spPr>
            <a:xfrm>
              <a:off x="9391080" y="6526110"/>
              <a:ext cx="151593" cy="112951"/>
            </a:xfrm>
            <a:custGeom>
              <a:avLst/>
              <a:gdLst>
                <a:gd name="connsiteX0" fmla="*/ 116165 w 282248"/>
                <a:gd name="connsiteY0" fmla="*/ 86239 h 210303"/>
                <a:gd name="connsiteX1" fmla="*/ 105096 w 282248"/>
                <a:gd name="connsiteY1" fmla="*/ 61335 h 210303"/>
                <a:gd name="connsiteX2" fmla="*/ 154905 w 282248"/>
                <a:gd name="connsiteY2" fmla="*/ 458 h 210303"/>
                <a:gd name="connsiteX3" fmla="*/ 225191 w 282248"/>
                <a:gd name="connsiteY3" fmla="*/ 44179 h 210303"/>
                <a:gd name="connsiteX4" fmla="*/ 283854 w 282248"/>
                <a:gd name="connsiteY4" fmla="*/ 146563 h 210303"/>
                <a:gd name="connsiteX5" fmla="*/ 285515 w 282248"/>
                <a:gd name="connsiteY5" fmla="*/ 158739 h 210303"/>
                <a:gd name="connsiteX6" fmla="*/ 109524 w 282248"/>
                <a:gd name="connsiteY6" fmla="*/ 209654 h 210303"/>
                <a:gd name="connsiteX7" fmla="*/ 15994 w 282248"/>
                <a:gd name="connsiteY7" fmla="*/ 182536 h 210303"/>
                <a:gd name="connsiteX8" fmla="*/ 4373 w 282248"/>
                <a:gd name="connsiteY8" fmla="*/ 114465 h 210303"/>
                <a:gd name="connsiteX9" fmla="*/ 53074 w 282248"/>
                <a:gd name="connsiteY9" fmla="*/ 67423 h 210303"/>
                <a:gd name="connsiteX10" fmla="*/ 112291 w 282248"/>
                <a:gd name="connsiteY10" fmla="*/ 89560 h 210303"/>
                <a:gd name="connsiteX11" fmla="*/ 116165 w 282248"/>
                <a:gd name="connsiteY11" fmla="*/ 86239 h 210303"/>
                <a:gd name="connsiteX12" fmla="*/ 260610 w 282248"/>
                <a:gd name="connsiteY12" fmla="*/ 155972 h 210303"/>
                <a:gd name="connsiteX13" fmla="*/ 159333 w 282248"/>
                <a:gd name="connsiteY13" fmla="*/ 143243 h 210303"/>
                <a:gd name="connsiteX14" fmla="*/ 260610 w 282248"/>
                <a:gd name="connsiteY14" fmla="*/ 155972 h 21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2248" h="210303">
                  <a:moveTo>
                    <a:pt x="116165" y="86239"/>
                  </a:moveTo>
                  <a:cubicBezTo>
                    <a:pt x="112291" y="77938"/>
                    <a:pt x="108417" y="70190"/>
                    <a:pt x="105096" y="61335"/>
                  </a:cubicBezTo>
                  <a:cubicBezTo>
                    <a:pt x="92368" y="24255"/>
                    <a:pt x="115612" y="-3969"/>
                    <a:pt x="154905" y="458"/>
                  </a:cubicBezTo>
                  <a:cubicBezTo>
                    <a:pt x="185344" y="3779"/>
                    <a:pt x="209141" y="19828"/>
                    <a:pt x="225191" y="44179"/>
                  </a:cubicBezTo>
                  <a:cubicBezTo>
                    <a:pt x="246774" y="76831"/>
                    <a:pt x="264484" y="112251"/>
                    <a:pt x="283854" y="146563"/>
                  </a:cubicBezTo>
                  <a:cubicBezTo>
                    <a:pt x="285515" y="149330"/>
                    <a:pt x="284961" y="153205"/>
                    <a:pt x="285515" y="158739"/>
                  </a:cubicBezTo>
                  <a:cubicBezTo>
                    <a:pt x="226851" y="175895"/>
                    <a:pt x="168187" y="193605"/>
                    <a:pt x="109524" y="209654"/>
                  </a:cubicBezTo>
                  <a:cubicBezTo>
                    <a:pt x="73551" y="219062"/>
                    <a:pt x="42559" y="208547"/>
                    <a:pt x="15994" y="182536"/>
                  </a:cubicBezTo>
                  <a:cubicBezTo>
                    <a:pt x="-5036" y="162059"/>
                    <a:pt x="-1162" y="137708"/>
                    <a:pt x="4373" y="114465"/>
                  </a:cubicBezTo>
                  <a:cubicBezTo>
                    <a:pt x="10460" y="90114"/>
                    <a:pt x="27616" y="74064"/>
                    <a:pt x="53074" y="67423"/>
                  </a:cubicBezTo>
                  <a:cubicBezTo>
                    <a:pt x="77979" y="60782"/>
                    <a:pt x="96795" y="69083"/>
                    <a:pt x="112291" y="89560"/>
                  </a:cubicBezTo>
                  <a:cubicBezTo>
                    <a:pt x="113951" y="88453"/>
                    <a:pt x="115058" y="87346"/>
                    <a:pt x="116165" y="86239"/>
                  </a:cubicBezTo>
                  <a:close/>
                  <a:moveTo>
                    <a:pt x="260610" y="155972"/>
                  </a:moveTo>
                  <a:cubicBezTo>
                    <a:pt x="226851" y="151544"/>
                    <a:pt x="193092" y="147670"/>
                    <a:pt x="159333" y="143243"/>
                  </a:cubicBezTo>
                  <a:cubicBezTo>
                    <a:pt x="191985" y="158739"/>
                    <a:pt x="226851" y="154311"/>
                    <a:pt x="260610" y="155972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="" xmlns:a16="http://schemas.microsoft.com/office/drawing/2014/main" id="{F06A0609-F9EF-4B35-9480-A0AECA519AA8}"/>
                </a:ext>
              </a:extLst>
            </p:cNvPr>
            <p:cNvSpPr/>
            <p:nvPr/>
          </p:nvSpPr>
          <p:spPr>
            <a:xfrm>
              <a:off x="9980796" y="6538405"/>
              <a:ext cx="151593" cy="112951"/>
            </a:xfrm>
            <a:custGeom>
              <a:avLst/>
              <a:gdLst>
                <a:gd name="connsiteX0" fmla="*/ 103454 w 282248"/>
                <a:gd name="connsiteY0" fmla="*/ 72203 h 210303"/>
                <a:gd name="connsiteX1" fmla="*/ 98473 w 282248"/>
                <a:gd name="connsiteY1" fmla="*/ 55047 h 210303"/>
                <a:gd name="connsiteX2" fmla="*/ 132785 w 282248"/>
                <a:gd name="connsiteY2" fmla="*/ 811 h 210303"/>
                <a:gd name="connsiteX3" fmla="*/ 201964 w 282248"/>
                <a:gd name="connsiteY3" fmla="*/ 25162 h 210303"/>
                <a:gd name="connsiteX4" fmla="*/ 265608 w 282248"/>
                <a:gd name="connsiteY4" fmla="*/ 119798 h 210303"/>
                <a:gd name="connsiteX5" fmla="*/ 283871 w 282248"/>
                <a:gd name="connsiteY5" fmla="*/ 154664 h 210303"/>
                <a:gd name="connsiteX6" fmla="*/ 239044 w 282248"/>
                <a:gd name="connsiteY6" fmla="*/ 170713 h 210303"/>
                <a:gd name="connsiteX7" fmla="*/ 109541 w 282248"/>
                <a:gd name="connsiteY7" fmla="*/ 207793 h 210303"/>
                <a:gd name="connsiteX8" fmla="*/ 18225 w 282248"/>
                <a:gd name="connsiteY8" fmla="*/ 182889 h 210303"/>
                <a:gd name="connsiteX9" fmla="*/ 15458 w 282248"/>
                <a:gd name="connsiteY9" fmla="*/ 91573 h 210303"/>
                <a:gd name="connsiteX10" fmla="*/ 103454 w 282248"/>
                <a:gd name="connsiteY10" fmla="*/ 72203 h 210303"/>
                <a:gd name="connsiteX11" fmla="*/ 170418 w 282248"/>
                <a:gd name="connsiteY11" fmla="*/ 145256 h 210303"/>
                <a:gd name="connsiteX12" fmla="*/ 169311 w 282248"/>
                <a:gd name="connsiteY12" fmla="*/ 150237 h 210303"/>
                <a:gd name="connsiteX13" fmla="*/ 229635 w 282248"/>
                <a:gd name="connsiteY13" fmla="*/ 154664 h 210303"/>
                <a:gd name="connsiteX14" fmla="*/ 229635 w 282248"/>
                <a:gd name="connsiteY14" fmla="*/ 151343 h 210303"/>
                <a:gd name="connsiteX15" fmla="*/ 170418 w 282248"/>
                <a:gd name="connsiteY15" fmla="*/ 145256 h 210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2248" h="210303">
                  <a:moveTo>
                    <a:pt x="103454" y="72203"/>
                  </a:moveTo>
                  <a:cubicBezTo>
                    <a:pt x="101240" y="64455"/>
                    <a:pt x="100133" y="59474"/>
                    <a:pt x="98473" y="55047"/>
                  </a:cubicBezTo>
                  <a:cubicBezTo>
                    <a:pt x="89618" y="29035"/>
                    <a:pt x="105667" y="3578"/>
                    <a:pt x="132785" y="811"/>
                  </a:cubicBezTo>
                  <a:cubicBezTo>
                    <a:pt x="159903" y="-2510"/>
                    <a:pt x="185361" y="4131"/>
                    <a:pt x="201964" y="25162"/>
                  </a:cubicBezTo>
                  <a:cubicBezTo>
                    <a:pt x="225208" y="55047"/>
                    <a:pt x="245131" y="87699"/>
                    <a:pt x="265608" y="119798"/>
                  </a:cubicBezTo>
                  <a:cubicBezTo>
                    <a:pt x="272249" y="129760"/>
                    <a:pt x="276677" y="140828"/>
                    <a:pt x="283871" y="154664"/>
                  </a:cubicBezTo>
                  <a:cubicBezTo>
                    <a:pt x="267268" y="160752"/>
                    <a:pt x="253433" y="166286"/>
                    <a:pt x="239044" y="170713"/>
                  </a:cubicBezTo>
                  <a:cubicBezTo>
                    <a:pt x="195876" y="183442"/>
                    <a:pt x="153262" y="197278"/>
                    <a:pt x="109541" y="207793"/>
                  </a:cubicBezTo>
                  <a:cubicBezTo>
                    <a:pt x="75782" y="216095"/>
                    <a:pt x="43683" y="210007"/>
                    <a:pt x="18225" y="182889"/>
                  </a:cubicBezTo>
                  <a:cubicBezTo>
                    <a:pt x="-5019" y="157985"/>
                    <a:pt x="-6125" y="119245"/>
                    <a:pt x="15458" y="91573"/>
                  </a:cubicBezTo>
                  <a:cubicBezTo>
                    <a:pt x="35382" y="66115"/>
                    <a:pt x="64160" y="58921"/>
                    <a:pt x="103454" y="72203"/>
                  </a:cubicBezTo>
                  <a:close/>
                  <a:moveTo>
                    <a:pt x="170418" y="145256"/>
                  </a:moveTo>
                  <a:cubicBezTo>
                    <a:pt x="169865" y="146916"/>
                    <a:pt x="169865" y="148576"/>
                    <a:pt x="169311" y="150237"/>
                  </a:cubicBezTo>
                  <a:cubicBezTo>
                    <a:pt x="189235" y="151897"/>
                    <a:pt x="209712" y="153557"/>
                    <a:pt x="229635" y="154664"/>
                  </a:cubicBezTo>
                  <a:cubicBezTo>
                    <a:pt x="229635" y="153557"/>
                    <a:pt x="229635" y="152450"/>
                    <a:pt x="229635" y="151343"/>
                  </a:cubicBezTo>
                  <a:cubicBezTo>
                    <a:pt x="210265" y="149683"/>
                    <a:pt x="190342" y="147469"/>
                    <a:pt x="170418" y="145256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="" xmlns:a16="http://schemas.microsoft.com/office/drawing/2014/main" id="{8F20F6D7-B3F7-4C90-ACE5-EA2661A775E9}"/>
                </a:ext>
              </a:extLst>
            </p:cNvPr>
            <p:cNvSpPr/>
            <p:nvPr/>
          </p:nvSpPr>
          <p:spPr>
            <a:xfrm>
              <a:off x="9469225" y="5831857"/>
              <a:ext cx="139703" cy="118896"/>
            </a:xfrm>
            <a:custGeom>
              <a:avLst/>
              <a:gdLst>
                <a:gd name="connsiteX0" fmla="*/ 0 w 260111"/>
                <a:gd name="connsiteY0" fmla="*/ 62808 h 221371"/>
                <a:gd name="connsiteX1" fmla="*/ 46488 w 260111"/>
                <a:gd name="connsiteY1" fmla="*/ 3038 h 221371"/>
                <a:gd name="connsiteX2" fmla="*/ 167135 w 260111"/>
                <a:gd name="connsiteY2" fmla="*/ 50633 h 221371"/>
                <a:gd name="connsiteX3" fmla="*/ 258451 w 260111"/>
                <a:gd name="connsiteY3" fmla="*/ 207807 h 221371"/>
                <a:gd name="connsiteX4" fmla="*/ 259005 w 260111"/>
                <a:gd name="connsiteY4" fmla="*/ 222196 h 221371"/>
                <a:gd name="connsiteX5" fmla="*/ 245169 w 260111"/>
                <a:gd name="connsiteY5" fmla="*/ 224410 h 221371"/>
                <a:gd name="connsiteX6" fmla="*/ 154407 w 260111"/>
                <a:gd name="connsiteY6" fmla="*/ 210574 h 221371"/>
                <a:gd name="connsiteX7" fmla="*/ 147212 w 260111"/>
                <a:gd name="connsiteY7" fmla="*/ 210020 h 221371"/>
                <a:gd name="connsiteX8" fmla="*/ 59770 w 260111"/>
                <a:gd name="connsiteY8" fmla="*/ 167960 h 221371"/>
                <a:gd name="connsiteX9" fmla="*/ 2767 w 260111"/>
                <a:gd name="connsiteY9" fmla="*/ 73877 h 221371"/>
                <a:gd name="connsiteX10" fmla="*/ 0 w 260111"/>
                <a:gd name="connsiteY10" fmla="*/ 62808 h 221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0111" h="221371">
                  <a:moveTo>
                    <a:pt x="0" y="62808"/>
                  </a:moveTo>
                  <a:cubicBezTo>
                    <a:pt x="0" y="33477"/>
                    <a:pt x="19923" y="8572"/>
                    <a:pt x="46488" y="3038"/>
                  </a:cubicBezTo>
                  <a:cubicBezTo>
                    <a:pt x="97403" y="-8031"/>
                    <a:pt x="139464" y="11893"/>
                    <a:pt x="167135" y="50633"/>
                  </a:cubicBezTo>
                  <a:cubicBezTo>
                    <a:pt x="202002" y="99888"/>
                    <a:pt x="228566" y="154678"/>
                    <a:pt x="258451" y="207807"/>
                  </a:cubicBezTo>
                  <a:cubicBezTo>
                    <a:pt x="260665" y="211681"/>
                    <a:pt x="261218" y="218875"/>
                    <a:pt x="259005" y="222196"/>
                  </a:cubicBezTo>
                  <a:cubicBezTo>
                    <a:pt x="257345" y="224963"/>
                    <a:pt x="249596" y="224963"/>
                    <a:pt x="245169" y="224410"/>
                  </a:cubicBezTo>
                  <a:cubicBezTo>
                    <a:pt x="214730" y="219982"/>
                    <a:pt x="184845" y="215555"/>
                    <a:pt x="154407" y="210574"/>
                  </a:cubicBezTo>
                  <a:cubicBezTo>
                    <a:pt x="152193" y="210020"/>
                    <a:pt x="149979" y="210020"/>
                    <a:pt x="147212" y="210020"/>
                  </a:cubicBezTo>
                  <a:cubicBezTo>
                    <a:pt x="112346" y="208360"/>
                    <a:pt x="81354" y="202273"/>
                    <a:pt x="59770" y="167960"/>
                  </a:cubicBezTo>
                  <a:cubicBezTo>
                    <a:pt x="39847" y="136968"/>
                    <a:pt x="13282" y="110403"/>
                    <a:pt x="2767" y="73877"/>
                  </a:cubicBezTo>
                  <a:cubicBezTo>
                    <a:pt x="1660" y="69450"/>
                    <a:pt x="553" y="65022"/>
                    <a:pt x="0" y="62808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="" xmlns:a16="http://schemas.microsoft.com/office/drawing/2014/main" id="{1726F50F-2E8E-4D13-AE91-8A12C3F7CA80}"/>
                </a:ext>
              </a:extLst>
            </p:cNvPr>
            <p:cNvSpPr/>
            <p:nvPr/>
          </p:nvSpPr>
          <p:spPr>
            <a:xfrm>
              <a:off x="10383019" y="6065148"/>
              <a:ext cx="136730" cy="104034"/>
            </a:xfrm>
            <a:custGeom>
              <a:avLst/>
              <a:gdLst>
                <a:gd name="connsiteX0" fmla="*/ 125485 w 254577"/>
                <a:gd name="connsiteY0" fmla="*/ 107716 h 193700"/>
                <a:gd name="connsiteX1" fmla="*/ 100028 w 254577"/>
                <a:gd name="connsiteY1" fmla="*/ 67315 h 193700"/>
                <a:gd name="connsiteX2" fmla="*/ 101134 w 254577"/>
                <a:gd name="connsiteY2" fmla="*/ 15847 h 193700"/>
                <a:gd name="connsiteX3" fmla="*/ 155370 w 254577"/>
                <a:gd name="connsiteY3" fmla="*/ 4778 h 193700"/>
                <a:gd name="connsiteX4" fmla="*/ 202412 w 254577"/>
                <a:gd name="connsiteY4" fmla="*/ 38537 h 193700"/>
                <a:gd name="connsiteX5" fmla="*/ 253881 w 254577"/>
                <a:gd name="connsiteY5" fmla="*/ 124872 h 193700"/>
                <a:gd name="connsiteX6" fmla="*/ 259415 w 254577"/>
                <a:gd name="connsiteY6" fmla="*/ 146456 h 193700"/>
                <a:gd name="connsiteX7" fmla="*/ 99474 w 254577"/>
                <a:gd name="connsiteY7" fmla="*/ 194604 h 193700"/>
                <a:gd name="connsiteX8" fmla="*/ 9265 w 254577"/>
                <a:gd name="connsiteY8" fmla="*/ 165272 h 193700"/>
                <a:gd name="connsiteX9" fmla="*/ 14246 w 254577"/>
                <a:gd name="connsiteY9" fmla="*/ 87239 h 193700"/>
                <a:gd name="connsiteX10" fmla="*/ 77890 w 254577"/>
                <a:gd name="connsiteY10" fmla="*/ 65102 h 193700"/>
                <a:gd name="connsiteX11" fmla="*/ 97814 w 254577"/>
                <a:gd name="connsiteY11" fmla="*/ 81151 h 193700"/>
                <a:gd name="connsiteX12" fmla="*/ 121611 w 254577"/>
                <a:gd name="connsiteY12" fmla="*/ 110483 h 193700"/>
                <a:gd name="connsiteX13" fmla="*/ 125485 w 254577"/>
                <a:gd name="connsiteY13" fmla="*/ 107716 h 193700"/>
                <a:gd name="connsiteX14" fmla="*/ 232850 w 254577"/>
                <a:gd name="connsiteY14" fmla="*/ 148670 h 193700"/>
                <a:gd name="connsiteX15" fmla="*/ 233404 w 254577"/>
                <a:gd name="connsiteY15" fmla="*/ 143135 h 193700"/>
                <a:gd name="connsiteX16" fmla="*/ 185809 w 254577"/>
                <a:gd name="connsiteY16" fmla="*/ 136494 h 193700"/>
                <a:gd name="connsiteX17" fmla="*/ 133787 w 254577"/>
                <a:gd name="connsiteY17" fmla="*/ 127639 h 193700"/>
                <a:gd name="connsiteX18" fmla="*/ 232850 w 254577"/>
                <a:gd name="connsiteY18" fmla="*/ 148670 h 19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54577" h="193700">
                  <a:moveTo>
                    <a:pt x="125485" y="107716"/>
                  </a:moveTo>
                  <a:cubicBezTo>
                    <a:pt x="117184" y="94434"/>
                    <a:pt x="107222" y="81705"/>
                    <a:pt x="100028" y="67315"/>
                  </a:cubicBezTo>
                  <a:cubicBezTo>
                    <a:pt x="91172" y="50159"/>
                    <a:pt x="86192" y="31896"/>
                    <a:pt x="101134" y="15847"/>
                  </a:cubicBezTo>
                  <a:cubicBezTo>
                    <a:pt x="116077" y="-756"/>
                    <a:pt x="136554" y="-4077"/>
                    <a:pt x="155370" y="4778"/>
                  </a:cubicBezTo>
                  <a:cubicBezTo>
                    <a:pt x="172527" y="13079"/>
                    <a:pt x="191343" y="23595"/>
                    <a:pt x="202412" y="38537"/>
                  </a:cubicBezTo>
                  <a:cubicBezTo>
                    <a:pt x="222335" y="65102"/>
                    <a:pt x="237278" y="95540"/>
                    <a:pt x="253881" y="124872"/>
                  </a:cubicBezTo>
                  <a:cubicBezTo>
                    <a:pt x="257201" y="130406"/>
                    <a:pt x="257201" y="138154"/>
                    <a:pt x="259415" y="146456"/>
                  </a:cubicBezTo>
                  <a:cubicBezTo>
                    <a:pt x="205179" y="163059"/>
                    <a:pt x="153157" y="180768"/>
                    <a:pt x="99474" y="194604"/>
                  </a:cubicBezTo>
                  <a:cubicBezTo>
                    <a:pt x="65161" y="203459"/>
                    <a:pt x="32509" y="195711"/>
                    <a:pt x="9265" y="165272"/>
                  </a:cubicBezTo>
                  <a:cubicBezTo>
                    <a:pt x="-4571" y="147563"/>
                    <a:pt x="-2911" y="111590"/>
                    <a:pt x="14246" y="87239"/>
                  </a:cubicBezTo>
                  <a:cubicBezTo>
                    <a:pt x="25868" y="70636"/>
                    <a:pt x="60181" y="57907"/>
                    <a:pt x="77890" y="65102"/>
                  </a:cubicBezTo>
                  <a:cubicBezTo>
                    <a:pt x="85638" y="68422"/>
                    <a:pt x="92279" y="74510"/>
                    <a:pt x="97814" y="81151"/>
                  </a:cubicBezTo>
                  <a:cubicBezTo>
                    <a:pt x="106115" y="90559"/>
                    <a:pt x="113863" y="100521"/>
                    <a:pt x="121611" y="110483"/>
                  </a:cubicBezTo>
                  <a:cubicBezTo>
                    <a:pt x="123271" y="109376"/>
                    <a:pt x="124378" y="108269"/>
                    <a:pt x="125485" y="107716"/>
                  </a:cubicBezTo>
                  <a:close/>
                  <a:moveTo>
                    <a:pt x="232850" y="148670"/>
                  </a:moveTo>
                  <a:cubicBezTo>
                    <a:pt x="232850" y="147009"/>
                    <a:pt x="232850" y="144795"/>
                    <a:pt x="233404" y="143135"/>
                  </a:cubicBezTo>
                  <a:cubicBezTo>
                    <a:pt x="217354" y="140922"/>
                    <a:pt x="201858" y="139261"/>
                    <a:pt x="185809" y="136494"/>
                  </a:cubicBezTo>
                  <a:cubicBezTo>
                    <a:pt x="169759" y="134280"/>
                    <a:pt x="154263" y="130960"/>
                    <a:pt x="133787" y="127639"/>
                  </a:cubicBezTo>
                  <a:cubicBezTo>
                    <a:pt x="166439" y="150883"/>
                    <a:pt x="200751" y="143135"/>
                    <a:pt x="232850" y="148670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="" xmlns:a16="http://schemas.microsoft.com/office/drawing/2014/main" id="{81676F76-9F29-46EE-9E7D-117F3DB93B48}"/>
                </a:ext>
              </a:extLst>
            </p:cNvPr>
            <p:cNvSpPr/>
            <p:nvPr/>
          </p:nvSpPr>
          <p:spPr>
            <a:xfrm>
              <a:off x="9215422" y="6609588"/>
              <a:ext cx="130786" cy="95117"/>
            </a:xfrm>
            <a:custGeom>
              <a:avLst/>
              <a:gdLst>
                <a:gd name="connsiteX0" fmla="*/ 126660 w 243508"/>
                <a:gd name="connsiteY0" fmla="*/ 110124 h 177097"/>
                <a:gd name="connsiteX1" fmla="*/ 102862 w 243508"/>
                <a:gd name="connsiteY1" fmla="*/ 76364 h 177097"/>
                <a:gd name="connsiteX2" fmla="*/ 87919 w 243508"/>
                <a:gd name="connsiteY2" fmla="*/ 47033 h 177097"/>
                <a:gd name="connsiteX3" fmla="*/ 117804 w 243508"/>
                <a:gd name="connsiteY3" fmla="*/ 545 h 177097"/>
                <a:gd name="connsiteX4" fmla="*/ 176468 w 243508"/>
                <a:gd name="connsiteY4" fmla="*/ 24342 h 177097"/>
                <a:gd name="connsiteX5" fmla="*/ 243986 w 243508"/>
                <a:gd name="connsiteY5" fmla="*/ 133368 h 177097"/>
                <a:gd name="connsiteX6" fmla="*/ 220742 w 243508"/>
                <a:gd name="connsiteY6" fmla="*/ 143883 h 177097"/>
                <a:gd name="connsiteX7" fmla="*/ 102309 w 243508"/>
                <a:gd name="connsiteY7" fmla="*/ 177642 h 177097"/>
                <a:gd name="connsiteX8" fmla="*/ 10993 w 243508"/>
                <a:gd name="connsiteY8" fmla="*/ 153291 h 177097"/>
                <a:gd name="connsiteX9" fmla="*/ 33130 w 243508"/>
                <a:gd name="connsiteY9" fmla="*/ 63636 h 177097"/>
                <a:gd name="connsiteX10" fmla="*/ 94560 w 243508"/>
                <a:gd name="connsiteY10" fmla="*/ 79132 h 177097"/>
                <a:gd name="connsiteX11" fmla="*/ 123339 w 243508"/>
                <a:gd name="connsiteY11" fmla="*/ 113444 h 177097"/>
                <a:gd name="connsiteX12" fmla="*/ 126660 w 243508"/>
                <a:gd name="connsiteY12" fmla="*/ 110124 h 177097"/>
                <a:gd name="connsiteX13" fmla="*/ 131640 w 243508"/>
                <a:gd name="connsiteY13" fmla="*/ 121192 h 177097"/>
                <a:gd name="connsiteX14" fmla="*/ 215761 w 243508"/>
                <a:gd name="connsiteY14" fmla="*/ 133368 h 177097"/>
                <a:gd name="connsiteX15" fmla="*/ 131640 w 243508"/>
                <a:gd name="connsiteY15" fmla="*/ 121192 h 177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3508" h="177097">
                  <a:moveTo>
                    <a:pt x="126660" y="110124"/>
                  </a:moveTo>
                  <a:cubicBezTo>
                    <a:pt x="118358" y="99055"/>
                    <a:pt x="110057" y="87987"/>
                    <a:pt x="102862" y="76364"/>
                  </a:cubicBezTo>
                  <a:cubicBezTo>
                    <a:pt x="96774" y="66956"/>
                    <a:pt x="91240" y="57548"/>
                    <a:pt x="87919" y="47033"/>
                  </a:cubicBezTo>
                  <a:cubicBezTo>
                    <a:pt x="80171" y="24342"/>
                    <a:pt x="94007" y="3312"/>
                    <a:pt x="117804" y="545"/>
                  </a:cubicBezTo>
                  <a:cubicBezTo>
                    <a:pt x="141602" y="-2222"/>
                    <a:pt x="163186" y="5526"/>
                    <a:pt x="176468" y="24342"/>
                  </a:cubicBezTo>
                  <a:cubicBezTo>
                    <a:pt x="200266" y="58655"/>
                    <a:pt x="220742" y="95181"/>
                    <a:pt x="243986" y="133368"/>
                  </a:cubicBezTo>
                  <a:cubicBezTo>
                    <a:pt x="232918" y="138349"/>
                    <a:pt x="227383" y="141669"/>
                    <a:pt x="220742" y="143883"/>
                  </a:cubicBezTo>
                  <a:cubicBezTo>
                    <a:pt x="181449" y="155505"/>
                    <a:pt x="142155" y="167127"/>
                    <a:pt x="102309" y="177642"/>
                  </a:cubicBezTo>
                  <a:cubicBezTo>
                    <a:pt x="67996" y="186497"/>
                    <a:pt x="35897" y="182070"/>
                    <a:pt x="10993" y="153291"/>
                  </a:cubicBezTo>
                  <a:cubicBezTo>
                    <a:pt x="-11144" y="127834"/>
                    <a:pt x="2138" y="76918"/>
                    <a:pt x="33130" y="63636"/>
                  </a:cubicBezTo>
                  <a:cubicBezTo>
                    <a:pt x="59141" y="53121"/>
                    <a:pt x="75744" y="56994"/>
                    <a:pt x="94560" y="79132"/>
                  </a:cubicBezTo>
                  <a:cubicBezTo>
                    <a:pt x="103969" y="90754"/>
                    <a:pt x="113377" y="101822"/>
                    <a:pt x="123339" y="113444"/>
                  </a:cubicBezTo>
                  <a:cubicBezTo>
                    <a:pt x="124446" y="111784"/>
                    <a:pt x="125553" y="110677"/>
                    <a:pt x="126660" y="110124"/>
                  </a:cubicBezTo>
                  <a:close/>
                  <a:moveTo>
                    <a:pt x="131640" y="121192"/>
                  </a:moveTo>
                  <a:cubicBezTo>
                    <a:pt x="157651" y="137242"/>
                    <a:pt x="186983" y="133368"/>
                    <a:pt x="215761" y="133368"/>
                  </a:cubicBezTo>
                  <a:cubicBezTo>
                    <a:pt x="187537" y="129494"/>
                    <a:pt x="159312" y="125066"/>
                    <a:pt x="131640" y="121192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="" xmlns:a16="http://schemas.microsoft.com/office/drawing/2014/main" id="{B152A363-CD9F-415E-8C35-03FC9CDEDCC5}"/>
                </a:ext>
              </a:extLst>
            </p:cNvPr>
            <p:cNvSpPr/>
            <p:nvPr/>
          </p:nvSpPr>
          <p:spPr>
            <a:xfrm>
              <a:off x="8860774" y="6051366"/>
              <a:ext cx="62420" cy="8917"/>
            </a:xfrm>
            <a:custGeom>
              <a:avLst/>
              <a:gdLst>
                <a:gd name="connsiteX0" fmla="*/ 116773 w 116220"/>
                <a:gd name="connsiteY0" fmla="*/ 18817 h 16602"/>
                <a:gd name="connsiteX1" fmla="*/ 0 w 116220"/>
                <a:gd name="connsiteY1" fmla="*/ 0 h 16602"/>
                <a:gd name="connsiteX2" fmla="*/ 116773 w 116220"/>
                <a:gd name="connsiteY2" fmla="*/ 18817 h 16602"/>
                <a:gd name="connsiteX3" fmla="*/ 116773 w 116220"/>
                <a:gd name="connsiteY3" fmla="*/ 18817 h 16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220" h="16602">
                  <a:moveTo>
                    <a:pt x="116773" y="18817"/>
                  </a:moveTo>
                  <a:cubicBezTo>
                    <a:pt x="76927" y="17710"/>
                    <a:pt x="37080" y="19370"/>
                    <a:pt x="0" y="0"/>
                  </a:cubicBezTo>
                  <a:cubicBezTo>
                    <a:pt x="39293" y="6641"/>
                    <a:pt x="78033" y="12729"/>
                    <a:pt x="116773" y="18817"/>
                  </a:cubicBezTo>
                  <a:cubicBezTo>
                    <a:pt x="116773" y="19370"/>
                    <a:pt x="116773" y="18817"/>
                    <a:pt x="116773" y="18817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="" xmlns:a16="http://schemas.microsoft.com/office/drawing/2014/main" id="{F00FC123-D461-4213-B769-D01A9126E2EB}"/>
                </a:ext>
              </a:extLst>
            </p:cNvPr>
            <p:cNvSpPr/>
            <p:nvPr/>
          </p:nvSpPr>
          <p:spPr>
            <a:xfrm>
              <a:off x="9476656" y="6603045"/>
              <a:ext cx="53503" cy="5945"/>
            </a:xfrm>
            <a:custGeom>
              <a:avLst/>
              <a:gdLst>
                <a:gd name="connsiteX0" fmla="*/ 101277 w 99617"/>
                <a:gd name="connsiteY0" fmla="*/ 12729 h 11068"/>
                <a:gd name="connsiteX1" fmla="*/ 0 w 99617"/>
                <a:gd name="connsiteY1" fmla="*/ 0 h 11068"/>
                <a:gd name="connsiteX2" fmla="*/ 101277 w 99617"/>
                <a:gd name="connsiteY2" fmla="*/ 12729 h 11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617" h="11068">
                  <a:moveTo>
                    <a:pt x="101277" y="12729"/>
                  </a:moveTo>
                  <a:cubicBezTo>
                    <a:pt x="66965" y="11069"/>
                    <a:pt x="32652" y="15496"/>
                    <a:pt x="0" y="0"/>
                  </a:cubicBezTo>
                  <a:cubicBezTo>
                    <a:pt x="33759" y="4428"/>
                    <a:pt x="67518" y="8301"/>
                    <a:pt x="101277" y="12729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="" xmlns:a16="http://schemas.microsoft.com/office/drawing/2014/main" id="{EE14219B-E13B-42B3-B96F-FC57CD947183}"/>
                </a:ext>
              </a:extLst>
            </p:cNvPr>
            <p:cNvSpPr/>
            <p:nvPr/>
          </p:nvSpPr>
          <p:spPr>
            <a:xfrm>
              <a:off x="10072028" y="6616420"/>
              <a:ext cx="29724" cy="2972"/>
            </a:xfrm>
            <a:custGeom>
              <a:avLst/>
              <a:gdLst>
                <a:gd name="connsiteX0" fmla="*/ 553 w 55342"/>
                <a:gd name="connsiteY0" fmla="*/ 0 h 5534"/>
                <a:gd name="connsiteX1" fmla="*/ 60324 w 55342"/>
                <a:gd name="connsiteY1" fmla="*/ 6088 h 5534"/>
                <a:gd name="connsiteX2" fmla="*/ 60324 w 55342"/>
                <a:gd name="connsiteY2" fmla="*/ 9408 h 5534"/>
                <a:gd name="connsiteX3" fmla="*/ 0 w 55342"/>
                <a:gd name="connsiteY3" fmla="*/ 4981 h 5534"/>
                <a:gd name="connsiteX4" fmla="*/ 553 w 55342"/>
                <a:gd name="connsiteY4" fmla="*/ 0 h 5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42" h="5534">
                  <a:moveTo>
                    <a:pt x="553" y="0"/>
                  </a:moveTo>
                  <a:cubicBezTo>
                    <a:pt x="20477" y="2214"/>
                    <a:pt x="40400" y="4428"/>
                    <a:pt x="60324" y="6088"/>
                  </a:cubicBezTo>
                  <a:cubicBezTo>
                    <a:pt x="60324" y="7195"/>
                    <a:pt x="60324" y="8301"/>
                    <a:pt x="60324" y="9408"/>
                  </a:cubicBezTo>
                  <a:cubicBezTo>
                    <a:pt x="40400" y="7748"/>
                    <a:pt x="19923" y="6088"/>
                    <a:pt x="0" y="4981"/>
                  </a:cubicBezTo>
                  <a:cubicBezTo>
                    <a:pt x="0" y="3321"/>
                    <a:pt x="553" y="1661"/>
                    <a:pt x="553" y="0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="" xmlns:a16="http://schemas.microsoft.com/office/drawing/2014/main" id="{5637F203-2DAC-41EC-A92F-C6B86424B9D1}"/>
                </a:ext>
              </a:extLst>
            </p:cNvPr>
            <p:cNvSpPr/>
            <p:nvPr/>
          </p:nvSpPr>
          <p:spPr>
            <a:xfrm>
              <a:off x="10454577" y="6133999"/>
              <a:ext cx="53503" cy="8917"/>
            </a:xfrm>
            <a:custGeom>
              <a:avLst/>
              <a:gdLst>
                <a:gd name="connsiteX0" fmla="*/ 99617 w 99617"/>
                <a:gd name="connsiteY0" fmla="*/ 20477 h 16602"/>
                <a:gd name="connsiteX1" fmla="*/ 0 w 99617"/>
                <a:gd name="connsiteY1" fmla="*/ 0 h 16602"/>
                <a:gd name="connsiteX2" fmla="*/ 52022 w 99617"/>
                <a:gd name="connsiteY2" fmla="*/ 8855 h 16602"/>
                <a:gd name="connsiteX3" fmla="*/ 99617 w 99617"/>
                <a:gd name="connsiteY3" fmla="*/ 15496 h 16602"/>
                <a:gd name="connsiteX4" fmla="*/ 99617 w 99617"/>
                <a:gd name="connsiteY4" fmla="*/ 20477 h 16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617" h="16602">
                  <a:moveTo>
                    <a:pt x="99617" y="20477"/>
                  </a:moveTo>
                  <a:cubicBezTo>
                    <a:pt x="68072" y="14943"/>
                    <a:pt x="33759" y="22691"/>
                    <a:pt x="0" y="0"/>
                  </a:cubicBezTo>
                  <a:cubicBezTo>
                    <a:pt x="20477" y="3321"/>
                    <a:pt x="36526" y="6641"/>
                    <a:pt x="52022" y="8855"/>
                  </a:cubicBezTo>
                  <a:cubicBezTo>
                    <a:pt x="68072" y="11069"/>
                    <a:pt x="83568" y="13282"/>
                    <a:pt x="99617" y="15496"/>
                  </a:cubicBezTo>
                  <a:cubicBezTo>
                    <a:pt x="99617" y="16603"/>
                    <a:pt x="99617" y="18817"/>
                    <a:pt x="99617" y="20477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="" xmlns:a16="http://schemas.microsoft.com/office/drawing/2014/main" id="{289D9DDE-E198-439D-9E99-E77FF0C6132D}"/>
                </a:ext>
              </a:extLst>
            </p:cNvPr>
            <p:cNvSpPr/>
            <p:nvPr/>
          </p:nvSpPr>
          <p:spPr>
            <a:xfrm>
              <a:off x="9286124" y="6674679"/>
              <a:ext cx="44586" cy="5945"/>
            </a:xfrm>
            <a:custGeom>
              <a:avLst/>
              <a:gdLst>
                <a:gd name="connsiteX0" fmla="*/ 0 w 83014"/>
                <a:gd name="connsiteY0" fmla="*/ 0 h 11068"/>
                <a:gd name="connsiteX1" fmla="*/ 84121 w 83014"/>
                <a:gd name="connsiteY1" fmla="*/ 12176 h 11068"/>
                <a:gd name="connsiteX2" fmla="*/ 0 w 83014"/>
                <a:gd name="connsiteY2" fmla="*/ 0 h 11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3014" h="11068">
                  <a:moveTo>
                    <a:pt x="0" y="0"/>
                  </a:moveTo>
                  <a:cubicBezTo>
                    <a:pt x="28225" y="3874"/>
                    <a:pt x="55897" y="8301"/>
                    <a:pt x="84121" y="12176"/>
                  </a:cubicBezTo>
                  <a:cubicBezTo>
                    <a:pt x="54790" y="12176"/>
                    <a:pt x="25458" y="16049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57116BEE-F71B-4ED3-848B-6A978EA7AF8F}"/>
              </a:ext>
            </a:extLst>
          </p:cNvPr>
          <p:cNvGrpSpPr/>
          <p:nvPr userDrawn="1"/>
        </p:nvGrpSpPr>
        <p:grpSpPr>
          <a:xfrm flipH="1">
            <a:off x="7942201" y="3672479"/>
            <a:ext cx="1020836" cy="1356051"/>
            <a:chOff x="457481" y="3133210"/>
            <a:chExt cx="2534244" cy="3366424"/>
          </a:xfrm>
          <a:solidFill>
            <a:schemeClr val="accent1"/>
          </a:solidFill>
        </p:grpSpPr>
        <p:sp>
          <p:nvSpPr>
            <p:cNvPr id="6" name="Freeform: Shape 5">
              <a:extLst>
                <a:ext uri="{FF2B5EF4-FFF2-40B4-BE49-F238E27FC236}">
                  <a16:creationId xmlns="" xmlns:a16="http://schemas.microsoft.com/office/drawing/2014/main" id="{8E6F9D56-80D8-4C07-8C35-6BBDB24FDFAE}"/>
                </a:ext>
              </a:extLst>
            </p:cNvPr>
            <p:cNvSpPr/>
            <p:nvPr/>
          </p:nvSpPr>
          <p:spPr>
            <a:xfrm>
              <a:off x="827009" y="3133210"/>
              <a:ext cx="1588341" cy="2003413"/>
            </a:xfrm>
            <a:custGeom>
              <a:avLst/>
              <a:gdLst>
                <a:gd name="connsiteX0" fmla="*/ 687060 w 1588341"/>
                <a:gd name="connsiteY0" fmla="*/ 478632 h 2003413"/>
                <a:gd name="connsiteX1" fmla="*/ 675992 w 1588341"/>
                <a:gd name="connsiteY1" fmla="*/ 459815 h 2003413"/>
                <a:gd name="connsiteX2" fmla="*/ 513837 w 1588341"/>
                <a:gd name="connsiteY2" fmla="*/ 217967 h 2003413"/>
                <a:gd name="connsiteX3" fmla="*/ 350022 w 1588341"/>
                <a:gd name="connsiteY3" fmla="*/ 107281 h 2003413"/>
                <a:gd name="connsiteX4" fmla="*/ 181226 w 1588341"/>
                <a:gd name="connsiteY4" fmla="*/ 156536 h 2003413"/>
                <a:gd name="connsiteX5" fmla="*/ 138612 w 1588341"/>
                <a:gd name="connsiteY5" fmla="*/ 298214 h 2003413"/>
                <a:gd name="connsiteX6" fmla="*/ 146914 w 1588341"/>
                <a:gd name="connsiteY6" fmla="*/ 473651 h 2003413"/>
                <a:gd name="connsiteX7" fmla="*/ 169051 w 1588341"/>
                <a:gd name="connsiteY7" fmla="*/ 600386 h 2003413"/>
                <a:gd name="connsiteX8" fmla="*/ 221627 w 1588341"/>
                <a:gd name="connsiteY8" fmla="*/ 781911 h 2003413"/>
                <a:gd name="connsiteX9" fmla="*/ 285824 w 1588341"/>
                <a:gd name="connsiteY9" fmla="*/ 945172 h 2003413"/>
                <a:gd name="connsiteX10" fmla="*/ 384888 w 1588341"/>
                <a:gd name="connsiteY10" fmla="*/ 1122270 h 2003413"/>
                <a:gd name="connsiteX11" fmla="*/ 564753 w 1588341"/>
                <a:gd name="connsiteY11" fmla="*/ 1288298 h 2003413"/>
                <a:gd name="connsiteX12" fmla="*/ 741296 w 1588341"/>
                <a:gd name="connsiteY12" fmla="*/ 1304348 h 2003413"/>
                <a:gd name="connsiteX13" fmla="*/ 927249 w 1588341"/>
                <a:gd name="connsiteY13" fmla="*/ 1231295 h 2003413"/>
                <a:gd name="connsiteX14" fmla="*/ 1272035 w 1588341"/>
                <a:gd name="connsiteY14" fmla="*/ 1158243 h 2003413"/>
                <a:gd name="connsiteX15" fmla="*/ 1485105 w 1588341"/>
                <a:gd name="connsiteY15" fmla="*/ 1217460 h 2003413"/>
                <a:gd name="connsiteX16" fmla="*/ 1589703 w 1588341"/>
                <a:gd name="connsiteY16" fmla="*/ 1410053 h 2003413"/>
                <a:gd name="connsiteX17" fmla="*/ 1515544 w 1588341"/>
                <a:gd name="connsiteY17" fmla="*/ 1687874 h 2003413"/>
                <a:gd name="connsiteX18" fmla="*/ 1291958 w 1588341"/>
                <a:gd name="connsiteY18" fmla="*/ 1953520 h 2003413"/>
                <a:gd name="connsiteX19" fmla="*/ 1182379 w 1588341"/>
                <a:gd name="connsiteY19" fmla="*/ 2007203 h 2003413"/>
                <a:gd name="connsiteX20" fmla="*/ 1229421 w 1588341"/>
                <a:gd name="connsiteY20" fmla="*/ 1940238 h 2003413"/>
                <a:gd name="connsiteX21" fmla="*/ 1358923 w 1588341"/>
                <a:gd name="connsiteY21" fmla="*/ 1770335 h 2003413"/>
                <a:gd name="connsiteX22" fmla="*/ 1453006 w 1588341"/>
                <a:gd name="connsiteY22" fmla="*/ 1470930 h 2003413"/>
                <a:gd name="connsiteX23" fmla="*/ 1441938 w 1588341"/>
                <a:gd name="connsiteY23" fmla="*/ 1385149 h 2003413"/>
                <a:gd name="connsiteX24" fmla="*/ 1420907 w 1588341"/>
                <a:gd name="connsiteY24" fmla="*/ 1348069 h 2003413"/>
                <a:gd name="connsiteX25" fmla="*/ 1283104 w 1588341"/>
                <a:gd name="connsiteY25" fmla="*/ 1266715 h 2003413"/>
                <a:gd name="connsiteX26" fmla="*/ 1087190 w 1588341"/>
                <a:gd name="connsiteY26" fmla="*/ 1278890 h 2003413"/>
                <a:gd name="connsiteX27" fmla="*/ 860837 w 1588341"/>
                <a:gd name="connsiteY27" fmla="*/ 1353050 h 2003413"/>
                <a:gd name="connsiteX28" fmla="*/ 460155 w 1588341"/>
                <a:gd name="connsiteY28" fmla="*/ 1282211 h 2003413"/>
                <a:gd name="connsiteX29" fmla="*/ 279737 w 1588341"/>
                <a:gd name="connsiteY29" fmla="*/ 1072461 h 2003413"/>
                <a:gd name="connsiteX30" fmla="*/ 138059 w 1588341"/>
                <a:gd name="connsiteY30" fmla="*/ 782464 h 2003413"/>
                <a:gd name="connsiteX31" fmla="*/ 39548 w 1588341"/>
                <a:gd name="connsiteY31" fmla="*/ 491361 h 2003413"/>
                <a:gd name="connsiteX32" fmla="*/ 1362 w 1588341"/>
                <a:gd name="connsiteY32" fmla="*/ 311496 h 2003413"/>
                <a:gd name="connsiteX33" fmla="*/ 5236 w 1588341"/>
                <a:gd name="connsiteY33" fmla="*/ 153769 h 2003413"/>
                <a:gd name="connsiteX34" fmla="*/ 102639 w 1588341"/>
                <a:gd name="connsiteY34" fmla="*/ 23713 h 2003413"/>
                <a:gd name="connsiteX35" fmla="*/ 286378 w 1588341"/>
                <a:gd name="connsiteY35" fmla="*/ 15965 h 2003413"/>
                <a:gd name="connsiteX36" fmla="*/ 622309 w 1588341"/>
                <a:gd name="connsiteY36" fmla="*/ 305409 h 2003413"/>
                <a:gd name="connsiteX37" fmla="*/ 686507 w 1588341"/>
                <a:gd name="connsiteY37" fmla="*/ 453174 h 2003413"/>
                <a:gd name="connsiteX38" fmla="*/ 689274 w 1588341"/>
                <a:gd name="connsiteY38" fmla="*/ 478078 h 2003413"/>
                <a:gd name="connsiteX39" fmla="*/ 687060 w 1588341"/>
                <a:gd name="connsiteY39" fmla="*/ 478632 h 2003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588341" h="2003413">
                  <a:moveTo>
                    <a:pt x="687060" y="478632"/>
                  </a:moveTo>
                  <a:cubicBezTo>
                    <a:pt x="683186" y="472544"/>
                    <a:pt x="679312" y="466456"/>
                    <a:pt x="675992" y="459815"/>
                  </a:cubicBezTo>
                  <a:cubicBezTo>
                    <a:pt x="631718" y="372373"/>
                    <a:pt x="579142" y="290466"/>
                    <a:pt x="513837" y="217967"/>
                  </a:cubicBezTo>
                  <a:cubicBezTo>
                    <a:pt x="468456" y="167605"/>
                    <a:pt x="416434" y="126651"/>
                    <a:pt x="350022" y="107281"/>
                  </a:cubicBezTo>
                  <a:cubicBezTo>
                    <a:pt x="284164" y="88464"/>
                    <a:pt x="226054" y="105067"/>
                    <a:pt x="181226" y="156536"/>
                  </a:cubicBezTo>
                  <a:cubicBezTo>
                    <a:pt x="146360" y="196383"/>
                    <a:pt x="136952" y="246745"/>
                    <a:pt x="138612" y="298214"/>
                  </a:cubicBezTo>
                  <a:cubicBezTo>
                    <a:pt x="140273" y="356877"/>
                    <a:pt x="141379" y="414987"/>
                    <a:pt x="146914" y="473651"/>
                  </a:cubicBezTo>
                  <a:cubicBezTo>
                    <a:pt x="150788" y="516265"/>
                    <a:pt x="159089" y="558879"/>
                    <a:pt x="169051" y="600386"/>
                  </a:cubicBezTo>
                  <a:cubicBezTo>
                    <a:pt x="184547" y="661263"/>
                    <a:pt x="201703" y="722141"/>
                    <a:pt x="221627" y="781911"/>
                  </a:cubicBezTo>
                  <a:cubicBezTo>
                    <a:pt x="240443" y="837254"/>
                    <a:pt x="264794" y="890936"/>
                    <a:pt x="285824" y="945172"/>
                  </a:cubicBezTo>
                  <a:cubicBezTo>
                    <a:pt x="310729" y="1008817"/>
                    <a:pt x="345041" y="1066927"/>
                    <a:pt x="384888" y="1122270"/>
                  </a:cubicBezTo>
                  <a:cubicBezTo>
                    <a:pt x="434143" y="1189235"/>
                    <a:pt x="491700" y="1247898"/>
                    <a:pt x="564753" y="1288298"/>
                  </a:cubicBezTo>
                  <a:cubicBezTo>
                    <a:pt x="621202" y="1319844"/>
                    <a:pt x="680973" y="1325378"/>
                    <a:pt x="741296" y="1304348"/>
                  </a:cubicBezTo>
                  <a:cubicBezTo>
                    <a:pt x="804387" y="1282211"/>
                    <a:pt x="865818" y="1256753"/>
                    <a:pt x="927249" y="1231295"/>
                  </a:cubicBezTo>
                  <a:cubicBezTo>
                    <a:pt x="1037934" y="1185361"/>
                    <a:pt x="1151387" y="1155476"/>
                    <a:pt x="1272035" y="1158243"/>
                  </a:cubicBezTo>
                  <a:cubicBezTo>
                    <a:pt x="1347855" y="1160456"/>
                    <a:pt x="1420907" y="1174292"/>
                    <a:pt x="1485105" y="1217460"/>
                  </a:cubicBezTo>
                  <a:cubicBezTo>
                    <a:pt x="1553730" y="1263394"/>
                    <a:pt x="1585276" y="1329252"/>
                    <a:pt x="1589703" y="1410053"/>
                  </a:cubicBezTo>
                  <a:cubicBezTo>
                    <a:pt x="1595238" y="1510777"/>
                    <a:pt x="1565906" y="1602093"/>
                    <a:pt x="1515544" y="1687874"/>
                  </a:cubicBezTo>
                  <a:cubicBezTo>
                    <a:pt x="1455773" y="1789152"/>
                    <a:pt x="1384381" y="1880468"/>
                    <a:pt x="1291958" y="1953520"/>
                  </a:cubicBezTo>
                  <a:cubicBezTo>
                    <a:pt x="1260413" y="1978425"/>
                    <a:pt x="1225547" y="1999455"/>
                    <a:pt x="1182379" y="2007203"/>
                  </a:cubicBezTo>
                  <a:cubicBezTo>
                    <a:pt x="1197876" y="1985066"/>
                    <a:pt x="1213372" y="1962375"/>
                    <a:pt x="1229421" y="1940238"/>
                  </a:cubicBezTo>
                  <a:cubicBezTo>
                    <a:pt x="1272588" y="1883235"/>
                    <a:pt x="1318523" y="1828445"/>
                    <a:pt x="1358923" y="1770335"/>
                  </a:cubicBezTo>
                  <a:cubicBezTo>
                    <a:pt x="1421461" y="1680680"/>
                    <a:pt x="1459647" y="1582169"/>
                    <a:pt x="1453006" y="1470930"/>
                  </a:cubicBezTo>
                  <a:cubicBezTo>
                    <a:pt x="1451346" y="1442152"/>
                    <a:pt x="1448025" y="1412820"/>
                    <a:pt x="1441938" y="1385149"/>
                  </a:cubicBezTo>
                  <a:cubicBezTo>
                    <a:pt x="1439170" y="1371866"/>
                    <a:pt x="1429209" y="1359137"/>
                    <a:pt x="1420907" y="1348069"/>
                  </a:cubicBezTo>
                  <a:cubicBezTo>
                    <a:pt x="1386041" y="1302688"/>
                    <a:pt x="1337893" y="1279444"/>
                    <a:pt x="1283104" y="1266715"/>
                  </a:cubicBezTo>
                  <a:cubicBezTo>
                    <a:pt x="1216692" y="1251772"/>
                    <a:pt x="1150834" y="1260627"/>
                    <a:pt x="1087190" y="1278890"/>
                  </a:cubicBezTo>
                  <a:cubicBezTo>
                    <a:pt x="1010816" y="1301027"/>
                    <a:pt x="936657" y="1329252"/>
                    <a:pt x="860837" y="1353050"/>
                  </a:cubicBezTo>
                  <a:cubicBezTo>
                    <a:pt x="715285" y="1398984"/>
                    <a:pt x="581356" y="1375740"/>
                    <a:pt x="460155" y="1282211"/>
                  </a:cubicBezTo>
                  <a:cubicBezTo>
                    <a:pt x="385995" y="1224654"/>
                    <a:pt x="328992" y="1151602"/>
                    <a:pt x="279737" y="1072461"/>
                  </a:cubicBezTo>
                  <a:cubicBezTo>
                    <a:pt x="222180" y="980592"/>
                    <a:pt x="174585" y="883742"/>
                    <a:pt x="138059" y="782464"/>
                  </a:cubicBezTo>
                  <a:cubicBezTo>
                    <a:pt x="103193" y="686168"/>
                    <a:pt x="73308" y="588211"/>
                    <a:pt x="39548" y="491361"/>
                  </a:cubicBezTo>
                  <a:cubicBezTo>
                    <a:pt x="19625" y="432697"/>
                    <a:pt x="4682" y="372927"/>
                    <a:pt x="1362" y="311496"/>
                  </a:cubicBezTo>
                  <a:cubicBezTo>
                    <a:pt x="-1959" y="258921"/>
                    <a:pt x="1362" y="206345"/>
                    <a:pt x="5236" y="153769"/>
                  </a:cubicBezTo>
                  <a:cubicBezTo>
                    <a:pt x="10217" y="90678"/>
                    <a:pt x="49510" y="50278"/>
                    <a:pt x="102639" y="23713"/>
                  </a:cubicBezTo>
                  <a:cubicBezTo>
                    <a:pt x="161856" y="-6172"/>
                    <a:pt x="222733" y="-6725"/>
                    <a:pt x="286378" y="15965"/>
                  </a:cubicBezTo>
                  <a:cubicBezTo>
                    <a:pt x="435250" y="70201"/>
                    <a:pt x="538188" y="175906"/>
                    <a:pt x="622309" y="305409"/>
                  </a:cubicBezTo>
                  <a:cubicBezTo>
                    <a:pt x="651641" y="351343"/>
                    <a:pt x="674885" y="399492"/>
                    <a:pt x="686507" y="453174"/>
                  </a:cubicBezTo>
                  <a:cubicBezTo>
                    <a:pt x="688167" y="461476"/>
                    <a:pt x="688167" y="469777"/>
                    <a:pt x="689274" y="478078"/>
                  </a:cubicBezTo>
                  <a:cubicBezTo>
                    <a:pt x="689274" y="478078"/>
                    <a:pt x="688167" y="478632"/>
                    <a:pt x="687060" y="478632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="" xmlns:a16="http://schemas.microsoft.com/office/drawing/2014/main" id="{58C6FF92-F495-491A-87C1-7E3BD292D163}"/>
                </a:ext>
              </a:extLst>
            </p:cNvPr>
            <p:cNvSpPr/>
            <p:nvPr/>
          </p:nvSpPr>
          <p:spPr>
            <a:xfrm>
              <a:off x="694564" y="5055184"/>
              <a:ext cx="2003413" cy="1444450"/>
            </a:xfrm>
            <a:custGeom>
              <a:avLst/>
              <a:gdLst>
                <a:gd name="connsiteX0" fmla="*/ 293748 w 2003413"/>
                <a:gd name="connsiteY0" fmla="*/ 0 h 1444449"/>
                <a:gd name="connsiteX1" fmla="*/ 327507 w 2003413"/>
                <a:gd name="connsiteY1" fmla="*/ 121754 h 1444449"/>
                <a:gd name="connsiteX2" fmla="*/ 399453 w 2003413"/>
                <a:gd name="connsiteY2" fmla="*/ 322649 h 1444449"/>
                <a:gd name="connsiteX3" fmla="*/ 519547 w 2003413"/>
                <a:gd name="connsiteY3" fmla="*/ 539593 h 1444449"/>
                <a:gd name="connsiteX4" fmla="*/ 797368 w 2003413"/>
                <a:gd name="connsiteY4" fmla="*/ 791957 h 1444449"/>
                <a:gd name="connsiteX5" fmla="*/ 936832 w 2003413"/>
                <a:gd name="connsiteY5" fmla="*/ 873864 h 1444449"/>
                <a:gd name="connsiteX6" fmla="*/ 948454 w 2003413"/>
                <a:gd name="connsiteY6" fmla="*/ 881059 h 1444449"/>
                <a:gd name="connsiteX7" fmla="*/ 986641 w 2003413"/>
                <a:gd name="connsiteY7" fmla="*/ 786423 h 1444449"/>
                <a:gd name="connsiteX8" fmla="*/ 1126105 w 2003413"/>
                <a:gd name="connsiteY8" fmla="*/ 681271 h 1444449"/>
                <a:gd name="connsiteX9" fmla="*/ 1520700 w 2003413"/>
                <a:gd name="connsiteY9" fmla="*/ 669649 h 1444449"/>
                <a:gd name="connsiteX10" fmla="*/ 1664592 w 2003413"/>
                <a:gd name="connsiteY10" fmla="*/ 724992 h 1444449"/>
                <a:gd name="connsiteX11" fmla="*/ 1685068 w 2003413"/>
                <a:gd name="connsiteY11" fmla="*/ 744362 h 1444449"/>
                <a:gd name="connsiteX12" fmla="*/ 1645221 w 2003413"/>
                <a:gd name="connsiteY12" fmla="*/ 732740 h 1444449"/>
                <a:gd name="connsiteX13" fmla="*/ 1393965 w 2003413"/>
                <a:gd name="connsiteY13" fmla="*/ 680718 h 1444449"/>
                <a:gd name="connsiteX14" fmla="*/ 1198051 w 2003413"/>
                <a:gd name="connsiteY14" fmla="*/ 715584 h 1444449"/>
                <a:gd name="connsiteX15" fmla="*/ 1138280 w 2003413"/>
                <a:gd name="connsiteY15" fmla="*/ 938062 h 1444449"/>
                <a:gd name="connsiteX16" fmla="*/ 1328660 w 2003413"/>
                <a:gd name="connsiteY16" fmla="*/ 1125675 h 1444449"/>
                <a:gd name="connsiteX17" fmla="*/ 1687835 w 2003413"/>
                <a:gd name="connsiteY17" fmla="*/ 1311073 h 1444449"/>
                <a:gd name="connsiteX18" fmla="*/ 1997202 w 2003413"/>
                <a:gd name="connsiteY18" fmla="*/ 1437255 h 1444449"/>
                <a:gd name="connsiteX19" fmla="*/ 2006057 w 2003413"/>
                <a:gd name="connsiteY19" fmla="*/ 1446110 h 1444449"/>
                <a:gd name="connsiteX20" fmla="*/ 1938539 w 2003413"/>
                <a:gd name="connsiteY20" fmla="*/ 1440022 h 1444449"/>
                <a:gd name="connsiteX21" fmla="*/ 1697244 w 2003413"/>
                <a:gd name="connsiteY21" fmla="*/ 1383019 h 1444449"/>
                <a:gd name="connsiteX22" fmla="*/ 1260588 w 2003413"/>
                <a:gd name="connsiteY22" fmla="*/ 1208689 h 1444449"/>
                <a:gd name="connsiteX23" fmla="*/ 996603 w 2003413"/>
                <a:gd name="connsiteY23" fmla="*/ 1006687 h 1444449"/>
                <a:gd name="connsiteX24" fmla="*/ 953435 w 2003413"/>
                <a:gd name="connsiteY24" fmla="*/ 902643 h 1444449"/>
                <a:gd name="connsiteX25" fmla="*/ 940706 w 2003413"/>
                <a:gd name="connsiteY25" fmla="*/ 887700 h 1444449"/>
                <a:gd name="connsiteX26" fmla="*/ 804563 w 2003413"/>
                <a:gd name="connsiteY26" fmla="*/ 821842 h 1444449"/>
                <a:gd name="connsiteX27" fmla="*/ 625805 w 2003413"/>
                <a:gd name="connsiteY27" fmla="*/ 712263 h 1444449"/>
                <a:gd name="connsiteX28" fmla="*/ 439300 w 2003413"/>
                <a:gd name="connsiteY28" fmla="*/ 602131 h 1444449"/>
                <a:gd name="connsiteX29" fmla="*/ 272164 w 2003413"/>
                <a:gd name="connsiteY29" fmla="*/ 543467 h 1444449"/>
                <a:gd name="connsiteX30" fmla="*/ 118311 w 2003413"/>
                <a:gd name="connsiteY30" fmla="*/ 475396 h 1444449"/>
                <a:gd name="connsiteX31" fmla="*/ 4304 w 2003413"/>
                <a:gd name="connsiteY31" fmla="*/ 330951 h 1444449"/>
                <a:gd name="connsiteX32" fmla="*/ 132146 w 2003413"/>
                <a:gd name="connsiteY32" fmla="*/ 142785 h 1444449"/>
                <a:gd name="connsiteX33" fmla="*/ 288767 w 2003413"/>
                <a:gd name="connsiteY33" fmla="*/ 178758 h 1444449"/>
                <a:gd name="connsiteX34" fmla="*/ 309797 w 2003413"/>
                <a:gd name="connsiteY34" fmla="*/ 192593 h 1444449"/>
                <a:gd name="connsiteX35" fmla="*/ 295408 w 2003413"/>
                <a:gd name="connsiteY35" fmla="*/ 95190 h 1444449"/>
                <a:gd name="connsiteX36" fmla="*/ 289874 w 2003413"/>
                <a:gd name="connsiteY36" fmla="*/ 553 h 1444449"/>
                <a:gd name="connsiteX37" fmla="*/ 293748 w 2003413"/>
                <a:gd name="connsiteY37" fmla="*/ 0 h 1444449"/>
                <a:gd name="connsiteX38" fmla="*/ 155944 w 2003413"/>
                <a:gd name="connsiteY38" fmla="*/ 283356 h 1444449"/>
                <a:gd name="connsiteX39" fmla="*/ 194684 w 2003413"/>
                <a:gd name="connsiteY39" fmla="*/ 400129 h 1444449"/>
                <a:gd name="connsiteX40" fmla="*/ 221249 w 2003413"/>
                <a:gd name="connsiteY40" fmla="*/ 405664 h 1444449"/>
                <a:gd name="connsiteX41" fmla="*/ 339682 w 2003413"/>
                <a:gd name="connsiteY41" fmla="*/ 344233 h 1444449"/>
                <a:gd name="connsiteX42" fmla="*/ 346323 w 2003413"/>
                <a:gd name="connsiteY42" fmla="*/ 326523 h 1444449"/>
                <a:gd name="connsiteX43" fmla="*/ 314778 w 2003413"/>
                <a:gd name="connsiteY43" fmla="*/ 225799 h 1444449"/>
                <a:gd name="connsiteX44" fmla="*/ 296515 w 2003413"/>
                <a:gd name="connsiteY44" fmla="*/ 209196 h 1444449"/>
                <a:gd name="connsiteX45" fmla="*/ 231210 w 2003413"/>
                <a:gd name="connsiteY45" fmla="*/ 204769 h 1444449"/>
                <a:gd name="connsiteX46" fmla="*/ 155944 w 2003413"/>
                <a:gd name="connsiteY46" fmla="*/ 283356 h 1444449"/>
                <a:gd name="connsiteX47" fmla="*/ 216268 w 2003413"/>
                <a:gd name="connsiteY47" fmla="*/ 419499 h 1444449"/>
                <a:gd name="connsiteX48" fmla="*/ 479700 w 2003413"/>
                <a:gd name="connsiteY48" fmla="*/ 557303 h 1444449"/>
                <a:gd name="connsiteX49" fmla="*/ 355732 w 2003413"/>
                <a:gd name="connsiteY49" fmla="*/ 349767 h 1444449"/>
                <a:gd name="connsiteX50" fmla="*/ 216268 w 2003413"/>
                <a:gd name="connsiteY50" fmla="*/ 419499 h 1444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2003413" h="1444449">
                  <a:moveTo>
                    <a:pt x="293748" y="0"/>
                  </a:moveTo>
                  <a:cubicBezTo>
                    <a:pt x="304816" y="40954"/>
                    <a:pt x="314225" y="81908"/>
                    <a:pt x="327507" y="121754"/>
                  </a:cubicBezTo>
                  <a:cubicBezTo>
                    <a:pt x="349644" y="189273"/>
                    <a:pt x="370121" y="258451"/>
                    <a:pt x="399453" y="322649"/>
                  </a:cubicBezTo>
                  <a:cubicBezTo>
                    <a:pt x="434319" y="397362"/>
                    <a:pt x="472505" y="472075"/>
                    <a:pt x="519547" y="539593"/>
                  </a:cubicBezTo>
                  <a:cubicBezTo>
                    <a:pt x="591493" y="644191"/>
                    <a:pt x="681148" y="732740"/>
                    <a:pt x="797368" y="791957"/>
                  </a:cubicBezTo>
                  <a:cubicBezTo>
                    <a:pt x="845517" y="816308"/>
                    <a:pt x="890344" y="846193"/>
                    <a:pt x="936832" y="873864"/>
                  </a:cubicBezTo>
                  <a:cubicBezTo>
                    <a:pt x="941813" y="876632"/>
                    <a:pt x="946241" y="879952"/>
                    <a:pt x="948454" y="881059"/>
                  </a:cubicBezTo>
                  <a:cubicBezTo>
                    <a:pt x="961183" y="848960"/>
                    <a:pt x="970591" y="815754"/>
                    <a:pt x="986641" y="786423"/>
                  </a:cubicBezTo>
                  <a:cubicBezTo>
                    <a:pt x="1016526" y="731080"/>
                    <a:pt x="1067995" y="701748"/>
                    <a:pt x="1126105" y="681271"/>
                  </a:cubicBezTo>
                  <a:cubicBezTo>
                    <a:pt x="1256714" y="635890"/>
                    <a:pt x="1387877" y="639211"/>
                    <a:pt x="1520700" y="669649"/>
                  </a:cubicBezTo>
                  <a:cubicBezTo>
                    <a:pt x="1571615" y="681271"/>
                    <a:pt x="1619764" y="698981"/>
                    <a:pt x="1664592" y="724992"/>
                  </a:cubicBezTo>
                  <a:cubicBezTo>
                    <a:pt x="1672339" y="729420"/>
                    <a:pt x="1679534" y="735507"/>
                    <a:pt x="1685068" y="744362"/>
                  </a:cubicBezTo>
                  <a:cubicBezTo>
                    <a:pt x="1671786" y="740488"/>
                    <a:pt x="1658504" y="736614"/>
                    <a:pt x="1645221" y="732740"/>
                  </a:cubicBezTo>
                  <a:cubicBezTo>
                    <a:pt x="1562761" y="707836"/>
                    <a:pt x="1479746" y="686252"/>
                    <a:pt x="1393965" y="680718"/>
                  </a:cubicBezTo>
                  <a:cubicBezTo>
                    <a:pt x="1326446" y="676290"/>
                    <a:pt x="1260035" y="682378"/>
                    <a:pt x="1198051" y="715584"/>
                  </a:cubicBezTo>
                  <a:cubicBezTo>
                    <a:pt x="1116697" y="758751"/>
                    <a:pt x="1095666" y="866116"/>
                    <a:pt x="1138280" y="938062"/>
                  </a:cubicBezTo>
                  <a:cubicBezTo>
                    <a:pt x="1185322" y="1017756"/>
                    <a:pt x="1255054" y="1073653"/>
                    <a:pt x="1328660" y="1125675"/>
                  </a:cubicBezTo>
                  <a:cubicBezTo>
                    <a:pt x="1439899" y="1204262"/>
                    <a:pt x="1562761" y="1260158"/>
                    <a:pt x="1687835" y="1311073"/>
                  </a:cubicBezTo>
                  <a:cubicBezTo>
                    <a:pt x="1790773" y="1353134"/>
                    <a:pt x="1893711" y="1395195"/>
                    <a:pt x="1997202" y="1437255"/>
                  </a:cubicBezTo>
                  <a:cubicBezTo>
                    <a:pt x="2000523" y="1438362"/>
                    <a:pt x="2003290" y="1440022"/>
                    <a:pt x="2006057" y="1446110"/>
                  </a:cubicBezTo>
                  <a:cubicBezTo>
                    <a:pt x="1983367" y="1443896"/>
                    <a:pt x="1961230" y="1442789"/>
                    <a:pt x="1938539" y="1440022"/>
                  </a:cubicBezTo>
                  <a:cubicBezTo>
                    <a:pt x="1856078" y="1428954"/>
                    <a:pt x="1776384" y="1406817"/>
                    <a:pt x="1697244" y="1383019"/>
                  </a:cubicBezTo>
                  <a:cubicBezTo>
                    <a:pt x="1546711" y="1337638"/>
                    <a:pt x="1402819" y="1274547"/>
                    <a:pt x="1260588" y="1208689"/>
                  </a:cubicBezTo>
                  <a:cubicBezTo>
                    <a:pt x="1157650" y="1160541"/>
                    <a:pt x="1068548" y="1094683"/>
                    <a:pt x="996603" y="1006687"/>
                  </a:cubicBezTo>
                  <a:cubicBezTo>
                    <a:pt x="972252" y="976802"/>
                    <a:pt x="953435" y="943597"/>
                    <a:pt x="953435" y="902643"/>
                  </a:cubicBezTo>
                  <a:cubicBezTo>
                    <a:pt x="953435" y="897662"/>
                    <a:pt x="946241" y="890467"/>
                    <a:pt x="940706" y="887700"/>
                  </a:cubicBezTo>
                  <a:cubicBezTo>
                    <a:pt x="895325" y="865563"/>
                    <a:pt x="848284" y="846193"/>
                    <a:pt x="804563" y="821842"/>
                  </a:cubicBezTo>
                  <a:cubicBezTo>
                    <a:pt x="743686" y="787530"/>
                    <a:pt x="683915" y="751003"/>
                    <a:pt x="625805" y="712263"/>
                  </a:cubicBezTo>
                  <a:cubicBezTo>
                    <a:pt x="565481" y="671863"/>
                    <a:pt x="507925" y="627588"/>
                    <a:pt x="439300" y="602131"/>
                  </a:cubicBezTo>
                  <a:cubicBezTo>
                    <a:pt x="383957" y="581654"/>
                    <a:pt x="326953" y="565051"/>
                    <a:pt x="272164" y="543467"/>
                  </a:cubicBezTo>
                  <a:cubicBezTo>
                    <a:pt x="220142" y="522990"/>
                    <a:pt x="167012" y="502514"/>
                    <a:pt x="118311" y="475396"/>
                  </a:cubicBezTo>
                  <a:cubicBezTo>
                    <a:pt x="61308" y="444404"/>
                    <a:pt x="19800" y="395702"/>
                    <a:pt x="4304" y="330951"/>
                  </a:cubicBezTo>
                  <a:cubicBezTo>
                    <a:pt x="-15619" y="249043"/>
                    <a:pt x="34743" y="159388"/>
                    <a:pt x="132146" y="142785"/>
                  </a:cubicBezTo>
                  <a:cubicBezTo>
                    <a:pt x="189150" y="133376"/>
                    <a:pt x="241725" y="143892"/>
                    <a:pt x="288767" y="178758"/>
                  </a:cubicBezTo>
                  <a:cubicBezTo>
                    <a:pt x="294855" y="183185"/>
                    <a:pt x="300942" y="186506"/>
                    <a:pt x="309797" y="192593"/>
                  </a:cubicBezTo>
                  <a:cubicBezTo>
                    <a:pt x="304816" y="157727"/>
                    <a:pt x="298729" y="126735"/>
                    <a:pt x="295408" y="95190"/>
                  </a:cubicBezTo>
                  <a:cubicBezTo>
                    <a:pt x="292087" y="63644"/>
                    <a:pt x="291534" y="32099"/>
                    <a:pt x="289874" y="553"/>
                  </a:cubicBezTo>
                  <a:cubicBezTo>
                    <a:pt x="290981" y="0"/>
                    <a:pt x="292087" y="0"/>
                    <a:pt x="293748" y="0"/>
                  </a:cubicBezTo>
                  <a:close/>
                  <a:moveTo>
                    <a:pt x="155944" y="283356"/>
                  </a:moveTo>
                  <a:cubicBezTo>
                    <a:pt x="155390" y="330397"/>
                    <a:pt x="173100" y="365817"/>
                    <a:pt x="194684" y="400129"/>
                  </a:cubicBezTo>
                  <a:cubicBezTo>
                    <a:pt x="202432" y="411751"/>
                    <a:pt x="209073" y="412858"/>
                    <a:pt x="221249" y="405664"/>
                  </a:cubicBezTo>
                  <a:cubicBezTo>
                    <a:pt x="259989" y="384080"/>
                    <a:pt x="299835" y="364156"/>
                    <a:pt x="339682" y="344233"/>
                  </a:cubicBezTo>
                  <a:cubicBezTo>
                    <a:pt x="349644" y="339252"/>
                    <a:pt x="348537" y="334271"/>
                    <a:pt x="346323" y="326523"/>
                  </a:cubicBezTo>
                  <a:cubicBezTo>
                    <a:pt x="335808" y="292764"/>
                    <a:pt x="326400" y="259005"/>
                    <a:pt x="314778" y="225799"/>
                  </a:cubicBezTo>
                  <a:cubicBezTo>
                    <a:pt x="312564" y="218604"/>
                    <a:pt x="303156" y="210303"/>
                    <a:pt x="296515" y="209196"/>
                  </a:cubicBezTo>
                  <a:cubicBezTo>
                    <a:pt x="274931" y="205876"/>
                    <a:pt x="252794" y="203109"/>
                    <a:pt x="231210" y="204769"/>
                  </a:cubicBezTo>
                  <a:cubicBezTo>
                    <a:pt x="185276" y="206982"/>
                    <a:pt x="155390" y="241849"/>
                    <a:pt x="155944" y="283356"/>
                  </a:cubicBezTo>
                  <a:close/>
                  <a:moveTo>
                    <a:pt x="216268" y="419499"/>
                  </a:moveTo>
                  <a:cubicBezTo>
                    <a:pt x="252794" y="459346"/>
                    <a:pt x="432658" y="552876"/>
                    <a:pt x="479700" y="557303"/>
                  </a:cubicBezTo>
                  <a:cubicBezTo>
                    <a:pt x="431552" y="492552"/>
                    <a:pt x="384510" y="427801"/>
                    <a:pt x="355732" y="349767"/>
                  </a:cubicBezTo>
                  <a:cubicBezTo>
                    <a:pt x="305370" y="366924"/>
                    <a:pt x="258328" y="387400"/>
                    <a:pt x="216268" y="419499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="" xmlns:a16="http://schemas.microsoft.com/office/drawing/2014/main" id="{801F1D5B-24B4-400F-8365-9D72AC218316}"/>
                </a:ext>
              </a:extLst>
            </p:cNvPr>
            <p:cNvSpPr/>
            <p:nvPr/>
          </p:nvSpPr>
          <p:spPr>
            <a:xfrm>
              <a:off x="457481" y="4158227"/>
              <a:ext cx="2069825" cy="1106858"/>
            </a:xfrm>
            <a:custGeom>
              <a:avLst/>
              <a:gdLst>
                <a:gd name="connsiteX0" fmla="*/ 579532 w 2069824"/>
                <a:gd name="connsiteY0" fmla="*/ 774097 h 1106858"/>
                <a:gd name="connsiteX1" fmla="*/ 565143 w 2069824"/>
                <a:gd name="connsiteY1" fmla="*/ 786272 h 1106858"/>
                <a:gd name="connsiteX2" fmla="*/ 554628 w 2069824"/>
                <a:gd name="connsiteY2" fmla="*/ 870393 h 1106858"/>
                <a:gd name="connsiteX3" fmla="*/ 633768 w 2069824"/>
                <a:gd name="connsiteY3" fmla="*/ 944553 h 1106858"/>
                <a:gd name="connsiteX4" fmla="*/ 693539 w 2069824"/>
                <a:gd name="connsiteY4" fmla="*/ 976651 h 1106858"/>
                <a:gd name="connsiteX5" fmla="*/ 711802 w 2069824"/>
                <a:gd name="connsiteY5" fmla="*/ 975545 h 1106858"/>
                <a:gd name="connsiteX6" fmla="*/ 891113 w 2069824"/>
                <a:gd name="connsiteY6" fmla="*/ 873714 h 1106858"/>
                <a:gd name="connsiteX7" fmla="*/ 898861 w 2069824"/>
                <a:gd name="connsiteY7" fmla="*/ 869840 h 1106858"/>
                <a:gd name="connsiteX8" fmla="*/ 776553 w 2069824"/>
                <a:gd name="connsiteY8" fmla="*/ 811730 h 1106858"/>
                <a:gd name="connsiteX9" fmla="*/ 344325 w 2069824"/>
                <a:gd name="connsiteY9" fmla="*/ 580396 h 1106858"/>
                <a:gd name="connsiteX10" fmla="*/ 72591 w 2069824"/>
                <a:gd name="connsiteY10" fmla="*/ 351830 h 1106858"/>
                <a:gd name="connsiteX11" fmla="*/ 13928 w 2069824"/>
                <a:gd name="connsiteY11" fmla="*/ 85631 h 1106858"/>
                <a:gd name="connsiteX12" fmla="*/ 57095 w 2069824"/>
                <a:gd name="connsiteY12" fmla="*/ 19773 h 1106858"/>
                <a:gd name="connsiteX13" fmla="*/ 145090 w 2069824"/>
                <a:gd name="connsiteY13" fmla="*/ 13132 h 1106858"/>
                <a:gd name="connsiteX14" fmla="*/ 209288 w 2069824"/>
                <a:gd name="connsiteY14" fmla="*/ 74009 h 1106858"/>
                <a:gd name="connsiteX15" fmla="*/ 181617 w 2069824"/>
                <a:gd name="connsiteY15" fmla="*/ 127691 h 1106858"/>
                <a:gd name="connsiteX16" fmla="*/ 208735 w 2069824"/>
                <a:gd name="connsiteY16" fmla="*/ 316964 h 1106858"/>
                <a:gd name="connsiteX17" fmla="*/ 317207 w 2069824"/>
                <a:gd name="connsiteY17" fmla="*/ 466943 h 1106858"/>
                <a:gd name="connsiteX18" fmla="*/ 722870 w 2069824"/>
                <a:gd name="connsiteY18" fmla="*/ 741998 h 1106858"/>
                <a:gd name="connsiteX19" fmla="*/ 872296 w 2069824"/>
                <a:gd name="connsiteY19" fmla="*/ 816710 h 1106858"/>
                <a:gd name="connsiteX20" fmla="*/ 1147904 w 2069824"/>
                <a:gd name="connsiteY20" fmla="*/ 986613 h 1106858"/>
                <a:gd name="connsiteX21" fmla="*/ 1221510 w 2069824"/>
                <a:gd name="connsiteY21" fmla="*/ 1050258 h 1106858"/>
                <a:gd name="connsiteX22" fmla="*/ 1281834 w 2069824"/>
                <a:gd name="connsiteY22" fmla="*/ 1074608 h 1106858"/>
                <a:gd name="connsiteX23" fmla="*/ 1569063 w 2069824"/>
                <a:gd name="connsiteY23" fmla="*/ 1069074 h 1106858"/>
                <a:gd name="connsiteX24" fmla="*/ 2022875 w 2069824"/>
                <a:gd name="connsiteY24" fmla="*/ 1015945 h 1106858"/>
                <a:gd name="connsiteX25" fmla="*/ 2050547 w 2069824"/>
                <a:gd name="connsiteY25" fmla="*/ 1012624 h 1106858"/>
                <a:gd name="connsiteX26" fmla="*/ 2070470 w 2069824"/>
                <a:gd name="connsiteY26" fmla="*/ 1004876 h 1106858"/>
                <a:gd name="connsiteX27" fmla="*/ 2058295 w 2069824"/>
                <a:gd name="connsiteY27" fmla="*/ 1018159 h 1106858"/>
                <a:gd name="connsiteX28" fmla="*/ 1883964 w 2069824"/>
                <a:gd name="connsiteY28" fmla="*/ 1051364 h 1106858"/>
                <a:gd name="connsiteX29" fmla="*/ 1492690 w 2069824"/>
                <a:gd name="connsiteY29" fmla="*/ 1102833 h 1106858"/>
                <a:gd name="connsiteX30" fmla="*/ 1163953 w 2069824"/>
                <a:gd name="connsiteY30" fmla="*/ 1106154 h 1106858"/>
                <a:gd name="connsiteX31" fmla="*/ 928746 w 2069824"/>
                <a:gd name="connsiteY31" fmla="*/ 1083463 h 1106858"/>
                <a:gd name="connsiteX32" fmla="*/ 712909 w 2069824"/>
                <a:gd name="connsiteY32" fmla="*/ 1024246 h 1106858"/>
                <a:gd name="connsiteX33" fmla="*/ 562376 w 2069824"/>
                <a:gd name="connsiteY33" fmla="*/ 917435 h 1106858"/>
                <a:gd name="connsiteX34" fmla="*/ 544666 w 2069824"/>
                <a:gd name="connsiteY34" fmla="*/ 803982 h 1106858"/>
                <a:gd name="connsiteX35" fmla="*/ 573444 w 2069824"/>
                <a:gd name="connsiteY35" fmla="*/ 769116 h 1106858"/>
                <a:gd name="connsiteX36" fmla="*/ 579532 w 2069824"/>
                <a:gd name="connsiteY36" fmla="*/ 774097 h 1106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069824" h="1106858">
                  <a:moveTo>
                    <a:pt x="579532" y="774097"/>
                  </a:moveTo>
                  <a:cubicBezTo>
                    <a:pt x="574551" y="777970"/>
                    <a:pt x="569571" y="781845"/>
                    <a:pt x="565143" y="786272"/>
                  </a:cubicBezTo>
                  <a:cubicBezTo>
                    <a:pt x="540239" y="810623"/>
                    <a:pt x="536918" y="839955"/>
                    <a:pt x="554628" y="870393"/>
                  </a:cubicBezTo>
                  <a:cubicBezTo>
                    <a:pt x="573444" y="903045"/>
                    <a:pt x="602776" y="925183"/>
                    <a:pt x="633768" y="944553"/>
                  </a:cubicBezTo>
                  <a:cubicBezTo>
                    <a:pt x="652585" y="956728"/>
                    <a:pt x="673062" y="967243"/>
                    <a:pt x="693539" y="976651"/>
                  </a:cubicBezTo>
                  <a:cubicBezTo>
                    <a:pt x="698519" y="978865"/>
                    <a:pt x="707374" y="978312"/>
                    <a:pt x="711802" y="975545"/>
                  </a:cubicBezTo>
                  <a:cubicBezTo>
                    <a:pt x="767145" y="933484"/>
                    <a:pt x="824701" y="896404"/>
                    <a:pt x="891113" y="873714"/>
                  </a:cubicBezTo>
                  <a:cubicBezTo>
                    <a:pt x="892773" y="873160"/>
                    <a:pt x="894433" y="872053"/>
                    <a:pt x="898861" y="869840"/>
                  </a:cubicBezTo>
                  <a:cubicBezTo>
                    <a:pt x="855693" y="849363"/>
                    <a:pt x="816400" y="829993"/>
                    <a:pt x="776553" y="811730"/>
                  </a:cubicBezTo>
                  <a:cubicBezTo>
                    <a:pt x="627681" y="743658"/>
                    <a:pt x="482682" y="668392"/>
                    <a:pt x="344325" y="580396"/>
                  </a:cubicBezTo>
                  <a:cubicBezTo>
                    <a:pt x="244154" y="516199"/>
                    <a:pt x="147304" y="445913"/>
                    <a:pt x="72591" y="351830"/>
                  </a:cubicBezTo>
                  <a:cubicBezTo>
                    <a:pt x="9500" y="274904"/>
                    <a:pt x="-19278" y="186355"/>
                    <a:pt x="13928" y="85631"/>
                  </a:cubicBezTo>
                  <a:cubicBezTo>
                    <a:pt x="22229" y="59620"/>
                    <a:pt x="37172" y="38036"/>
                    <a:pt x="57095" y="19773"/>
                  </a:cubicBezTo>
                  <a:cubicBezTo>
                    <a:pt x="81999" y="-2918"/>
                    <a:pt x="117972" y="-7345"/>
                    <a:pt x="145090" y="13132"/>
                  </a:cubicBezTo>
                  <a:cubicBezTo>
                    <a:pt x="167781" y="30288"/>
                    <a:pt x="186598" y="52425"/>
                    <a:pt x="209288" y="74009"/>
                  </a:cubicBezTo>
                  <a:cubicBezTo>
                    <a:pt x="184937" y="87844"/>
                    <a:pt x="184937" y="108875"/>
                    <a:pt x="181617" y="127691"/>
                  </a:cubicBezTo>
                  <a:cubicBezTo>
                    <a:pt x="169441" y="193549"/>
                    <a:pt x="181063" y="256087"/>
                    <a:pt x="208735" y="316964"/>
                  </a:cubicBezTo>
                  <a:cubicBezTo>
                    <a:pt x="234746" y="374521"/>
                    <a:pt x="272933" y="422669"/>
                    <a:pt x="317207" y="466943"/>
                  </a:cubicBezTo>
                  <a:cubicBezTo>
                    <a:pt x="435087" y="584270"/>
                    <a:pt x="576212" y="666731"/>
                    <a:pt x="722870" y="741998"/>
                  </a:cubicBezTo>
                  <a:cubicBezTo>
                    <a:pt x="772126" y="767455"/>
                    <a:pt x="821934" y="792913"/>
                    <a:pt x="872296" y="816710"/>
                  </a:cubicBezTo>
                  <a:cubicBezTo>
                    <a:pt x="970253" y="863752"/>
                    <a:pt x="1062122" y="919648"/>
                    <a:pt x="1147904" y="986613"/>
                  </a:cubicBezTo>
                  <a:cubicBezTo>
                    <a:pt x="1173362" y="1006537"/>
                    <a:pt x="1197712" y="1028120"/>
                    <a:pt x="1221510" y="1050258"/>
                  </a:cubicBezTo>
                  <a:cubicBezTo>
                    <a:pt x="1239220" y="1066861"/>
                    <a:pt x="1256929" y="1075162"/>
                    <a:pt x="1281834" y="1074608"/>
                  </a:cubicBezTo>
                  <a:cubicBezTo>
                    <a:pt x="1377577" y="1071841"/>
                    <a:pt x="1473320" y="1073502"/>
                    <a:pt x="1569063" y="1069074"/>
                  </a:cubicBezTo>
                  <a:cubicBezTo>
                    <a:pt x="1721810" y="1062433"/>
                    <a:pt x="1872896" y="1043616"/>
                    <a:pt x="2022875" y="1015945"/>
                  </a:cubicBezTo>
                  <a:cubicBezTo>
                    <a:pt x="2031730" y="1014285"/>
                    <a:pt x="2041692" y="1014285"/>
                    <a:pt x="2050547" y="1012624"/>
                  </a:cubicBezTo>
                  <a:cubicBezTo>
                    <a:pt x="2057188" y="1011518"/>
                    <a:pt x="2062722" y="1008197"/>
                    <a:pt x="2070470" y="1004876"/>
                  </a:cubicBezTo>
                  <a:cubicBezTo>
                    <a:pt x="2074344" y="1014838"/>
                    <a:pt x="2066596" y="1016498"/>
                    <a:pt x="2058295" y="1018159"/>
                  </a:cubicBezTo>
                  <a:cubicBezTo>
                    <a:pt x="2000185" y="1029227"/>
                    <a:pt x="1942628" y="1043063"/>
                    <a:pt x="1883964" y="1051364"/>
                  </a:cubicBezTo>
                  <a:cubicBezTo>
                    <a:pt x="1753909" y="1070181"/>
                    <a:pt x="1623299" y="1087891"/>
                    <a:pt x="1492690" y="1102833"/>
                  </a:cubicBezTo>
                  <a:cubicBezTo>
                    <a:pt x="1383665" y="1115009"/>
                    <a:pt x="1273532" y="1113349"/>
                    <a:pt x="1163953" y="1106154"/>
                  </a:cubicBezTo>
                  <a:cubicBezTo>
                    <a:pt x="1085366" y="1101173"/>
                    <a:pt x="1006226" y="1095639"/>
                    <a:pt x="928746" y="1083463"/>
                  </a:cubicBezTo>
                  <a:cubicBezTo>
                    <a:pt x="855140" y="1071841"/>
                    <a:pt x="781534" y="1055238"/>
                    <a:pt x="712909" y="1024246"/>
                  </a:cubicBezTo>
                  <a:cubicBezTo>
                    <a:pt x="655905" y="998789"/>
                    <a:pt x="603883" y="965030"/>
                    <a:pt x="562376" y="917435"/>
                  </a:cubicBezTo>
                  <a:cubicBezTo>
                    <a:pt x="529170" y="879248"/>
                    <a:pt x="523636" y="839401"/>
                    <a:pt x="544666" y="803982"/>
                  </a:cubicBezTo>
                  <a:cubicBezTo>
                    <a:pt x="552414" y="791253"/>
                    <a:pt x="564036" y="780738"/>
                    <a:pt x="573444" y="769116"/>
                  </a:cubicBezTo>
                  <a:cubicBezTo>
                    <a:pt x="575658" y="770776"/>
                    <a:pt x="577872" y="772436"/>
                    <a:pt x="579532" y="774097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="" xmlns:a16="http://schemas.microsoft.com/office/drawing/2014/main" id="{281998FC-6B16-4D4A-8896-D1AEFC6B6CBC}"/>
                </a:ext>
              </a:extLst>
            </p:cNvPr>
            <p:cNvSpPr/>
            <p:nvPr/>
          </p:nvSpPr>
          <p:spPr>
            <a:xfrm>
              <a:off x="483281" y="5137403"/>
              <a:ext cx="1505327" cy="1317161"/>
            </a:xfrm>
            <a:custGeom>
              <a:avLst/>
              <a:gdLst>
                <a:gd name="connsiteX0" fmla="*/ 1507844 w 1505326"/>
                <a:gd name="connsiteY0" fmla="*/ 1291392 h 1317161"/>
                <a:gd name="connsiteX1" fmla="*/ 1399371 w 1505326"/>
                <a:gd name="connsiteY1" fmla="*/ 1301908 h 1317161"/>
                <a:gd name="connsiteX2" fmla="*/ 973784 w 1505326"/>
                <a:gd name="connsiteY2" fmla="*/ 1315743 h 1317161"/>
                <a:gd name="connsiteX3" fmla="*/ 562033 w 1505326"/>
                <a:gd name="connsiteY3" fmla="*/ 1262614 h 1317161"/>
                <a:gd name="connsiteX4" fmla="*/ 228869 w 1505326"/>
                <a:gd name="connsiteY4" fmla="*/ 1130898 h 1317161"/>
                <a:gd name="connsiteX5" fmla="*/ 50665 w 1505326"/>
                <a:gd name="connsiteY5" fmla="*/ 961549 h 1317161"/>
                <a:gd name="connsiteX6" fmla="*/ 26867 w 1505326"/>
                <a:gd name="connsiteY6" fmla="*/ 657716 h 1317161"/>
                <a:gd name="connsiteX7" fmla="*/ 200091 w 1505326"/>
                <a:gd name="connsiteY7" fmla="*/ 465676 h 1317161"/>
                <a:gd name="connsiteX8" fmla="*/ 228316 w 1505326"/>
                <a:gd name="connsiteY8" fmla="*/ 449074 h 1317161"/>
                <a:gd name="connsiteX9" fmla="*/ 164671 w 1505326"/>
                <a:gd name="connsiteY9" fmla="*/ 391517 h 1317161"/>
                <a:gd name="connsiteX10" fmla="*/ 92172 w 1505326"/>
                <a:gd name="connsiteY10" fmla="*/ 289133 h 1317161"/>
                <a:gd name="connsiteX11" fmla="*/ 141981 w 1505326"/>
                <a:gd name="connsiteY11" fmla="*/ 78830 h 1317161"/>
                <a:gd name="connsiteX12" fmla="*/ 368886 w 1505326"/>
                <a:gd name="connsiteY12" fmla="*/ 4670 h 1317161"/>
                <a:gd name="connsiteX13" fmla="*/ 444706 w 1505326"/>
                <a:gd name="connsiteY13" fmla="*/ 20719 h 1317161"/>
                <a:gd name="connsiteX14" fmla="*/ 444153 w 1505326"/>
                <a:gd name="connsiteY14" fmla="*/ 27361 h 1317161"/>
                <a:gd name="connsiteX15" fmla="*/ 425890 w 1505326"/>
                <a:gd name="connsiteY15" fmla="*/ 25700 h 1317161"/>
                <a:gd name="connsiteX16" fmla="*/ 407073 w 1505326"/>
                <a:gd name="connsiteY16" fmla="*/ 22380 h 1317161"/>
                <a:gd name="connsiteX17" fmla="*/ 175186 w 1505326"/>
                <a:gd name="connsiteY17" fmla="*/ 92665 h 1317161"/>
                <a:gd name="connsiteX18" fmla="*/ 147515 w 1505326"/>
                <a:gd name="connsiteY18" fmla="*/ 292453 h 1317161"/>
                <a:gd name="connsiteX19" fmla="*/ 332914 w 1505326"/>
                <a:gd name="connsiteY19" fmla="*/ 465123 h 1317161"/>
                <a:gd name="connsiteX20" fmla="*/ 551518 w 1505326"/>
                <a:gd name="connsiteY20" fmla="*/ 543710 h 1317161"/>
                <a:gd name="connsiteX21" fmla="*/ 786172 w 1505326"/>
                <a:gd name="connsiteY21" fmla="*/ 633919 h 1317161"/>
                <a:gd name="connsiteX22" fmla="*/ 858671 w 1505326"/>
                <a:gd name="connsiteY22" fmla="*/ 690369 h 1317161"/>
                <a:gd name="connsiteX23" fmla="*/ 865866 w 1505326"/>
                <a:gd name="connsiteY23" fmla="*/ 699223 h 1317161"/>
                <a:gd name="connsiteX24" fmla="*/ 750199 w 1505326"/>
                <a:gd name="connsiteY24" fmla="*/ 628938 h 1317161"/>
                <a:gd name="connsiteX25" fmla="*/ 552625 w 1505326"/>
                <a:gd name="connsiteY25" fmla="*/ 564187 h 1317161"/>
                <a:gd name="connsiteX26" fmla="*/ 369440 w 1505326"/>
                <a:gd name="connsiteY26" fmla="*/ 516038 h 1317161"/>
                <a:gd name="connsiteX27" fmla="*/ 268716 w 1505326"/>
                <a:gd name="connsiteY27" fmla="*/ 470657 h 1317161"/>
                <a:gd name="connsiteX28" fmla="*/ 237724 w 1505326"/>
                <a:gd name="connsiteY28" fmla="*/ 469550 h 1317161"/>
                <a:gd name="connsiteX29" fmla="*/ 129805 w 1505326"/>
                <a:gd name="connsiteY29" fmla="*/ 566954 h 1317161"/>
                <a:gd name="connsiteX30" fmla="*/ 63947 w 1505326"/>
                <a:gd name="connsiteY30" fmla="*/ 734089 h 1317161"/>
                <a:gd name="connsiteX31" fmla="*/ 115969 w 1505326"/>
                <a:gd name="connsiteY31" fmla="*/ 897904 h 1317161"/>
                <a:gd name="connsiteX32" fmla="*/ 290300 w 1505326"/>
                <a:gd name="connsiteY32" fmla="*/ 1058952 h 1317161"/>
                <a:gd name="connsiteX33" fmla="*/ 637853 w 1505326"/>
                <a:gd name="connsiteY33" fmla="*/ 1211145 h 1317161"/>
                <a:gd name="connsiteX34" fmla="*/ 1114909 w 1505326"/>
                <a:gd name="connsiteY34" fmla="*/ 1281984 h 1317161"/>
                <a:gd name="connsiteX35" fmla="*/ 1478512 w 1505326"/>
                <a:gd name="connsiteY35" fmla="*/ 1286965 h 1317161"/>
                <a:gd name="connsiteX36" fmla="*/ 1508950 w 1505326"/>
                <a:gd name="connsiteY36" fmla="*/ 1288625 h 1317161"/>
                <a:gd name="connsiteX37" fmla="*/ 1507844 w 1505326"/>
                <a:gd name="connsiteY37" fmla="*/ 1291392 h 131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505326" h="1317161">
                  <a:moveTo>
                    <a:pt x="1507844" y="1291392"/>
                  </a:moveTo>
                  <a:cubicBezTo>
                    <a:pt x="1471871" y="1294713"/>
                    <a:pt x="1435344" y="1298587"/>
                    <a:pt x="1399371" y="1301908"/>
                  </a:cubicBezTo>
                  <a:cubicBezTo>
                    <a:pt x="1257694" y="1314636"/>
                    <a:pt x="1116016" y="1320171"/>
                    <a:pt x="973784" y="1315743"/>
                  </a:cubicBezTo>
                  <a:cubicBezTo>
                    <a:pt x="834874" y="1311316"/>
                    <a:pt x="697070" y="1295820"/>
                    <a:pt x="562033" y="1262614"/>
                  </a:cubicBezTo>
                  <a:cubicBezTo>
                    <a:pt x="445260" y="1234389"/>
                    <a:pt x="331807" y="1193989"/>
                    <a:pt x="228869" y="1130898"/>
                  </a:cubicBezTo>
                  <a:cubicBezTo>
                    <a:pt x="157477" y="1087177"/>
                    <a:pt x="93279" y="1035708"/>
                    <a:pt x="50665" y="961549"/>
                  </a:cubicBezTo>
                  <a:cubicBezTo>
                    <a:pt x="-5232" y="864145"/>
                    <a:pt x="-17407" y="760654"/>
                    <a:pt x="26867" y="657716"/>
                  </a:cubicBezTo>
                  <a:cubicBezTo>
                    <a:pt x="62287" y="575809"/>
                    <a:pt x="123164" y="512164"/>
                    <a:pt x="200091" y="465676"/>
                  </a:cubicBezTo>
                  <a:cubicBezTo>
                    <a:pt x="208945" y="460142"/>
                    <a:pt x="217800" y="455161"/>
                    <a:pt x="228316" y="449074"/>
                  </a:cubicBezTo>
                  <a:cubicBezTo>
                    <a:pt x="206178" y="429150"/>
                    <a:pt x="184595" y="411440"/>
                    <a:pt x="164671" y="391517"/>
                  </a:cubicBezTo>
                  <a:cubicBezTo>
                    <a:pt x="134233" y="362185"/>
                    <a:pt x="104347" y="331747"/>
                    <a:pt x="92172" y="289133"/>
                  </a:cubicBezTo>
                  <a:cubicBezTo>
                    <a:pt x="70035" y="209992"/>
                    <a:pt x="87745" y="140260"/>
                    <a:pt x="141981" y="78830"/>
                  </a:cubicBezTo>
                  <a:cubicBezTo>
                    <a:pt x="202858" y="9651"/>
                    <a:pt x="280338" y="-10273"/>
                    <a:pt x="368886" y="4670"/>
                  </a:cubicBezTo>
                  <a:cubicBezTo>
                    <a:pt x="394344" y="9097"/>
                    <a:pt x="419249" y="15185"/>
                    <a:pt x="444706" y="20719"/>
                  </a:cubicBezTo>
                  <a:cubicBezTo>
                    <a:pt x="444706" y="22933"/>
                    <a:pt x="444153" y="25147"/>
                    <a:pt x="444153" y="27361"/>
                  </a:cubicBezTo>
                  <a:cubicBezTo>
                    <a:pt x="438065" y="26807"/>
                    <a:pt x="431977" y="26254"/>
                    <a:pt x="425890" y="25700"/>
                  </a:cubicBezTo>
                  <a:cubicBezTo>
                    <a:pt x="419802" y="24594"/>
                    <a:pt x="413161" y="23487"/>
                    <a:pt x="407073" y="22380"/>
                  </a:cubicBezTo>
                  <a:cubicBezTo>
                    <a:pt x="316864" y="3563"/>
                    <a:pt x="239384" y="27361"/>
                    <a:pt x="175186" y="92665"/>
                  </a:cubicBezTo>
                  <a:cubicBezTo>
                    <a:pt x="120397" y="148008"/>
                    <a:pt x="115416" y="229362"/>
                    <a:pt x="147515" y="292453"/>
                  </a:cubicBezTo>
                  <a:cubicBezTo>
                    <a:pt x="188469" y="372147"/>
                    <a:pt x="258754" y="421402"/>
                    <a:pt x="332914" y="465123"/>
                  </a:cubicBezTo>
                  <a:cubicBezTo>
                    <a:pt x="400432" y="505523"/>
                    <a:pt x="476805" y="522680"/>
                    <a:pt x="551518" y="543710"/>
                  </a:cubicBezTo>
                  <a:cubicBezTo>
                    <a:pt x="632872" y="566401"/>
                    <a:pt x="713673" y="589091"/>
                    <a:pt x="786172" y="633919"/>
                  </a:cubicBezTo>
                  <a:cubicBezTo>
                    <a:pt x="812183" y="649968"/>
                    <a:pt x="834874" y="670999"/>
                    <a:pt x="858671" y="690369"/>
                  </a:cubicBezTo>
                  <a:cubicBezTo>
                    <a:pt x="861992" y="693136"/>
                    <a:pt x="864205" y="697010"/>
                    <a:pt x="865866" y="699223"/>
                  </a:cubicBezTo>
                  <a:cubicBezTo>
                    <a:pt x="827679" y="675979"/>
                    <a:pt x="790046" y="650522"/>
                    <a:pt x="750199" y="628938"/>
                  </a:cubicBezTo>
                  <a:cubicBezTo>
                    <a:pt x="688769" y="595179"/>
                    <a:pt x="620143" y="580790"/>
                    <a:pt x="552625" y="564187"/>
                  </a:cubicBezTo>
                  <a:cubicBezTo>
                    <a:pt x="491194" y="548691"/>
                    <a:pt x="429764" y="534855"/>
                    <a:pt x="369440" y="516038"/>
                  </a:cubicBezTo>
                  <a:cubicBezTo>
                    <a:pt x="334574" y="504970"/>
                    <a:pt x="301922" y="486707"/>
                    <a:pt x="268716" y="470657"/>
                  </a:cubicBezTo>
                  <a:cubicBezTo>
                    <a:pt x="257647" y="465676"/>
                    <a:pt x="248792" y="459589"/>
                    <a:pt x="237724" y="469550"/>
                  </a:cubicBezTo>
                  <a:cubicBezTo>
                    <a:pt x="201751" y="502203"/>
                    <a:pt x="161904" y="530981"/>
                    <a:pt x="129805" y="566954"/>
                  </a:cubicBezTo>
                  <a:cubicBezTo>
                    <a:pt x="88851" y="613442"/>
                    <a:pt x="61180" y="669338"/>
                    <a:pt x="63947" y="734089"/>
                  </a:cubicBezTo>
                  <a:cubicBezTo>
                    <a:pt x="66161" y="793306"/>
                    <a:pt x="85531" y="847543"/>
                    <a:pt x="115969" y="897904"/>
                  </a:cubicBezTo>
                  <a:cubicBezTo>
                    <a:pt x="158583" y="968743"/>
                    <a:pt x="222781" y="1015785"/>
                    <a:pt x="290300" y="1058952"/>
                  </a:cubicBezTo>
                  <a:cubicBezTo>
                    <a:pt x="398218" y="1127578"/>
                    <a:pt x="515545" y="1176279"/>
                    <a:pt x="637853" y="1211145"/>
                  </a:cubicBezTo>
                  <a:cubicBezTo>
                    <a:pt x="793920" y="1255420"/>
                    <a:pt x="953308" y="1278664"/>
                    <a:pt x="1114909" y="1281984"/>
                  </a:cubicBezTo>
                  <a:cubicBezTo>
                    <a:pt x="1236110" y="1284752"/>
                    <a:pt x="1357311" y="1285305"/>
                    <a:pt x="1478512" y="1286965"/>
                  </a:cubicBezTo>
                  <a:cubicBezTo>
                    <a:pt x="1488473" y="1286965"/>
                    <a:pt x="1498989" y="1288072"/>
                    <a:pt x="1508950" y="1288625"/>
                  </a:cubicBezTo>
                  <a:cubicBezTo>
                    <a:pt x="1507844" y="1289732"/>
                    <a:pt x="1507844" y="1290839"/>
                    <a:pt x="1507844" y="1291392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="" xmlns:a16="http://schemas.microsoft.com/office/drawing/2014/main" id="{A323EA50-A147-42BD-8F2E-02B08961D154}"/>
                </a:ext>
              </a:extLst>
            </p:cNvPr>
            <p:cNvSpPr/>
            <p:nvPr/>
          </p:nvSpPr>
          <p:spPr>
            <a:xfrm>
              <a:off x="677455" y="4284258"/>
              <a:ext cx="1416778" cy="907624"/>
            </a:xfrm>
            <a:custGeom>
              <a:avLst/>
              <a:gdLst>
                <a:gd name="connsiteX0" fmla="*/ 4810 w 1416778"/>
                <a:gd name="connsiteY0" fmla="*/ 0 h 907623"/>
                <a:gd name="connsiteX1" fmla="*/ 38570 w 1416778"/>
                <a:gd name="connsiteY1" fmla="*/ 66411 h 907623"/>
                <a:gd name="connsiteX2" fmla="*/ 130439 w 1416778"/>
                <a:gd name="connsiteY2" fmla="*/ 203108 h 907623"/>
                <a:gd name="connsiteX3" fmla="*/ 316391 w 1416778"/>
                <a:gd name="connsiteY3" fmla="*/ 395702 h 907623"/>
                <a:gd name="connsiteX4" fmla="*/ 655643 w 1416778"/>
                <a:gd name="connsiteY4" fmla="*/ 623714 h 907623"/>
                <a:gd name="connsiteX5" fmla="*/ 752493 w 1416778"/>
                <a:gd name="connsiteY5" fmla="*/ 675183 h 907623"/>
                <a:gd name="connsiteX6" fmla="*/ 874801 w 1416778"/>
                <a:gd name="connsiteY6" fmla="*/ 700088 h 907623"/>
                <a:gd name="connsiteX7" fmla="*/ 1096726 w 1416778"/>
                <a:gd name="connsiteY7" fmla="*/ 680164 h 907623"/>
                <a:gd name="connsiteX8" fmla="*/ 1400558 w 1416778"/>
                <a:gd name="connsiteY8" fmla="*/ 664668 h 907623"/>
                <a:gd name="connsiteX9" fmla="*/ 1416608 w 1416778"/>
                <a:gd name="connsiteY9" fmla="*/ 665775 h 907623"/>
                <a:gd name="connsiteX10" fmla="*/ 1417161 w 1416778"/>
                <a:gd name="connsiteY10" fmla="*/ 670203 h 907623"/>
                <a:gd name="connsiteX11" fmla="*/ 1289873 w 1416778"/>
                <a:gd name="connsiteY11" fmla="*/ 683485 h 907623"/>
                <a:gd name="connsiteX12" fmla="*/ 1117756 w 1416778"/>
                <a:gd name="connsiteY12" fmla="*/ 715584 h 907623"/>
                <a:gd name="connsiteX13" fmla="*/ 1040830 w 1416778"/>
                <a:gd name="connsiteY13" fmla="*/ 758198 h 907623"/>
                <a:gd name="connsiteX14" fmla="*/ 1032528 w 1416778"/>
                <a:gd name="connsiteY14" fmla="*/ 835678 h 907623"/>
                <a:gd name="connsiteX15" fmla="*/ 1091192 w 1416778"/>
                <a:gd name="connsiteY15" fmla="*/ 899322 h 907623"/>
                <a:gd name="connsiteX16" fmla="*/ 1096172 w 1416778"/>
                <a:gd name="connsiteY16" fmla="*/ 908730 h 907623"/>
                <a:gd name="connsiteX17" fmla="*/ 1006517 w 1416778"/>
                <a:gd name="connsiteY17" fmla="*/ 857262 h 907623"/>
                <a:gd name="connsiteX18" fmla="*/ 769649 w 1416778"/>
                <a:gd name="connsiteY18" fmla="*/ 732740 h 907623"/>
                <a:gd name="connsiteX19" fmla="*/ 227842 w 1416778"/>
                <a:gd name="connsiteY19" fmla="*/ 411751 h 907623"/>
                <a:gd name="connsiteX20" fmla="*/ 35802 w 1416778"/>
                <a:gd name="connsiteY20" fmla="*/ 190380 h 907623"/>
                <a:gd name="connsiteX21" fmla="*/ 4810 w 1416778"/>
                <a:gd name="connsiteY21" fmla="*/ 0 h 90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6778" h="907623">
                  <a:moveTo>
                    <a:pt x="4810" y="0"/>
                  </a:moveTo>
                  <a:cubicBezTo>
                    <a:pt x="16432" y="23244"/>
                    <a:pt x="25841" y="45935"/>
                    <a:pt x="38570" y="66411"/>
                  </a:cubicBezTo>
                  <a:cubicBezTo>
                    <a:pt x="67901" y="112899"/>
                    <a:pt x="94466" y="162155"/>
                    <a:pt x="130439" y="203108"/>
                  </a:cubicBezTo>
                  <a:cubicBezTo>
                    <a:pt x="189102" y="270073"/>
                    <a:pt x="253300" y="332057"/>
                    <a:pt x="316391" y="395702"/>
                  </a:cubicBezTo>
                  <a:cubicBezTo>
                    <a:pt x="414348" y="494212"/>
                    <a:pt x="534995" y="558963"/>
                    <a:pt x="655643" y="623714"/>
                  </a:cubicBezTo>
                  <a:cubicBezTo>
                    <a:pt x="687742" y="640871"/>
                    <a:pt x="720394" y="657474"/>
                    <a:pt x="752493" y="675183"/>
                  </a:cubicBezTo>
                  <a:cubicBezTo>
                    <a:pt x="790680" y="696214"/>
                    <a:pt x="831080" y="704515"/>
                    <a:pt x="874801" y="700088"/>
                  </a:cubicBezTo>
                  <a:cubicBezTo>
                    <a:pt x="948407" y="692340"/>
                    <a:pt x="1022566" y="686805"/>
                    <a:pt x="1096726" y="680164"/>
                  </a:cubicBezTo>
                  <a:cubicBezTo>
                    <a:pt x="1198003" y="671309"/>
                    <a:pt x="1298727" y="660794"/>
                    <a:pt x="1400558" y="664668"/>
                  </a:cubicBezTo>
                  <a:cubicBezTo>
                    <a:pt x="1406093" y="664668"/>
                    <a:pt x="1411627" y="665222"/>
                    <a:pt x="1416608" y="665775"/>
                  </a:cubicBezTo>
                  <a:cubicBezTo>
                    <a:pt x="1416608" y="667435"/>
                    <a:pt x="1416608" y="669096"/>
                    <a:pt x="1417161" y="670203"/>
                  </a:cubicBezTo>
                  <a:cubicBezTo>
                    <a:pt x="1374547" y="674630"/>
                    <a:pt x="1332487" y="679611"/>
                    <a:pt x="1289873" y="683485"/>
                  </a:cubicBezTo>
                  <a:cubicBezTo>
                    <a:pt x="1231209" y="689019"/>
                    <a:pt x="1172546" y="693447"/>
                    <a:pt x="1117756" y="715584"/>
                  </a:cubicBezTo>
                  <a:cubicBezTo>
                    <a:pt x="1090638" y="726652"/>
                    <a:pt x="1064074" y="741041"/>
                    <a:pt x="1040830" y="758198"/>
                  </a:cubicBezTo>
                  <a:cubicBezTo>
                    <a:pt x="1016479" y="776461"/>
                    <a:pt x="1013711" y="811880"/>
                    <a:pt x="1032528" y="835678"/>
                  </a:cubicBezTo>
                  <a:cubicBezTo>
                    <a:pt x="1050238" y="858368"/>
                    <a:pt x="1071268" y="878292"/>
                    <a:pt x="1091192" y="899322"/>
                  </a:cubicBezTo>
                  <a:cubicBezTo>
                    <a:pt x="1093405" y="901536"/>
                    <a:pt x="1095619" y="903750"/>
                    <a:pt x="1096172" y="908730"/>
                  </a:cubicBezTo>
                  <a:cubicBezTo>
                    <a:pt x="1066287" y="891574"/>
                    <a:pt x="1036956" y="873311"/>
                    <a:pt x="1006517" y="857262"/>
                  </a:cubicBezTo>
                  <a:cubicBezTo>
                    <a:pt x="927930" y="815201"/>
                    <a:pt x="849343" y="772587"/>
                    <a:pt x="769649" y="732740"/>
                  </a:cubicBezTo>
                  <a:cubicBezTo>
                    <a:pt x="581483" y="638104"/>
                    <a:pt x="392764" y="545128"/>
                    <a:pt x="227842" y="411751"/>
                  </a:cubicBezTo>
                  <a:cubicBezTo>
                    <a:pt x="150916" y="349214"/>
                    <a:pt x="80630" y="280588"/>
                    <a:pt x="35802" y="190380"/>
                  </a:cubicBezTo>
                  <a:cubicBezTo>
                    <a:pt x="5364" y="130609"/>
                    <a:pt x="-7919" y="68625"/>
                    <a:pt x="4810" y="0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="" xmlns:a16="http://schemas.microsoft.com/office/drawing/2014/main" id="{E838BF22-2466-4782-B714-E39C7250F625}"/>
                </a:ext>
              </a:extLst>
            </p:cNvPr>
            <p:cNvSpPr/>
            <p:nvPr/>
          </p:nvSpPr>
          <p:spPr>
            <a:xfrm>
              <a:off x="2460433" y="5574262"/>
              <a:ext cx="531292" cy="874418"/>
            </a:xfrm>
            <a:custGeom>
              <a:avLst/>
              <a:gdLst>
                <a:gd name="connsiteX0" fmla="*/ 0 w 531291"/>
                <a:gd name="connsiteY0" fmla="*/ 226944 h 874417"/>
                <a:gd name="connsiteX1" fmla="*/ 103491 w 531291"/>
                <a:gd name="connsiteY1" fmla="*/ 77518 h 874417"/>
                <a:gd name="connsiteX2" fmla="*/ 396809 w 531291"/>
                <a:gd name="connsiteY2" fmla="*/ 11107 h 874417"/>
                <a:gd name="connsiteX3" fmla="*/ 474289 w 531291"/>
                <a:gd name="connsiteY3" fmla="*/ 61469 h 874417"/>
                <a:gd name="connsiteX4" fmla="*/ 530738 w 531291"/>
                <a:gd name="connsiteY4" fmla="*/ 163300 h 874417"/>
                <a:gd name="connsiteX5" fmla="*/ 520777 w 531291"/>
                <a:gd name="connsiteY5" fmla="*/ 280073 h 874417"/>
                <a:gd name="connsiteX6" fmla="*/ 446064 w 531291"/>
                <a:gd name="connsiteY6" fmla="*/ 449423 h 874417"/>
                <a:gd name="connsiteX7" fmla="*/ 379099 w 531291"/>
                <a:gd name="connsiteY7" fmla="*/ 613238 h 874417"/>
                <a:gd name="connsiteX8" fmla="*/ 341466 w 531291"/>
                <a:gd name="connsiteY8" fmla="*/ 759343 h 874417"/>
                <a:gd name="connsiteX9" fmla="*/ 321542 w 531291"/>
                <a:gd name="connsiteY9" fmla="*/ 876670 h 874417"/>
                <a:gd name="connsiteX10" fmla="*/ 314348 w 531291"/>
                <a:gd name="connsiteY10" fmla="*/ 819113 h 874417"/>
                <a:gd name="connsiteX11" fmla="*/ 363049 w 531291"/>
                <a:gd name="connsiteY11" fmla="*/ 575605 h 874417"/>
                <a:gd name="connsiteX12" fmla="*/ 461007 w 531291"/>
                <a:gd name="connsiteY12" fmla="*/ 350912 h 874417"/>
                <a:gd name="connsiteX13" fmla="*/ 492552 w 531291"/>
                <a:gd name="connsiteY13" fmla="*/ 194292 h 874417"/>
                <a:gd name="connsiteX14" fmla="*/ 344786 w 531291"/>
                <a:gd name="connsiteY14" fmla="*/ 44866 h 874417"/>
                <a:gd name="connsiteX15" fmla="*/ 104598 w 531291"/>
                <a:gd name="connsiteY15" fmla="*/ 115152 h 874417"/>
                <a:gd name="connsiteX16" fmla="*/ 0 w 531291"/>
                <a:gd name="connsiteY16" fmla="*/ 226944 h 874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31291" h="874417">
                  <a:moveTo>
                    <a:pt x="0" y="226944"/>
                  </a:moveTo>
                  <a:cubicBezTo>
                    <a:pt x="17156" y="164960"/>
                    <a:pt x="54789" y="117365"/>
                    <a:pt x="103491" y="77518"/>
                  </a:cubicBezTo>
                  <a:cubicBezTo>
                    <a:pt x="189826" y="6679"/>
                    <a:pt x="289444" y="-16011"/>
                    <a:pt x="396809" y="11107"/>
                  </a:cubicBezTo>
                  <a:cubicBezTo>
                    <a:pt x="425034" y="18302"/>
                    <a:pt x="451045" y="41546"/>
                    <a:pt x="474289" y="61469"/>
                  </a:cubicBezTo>
                  <a:cubicBezTo>
                    <a:pt x="504727" y="88034"/>
                    <a:pt x="524097" y="123453"/>
                    <a:pt x="530738" y="163300"/>
                  </a:cubicBezTo>
                  <a:cubicBezTo>
                    <a:pt x="536826" y="202593"/>
                    <a:pt x="531845" y="241887"/>
                    <a:pt x="520777" y="280073"/>
                  </a:cubicBezTo>
                  <a:cubicBezTo>
                    <a:pt x="503620" y="339844"/>
                    <a:pt x="472628" y="394080"/>
                    <a:pt x="446064" y="449423"/>
                  </a:cubicBezTo>
                  <a:cubicBezTo>
                    <a:pt x="420606" y="502552"/>
                    <a:pt x="397915" y="557342"/>
                    <a:pt x="379099" y="613238"/>
                  </a:cubicBezTo>
                  <a:cubicBezTo>
                    <a:pt x="363049" y="660832"/>
                    <a:pt x="351981" y="710088"/>
                    <a:pt x="341466" y="759343"/>
                  </a:cubicBezTo>
                  <a:cubicBezTo>
                    <a:pt x="333718" y="797530"/>
                    <a:pt x="330397" y="836823"/>
                    <a:pt x="321542" y="876670"/>
                  </a:cubicBezTo>
                  <a:cubicBezTo>
                    <a:pt x="318775" y="857300"/>
                    <a:pt x="314901" y="838483"/>
                    <a:pt x="314348" y="819113"/>
                  </a:cubicBezTo>
                  <a:cubicBezTo>
                    <a:pt x="309920" y="733885"/>
                    <a:pt x="330951" y="653638"/>
                    <a:pt x="363049" y="575605"/>
                  </a:cubicBezTo>
                  <a:cubicBezTo>
                    <a:pt x="394595" y="500338"/>
                    <a:pt x="430014" y="426732"/>
                    <a:pt x="461007" y="350912"/>
                  </a:cubicBezTo>
                  <a:cubicBezTo>
                    <a:pt x="481483" y="301104"/>
                    <a:pt x="500853" y="249635"/>
                    <a:pt x="492552" y="194292"/>
                  </a:cubicBezTo>
                  <a:cubicBezTo>
                    <a:pt x="480377" y="110724"/>
                    <a:pt x="428908" y="53721"/>
                    <a:pt x="344786" y="44866"/>
                  </a:cubicBezTo>
                  <a:cubicBezTo>
                    <a:pt x="255684" y="35458"/>
                    <a:pt x="177097" y="64790"/>
                    <a:pt x="104598" y="115152"/>
                  </a:cubicBezTo>
                  <a:cubicBezTo>
                    <a:pt x="61431" y="144483"/>
                    <a:pt x="26011" y="181563"/>
                    <a:pt x="0" y="226944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="" xmlns:a16="http://schemas.microsoft.com/office/drawing/2014/main" id="{527B621F-A43F-4625-ABC6-B6C79337309B}"/>
                </a:ext>
              </a:extLst>
            </p:cNvPr>
            <p:cNvSpPr/>
            <p:nvPr/>
          </p:nvSpPr>
          <p:spPr>
            <a:xfrm>
              <a:off x="1297125" y="3383321"/>
              <a:ext cx="691786" cy="686252"/>
            </a:xfrm>
            <a:custGeom>
              <a:avLst/>
              <a:gdLst>
                <a:gd name="connsiteX0" fmla="*/ 0 w 691786"/>
                <a:gd name="connsiteY0" fmla="*/ 688974 h 686251"/>
                <a:gd name="connsiteX1" fmla="*/ 97404 w 691786"/>
                <a:gd name="connsiteY1" fmla="*/ 594337 h 686251"/>
                <a:gd name="connsiteX2" fmla="*/ 407877 w 691786"/>
                <a:gd name="connsiteY2" fmla="*/ 465942 h 686251"/>
                <a:gd name="connsiteX3" fmla="*/ 565051 w 691786"/>
                <a:gd name="connsiteY3" fmla="*/ 401744 h 686251"/>
                <a:gd name="connsiteX4" fmla="*/ 607112 w 691786"/>
                <a:gd name="connsiteY4" fmla="*/ 139419 h 686251"/>
                <a:gd name="connsiteX5" fmla="*/ 343126 w 691786"/>
                <a:gd name="connsiteY5" fmla="*/ 24859 h 686251"/>
                <a:gd name="connsiteX6" fmla="*/ 242955 w 691786"/>
                <a:gd name="connsiteY6" fmla="*/ 30947 h 686251"/>
                <a:gd name="connsiteX7" fmla="*/ 346447 w 691786"/>
                <a:gd name="connsiteY7" fmla="*/ 1062 h 686251"/>
                <a:gd name="connsiteX8" fmla="*/ 587742 w 691786"/>
                <a:gd name="connsiteY8" fmla="*/ 61939 h 686251"/>
                <a:gd name="connsiteX9" fmla="*/ 679611 w 691786"/>
                <a:gd name="connsiteY9" fmla="*/ 158235 h 686251"/>
                <a:gd name="connsiteX10" fmla="*/ 695107 w 691786"/>
                <a:gd name="connsiteY10" fmla="*/ 260066 h 686251"/>
                <a:gd name="connsiteX11" fmla="*/ 570032 w 691786"/>
                <a:gd name="connsiteY11" fmla="*/ 438270 h 686251"/>
                <a:gd name="connsiteX12" fmla="*/ 409537 w 691786"/>
                <a:gd name="connsiteY12" fmla="*/ 494167 h 686251"/>
                <a:gd name="connsiteX13" fmla="*/ 198681 w 691786"/>
                <a:gd name="connsiteY13" fmla="*/ 569987 h 686251"/>
                <a:gd name="connsiteX14" fmla="*/ 0 w 691786"/>
                <a:gd name="connsiteY14" fmla="*/ 688974 h 68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1786" h="686251">
                  <a:moveTo>
                    <a:pt x="0" y="688974"/>
                  </a:moveTo>
                  <a:cubicBezTo>
                    <a:pt x="26011" y="650234"/>
                    <a:pt x="59770" y="619795"/>
                    <a:pt x="97404" y="594337"/>
                  </a:cubicBezTo>
                  <a:cubicBezTo>
                    <a:pt x="192040" y="530693"/>
                    <a:pt x="299405" y="496934"/>
                    <a:pt x="407877" y="465942"/>
                  </a:cubicBezTo>
                  <a:cubicBezTo>
                    <a:pt x="462667" y="449892"/>
                    <a:pt x="515242" y="428862"/>
                    <a:pt x="565051" y="401744"/>
                  </a:cubicBezTo>
                  <a:cubicBezTo>
                    <a:pt x="673523" y="342527"/>
                    <a:pt x="679611" y="218559"/>
                    <a:pt x="607112" y="139419"/>
                  </a:cubicBezTo>
                  <a:cubicBezTo>
                    <a:pt x="536273" y="62492"/>
                    <a:pt x="444404" y="30393"/>
                    <a:pt x="343126" y="24859"/>
                  </a:cubicBezTo>
                  <a:cubicBezTo>
                    <a:pt x="309367" y="22645"/>
                    <a:pt x="275608" y="28733"/>
                    <a:pt x="242955" y="30947"/>
                  </a:cubicBezTo>
                  <a:cubicBezTo>
                    <a:pt x="274501" y="14344"/>
                    <a:pt x="309367" y="3275"/>
                    <a:pt x="346447" y="1062"/>
                  </a:cubicBezTo>
                  <a:cubicBezTo>
                    <a:pt x="433335" y="-4473"/>
                    <a:pt x="515242" y="11023"/>
                    <a:pt x="587742" y="61939"/>
                  </a:cubicBezTo>
                  <a:cubicBezTo>
                    <a:pt x="624821" y="87950"/>
                    <a:pt x="656920" y="118388"/>
                    <a:pt x="679611" y="158235"/>
                  </a:cubicBezTo>
                  <a:cubicBezTo>
                    <a:pt x="697321" y="189781"/>
                    <a:pt x="696214" y="225200"/>
                    <a:pt x="695107" y="260066"/>
                  </a:cubicBezTo>
                  <a:cubicBezTo>
                    <a:pt x="692340" y="346401"/>
                    <a:pt x="642531" y="400084"/>
                    <a:pt x="570032" y="438270"/>
                  </a:cubicBezTo>
                  <a:cubicBezTo>
                    <a:pt x="519116" y="464835"/>
                    <a:pt x="464880" y="480331"/>
                    <a:pt x="409537" y="494167"/>
                  </a:cubicBezTo>
                  <a:cubicBezTo>
                    <a:pt x="337038" y="512430"/>
                    <a:pt x="266753" y="537888"/>
                    <a:pt x="198681" y="569987"/>
                  </a:cubicBezTo>
                  <a:cubicBezTo>
                    <a:pt x="128396" y="602086"/>
                    <a:pt x="63091" y="643593"/>
                    <a:pt x="0" y="688974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="" xmlns:a16="http://schemas.microsoft.com/office/drawing/2014/main" id="{572961ED-047E-433A-9C67-92C8645EFAD3}"/>
                </a:ext>
              </a:extLst>
            </p:cNvPr>
            <p:cNvSpPr/>
            <p:nvPr/>
          </p:nvSpPr>
          <p:spPr>
            <a:xfrm>
              <a:off x="857950" y="5908322"/>
              <a:ext cx="237974" cy="177097"/>
            </a:xfrm>
            <a:custGeom>
              <a:avLst/>
              <a:gdLst>
                <a:gd name="connsiteX0" fmla="*/ 242154 w 237974"/>
                <a:gd name="connsiteY0" fmla="*/ 132519 h 177097"/>
                <a:gd name="connsiteX1" fmla="*/ 139770 w 237974"/>
                <a:gd name="connsiteY1" fmla="*/ 121451 h 177097"/>
                <a:gd name="connsiteX2" fmla="*/ 139217 w 237974"/>
                <a:gd name="connsiteY2" fmla="*/ 126432 h 177097"/>
                <a:gd name="connsiteX3" fmla="*/ 220571 w 237974"/>
                <a:gd name="connsiteY3" fmla="*/ 135287 h 177097"/>
                <a:gd name="connsiteX4" fmla="*/ 221678 w 237974"/>
                <a:gd name="connsiteY4" fmla="*/ 139161 h 177097"/>
                <a:gd name="connsiteX5" fmla="*/ 172976 w 237974"/>
                <a:gd name="connsiteY5" fmla="*/ 152443 h 177097"/>
                <a:gd name="connsiteX6" fmla="*/ 82767 w 237974"/>
                <a:gd name="connsiteY6" fmla="*/ 177901 h 177097"/>
                <a:gd name="connsiteX7" fmla="*/ 10268 w 237974"/>
                <a:gd name="connsiteY7" fmla="*/ 149676 h 177097"/>
                <a:gd name="connsiteX8" fmla="*/ 16355 w 237974"/>
                <a:gd name="connsiteY8" fmla="*/ 72749 h 177097"/>
                <a:gd name="connsiteX9" fmla="*/ 85534 w 237974"/>
                <a:gd name="connsiteY9" fmla="*/ 65001 h 177097"/>
                <a:gd name="connsiteX10" fmla="*/ 98263 w 237974"/>
                <a:gd name="connsiteY10" fmla="*/ 74409 h 177097"/>
                <a:gd name="connsiteX11" fmla="*/ 93282 w 237974"/>
                <a:gd name="connsiteY11" fmla="*/ 65555 h 177097"/>
                <a:gd name="connsiteX12" fmla="*/ 92729 w 237974"/>
                <a:gd name="connsiteY12" fmla="*/ 10765 h 177097"/>
                <a:gd name="connsiteX13" fmla="*/ 154713 w 237974"/>
                <a:gd name="connsiteY13" fmla="*/ 8551 h 177097"/>
                <a:gd name="connsiteX14" fmla="*/ 202861 w 237974"/>
                <a:gd name="connsiteY14" fmla="*/ 59467 h 177097"/>
                <a:gd name="connsiteX15" fmla="*/ 242154 w 237974"/>
                <a:gd name="connsiteY15" fmla="*/ 132519 h 177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7974" h="177097">
                  <a:moveTo>
                    <a:pt x="242154" y="132519"/>
                  </a:moveTo>
                  <a:cubicBezTo>
                    <a:pt x="203968" y="128645"/>
                    <a:pt x="171869" y="124771"/>
                    <a:pt x="139770" y="121451"/>
                  </a:cubicBezTo>
                  <a:cubicBezTo>
                    <a:pt x="139770" y="123111"/>
                    <a:pt x="139217" y="124771"/>
                    <a:pt x="139217" y="126432"/>
                  </a:cubicBezTo>
                  <a:cubicBezTo>
                    <a:pt x="166335" y="129199"/>
                    <a:pt x="193453" y="131966"/>
                    <a:pt x="220571" y="135287"/>
                  </a:cubicBezTo>
                  <a:cubicBezTo>
                    <a:pt x="221124" y="136394"/>
                    <a:pt x="221124" y="138054"/>
                    <a:pt x="221678" y="139161"/>
                  </a:cubicBezTo>
                  <a:cubicBezTo>
                    <a:pt x="205628" y="143588"/>
                    <a:pt x="189025" y="148015"/>
                    <a:pt x="172976" y="152443"/>
                  </a:cubicBezTo>
                  <a:cubicBezTo>
                    <a:pt x="143091" y="160744"/>
                    <a:pt x="113206" y="171259"/>
                    <a:pt x="82767" y="177901"/>
                  </a:cubicBezTo>
                  <a:cubicBezTo>
                    <a:pt x="53435" y="184542"/>
                    <a:pt x="29638" y="171259"/>
                    <a:pt x="10268" y="149676"/>
                  </a:cubicBezTo>
                  <a:cubicBezTo>
                    <a:pt x="-5782" y="130859"/>
                    <a:pt x="-2461" y="93779"/>
                    <a:pt x="16355" y="72749"/>
                  </a:cubicBezTo>
                  <a:cubicBezTo>
                    <a:pt x="33512" y="53379"/>
                    <a:pt x="63950" y="50059"/>
                    <a:pt x="85534" y="65001"/>
                  </a:cubicBezTo>
                  <a:cubicBezTo>
                    <a:pt x="88855" y="67215"/>
                    <a:pt x="91622" y="69428"/>
                    <a:pt x="98263" y="74409"/>
                  </a:cubicBezTo>
                  <a:cubicBezTo>
                    <a:pt x="94942" y="68875"/>
                    <a:pt x="93836" y="67215"/>
                    <a:pt x="93282" y="65555"/>
                  </a:cubicBezTo>
                  <a:cubicBezTo>
                    <a:pt x="80553" y="41757"/>
                    <a:pt x="80553" y="21834"/>
                    <a:pt x="92729" y="10765"/>
                  </a:cubicBezTo>
                  <a:cubicBezTo>
                    <a:pt x="105458" y="-1410"/>
                    <a:pt x="137556" y="-4731"/>
                    <a:pt x="154713" y="8551"/>
                  </a:cubicBezTo>
                  <a:cubicBezTo>
                    <a:pt x="172976" y="22941"/>
                    <a:pt x="189579" y="40650"/>
                    <a:pt x="202861" y="59467"/>
                  </a:cubicBezTo>
                  <a:cubicBezTo>
                    <a:pt x="217804" y="80497"/>
                    <a:pt x="227765" y="104848"/>
                    <a:pt x="242154" y="132519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="" xmlns:a16="http://schemas.microsoft.com/office/drawing/2014/main" id="{9AFF5893-F88E-4C7B-923B-F1F07CF73408}"/>
                </a:ext>
              </a:extLst>
            </p:cNvPr>
            <p:cNvSpPr/>
            <p:nvPr/>
          </p:nvSpPr>
          <p:spPr>
            <a:xfrm>
              <a:off x="1371001" y="6228881"/>
              <a:ext cx="265646" cy="143892"/>
            </a:xfrm>
            <a:custGeom>
              <a:avLst/>
              <a:gdLst>
                <a:gd name="connsiteX0" fmla="*/ 267589 w 265645"/>
                <a:gd name="connsiteY0" fmla="*/ 92549 h 143891"/>
                <a:gd name="connsiteX1" fmla="*/ 259288 w 265645"/>
                <a:gd name="connsiteY1" fmla="*/ 101404 h 143891"/>
                <a:gd name="connsiteX2" fmla="*/ 109309 w 265645"/>
                <a:gd name="connsiteY2" fmla="*/ 144571 h 143891"/>
                <a:gd name="connsiteX3" fmla="*/ 11905 w 265645"/>
                <a:gd name="connsiteY3" fmla="*/ 109152 h 143891"/>
                <a:gd name="connsiteX4" fmla="*/ 50092 w 265645"/>
                <a:gd name="connsiteY4" fmla="*/ 2340 h 143891"/>
                <a:gd name="connsiteX5" fmla="*/ 121484 w 265645"/>
                <a:gd name="connsiteY5" fmla="*/ 28905 h 143891"/>
                <a:gd name="connsiteX6" fmla="*/ 144728 w 265645"/>
                <a:gd name="connsiteY6" fmla="*/ 56023 h 143891"/>
                <a:gd name="connsiteX7" fmla="*/ 181254 w 265645"/>
                <a:gd name="connsiteY7" fmla="*/ 87015 h 143891"/>
                <a:gd name="connsiteX8" fmla="*/ 267589 w 265645"/>
                <a:gd name="connsiteY8" fmla="*/ 92549 h 143891"/>
                <a:gd name="connsiteX9" fmla="*/ 267589 w 265645"/>
                <a:gd name="connsiteY9" fmla="*/ 92549 h 143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5645" h="143891">
                  <a:moveTo>
                    <a:pt x="267589" y="92549"/>
                  </a:moveTo>
                  <a:cubicBezTo>
                    <a:pt x="264822" y="95316"/>
                    <a:pt x="262609" y="100297"/>
                    <a:pt x="259288" y="101404"/>
                  </a:cubicBezTo>
                  <a:cubicBezTo>
                    <a:pt x="209479" y="116347"/>
                    <a:pt x="160224" y="132950"/>
                    <a:pt x="109309" y="144571"/>
                  </a:cubicBezTo>
                  <a:cubicBezTo>
                    <a:pt x="71122" y="153426"/>
                    <a:pt x="36809" y="139591"/>
                    <a:pt x="11905" y="109152"/>
                  </a:cubicBezTo>
                  <a:cubicBezTo>
                    <a:pt x="-15766" y="75393"/>
                    <a:pt x="8031" y="13409"/>
                    <a:pt x="50092" y="2340"/>
                  </a:cubicBezTo>
                  <a:cubicBezTo>
                    <a:pt x="81637" y="-5961"/>
                    <a:pt x="102114" y="8981"/>
                    <a:pt x="121484" y="28905"/>
                  </a:cubicBezTo>
                  <a:cubicBezTo>
                    <a:pt x="129232" y="37760"/>
                    <a:pt x="136980" y="47168"/>
                    <a:pt x="144728" y="56023"/>
                  </a:cubicBezTo>
                  <a:cubicBezTo>
                    <a:pt x="149709" y="74286"/>
                    <a:pt x="161331" y="85355"/>
                    <a:pt x="181254" y="87015"/>
                  </a:cubicBezTo>
                  <a:cubicBezTo>
                    <a:pt x="211140" y="88675"/>
                    <a:pt x="239365" y="90889"/>
                    <a:pt x="267589" y="92549"/>
                  </a:cubicBezTo>
                  <a:lnTo>
                    <a:pt x="267589" y="92549"/>
                  </a:ln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="" xmlns:a16="http://schemas.microsoft.com/office/drawing/2014/main" id="{60C00E4A-E4EF-4CBE-A5A4-227F12FD3C51}"/>
                </a:ext>
              </a:extLst>
            </p:cNvPr>
            <p:cNvSpPr/>
            <p:nvPr/>
          </p:nvSpPr>
          <p:spPr>
            <a:xfrm>
              <a:off x="1471406" y="6163113"/>
              <a:ext cx="182632" cy="154960"/>
            </a:xfrm>
            <a:custGeom>
              <a:avLst/>
              <a:gdLst>
                <a:gd name="connsiteX0" fmla="*/ 45430 w 182631"/>
                <a:gd name="connsiteY0" fmla="*/ 121790 h 154960"/>
                <a:gd name="connsiteX1" fmla="*/ 22186 w 182631"/>
                <a:gd name="connsiteY1" fmla="*/ 94672 h 154960"/>
                <a:gd name="connsiteX2" fmla="*/ 2816 w 182631"/>
                <a:gd name="connsiteY2" fmla="*/ 56486 h 154960"/>
                <a:gd name="connsiteX3" fmla="*/ 36022 w 182631"/>
                <a:gd name="connsiteY3" fmla="*/ 1143 h 154960"/>
                <a:gd name="connsiteX4" fmla="*/ 127338 w 182631"/>
                <a:gd name="connsiteY4" fmla="*/ 46524 h 154960"/>
                <a:gd name="connsiteX5" fmla="*/ 182681 w 182631"/>
                <a:gd name="connsiteY5" fmla="*/ 142821 h 154960"/>
                <a:gd name="connsiteX6" fmla="*/ 187108 w 182631"/>
                <a:gd name="connsiteY6" fmla="*/ 158870 h 154960"/>
                <a:gd name="connsiteX7" fmla="*/ 168292 w 182631"/>
                <a:gd name="connsiteY7" fmla="*/ 158870 h 154960"/>
                <a:gd name="connsiteX8" fmla="*/ 168845 w 182631"/>
                <a:gd name="connsiteY8" fmla="*/ 159424 h 154960"/>
                <a:gd name="connsiteX9" fmla="*/ 99113 w 182631"/>
                <a:gd name="connsiteY9" fmla="*/ 149462 h 154960"/>
                <a:gd name="connsiteX10" fmla="*/ 45430 w 182631"/>
                <a:gd name="connsiteY10" fmla="*/ 121790 h 154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2631" h="154960">
                  <a:moveTo>
                    <a:pt x="45430" y="121790"/>
                  </a:moveTo>
                  <a:cubicBezTo>
                    <a:pt x="37682" y="112936"/>
                    <a:pt x="29935" y="103527"/>
                    <a:pt x="22186" y="94672"/>
                  </a:cubicBezTo>
                  <a:cubicBezTo>
                    <a:pt x="15545" y="81944"/>
                    <a:pt x="7244" y="69768"/>
                    <a:pt x="2816" y="56486"/>
                  </a:cubicBezTo>
                  <a:cubicBezTo>
                    <a:pt x="-6592" y="30474"/>
                    <a:pt x="8351" y="5570"/>
                    <a:pt x="36022" y="1143"/>
                  </a:cubicBezTo>
                  <a:cubicBezTo>
                    <a:pt x="76976" y="-5498"/>
                    <a:pt x="105754" y="17746"/>
                    <a:pt x="127338" y="46524"/>
                  </a:cubicBezTo>
                  <a:cubicBezTo>
                    <a:pt x="148922" y="76409"/>
                    <a:pt x="164418" y="110168"/>
                    <a:pt x="182681" y="142821"/>
                  </a:cubicBezTo>
                  <a:cubicBezTo>
                    <a:pt x="184895" y="147248"/>
                    <a:pt x="185448" y="152229"/>
                    <a:pt x="187108" y="158870"/>
                  </a:cubicBezTo>
                  <a:cubicBezTo>
                    <a:pt x="179360" y="158870"/>
                    <a:pt x="173826" y="158870"/>
                    <a:pt x="168292" y="158870"/>
                  </a:cubicBezTo>
                  <a:cubicBezTo>
                    <a:pt x="168292" y="158870"/>
                    <a:pt x="168845" y="159424"/>
                    <a:pt x="168845" y="159424"/>
                  </a:cubicBezTo>
                  <a:cubicBezTo>
                    <a:pt x="145601" y="156103"/>
                    <a:pt x="122357" y="151676"/>
                    <a:pt x="99113" y="149462"/>
                  </a:cubicBezTo>
                  <a:cubicBezTo>
                    <a:pt x="76976" y="146141"/>
                    <a:pt x="57606" y="141160"/>
                    <a:pt x="45430" y="121790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="" xmlns:a16="http://schemas.microsoft.com/office/drawing/2014/main" id="{BD11CE44-093B-4CE6-8B7F-87575310E7E0}"/>
                </a:ext>
              </a:extLst>
            </p:cNvPr>
            <p:cNvSpPr/>
            <p:nvPr/>
          </p:nvSpPr>
          <p:spPr>
            <a:xfrm>
              <a:off x="1263366" y="4727001"/>
              <a:ext cx="852281" cy="99617"/>
            </a:xfrm>
            <a:custGeom>
              <a:avLst/>
              <a:gdLst>
                <a:gd name="connsiteX0" fmla="*/ 0 w 852280"/>
                <a:gd name="connsiteY0" fmla="*/ 99617 h 99617"/>
                <a:gd name="connsiteX1" fmla="*/ 114560 w 852280"/>
                <a:gd name="connsiteY1" fmla="*/ 66965 h 99617"/>
                <a:gd name="connsiteX2" fmla="*/ 489785 w 852280"/>
                <a:gd name="connsiteY2" fmla="*/ 14389 h 99617"/>
                <a:gd name="connsiteX3" fmla="*/ 857262 w 852280"/>
                <a:gd name="connsiteY3" fmla="*/ 0 h 99617"/>
                <a:gd name="connsiteX4" fmla="*/ 847853 w 852280"/>
                <a:gd name="connsiteY4" fmla="*/ 3321 h 99617"/>
                <a:gd name="connsiteX5" fmla="*/ 694553 w 852280"/>
                <a:gd name="connsiteY5" fmla="*/ 22691 h 99617"/>
                <a:gd name="connsiteX6" fmla="*/ 250703 w 852280"/>
                <a:gd name="connsiteY6" fmla="*/ 57003 h 99617"/>
                <a:gd name="connsiteX7" fmla="*/ 23244 w 852280"/>
                <a:gd name="connsiteY7" fmla="*/ 99064 h 99617"/>
                <a:gd name="connsiteX8" fmla="*/ 1660 w 852280"/>
                <a:gd name="connsiteY8" fmla="*/ 104045 h 99617"/>
                <a:gd name="connsiteX9" fmla="*/ 0 w 852280"/>
                <a:gd name="connsiteY9" fmla="*/ 99617 h 99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2280" h="99617">
                  <a:moveTo>
                    <a:pt x="0" y="99617"/>
                  </a:moveTo>
                  <a:cubicBezTo>
                    <a:pt x="38187" y="88549"/>
                    <a:pt x="76373" y="76927"/>
                    <a:pt x="114560" y="66965"/>
                  </a:cubicBezTo>
                  <a:cubicBezTo>
                    <a:pt x="237421" y="35419"/>
                    <a:pt x="363049" y="21030"/>
                    <a:pt x="489785" y="14389"/>
                  </a:cubicBezTo>
                  <a:cubicBezTo>
                    <a:pt x="612093" y="7748"/>
                    <a:pt x="734400" y="3321"/>
                    <a:pt x="857262" y="0"/>
                  </a:cubicBezTo>
                  <a:cubicBezTo>
                    <a:pt x="853941" y="1107"/>
                    <a:pt x="851174" y="2767"/>
                    <a:pt x="847853" y="3321"/>
                  </a:cubicBezTo>
                  <a:cubicBezTo>
                    <a:pt x="796938" y="9962"/>
                    <a:pt x="746022" y="18817"/>
                    <a:pt x="694553" y="22691"/>
                  </a:cubicBezTo>
                  <a:cubicBezTo>
                    <a:pt x="546788" y="34866"/>
                    <a:pt x="397915" y="42061"/>
                    <a:pt x="250703" y="57003"/>
                  </a:cubicBezTo>
                  <a:cubicBezTo>
                    <a:pt x="174330" y="64751"/>
                    <a:pt x="99064" y="84675"/>
                    <a:pt x="23244" y="99064"/>
                  </a:cubicBezTo>
                  <a:cubicBezTo>
                    <a:pt x="16049" y="100724"/>
                    <a:pt x="8855" y="102384"/>
                    <a:pt x="1660" y="104045"/>
                  </a:cubicBezTo>
                  <a:cubicBezTo>
                    <a:pt x="553" y="102938"/>
                    <a:pt x="0" y="101277"/>
                    <a:pt x="0" y="99617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="" xmlns:a16="http://schemas.microsoft.com/office/drawing/2014/main" id="{C1553A53-92F1-4E66-B6A6-B2D9B64B4D31}"/>
                </a:ext>
              </a:extLst>
            </p:cNvPr>
            <p:cNvSpPr/>
            <p:nvPr/>
          </p:nvSpPr>
          <p:spPr>
            <a:xfrm>
              <a:off x="1118942" y="5773535"/>
              <a:ext cx="564498" cy="304386"/>
            </a:xfrm>
            <a:custGeom>
              <a:avLst/>
              <a:gdLst>
                <a:gd name="connsiteX0" fmla="*/ 13815 w 564497"/>
                <a:gd name="connsiteY0" fmla="*/ 0 h 304385"/>
                <a:gd name="connsiteX1" fmla="*/ 16582 w 564497"/>
                <a:gd name="connsiteY1" fmla="*/ 20477 h 304385"/>
                <a:gd name="connsiteX2" fmla="*/ 74692 w 564497"/>
                <a:gd name="connsiteY2" fmla="*/ 150533 h 304385"/>
                <a:gd name="connsiteX3" fmla="*/ 251789 w 564497"/>
                <a:gd name="connsiteY3" fmla="*/ 233547 h 304385"/>
                <a:gd name="connsiteX4" fmla="*/ 555622 w 564497"/>
                <a:gd name="connsiteY4" fmla="*/ 297745 h 304385"/>
                <a:gd name="connsiteX5" fmla="*/ 565030 w 564497"/>
                <a:gd name="connsiteY5" fmla="*/ 300512 h 304385"/>
                <a:gd name="connsiteX6" fmla="*/ 565030 w 564497"/>
                <a:gd name="connsiteY6" fmla="*/ 304939 h 304385"/>
                <a:gd name="connsiteX7" fmla="*/ 529057 w 564497"/>
                <a:gd name="connsiteY7" fmla="*/ 304939 h 304385"/>
                <a:gd name="connsiteX8" fmla="*/ 490871 w 564497"/>
                <a:gd name="connsiteY8" fmla="*/ 303279 h 304385"/>
                <a:gd name="connsiteX9" fmla="*/ 149405 w 564497"/>
                <a:gd name="connsiteY9" fmla="*/ 213623 h 304385"/>
                <a:gd name="connsiteX10" fmla="*/ 32078 w 564497"/>
                <a:gd name="connsiteY10" fmla="*/ 131163 h 304385"/>
                <a:gd name="connsiteX11" fmla="*/ 13815 w 564497"/>
                <a:gd name="connsiteY11" fmla="*/ 0 h 304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4497" h="304385">
                  <a:moveTo>
                    <a:pt x="13815" y="0"/>
                  </a:moveTo>
                  <a:cubicBezTo>
                    <a:pt x="14922" y="6641"/>
                    <a:pt x="17689" y="13836"/>
                    <a:pt x="16582" y="20477"/>
                  </a:cubicBezTo>
                  <a:cubicBezTo>
                    <a:pt x="6620" y="76927"/>
                    <a:pt x="30971" y="118434"/>
                    <a:pt x="74692" y="150533"/>
                  </a:cubicBezTo>
                  <a:cubicBezTo>
                    <a:pt x="127821" y="190380"/>
                    <a:pt x="189805" y="212517"/>
                    <a:pt x="251789" y="233547"/>
                  </a:cubicBezTo>
                  <a:cubicBezTo>
                    <a:pt x="350853" y="267306"/>
                    <a:pt x="452131" y="286123"/>
                    <a:pt x="555622" y="297745"/>
                  </a:cubicBezTo>
                  <a:cubicBezTo>
                    <a:pt x="558942" y="298298"/>
                    <a:pt x="561710" y="299405"/>
                    <a:pt x="565030" y="300512"/>
                  </a:cubicBezTo>
                  <a:cubicBezTo>
                    <a:pt x="565030" y="302172"/>
                    <a:pt x="565030" y="303279"/>
                    <a:pt x="565030" y="304939"/>
                  </a:cubicBezTo>
                  <a:cubicBezTo>
                    <a:pt x="552855" y="304939"/>
                    <a:pt x="540679" y="304939"/>
                    <a:pt x="529057" y="304939"/>
                  </a:cubicBezTo>
                  <a:cubicBezTo>
                    <a:pt x="516328" y="304386"/>
                    <a:pt x="503600" y="304386"/>
                    <a:pt x="490871" y="303279"/>
                  </a:cubicBezTo>
                  <a:cubicBezTo>
                    <a:pt x="372437" y="291104"/>
                    <a:pt x="257877" y="263986"/>
                    <a:pt x="149405" y="213623"/>
                  </a:cubicBezTo>
                  <a:cubicBezTo>
                    <a:pt x="105684" y="193147"/>
                    <a:pt x="65837" y="166582"/>
                    <a:pt x="32078" y="131163"/>
                  </a:cubicBezTo>
                  <a:cubicBezTo>
                    <a:pt x="-3341" y="95190"/>
                    <a:pt x="-9429" y="32652"/>
                    <a:pt x="13815" y="0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="" xmlns:a16="http://schemas.microsoft.com/office/drawing/2014/main" id="{1F9C7DB2-94EE-4E7F-919B-D71EA696BC3D}"/>
                </a:ext>
              </a:extLst>
            </p:cNvPr>
            <p:cNvSpPr/>
            <p:nvPr/>
          </p:nvSpPr>
          <p:spPr>
            <a:xfrm>
              <a:off x="1516836" y="6284904"/>
              <a:ext cx="121754" cy="33206"/>
            </a:xfrm>
            <a:custGeom>
              <a:avLst/>
              <a:gdLst>
                <a:gd name="connsiteX0" fmla="*/ 0 w 121754"/>
                <a:gd name="connsiteY0" fmla="*/ 0 h 33205"/>
                <a:gd name="connsiteX1" fmla="*/ 52576 w 121754"/>
                <a:gd name="connsiteY1" fmla="*/ 27118 h 33205"/>
                <a:gd name="connsiteX2" fmla="*/ 122308 w 121754"/>
                <a:gd name="connsiteY2" fmla="*/ 37080 h 33205"/>
                <a:gd name="connsiteX3" fmla="*/ 36526 w 121754"/>
                <a:gd name="connsiteY3" fmla="*/ 30992 h 33205"/>
                <a:gd name="connsiteX4" fmla="*/ 0 w 121754"/>
                <a:gd name="connsiteY4" fmla="*/ 0 h 33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754" h="33205">
                  <a:moveTo>
                    <a:pt x="0" y="0"/>
                  </a:moveTo>
                  <a:cubicBezTo>
                    <a:pt x="12176" y="19370"/>
                    <a:pt x="31546" y="24904"/>
                    <a:pt x="52576" y="27118"/>
                  </a:cubicBezTo>
                  <a:cubicBezTo>
                    <a:pt x="75820" y="29332"/>
                    <a:pt x="99064" y="33759"/>
                    <a:pt x="122308" y="37080"/>
                  </a:cubicBezTo>
                  <a:cubicBezTo>
                    <a:pt x="93530" y="34866"/>
                    <a:pt x="64751" y="33206"/>
                    <a:pt x="36526" y="30992"/>
                  </a:cubicBezTo>
                  <a:cubicBezTo>
                    <a:pt x="17156" y="29332"/>
                    <a:pt x="5534" y="18263"/>
                    <a:pt x="0" y="0"/>
                  </a:cubicBezTo>
                  <a:close/>
                </a:path>
              </a:pathLst>
            </a:custGeom>
            <a:grpFill/>
            <a:ln w="553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698"/>
              <a:endParaRPr lang="en-US" sz="140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7658337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37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8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913413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436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020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497020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477208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solidFill>
              <a:srgbClr val="56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587447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83152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2C341"/>
                </a:solidFill>
              </a:rPr>
              <a:t>?</a:t>
            </a:r>
            <a:endParaRPr lang="en-US" sz="2800" b="0" dirty="0">
              <a:solidFill>
                <a:srgbClr val="82C34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299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78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573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yl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1569035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Slide layout"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="" xmlns:a16="http://schemas.microsoft.com/office/drawing/2014/main" id="{AF5DEDB2-78E8-45EC-AB12-C2290127F53E}"/>
              </a:ext>
            </a:extLst>
          </p:cNvPr>
          <p:cNvSpPr/>
          <p:nvPr userDrawn="1"/>
        </p:nvSpPr>
        <p:spPr>
          <a:xfrm rot="18900000">
            <a:off x="2437817" y="-1492038"/>
            <a:ext cx="8127573" cy="8127575"/>
          </a:xfrm>
          <a:custGeom>
            <a:avLst/>
            <a:gdLst>
              <a:gd name="connsiteX0" fmla="*/ 4849337 w 10836764"/>
              <a:gd name="connsiteY0" fmla="*/ 0 h 10836766"/>
              <a:gd name="connsiteX1" fmla="*/ 10836764 w 10836764"/>
              <a:gd name="connsiteY1" fmla="*/ 5987428 h 10836766"/>
              <a:gd name="connsiteX2" fmla="*/ 5987426 w 10836764"/>
              <a:gd name="connsiteY2" fmla="*/ 10836766 h 10836766"/>
              <a:gd name="connsiteX3" fmla="*/ 1 w 10836764"/>
              <a:gd name="connsiteY3" fmla="*/ 4849340 h 10836766"/>
              <a:gd name="connsiteX4" fmla="*/ 0 w 10836764"/>
              <a:gd name="connsiteY4" fmla="*/ 1529113 h 10836766"/>
              <a:gd name="connsiteX5" fmla="*/ 1529113 w 10836764"/>
              <a:gd name="connsiteY5" fmla="*/ 0 h 10836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36764" h="10836766">
                <a:moveTo>
                  <a:pt x="4849337" y="0"/>
                </a:moveTo>
                <a:lnTo>
                  <a:pt x="10836764" y="5987428"/>
                </a:lnTo>
                <a:lnTo>
                  <a:pt x="5987426" y="10836766"/>
                </a:lnTo>
                <a:lnTo>
                  <a:pt x="1" y="4849340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89000">
                <a:schemeClr val="accent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E769B23C-815D-4713-8F2F-BE8E52CBCEEB}"/>
              </a:ext>
            </a:extLst>
          </p:cNvPr>
          <p:cNvSpPr/>
          <p:nvPr userDrawn="1"/>
        </p:nvSpPr>
        <p:spPr>
          <a:xfrm rot="18900000">
            <a:off x="8517299" y="1426573"/>
            <a:ext cx="2330225" cy="2330225"/>
          </a:xfrm>
          <a:custGeom>
            <a:avLst/>
            <a:gdLst>
              <a:gd name="connsiteX0" fmla="*/ 3106966 w 3106966"/>
              <a:gd name="connsiteY0" fmla="*/ 0 h 3106966"/>
              <a:gd name="connsiteX1" fmla="*/ 1 w 3106966"/>
              <a:gd name="connsiteY1" fmla="*/ 3106966 h 3106966"/>
              <a:gd name="connsiteX2" fmla="*/ 0 w 3106966"/>
              <a:gd name="connsiteY2" fmla="*/ 1529113 h 3106966"/>
              <a:gd name="connsiteX3" fmla="*/ 1529113 w 3106966"/>
              <a:gd name="connsiteY3" fmla="*/ 0 h 3106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6966" h="3106966">
                <a:moveTo>
                  <a:pt x="3106966" y="0"/>
                </a:moveTo>
                <a:lnTo>
                  <a:pt x="1" y="3106966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45248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716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="" xmlns:a16="http://schemas.microsoft.com/office/drawing/2014/main" id="{B3CA5F7E-D45F-4887-AF9C-BB7E27A9C9CE}"/>
              </a:ext>
            </a:extLst>
          </p:cNvPr>
          <p:cNvSpPr/>
          <p:nvPr userDrawn="1"/>
        </p:nvSpPr>
        <p:spPr>
          <a:xfrm>
            <a:off x="5421090" y="1407112"/>
            <a:ext cx="3240000" cy="32400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" name="그림 개체 틀 5">
            <a:extLst>
              <a:ext uri="{FF2B5EF4-FFF2-40B4-BE49-F238E27FC236}">
                <a16:creationId xmlns="" xmlns:a16="http://schemas.microsoft.com/office/drawing/2014/main" id="{1C677DB5-A9F3-459B-9D51-37160E08512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93016" y="547007"/>
            <a:ext cx="3736584" cy="373658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685800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6280992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4">
            <a:extLst>
              <a:ext uri="{FF2B5EF4-FFF2-40B4-BE49-F238E27FC236}">
                <a16:creationId xmlns="" xmlns:a16="http://schemas.microsoft.com/office/drawing/2014/main" id="{C3CDBC2D-C9C0-4D36-A0F9-7EDE3B294276}"/>
              </a:ext>
            </a:extLst>
          </p:cNvPr>
          <p:cNvSpPr/>
          <p:nvPr userDrawn="1"/>
        </p:nvSpPr>
        <p:spPr>
          <a:xfrm>
            <a:off x="2659899" y="453912"/>
            <a:ext cx="5804833" cy="42406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694249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763651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2833053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6" name="Rectangle 48">
            <a:extLst>
              <a:ext uri="{FF2B5EF4-FFF2-40B4-BE49-F238E27FC236}">
                <a16:creationId xmlns="" xmlns:a16="http://schemas.microsoft.com/office/drawing/2014/main" id="{7877AA66-AAFD-429C-B217-380BEF1ADDE2}"/>
              </a:ext>
            </a:extLst>
          </p:cNvPr>
          <p:cNvSpPr/>
          <p:nvPr userDrawn="1"/>
        </p:nvSpPr>
        <p:spPr>
          <a:xfrm>
            <a:off x="2833053" y="2743256"/>
            <a:ext cx="1620000" cy="48600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="" xmlns:a16="http://schemas.microsoft.com/office/drawing/2014/main" id="{852C85C1-7D9E-4F23-85EA-6A451FF0BEF6}"/>
              </a:ext>
            </a:extLst>
          </p:cNvPr>
          <p:cNvSpPr/>
          <p:nvPr userDrawn="1"/>
        </p:nvSpPr>
        <p:spPr>
          <a:xfrm>
            <a:off x="4763651" y="2735528"/>
            <a:ext cx="1620000" cy="486000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9" name="Rectangle 20">
            <a:extLst>
              <a:ext uri="{FF2B5EF4-FFF2-40B4-BE49-F238E27FC236}">
                <a16:creationId xmlns="" xmlns:a16="http://schemas.microsoft.com/office/drawing/2014/main" id="{E05C1512-E9F1-4355-8FF9-6A6F0DFFCB7B}"/>
              </a:ext>
            </a:extLst>
          </p:cNvPr>
          <p:cNvSpPr/>
          <p:nvPr userDrawn="1"/>
        </p:nvSpPr>
        <p:spPr>
          <a:xfrm>
            <a:off x="6694249" y="2743256"/>
            <a:ext cx="1620000" cy="48600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77613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="" xmlns:a16="http://schemas.microsoft.com/office/drawing/2014/main" id="{2760AC20-0645-4AE6-BC4F-285B18B690B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834742" y="1378743"/>
            <a:ext cx="6309259" cy="3050383"/>
          </a:xfrm>
          <a:custGeom>
            <a:avLst/>
            <a:gdLst>
              <a:gd name="connsiteX0" fmla="*/ 0 w 8412345"/>
              <a:gd name="connsiteY0" fmla="*/ 0 h 4067177"/>
              <a:gd name="connsiteX1" fmla="*/ 8412345 w 8412345"/>
              <a:gd name="connsiteY1" fmla="*/ 0 h 4067177"/>
              <a:gd name="connsiteX2" fmla="*/ 8412345 w 8412345"/>
              <a:gd name="connsiteY2" fmla="*/ 4067177 h 4067177"/>
              <a:gd name="connsiteX3" fmla="*/ 1452936 w 8412345"/>
              <a:gd name="connsiteY3" fmla="*/ 4067177 h 4067177"/>
              <a:gd name="connsiteX4" fmla="*/ 1340647 w 8412345"/>
              <a:gd name="connsiteY4" fmla="*/ 3752847 h 4067177"/>
              <a:gd name="connsiteX5" fmla="*/ 8412344 w 8412345"/>
              <a:gd name="connsiteY5" fmla="*/ 3752847 h 4067177"/>
              <a:gd name="connsiteX6" fmla="*/ 8412344 w 8412345"/>
              <a:gd name="connsiteY6" fmla="*/ 3524256 h 4067177"/>
              <a:gd name="connsiteX7" fmla="*/ 1258986 w 8412345"/>
              <a:gd name="connsiteY7" fmla="*/ 3524256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12345" h="4067177">
                <a:moveTo>
                  <a:pt x="0" y="0"/>
                </a:moveTo>
                <a:lnTo>
                  <a:pt x="8412345" y="0"/>
                </a:lnTo>
                <a:lnTo>
                  <a:pt x="8412345" y="4067177"/>
                </a:lnTo>
                <a:lnTo>
                  <a:pt x="1452936" y="4067177"/>
                </a:lnTo>
                <a:lnTo>
                  <a:pt x="1340647" y="3752847"/>
                </a:lnTo>
                <a:lnTo>
                  <a:pt x="8412344" y="3752847"/>
                </a:lnTo>
                <a:lnTo>
                  <a:pt x="8412344" y="3524256"/>
                </a:lnTo>
                <a:lnTo>
                  <a:pt x="1258986" y="3524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="" xmlns:a16="http://schemas.microsoft.com/office/drawing/2014/main" id="{DF0D5D85-25EF-40C1-9119-2AE98DC382AC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964406"/>
            <a:ext cx="3324186" cy="3050383"/>
          </a:xfrm>
          <a:custGeom>
            <a:avLst/>
            <a:gdLst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904875 w 4432248"/>
              <a:gd name="connsiteY2" fmla="*/ 0 h 4067177"/>
              <a:gd name="connsiteX3" fmla="*/ 2979312 w 4432248"/>
              <a:gd name="connsiteY3" fmla="*/ 0 h 4067177"/>
              <a:gd name="connsiteX4" fmla="*/ 4432248 w 4432248"/>
              <a:gd name="connsiteY4" fmla="*/ 4067177 h 4067177"/>
              <a:gd name="connsiteX5" fmla="*/ 571500 w 4432248"/>
              <a:gd name="connsiteY5" fmla="*/ 4067177 h 4067177"/>
              <a:gd name="connsiteX6" fmla="*/ 571500 w 4432248"/>
              <a:gd name="connsiteY6" fmla="*/ 4067175 h 4067177"/>
              <a:gd name="connsiteX7" fmla="*/ 0 w 4432248"/>
              <a:gd name="connsiteY7" fmla="*/ 4067175 h 4067177"/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2979312 w 4432248"/>
              <a:gd name="connsiteY2" fmla="*/ 0 h 4067177"/>
              <a:gd name="connsiteX3" fmla="*/ 4432248 w 4432248"/>
              <a:gd name="connsiteY3" fmla="*/ 4067177 h 4067177"/>
              <a:gd name="connsiteX4" fmla="*/ 571500 w 4432248"/>
              <a:gd name="connsiteY4" fmla="*/ 4067177 h 4067177"/>
              <a:gd name="connsiteX5" fmla="*/ 571500 w 4432248"/>
              <a:gd name="connsiteY5" fmla="*/ 4067175 h 4067177"/>
              <a:gd name="connsiteX6" fmla="*/ 0 w 4432248"/>
              <a:gd name="connsiteY6" fmla="*/ 4067175 h 4067177"/>
              <a:gd name="connsiteX7" fmla="*/ 0 w 4432248"/>
              <a:gd name="connsiteY7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571500 w 4432248"/>
              <a:gd name="connsiteY4" fmla="*/ 4067175 h 4067177"/>
              <a:gd name="connsiteX5" fmla="*/ 0 w 4432248"/>
              <a:gd name="connsiteY5" fmla="*/ 4067175 h 4067177"/>
              <a:gd name="connsiteX6" fmla="*/ 0 w 4432248"/>
              <a:gd name="connsiteY6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0 w 4432248"/>
              <a:gd name="connsiteY4" fmla="*/ 4067175 h 4067177"/>
              <a:gd name="connsiteX5" fmla="*/ 0 w 4432248"/>
              <a:gd name="connsiteY5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0 w 4432248"/>
              <a:gd name="connsiteY3" fmla="*/ 4067175 h 4067177"/>
              <a:gd name="connsiteX4" fmla="*/ 0 w 4432248"/>
              <a:gd name="connsiteY4" fmla="*/ 0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2248" h="4067177">
                <a:moveTo>
                  <a:pt x="0" y="0"/>
                </a:moveTo>
                <a:lnTo>
                  <a:pt x="2979312" y="0"/>
                </a:lnTo>
                <a:lnTo>
                  <a:pt x="4432248" y="4067177"/>
                </a:lnTo>
                <a:lnTo>
                  <a:pt x="0" y="406717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60572083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15114" y="3851952"/>
            <a:ext cx="8457515" cy="434579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437129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590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7CB68201-6AEB-4BFE-B92F-F7D14A3CB566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5366888" cy="5143500"/>
          </a:xfrm>
          <a:custGeom>
            <a:avLst/>
            <a:gdLst>
              <a:gd name="connsiteX0" fmla="*/ 0 w 7155850"/>
              <a:gd name="connsiteY0" fmla="*/ 3024930 h 6858000"/>
              <a:gd name="connsiteX1" fmla="*/ 2358530 w 7155850"/>
              <a:gd name="connsiteY1" fmla="*/ 6858000 h 6858000"/>
              <a:gd name="connsiteX2" fmla="*/ 1329860 w 7155850"/>
              <a:gd name="connsiteY2" fmla="*/ 6858000 h 6858000"/>
              <a:gd name="connsiteX3" fmla="*/ 0 w 7155850"/>
              <a:gd name="connsiteY3" fmla="*/ 4691859 h 6858000"/>
              <a:gd name="connsiteX4" fmla="*/ 1 w 7155850"/>
              <a:gd name="connsiteY4" fmla="*/ 397145 h 6858000"/>
              <a:gd name="connsiteX5" fmla="*/ 3459898 w 7155850"/>
              <a:gd name="connsiteY5" fmla="*/ 6020152 h 6858000"/>
              <a:gd name="connsiteX6" fmla="*/ 2945517 w 7155850"/>
              <a:gd name="connsiteY6" fmla="*/ 6858000 h 6858000"/>
              <a:gd name="connsiteX7" fmla="*/ 1 w 7155850"/>
              <a:gd name="connsiteY7" fmla="*/ 2060197 h 6858000"/>
              <a:gd name="connsiteX8" fmla="*/ 396861 w 7155850"/>
              <a:gd name="connsiteY8" fmla="*/ 0 h 6858000"/>
              <a:gd name="connsiteX9" fmla="*/ 7155850 w 7155850"/>
              <a:gd name="connsiteY9" fmla="*/ 0 h 6858000"/>
              <a:gd name="connsiteX10" fmla="*/ 3780151 w 7155850"/>
              <a:gd name="connsiteY10" fmla="*/ 54985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55850" h="6858000">
                <a:moveTo>
                  <a:pt x="0" y="3024930"/>
                </a:moveTo>
                <a:lnTo>
                  <a:pt x="2358530" y="6858000"/>
                </a:lnTo>
                <a:lnTo>
                  <a:pt x="1329860" y="6858000"/>
                </a:lnTo>
                <a:lnTo>
                  <a:pt x="0" y="4691859"/>
                </a:lnTo>
                <a:close/>
                <a:moveTo>
                  <a:pt x="1" y="397145"/>
                </a:moveTo>
                <a:lnTo>
                  <a:pt x="3459898" y="6020152"/>
                </a:lnTo>
                <a:lnTo>
                  <a:pt x="2945517" y="6858000"/>
                </a:lnTo>
                <a:lnTo>
                  <a:pt x="1" y="2060197"/>
                </a:lnTo>
                <a:close/>
                <a:moveTo>
                  <a:pt x="396861" y="0"/>
                </a:moveTo>
                <a:lnTo>
                  <a:pt x="7155850" y="0"/>
                </a:lnTo>
                <a:lnTo>
                  <a:pt x="3780151" y="54985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7" tIns="34289" rIns="68577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899" indent="0">
              <a:buNone/>
              <a:defRPr sz="2100"/>
            </a:lvl2pPr>
            <a:lvl3pPr marL="685801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2" indent="0">
              <a:buNone/>
              <a:defRPr sz="1500"/>
            </a:lvl6pPr>
            <a:lvl7pPr marL="2057401" indent="0">
              <a:buNone/>
              <a:defRPr sz="1500"/>
            </a:lvl7pPr>
            <a:lvl8pPr marL="2400300" indent="0">
              <a:buNone/>
              <a:defRPr sz="1500"/>
            </a:lvl8pPr>
            <a:lvl9pPr marL="2743199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17633427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785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5" y="1501752"/>
            <a:ext cx="8450164" cy="297014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8460824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0506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an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5383941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4" y="1656523"/>
            <a:ext cx="5383941" cy="281537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5385542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5980042" y="-1"/>
            <a:ext cx="3163957" cy="4819487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13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yle slide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4865159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B, partial image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182880" tIns="502920" rIns="182880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85763" y="2308225"/>
            <a:ext cx="8494712" cy="397115"/>
          </a:xfrm>
        </p:spPr>
        <p:txBody>
          <a:bodyPr/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794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3026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52984"/>
          </a:xfrm>
          <a:prstGeom prst="rect">
            <a:avLst/>
          </a:prstGeom>
        </p:spPr>
      </p:pic>
      <p:pic>
        <p:nvPicPr>
          <p:cNvPr id="16" name="Picture 15" descr="NPD_logo_RGB_Reverse_300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6091" y="3769599"/>
            <a:ext cx="914400" cy="9144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7213" y="1504950"/>
            <a:ext cx="6400800" cy="515541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>
                <a:solidFill>
                  <a:srgbClr val="FFFFFF"/>
                </a:solidFill>
              </a:defRPr>
            </a:lvl1pPr>
            <a:lvl2pPr marL="341313" indent="0">
              <a:buNone/>
              <a:defRPr>
                <a:solidFill>
                  <a:srgbClr val="FFFFFF"/>
                </a:solidFill>
              </a:defRPr>
            </a:lvl2pPr>
            <a:lvl3pPr marL="627062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Subhead of Presentation can go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7213" y="731887"/>
            <a:ext cx="6400800" cy="729763"/>
          </a:xfrm>
        </p:spPr>
        <p:txBody>
          <a:bodyPr wrap="square" lIns="0" tIns="0" rIns="0" bIns="0" anchor="t" anchorCtr="0"/>
          <a:lstStyle>
            <a:lvl1pPr>
              <a:lnSpc>
                <a:spcPct val="80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FFFFFF"/>
                </a:solidFill>
              </a:rPr>
              <a:t>Click To Add Title of Present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557214" y="4369078"/>
            <a:ext cx="279239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Arial" charset="0"/>
                <a:ea typeface="ＭＳ Ｐゴシック" charset="0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prstClr val="white"/>
                </a:solidFill>
                <a:latin typeface="Calibri"/>
              </a:rPr>
              <a:t>Copyright 2019. The NPD Group, Inc. All Rights Reserved. This presentation is </a:t>
            </a:r>
            <a:r>
              <a:rPr lang="en-US" b="1" dirty="0" smtClean="0">
                <a:solidFill>
                  <a:prstClr val="white"/>
                </a:solidFill>
                <a:latin typeface="Calibri"/>
              </a:rPr>
              <a:t>proprietary and confidential</a:t>
            </a:r>
            <a:r>
              <a:rPr lang="en-US" dirty="0" smtClean="0">
                <a:solidFill>
                  <a:prstClr val="white"/>
                </a:solidFill>
                <a:latin typeface="Calibri"/>
              </a:rPr>
              <a:t> and may not be disclosed in any manner, in whole or in part, to any third party without the express written consent of NPD.</a:t>
            </a:r>
            <a:endParaRPr lang="en-US" sz="7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214" y="3933570"/>
            <a:ext cx="2468562" cy="276225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Date (Optional)</a:t>
            </a:r>
          </a:p>
        </p:txBody>
      </p:sp>
    </p:spTree>
    <p:extLst>
      <p:ext uri="{BB962C8B-B14F-4D97-AF65-F5344CB8AC3E}">
        <p14:creationId xmlns:p14="http://schemas.microsoft.com/office/powerpoint/2010/main" val="345842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/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050"/>
            <a:ext cx="9144000" cy="48420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6"/>
          <p:cNvSpPr txBox="1">
            <a:spLocks noChangeArrowheads="1"/>
          </p:cNvSpPr>
          <p:nvPr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1" name="TextBox 4"/>
          <p:cNvSpPr txBox="1">
            <a:spLocks noChangeArrowheads="1"/>
          </p:cNvSpPr>
          <p:nvPr userDrawn="1"/>
        </p:nvSpPr>
        <p:spPr bwMode="auto">
          <a:xfrm>
            <a:off x="7217834" y="433263"/>
            <a:ext cx="1729894" cy="394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spcCol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are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lianc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utomotiv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2B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eaut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ook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Consumer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E-commer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ashion Accessor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 Consumption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servi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twear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Hom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Juvenile Products</a:t>
            </a:r>
          </a:p>
          <a:p>
            <a:pPr eaLnBrk="1" hangingPunct="1">
              <a:spcAft>
                <a:spcPts val="300"/>
              </a:spcAft>
              <a:defRPr/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edia Entertainment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obil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Office Suppl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Sport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oy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ravel 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Video Gam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Watches / Jewelry</a:t>
            </a:r>
          </a:p>
        </p:txBody>
      </p:sp>
    </p:spTree>
    <p:extLst>
      <p:ext uri="{BB962C8B-B14F-4D97-AF65-F5344CB8AC3E}">
        <p14:creationId xmlns:p14="http://schemas.microsoft.com/office/powerpoint/2010/main" val="358307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09963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Font typeface="+mj-lt"/>
              <a:buAutoNum type="arabicPeriod"/>
              <a:defRPr sz="2800" b="0">
                <a:solidFill>
                  <a:schemeClr val="tx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Click To Create Your 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7004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564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958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0078BE">
              <a:alpha val="60000"/>
            </a:srgbClr>
          </a:solidFill>
        </p:spPr>
        <p:txBody>
          <a:bodyPr lIns="365760" tIns="1371600" rIns="365760" bIns="1371600" anchor="ctr"/>
          <a:lstStyle>
            <a:lvl1pPr algn="ctr">
              <a:lnSpc>
                <a:spcPct val="80000"/>
              </a:lnSpc>
              <a:defRPr sz="5400" b="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339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D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2037644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11480" y="2330527"/>
            <a:ext cx="8321040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 smtClean="0"/>
              <a:t>Transition Slid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23305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2980266"/>
            <a:ext cx="8321040" cy="1491633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spcAft>
                <a:spcPts val="1000"/>
              </a:spcAft>
              <a:defRPr sz="2400"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35772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3635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 baseline="0"/>
            </a:lvl1pPr>
            <a:lvl3pPr>
              <a:defRPr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371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0663643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250128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1231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944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none"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2195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379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5341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 hasCustomPrompt="1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 hasCustomPrompt="1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 hasCustomPrompt="1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9265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277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43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18335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140887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970595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8918575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94698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hon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7211501" y="1568584"/>
            <a:ext cx="1340761" cy="240583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5"/>
            <a:ext cx="6244740" cy="265176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E5E2FCC6-9731-48B8-B2A2-39E9FD0F42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3362" y="1073899"/>
            <a:ext cx="1699776" cy="33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261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ptop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="" xmlns:a16="http://schemas.microsoft.com/office/drawing/2014/main" id="{69D3E401-F6DF-4A44-858C-E9410373BE6E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194050" y="1489753"/>
            <a:ext cx="3949950" cy="24783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  Picture</a:t>
            </a:r>
            <a:endParaRPr lang="en-US" dirty="0"/>
          </a:p>
        </p:txBody>
      </p:sp>
      <p:pic>
        <p:nvPicPr>
          <p:cNvPr id="3" name="Picture 2" descr="A picture containing electronics, display&#10;&#10;Description generated with very high confidence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6060" y="1319842"/>
            <a:ext cx="4567940" cy="3019246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</p:spPr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89753"/>
            <a:ext cx="4374815" cy="2478024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36426110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4"/>
            <a:ext cx="4059936" cy="2474601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6357922" y="1490674"/>
            <a:ext cx="1277283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Picture Placeholder 11"/>
          <p:cNvSpPr>
            <a:spLocks noGrp="1" noChangeAspect="1"/>
          </p:cNvSpPr>
          <p:nvPr>
            <p:ph type="pic" sz="quarter" idx="39"/>
          </p:nvPr>
        </p:nvSpPr>
        <p:spPr>
          <a:xfrm>
            <a:off x="484912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40"/>
          </p:nvPr>
        </p:nvSpPr>
        <p:spPr>
          <a:xfrm>
            <a:off x="786671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83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411480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672584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672584" y="1664884"/>
            <a:ext cx="4059936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Second Chart Goes Her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1664884"/>
            <a:ext cx="4057069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First Chart Goes He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209284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5479015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01194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786408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01194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33" hasCustomPrompt="1"/>
          </p:nvPr>
        </p:nvSpPr>
        <p:spPr>
          <a:xfrm>
            <a:off x="717162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34" hasCustomPrompt="1"/>
          </p:nvPr>
        </p:nvSpPr>
        <p:spPr>
          <a:xfrm>
            <a:off x="209380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35" hasCustomPrompt="1"/>
          </p:nvPr>
        </p:nvSpPr>
        <p:spPr>
          <a:xfrm>
            <a:off x="717162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209380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786408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5479015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40" name="Text Placeholder 12"/>
          <p:cNvSpPr>
            <a:spLocks noGrp="1"/>
          </p:cNvSpPr>
          <p:nvPr>
            <p:ph type="body" sz="quarter" idx="40"/>
          </p:nvPr>
        </p:nvSpPr>
        <p:spPr>
          <a:xfrm>
            <a:off x="401194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12"/>
          <p:cNvSpPr>
            <a:spLocks noGrp="1"/>
          </p:cNvSpPr>
          <p:nvPr>
            <p:ph type="body" sz="quarter" idx="41"/>
          </p:nvPr>
        </p:nvSpPr>
        <p:spPr>
          <a:xfrm>
            <a:off x="717162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42"/>
          </p:nvPr>
        </p:nvSpPr>
        <p:spPr>
          <a:xfrm>
            <a:off x="209380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12"/>
          <p:cNvSpPr>
            <a:spLocks noGrp="1"/>
          </p:cNvSpPr>
          <p:nvPr>
            <p:ph type="body" sz="quarter" idx="43"/>
          </p:nvPr>
        </p:nvSpPr>
        <p:spPr>
          <a:xfrm>
            <a:off x="3786408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12"/>
          <p:cNvSpPr>
            <a:spLocks noGrp="1"/>
          </p:cNvSpPr>
          <p:nvPr>
            <p:ph type="body" sz="quarter" idx="44"/>
          </p:nvPr>
        </p:nvSpPr>
        <p:spPr>
          <a:xfrm>
            <a:off x="5479015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401194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717162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209380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3786408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51" hasCustomPrompt="1"/>
          </p:nvPr>
        </p:nvSpPr>
        <p:spPr>
          <a:xfrm>
            <a:off x="5479015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52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562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QUESTIONS</a:t>
            </a:r>
            <a:r>
              <a:rPr lang="en-US" sz="5400" b="0" dirty="0" smtClean="0">
                <a:solidFill>
                  <a:srgbClr val="0078BE"/>
                </a:solidFill>
              </a:rPr>
              <a:t>?</a:t>
            </a:r>
            <a:endParaRPr lang="en-US" sz="2800" b="0" dirty="0">
              <a:solidFill>
                <a:srgbClr val="0078B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4537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APPENDIX</a:t>
            </a:r>
            <a:endParaRPr lang="en-US" sz="2800" b="0" dirty="0">
              <a:solidFill>
                <a:srgbClr val="0051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22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938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4500" y="1197769"/>
            <a:ext cx="8321040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rgbClr val="8E908F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004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9555271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99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chemeClr val="accent1">
              <a:alpha val="75000"/>
            </a:scheme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937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chemeClr val="bg2">
              <a:alpha val="60000"/>
            </a:scheme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31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207515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03052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311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0270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85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45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indent="0">
              <a:buNone/>
              <a:defRPr sz="900"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95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="" xmlns:a16="http://schemas.microsoft.com/office/drawing/2014/main" id="{35717F8E-8275-4797-9ED5-CDA429B6E12C}"/>
              </a:ext>
            </a:extLst>
          </p:cNvPr>
          <p:cNvSpPr/>
          <p:nvPr userDrawn="1"/>
        </p:nvSpPr>
        <p:spPr>
          <a:xfrm rot="10800000" flipV="1">
            <a:off x="1875866" y="1"/>
            <a:ext cx="7268135" cy="5163671"/>
          </a:xfrm>
          <a:custGeom>
            <a:avLst/>
            <a:gdLst>
              <a:gd name="connsiteX0" fmla="*/ 0 w 7557875"/>
              <a:gd name="connsiteY0" fmla="*/ 0 h 6858000"/>
              <a:gd name="connsiteX1" fmla="*/ 7557875 w 7557875"/>
              <a:gd name="connsiteY1" fmla="*/ 0 h 6858000"/>
              <a:gd name="connsiteX2" fmla="*/ 4370632 w 7557875"/>
              <a:gd name="connsiteY2" fmla="*/ 6858000 h 6858000"/>
              <a:gd name="connsiteX3" fmla="*/ 0 w 7557875"/>
              <a:gd name="connsiteY3" fmla="*/ 6858000 h 6858000"/>
              <a:gd name="connsiteX0" fmla="*/ 0 w 7557875"/>
              <a:gd name="connsiteY0" fmla="*/ 0 h 6884894"/>
              <a:gd name="connsiteX1" fmla="*/ 7557875 w 7557875"/>
              <a:gd name="connsiteY1" fmla="*/ 0 h 6884894"/>
              <a:gd name="connsiteX2" fmla="*/ 4685252 w 7557875"/>
              <a:gd name="connsiteY2" fmla="*/ 6884894 h 6884894"/>
              <a:gd name="connsiteX3" fmla="*/ 0 w 7557875"/>
              <a:gd name="connsiteY3" fmla="*/ 6858000 h 6884894"/>
              <a:gd name="connsiteX4" fmla="*/ 0 w 7557875"/>
              <a:gd name="connsiteY4" fmla="*/ 0 h 6884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57875" h="6884894">
                <a:moveTo>
                  <a:pt x="0" y="0"/>
                </a:moveTo>
                <a:lnTo>
                  <a:pt x="7557875" y="0"/>
                </a:lnTo>
                <a:lnTo>
                  <a:pt x="4685252" y="6884894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50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ko-KR" alt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831395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244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70232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53420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145376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  <a:p>
            <a:pPr lvl="0"/>
            <a:endParaRPr lang="en-US" dirty="0" smtClean="0"/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718909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E908F"/>
                </a:solidFill>
              </a:rPr>
              <a:t>?</a:t>
            </a:r>
            <a:endParaRPr lang="en-US" sz="2800" b="0" dirty="0">
              <a:solidFill>
                <a:srgbClr val="8E908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5050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208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43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5115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chemeClr val="accent2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620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36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yle slide layou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8886065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565A5C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46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565A5C">
              <a:alpha val="60000"/>
            </a:srgb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365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372749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744211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2C341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14300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43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960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24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37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8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2466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392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825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5918753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783411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941917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solidFill>
              <a:srgbClr val="56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291175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211890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2C341"/>
                </a:solidFill>
              </a:rPr>
              <a:t>?</a:t>
            </a:r>
            <a:endParaRPr lang="en-US" sz="2800" b="0" dirty="0">
              <a:solidFill>
                <a:srgbClr val="82C34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999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27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89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yl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3287105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3643247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Slide layout"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="" xmlns:a16="http://schemas.microsoft.com/office/drawing/2014/main" id="{AF5DEDB2-78E8-45EC-AB12-C2290127F53E}"/>
              </a:ext>
            </a:extLst>
          </p:cNvPr>
          <p:cNvSpPr/>
          <p:nvPr userDrawn="1"/>
        </p:nvSpPr>
        <p:spPr>
          <a:xfrm rot="18900000">
            <a:off x="2437817" y="-1492038"/>
            <a:ext cx="8127573" cy="8127575"/>
          </a:xfrm>
          <a:custGeom>
            <a:avLst/>
            <a:gdLst>
              <a:gd name="connsiteX0" fmla="*/ 4849337 w 10836764"/>
              <a:gd name="connsiteY0" fmla="*/ 0 h 10836766"/>
              <a:gd name="connsiteX1" fmla="*/ 10836764 w 10836764"/>
              <a:gd name="connsiteY1" fmla="*/ 5987428 h 10836766"/>
              <a:gd name="connsiteX2" fmla="*/ 5987426 w 10836764"/>
              <a:gd name="connsiteY2" fmla="*/ 10836766 h 10836766"/>
              <a:gd name="connsiteX3" fmla="*/ 1 w 10836764"/>
              <a:gd name="connsiteY3" fmla="*/ 4849340 h 10836766"/>
              <a:gd name="connsiteX4" fmla="*/ 0 w 10836764"/>
              <a:gd name="connsiteY4" fmla="*/ 1529113 h 10836766"/>
              <a:gd name="connsiteX5" fmla="*/ 1529113 w 10836764"/>
              <a:gd name="connsiteY5" fmla="*/ 0 h 10836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36764" h="10836766">
                <a:moveTo>
                  <a:pt x="4849337" y="0"/>
                </a:moveTo>
                <a:lnTo>
                  <a:pt x="10836764" y="5987428"/>
                </a:lnTo>
                <a:lnTo>
                  <a:pt x="5987426" y="10836766"/>
                </a:lnTo>
                <a:lnTo>
                  <a:pt x="1" y="4849340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89000">
                <a:schemeClr val="accent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E769B23C-815D-4713-8F2F-BE8E52CBCEEB}"/>
              </a:ext>
            </a:extLst>
          </p:cNvPr>
          <p:cNvSpPr/>
          <p:nvPr userDrawn="1"/>
        </p:nvSpPr>
        <p:spPr>
          <a:xfrm rot="18900000">
            <a:off x="8517299" y="1426573"/>
            <a:ext cx="2330225" cy="2330225"/>
          </a:xfrm>
          <a:custGeom>
            <a:avLst/>
            <a:gdLst>
              <a:gd name="connsiteX0" fmla="*/ 3106966 w 3106966"/>
              <a:gd name="connsiteY0" fmla="*/ 0 h 3106966"/>
              <a:gd name="connsiteX1" fmla="*/ 1 w 3106966"/>
              <a:gd name="connsiteY1" fmla="*/ 3106966 h 3106966"/>
              <a:gd name="connsiteX2" fmla="*/ 0 w 3106966"/>
              <a:gd name="connsiteY2" fmla="*/ 1529113 h 3106966"/>
              <a:gd name="connsiteX3" fmla="*/ 1529113 w 3106966"/>
              <a:gd name="connsiteY3" fmla="*/ 0 h 3106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6966" h="3106966">
                <a:moveTo>
                  <a:pt x="3106966" y="0"/>
                </a:moveTo>
                <a:lnTo>
                  <a:pt x="1" y="3106966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55625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="" xmlns:a16="http://schemas.microsoft.com/office/drawing/2014/main" id="{2BC3D1C6-9316-43B9-9EE1-D016C13B63D7}"/>
              </a:ext>
            </a:extLst>
          </p:cNvPr>
          <p:cNvSpPr/>
          <p:nvPr userDrawn="1"/>
        </p:nvSpPr>
        <p:spPr>
          <a:xfrm>
            <a:off x="2" y="0"/>
            <a:ext cx="5450305" cy="5143500"/>
          </a:xfrm>
          <a:custGeom>
            <a:avLst/>
            <a:gdLst>
              <a:gd name="connsiteX0" fmla="*/ 0 w 7557875"/>
              <a:gd name="connsiteY0" fmla="*/ 0 h 6858000"/>
              <a:gd name="connsiteX1" fmla="*/ 7557875 w 7557875"/>
              <a:gd name="connsiteY1" fmla="*/ 0 h 6858000"/>
              <a:gd name="connsiteX2" fmla="*/ 4370632 w 7557875"/>
              <a:gd name="connsiteY2" fmla="*/ 6858000 h 6858000"/>
              <a:gd name="connsiteX3" fmla="*/ 0 w 75578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57875" h="6858000">
                <a:moveTo>
                  <a:pt x="0" y="0"/>
                </a:moveTo>
                <a:lnTo>
                  <a:pt x="7557875" y="0"/>
                </a:lnTo>
                <a:lnTo>
                  <a:pt x="437063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>
              <a:lumMod val="50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ko-KR" alt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196584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727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="" xmlns:a16="http://schemas.microsoft.com/office/drawing/2014/main" id="{B3CA5F7E-D45F-4887-AF9C-BB7E27A9C9CE}"/>
              </a:ext>
            </a:extLst>
          </p:cNvPr>
          <p:cNvSpPr/>
          <p:nvPr userDrawn="1"/>
        </p:nvSpPr>
        <p:spPr>
          <a:xfrm>
            <a:off x="5421090" y="1407112"/>
            <a:ext cx="3240000" cy="32400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" name="그림 개체 틀 5">
            <a:extLst>
              <a:ext uri="{FF2B5EF4-FFF2-40B4-BE49-F238E27FC236}">
                <a16:creationId xmlns="" xmlns:a16="http://schemas.microsoft.com/office/drawing/2014/main" id="{1C677DB5-A9F3-459B-9D51-37160E08512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93016" y="547007"/>
            <a:ext cx="3736584" cy="373658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685800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806293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4">
            <a:extLst>
              <a:ext uri="{FF2B5EF4-FFF2-40B4-BE49-F238E27FC236}">
                <a16:creationId xmlns="" xmlns:a16="http://schemas.microsoft.com/office/drawing/2014/main" id="{C3CDBC2D-C9C0-4D36-A0F9-7EDE3B294276}"/>
              </a:ext>
            </a:extLst>
          </p:cNvPr>
          <p:cNvSpPr/>
          <p:nvPr userDrawn="1"/>
        </p:nvSpPr>
        <p:spPr>
          <a:xfrm>
            <a:off x="2659899" y="453912"/>
            <a:ext cx="5804833" cy="42406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694249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763651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2833053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6" name="Rectangle 48">
            <a:extLst>
              <a:ext uri="{FF2B5EF4-FFF2-40B4-BE49-F238E27FC236}">
                <a16:creationId xmlns="" xmlns:a16="http://schemas.microsoft.com/office/drawing/2014/main" id="{7877AA66-AAFD-429C-B217-380BEF1ADDE2}"/>
              </a:ext>
            </a:extLst>
          </p:cNvPr>
          <p:cNvSpPr/>
          <p:nvPr userDrawn="1"/>
        </p:nvSpPr>
        <p:spPr>
          <a:xfrm>
            <a:off x="2833053" y="2743256"/>
            <a:ext cx="1620000" cy="48600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="" xmlns:a16="http://schemas.microsoft.com/office/drawing/2014/main" id="{852C85C1-7D9E-4F23-85EA-6A451FF0BEF6}"/>
              </a:ext>
            </a:extLst>
          </p:cNvPr>
          <p:cNvSpPr/>
          <p:nvPr userDrawn="1"/>
        </p:nvSpPr>
        <p:spPr>
          <a:xfrm>
            <a:off x="4763651" y="2735528"/>
            <a:ext cx="1620000" cy="486000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9" name="Rectangle 20">
            <a:extLst>
              <a:ext uri="{FF2B5EF4-FFF2-40B4-BE49-F238E27FC236}">
                <a16:creationId xmlns="" xmlns:a16="http://schemas.microsoft.com/office/drawing/2014/main" id="{E05C1512-E9F1-4355-8FF9-6A6F0DFFCB7B}"/>
              </a:ext>
            </a:extLst>
          </p:cNvPr>
          <p:cNvSpPr/>
          <p:nvPr userDrawn="1"/>
        </p:nvSpPr>
        <p:spPr>
          <a:xfrm>
            <a:off x="6694249" y="2743256"/>
            <a:ext cx="1620000" cy="48600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50293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="" xmlns:a16="http://schemas.microsoft.com/office/drawing/2014/main" id="{2760AC20-0645-4AE6-BC4F-285B18B690B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834742" y="1378743"/>
            <a:ext cx="6309259" cy="3050383"/>
          </a:xfrm>
          <a:custGeom>
            <a:avLst/>
            <a:gdLst>
              <a:gd name="connsiteX0" fmla="*/ 0 w 8412345"/>
              <a:gd name="connsiteY0" fmla="*/ 0 h 4067177"/>
              <a:gd name="connsiteX1" fmla="*/ 8412345 w 8412345"/>
              <a:gd name="connsiteY1" fmla="*/ 0 h 4067177"/>
              <a:gd name="connsiteX2" fmla="*/ 8412345 w 8412345"/>
              <a:gd name="connsiteY2" fmla="*/ 4067177 h 4067177"/>
              <a:gd name="connsiteX3" fmla="*/ 1452936 w 8412345"/>
              <a:gd name="connsiteY3" fmla="*/ 4067177 h 4067177"/>
              <a:gd name="connsiteX4" fmla="*/ 1340647 w 8412345"/>
              <a:gd name="connsiteY4" fmla="*/ 3752847 h 4067177"/>
              <a:gd name="connsiteX5" fmla="*/ 8412344 w 8412345"/>
              <a:gd name="connsiteY5" fmla="*/ 3752847 h 4067177"/>
              <a:gd name="connsiteX6" fmla="*/ 8412344 w 8412345"/>
              <a:gd name="connsiteY6" fmla="*/ 3524256 h 4067177"/>
              <a:gd name="connsiteX7" fmla="*/ 1258986 w 8412345"/>
              <a:gd name="connsiteY7" fmla="*/ 3524256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12345" h="4067177">
                <a:moveTo>
                  <a:pt x="0" y="0"/>
                </a:moveTo>
                <a:lnTo>
                  <a:pt x="8412345" y="0"/>
                </a:lnTo>
                <a:lnTo>
                  <a:pt x="8412345" y="4067177"/>
                </a:lnTo>
                <a:lnTo>
                  <a:pt x="1452936" y="4067177"/>
                </a:lnTo>
                <a:lnTo>
                  <a:pt x="1340647" y="3752847"/>
                </a:lnTo>
                <a:lnTo>
                  <a:pt x="8412344" y="3752847"/>
                </a:lnTo>
                <a:lnTo>
                  <a:pt x="8412344" y="3524256"/>
                </a:lnTo>
                <a:lnTo>
                  <a:pt x="1258986" y="3524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="" xmlns:a16="http://schemas.microsoft.com/office/drawing/2014/main" id="{DF0D5D85-25EF-40C1-9119-2AE98DC382AC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964406"/>
            <a:ext cx="3324186" cy="3050383"/>
          </a:xfrm>
          <a:custGeom>
            <a:avLst/>
            <a:gdLst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904875 w 4432248"/>
              <a:gd name="connsiteY2" fmla="*/ 0 h 4067177"/>
              <a:gd name="connsiteX3" fmla="*/ 2979312 w 4432248"/>
              <a:gd name="connsiteY3" fmla="*/ 0 h 4067177"/>
              <a:gd name="connsiteX4" fmla="*/ 4432248 w 4432248"/>
              <a:gd name="connsiteY4" fmla="*/ 4067177 h 4067177"/>
              <a:gd name="connsiteX5" fmla="*/ 571500 w 4432248"/>
              <a:gd name="connsiteY5" fmla="*/ 4067177 h 4067177"/>
              <a:gd name="connsiteX6" fmla="*/ 571500 w 4432248"/>
              <a:gd name="connsiteY6" fmla="*/ 4067175 h 4067177"/>
              <a:gd name="connsiteX7" fmla="*/ 0 w 4432248"/>
              <a:gd name="connsiteY7" fmla="*/ 4067175 h 4067177"/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2979312 w 4432248"/>
              <a:gd name="connsiteY2" fmla="*/ 0 h 4067177"/>
              <a:gd name="connsiteX3" fmla="*/ 4432248 w 4432248"/>
              <a:gd name="connsiteY3" fmla="*/ 4067177 h 4067177"/>
              <a:gd name="connsiteX4" fmla="*/ 571500 w 4432248"/>
              <a:gd name="connsiteY4" fmla="*/ 4067177 h 4067177"/>
              <a:gd name="connsiteX5" fmla="*/ 571500 w 4432248"/>
              <a:gd name="connsiteY5" fmla="*/ 4067175 h 4067177"/>
              <a:gd name="connsiteX6" fmla="*/ 0 w 4432248"/>
              <a:gd name="connsiteY6" fmla="*/ 4067175 h 4067177"/>
              <a:gd name="connsiteX7" fmla="*/ 0 w 4432248"/>
              <a:gd name="connsiteY7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571500 w 4432248"/>
              <a:gd name="connsiteY4" fmla="*/ 4067175 h 4067177"/>
              <a:gd name="connsiteX5" fmla="*/ 0 w 4432248"/>
              <a:gd name="connsiteY5" fmla="*/ 4067175 h 4067177"/>
              <a:gd name="connsiteX6" fmla="*/ 0 w 4432248"/>
              <a:gd name="connsiteY6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0 w 4432248"/>
              <a:gd name="connsiteY4" fmla="*/ 4067175 h 4067177"/>
              <a:gd name="connsiteX5" fmla="*/ 0 w 4432248"/>
              <a:gd name="connsiteY5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0 w 4432248"/>
              <a:gd name="connsiteY3" fmla="*/ 4067175 h 4067177"/>
              <a:gd name="connsiteX4" fmla="*/ 0 w 4432248"/>
              <a:gd name="connsiteY4" fmla="*/ 0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2248" h="4067177">
                <a:moveTo>
                  <a:pt x="0" y="0"/>
                </a:moveTo>
                <a:lnTo>
                  <a:pt x="2979312" y="0"/>
                </a:lnTo>
                <a:lnTo>
                  <a:pt x="4432248" y="4067177"/>
                </a:lnTo>
                <a:lnTo>
                  <a:pt x="0" y="406717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7420797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15114" y="3851952"/>
            <a:ext cx="8457515" cy="434579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437129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3071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7CB68201-6AEB-4BFE-B92F-F7D14A3CB566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5366888" cy="5143500"/>
          </a:xfrm>
          <a:custGeom>
            <a:avLst/>
            <a:gdLst>
              <a:gd name="connsiteX0" fmla="*/ 0 w 7155850"/>
              <a:gd name="connsiteY0" fmla="*/ 3024930 h 6858000"/>
              <a:gd name="connsiteX1" fmla="*/ 2358530 w 7155850"/>
              <a:gd name="connsiteY1" fmla="*/ 6858000 h 6858000"/>
              <a:gd name="connsiteX2" fmla="*/ 1329860 w 7155850"/>
              <a:gd name="connsiteY2" fmla="*/ 6858000 h 6858000"/>
              <a:gd name="connsiteX3" fmla="*/ 0 w 7155850"/>
              <a:gd name="connsiteY3" fmla="*/ 4691859 h 6858000"/>
              <a:gd name="connsiteX4" fmla="*/ 1 w 7155850"/>
              <a:gd name="connsiteY4" fmla="*/ 397145 h 6858000"/>
              <a:gd name="connsiteX5" fmla="*/ 3459898 w 7155850"/>
              <a:gd name="connsiteY5" fmla="*/ 6020152 h 6858000"/>
              <a:gd name="connsiteX6" fmla="*/ 2945517 w 7155850"/>
              <a:gd name="connsiteY6" fmla="*/ 6858000 h 6858000"/>
              <a:gd name="connsiteX7" fmla="*/ 1 w 7155850"/>
              <a:gd name="connsiteY7" fmla="*/ 2060197 h 6858000"/>
              <a:gd name="connsiteX8" fmla="*/ 396861 w 7155850"/>
              <a:gd name="connsiteY8" fmla="*/ 0 h 6858000"/>
              <a:gd name="connsiteX9" fmla="*/ 7155850 w 7155850"/>
              <a:gd name="connsiteY9" fmla="*/ 0 h 6858000"/>
              <a:gd name="connsiteX10" fmla="*/ 3780151 w 7155850"/>
              <a:gd name="connsiteY10" fmla="*/ 54985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55850" h="6858000">
                <a:moveTo>
                  <a:pt x="0" y="3024930"/>
                </a:moveTo>
                <a:lnTo>
                  <a:pt x="2358530" y="6858000"/>
                </a:lnTo>
                <a:lnTo>
                  <a:pt x="1329860" y="6858000"/>
                </a:lnTo>
                <a:lnTo>
                  <a:pt x="0" y="4691859"/>
                </a:lnTo>
                <a:close/>
                <a:moveTo>
                  <a:pt x="1" y="397145"/>
                </a:moveTo>
                <a:lnTo>
                  <a:pt x="3459898" y="6020152"/>
                </a:lnTo>
                <a:lnTo>
                  <a:pt x="2945517" y="6858000"/>
                </a:lnTo>
                <a:lnTo>
                  <a:pt x="1" y="2060197"/>
                </a:lnTo>
                <a:close/>
                <a:moveTo>
                  <a:pt x="396861" y="0"/>
                </a:moveTo>
                <a:lnTo>
                  <a:pt x="7155850" y="0"/>
                </a:lnTo>
                <a:lnTo>
                  <a:pt x="3780151" y="54985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7" tIns="34289" rIns="68577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899" indent="0">
              <a:buNone/>
              <a:defRPr sz="2100"/>
            </a:lvl2pPr>
            <a:lvl3pPr marL="685801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2" indent="0">
              <a:buNone/>
              <a:defRPr sz="1500"/>
            </a:lvl6pPr>
            <a:lvl7pPr marL="2057401" indent="0">
              <a:buNone/>
              <a:defRPr sz="1500"/>
            </a:lvl7pPr>
            <a:lvl8pPr marL="2400300" indent="0">
              <a:buNone/>
              <a:defRPr sz="1500"/>
            </a:lvl8pPr>
            <a:lvl9pPr marL="2743199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10133763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26907" y="-31989"/>
            <a:ext cx="4211157" cy="5175489"/>
          </a:xfrm>
          <a:custGeom>
            <a:avLst/>
            <a:gdLst>
              <a:gd name="connsiteX0" fmla="*/ 0 w 4181475"/>
              <a:gd name="connsiteY0" fmla="*/ 0 h 6905625"/>
              <a:gd name="connsiteX1" fmla="*/ 4181475 w 4181475"/>
              <a:gd name="connsiteY1" fmla="*/ 9525 h 6905625"/>
              <a:gd name="connsiteX2" fmla="*/ 1000125 w 4181475"/>
              <a:gd name="connsiteY2" fmla="*/ 6877050 h 6905625"/>
              <a:gd name="connsiteX3" fmla="*/ 38100 w 4181475"/>
              <a:gd name="connsiteY3" fmla="*/ 6905625 h 6905625"/>
              <a:gd name="connsiteX4" fmla="*/ 0 w 4181475"/>
              <a:gd name="connsiteY4" fmla="*/ 0 h 6905625"/>
              <a:gd name="connsiteX0" fmla="*/ 125 w 4143375"/>
              <a:gd name="connsiteY0" fmla="*/ 0 h 6915198"/>
              <a:gd name="connsiteX1" fmla="*/ 4143375 w 4143375"/>
              <a:gd name="connsiteY1" fmla="*/ 19098 h 6915198"/>
              <a:gd name="connsiteX2" fmla="*/ 962025 w 4143375"/>
              <a:gd name="connsiteY2" fmla="*/ 6886623 h 6915198"/>
              <a:gd name="connsiteX3" fmla="*/ 0 w 4143375"/>
              <a:gd name="connsiteY3" fmla="*/ 6915198 h 6915198"/>
              <a:gd name="connsiteX4" fmla="*/ 125 w 4143375"/>
              <a:gd name="connsiteY4" fmla="*/ 0 h 6915198"/>
              <a:gd name="connsiteX0" fmla="*/ 125 w 4143375"/>
              <a:gd name="connsiteY0" fmla="*/ 0 h 6915198"/>
              <a:gd name="connsiteX1" fmla="*/ 4143375 w 4143375"/>
              <a:gd name="connsiteY1" fmla="*/ 19098 h 6915198"/>
              <a:gd name="connsiteX2" fmla="*/ 990694 w 4143375"/>
              <a:gd name="connsiteY2" fmla="*/ 6905770 h 6915198"/>
              <a:gd name="connsiteX3" fmla="*/ 0 w 4143375"/>
              <a:gd name="connsiteY3" fmla="*/ 6915198 h 6915198"/>
              <a:gd name="connsiteX4" fmla="*/ 125 w 4143375"/>
              <a:gd name="connsiteY4" fmla="*/ 0 h 6915198"/>
              <a:gd name="connsiteX0" fmla="*/ 125 w 4191156"/>
              <a:gd name="connsiteY0" fmla="*/ 28768 h 6943966"/>
              <a:gd name="connsiteX1" fmla="*/ 4191156 w 4191156"/>
              <a:gd name="connsiteY1" fmla="*/ 0 h 6943966"/>
              <a:gd name="connsiteX2" fmla="*/ 990694 w 4191156"/>
              <a:gd name="connsiteY2" fmla="*/ 6934538 h 6943966"/>
              <a:gd name="connsiteX3" fmla="*/ 0 w 4191156"/>
              <a:gd name="connsiteY3" fmla="*/ 6943966 h 6943966"/>
              <a:gd name="connsiteX4" fmla="*/ 125 w 4191156"/>
              <a:gd name="connsiteY4" fmla="*/ 28768 h 6943966"/>
              <a:gd name="connsiteX0" fmla="*/ 125 w 4191156"/>
              <a:gd name="connsiteY0" fmla="*/ 28768 h 6943966"/>
              <a:gd name="connsiteX1" fmla="*/ 4191156 w 4191156"/>
              <a:gd name="connsiteY1" fmla="*/ 0 h 6943966"/>
              <a:gd name="connsiteX2" fmla="*/ 1028919 w 4191156"/>
              <a:gd name="connsiteY2" fmla="*/ 6924966 h 6943966"/>
              <a:gd name="connsiteX3" fmla="*/ 0 w 4191156"/>
              <a:gd name="connsiteY3" fmla="*/ 6943966 h 6943966"/>
              <a:gd name="connsiteX4" fmla="*/ 125 w 4191156"/>
              <a:gd name="connsiteY4" fmla="*/ 28768 h 6943966"/>
              <a:gd name="connsiteX0" fmla="*/ 125 w 4213174"/>
              <a:gd name="connsiteY0" fmla="*/ 0 h 6915198"/>
              <a:gd name="connsiteX1" fmla="*/ 4213174 w 4213174"/>
              <a:gd name="connsiteY1" fmla="*/ 7993 h 6915198"/>
              <a:gd name="connsiteX2" fmla="*/ 1028919 w 4213174"/>
              <a:gd name="connsiteY2" fmla="*/ 6896198 h 6915198"/>
              <a:gd name="connsiteX3" fmla="*/ 0 w 4213174"/>
              <a:gd name="connsiteY3" fmla="*/ 6915198 h 6915198"/>
              <a:gd name="connsiteX4" fmla="*/ 125 w 4213174"/>
              <a:gd name="connsiteY4" fmla="*/ 0 h 6915198"/>
              <a:gd name="connsiteX0" fmla="*/ 125 w 4191156"/>
              <a:gd name="connsiteY0" fmla="*/ 0 h 6915198"/>
              <a:gd name="connsiteX1" fmla="*/ 4191156 w 4191156"/>
              <a:gd name="connsiteY1" fmla="*/ 640 h 6915198"/>
              <a:gd name="connsiteX2" fmla="*/ 1028919 w 4191156"/>
              <a:gd name="connsiteY2" fmla="*/ 6896198 h 6915198"/>
              <a:gd name="connsiteX3" fmla="*/ 0 w 4191156"/>
              <a:gd name="connsiteY3" fmla="*/ 6915198 h 6915198"/>
              <a:gd name="connsiteX4" fmla="*/ 125 w 4191156"/>
              <a:gd name="connsiteY4" fmla="*/ 0 h 6915198"/>
              <a:gd name="connsiteX0" fmla="*/ 125 w 4212595"/>
              <a:gd name="connsiteY0" fmla="*/ 0 h 6915198"/>
              <a:gd name="connsiteX1" fmla="*/ 4212595 w 4212595"/>
              <a:gd name="connsiteY1" fmla="*/ 38821 h 6915198"/>
              <a:gd name="connsiteX2" fmla="*/ 1028919 w 4212595"/>
              <a:gd name="connsiteY2" fmla="*/ 6896198 h 6915198"/>
              <a:gd name="connsiteX3" fmla="*/ 0 w 4212595"/>
              <a:gd name="connsiteY3" fmla="*/ 6915198 h 6915198"/>
              <a:gd name="connsiteX4" fmla="*/ 125 w 4212595"/>
              <a:gd name="connsiteY4" fmla="*/ 0 h 6915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2595" h="6915198">
                <a:moveTo>
                  <a:pt x="125" y="0"/>
                </a:moveTo>
                <a:lnTo>
                  <a:pt x="4212595" y="38821"/>
                </a:lnTo>
                <a:lnTo>
                  <a:pt x="1028919" y="6896198"/>
                </a:lnTo>
                <a:lnTo>
                  <a:pt x="0" y="6915198"/>
                </a:lnTo>
                <a:cubicBezTo>
                  <a:pt x="42" y="4610132"/>
                  <a:pt x="83" y="2305066"/>
                  <a:pt x="125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 sz="1400" dirty="0">
              <a:solidFill>
                <a:prstClr val="white"/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015065" y="-11950"/>
            <a:ext cx="2322042" cy="1850243"/>
            <a:chOff x="1827359" y="-19597"/>
            <a:chExt cx="3253206" cy="317333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" name="Freeform 3"/>
            <p:cNvSpPr/>
            <p:nvPr userDrawn="1"/>
          </p:nvSpPr>
          <p:spPr>
            <a:xfrm>
              <a:off x="2727889" y="-19597"/>
              <a:ext cx="2352676" cy="3171824"/>
            </a:xfrm>
            <a:custGeom>
              <a:avLst/>
              <a:gdLst>
                <a:gd name="connsiteX0" fmla="*/ 1447800 w 2352675"/>
                <a:gd name="connsiteY0" fmla="*/ 0 h 3171825"/>
                <a:gd name="connsiteX1" fmla="*/ 2352675 w 2352675"/>
                <a:gd name="connsiteY1" fmla="*/ 0 h 3171825"/>
                <a:gd name="connsiteX2" fmla="*/ 971550 w 2352675"/>
                <a:gd name="connsiteY2" fmla="*/ 3171825 h 3171825"/>
                <a:gd name="connsiteX3" fmla="*/ 0 w 2352675"/>
                <a:gd name="connsiteY3" fmla="*/ 3171825 h 3171825"/>
                <a:gd name="connsiteX4" fmla="*/ 1447800 w 2352675"/>
                <a:gd name="connsiteY4" fmla="*/ 0 h 317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2675" h="3171825">
                  <a:moveTo>
                    <a:pt x="1447800" y="0"/>
                  </a:moveTo>
                  <a:lnTo>
                    <a:pt x="2352675" y="0"/>
                  </a:lnTo>
                  <a:lnTo>
                    <a:pt x="971550" y="3171825"/>
                  </a:lnTo>
                  <a:lnTo>
                    <a:pt x="0" y="3171825"/>
                  </a:lnTo>
                  <a:lnTo>
                    <a:pt x="144780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6" name="Freeform 65"/>
            <p:cNvSpPr/>
            <p:nvPr userDrawn="1"/>
          </p:nvSpPr>
          <p:spPr>
            <a:xfrm>
              <a:off x="1827359" y="-18083"/>
              <a:ext cx="2352675" cy="3171825"/>
            </a:xfrm>
            <a:custGeom>
              <a:avLst/>
              <a:gdLst>
                <a:gd name="connsiteX0" fmla="*/ 1447800 w 2352675"/>
                <a:gd name="connsiteY0" fmla="*/ 0 h 3171825"/>
                <a:gd name="connsiteX1" fmla="*/ 2352675 w 2352675"/>
                <a:gd name="connsiteY1" fmla="*/ 0 h 3171825"/>
                <a:gd name="connsiteX2" fmla="*/ 971550 w 2352675"/>
                <a:gd name="connsiteY2" fmla="*/ 3171825 h 3171825"/>
                <a:gd name="connsiteX3" fmla="*/ 0 w 2352675"/>
                <a:gd name="connsiteY3" fmla="*/ 3171825 h 3171825"/>
                <a:gd name="connsiteX4" fmla="*/ 1447800 w 2352675"/>
                <a:gd name="connsiteY4" fmla="*/ 0 h 317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2675" h="3171825">
                  <a:moveTo>
                    <a:pt x="1447800" y="0"/>
                  </a:moveTo>
                  <a:lnTo>
                    <a:pt x="2352675" y="0"/>
                  </a:lnTo>
                  <a:lnTo>
                    <a:pt x="971550" y="3171825"/>
                  </a:lnTo>
                  <a:lnTo>
                    <a:pt x="0" y="3171825"/>
                  </a:lnTo>
                  <a:lnTo>
                    <a:pt x="144780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40" name="Group 57">
            <a:extLst>
              <a:ext uri="{FF2B5EF4-FFF2-40B4-BE49-F238E27FC236}">
                <a16:creationId xmlns="" xmlns:a16="http://schemas.microsoft.com/office/drawing/2014/main" id="{EAB9B68E-0E3B-4BE0-B8F8-151B4F9AA20D}"/>
              </a:ext>
            </a:extLst>
          </p:cNvPr>
          <p:cNvGrpSpPr/>
          <p:nvPr userDrawn="1"/>
        </p:nvGrpSpPr>
        <p:grpSpPr>
          <a:xfrm>
            <a:off x="638097" y="1493733"/>
            <a:ext cx="1595147" cy="2755253"/>
            <a:chOff x="1438761" y="2033015"/>
            <a:chExt cx="1980000" cy="3420000"/>
          </a:xfrm>
        </p:grpSpPr>
        <p:sp>
          <p:nvSpPr>
            <p:cNvPr id="41" name="Rounded Rectangle 58">
              <a:extLst>
                <a:ext uri="{FF2B5EF4-FFF2-40B4-BE49-F238E27FC236}">
                  <a16:creationId xmlns="" xmlns:a16="http://schemas.microsoft.com/office/drawing/2014/main" id="{FDB5674B-8954-45D6-856F-8635A461E0AC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44" name="Rectangle 59">
              <a:extLst>
                <a:ext uri="{FF2B5EF4-FFF2-40B4-BE49-F238E27FC236}">
                  <a16:creationId xmlns="" xmlns:a16="http://schemas.microsoft.com/office/drawing/2014/main" id="{232323F7-730B-4115-90EB-2F2AD78DC6BD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48" name="Group 60">
              <a:extLst>
                <a:ext uri="{FF2B5EF4-FFF2-40B4-BE49-F238E27FC236}">
                  <a16:creationId xmlns="" xmlns:a16="http://schemas.microsoft.com/office/drawing/2014/main" id="{95EF7343-DE98-475F-9C99-3A196A57B891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49" name="Oval 61">
                <a:extLst>
                  <a:ext uri="{FF2B5EF4-FFF2-40B4-BE49-F238E27FC236}">
                    <a16:creationId xmlns="" xmlns:a16="http://schemas.microsoft.com/office/drawing/2014/main" id="{EAD9F21B-B819-474E-BF4D-5B3F0F9C074D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50" name="Rounded Rectangle 62">
                <a:extLst>
                  <a:ext uri="{FF2B5EF4-FFF2-40B4-BE49-F238E27FC236}">
                    <a16:creationId xmlns="" xmlns:a16="http://schemas.microsoft.com/office/drawing/2014/main" id="{F2404D1F-E10C-4A44-82A1-AF5E7CBB6610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51" name="Group 51">
            <a:extLst>
              <a:ext uri="{FF2B5EF4-FFF2-40B4-BE49-F238E27FC236}">
                <a16:creationId xmlns="" xmlns:a16="http://schemas.microsoft.com/office/drawing/2014/main" id="{029C3365-4C47-476F-BD96-60948EEED497}"/>
              </a:ext>
            </a:extLst>
          </p:cNvPr>
          <p:cNvGrpSpPr/>
          <p:nvPr userDrawn="1"/>
        </p:nvGrpSpPr>
        <p:grpSpPr>
          <a:xfrm>
            <a:off x="2571207" y="1468332"/>
            <a:ext cx="1595147" cy="2755253"/>
            <a:chOff x="1438761" y="2033015"/>
            <a:chExt cx="1980000" cy="3420000"/>
          </a:xfrm>
        </p:grpSpPr>
        <p:sp>
          <p:nvSpPr>
            <p:cNvPr id="64" name="Rounded Rectangle 52">
              <a:extLst>
                <a:ext uri="{FF2B5EF4-FFF2-40B4-BE49-F238E27FC236}">
                  <a16:creationId xmlns="" xmlns:a16="http://schemas.microsoft.com/office/drawing/2014/main" id="{903C2877-5648-4EA2-AAFC-71345F2CC0B8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65" name="Rectangle 53">
              <a:extLst>
                <a:ext uri="{FF2B5EF4-FFF2-40B4-BE49-F238E27FC236}">
                  <a16:creationId xmlns="" xmlns:a16="http://schemas.microsoft.com/office/drawing/2014/main" id="{D839E5E7-18B9-45E8-AE00-5146A6801EBA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67" name="Group 54">
              <a:extLst>
                <a:ext uri="{FF2B5EF4-FFF2-40B4-BE49-F238E27FC236}">
                  <a16:creationId xmlns="" xmlns:a16="http://schemas.microsoft.com/office/drawing/2014/main" id="{BCF7304E-770A-438E-AF0D-155014D0B1F0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68" name="Oval 55">
                <a:extLst>
                  <a:ext uri="{FF2B5EF4-FFF2-40B4-BE49-F238E27FC236}">
                    <a16:creationId xmlns="" xmlns:a16="http://schemas.microsoft.com/office/drawing/2014/main" id="{5B498A21-13F9-4FD8-BA7A-4CF5B592C91E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69" name="Rounded Rectangle 56">
                <a:extLst>
                  <a:ext uri="{FF2B5EF4-FFF2-40B4-BE49-F238E27FC236}">
                    <a16:creationId xmlns="" xmlns:a16="http://schemas.microsoft.com/office/drawing/2014/main" id="{A6711C24-306E-4C85-8E21-5B5B12708D31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Picture Placeholder 9">
            <a:extLst>
              <a:ext uri="{FF2B5EF4-FFF2-40B4-BE49-F238E27FC236}">
                <a16:creationId xmlns="" xmlns:a16="http://schemas.microsoft.com/office/drawing/2014/main" id="{A9684557-E735-4F99-9200-B752FE63292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67021" y="1680852"/>
            <a:ext cx="795685" cy="21791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71" name="Picture Placeholder 9">
            <a:extLst>
              <a:ext uri="{FF2B5EF4-FFF2-40B4-BE49-F238E27FC236}">
                <a16:creationId xmlns="" xmlns:a16="http://schemas.microsoft.com/office/drawing/2014/main" id="{E207400C-59DF-4155-A4E2-8588593E2F7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2133" y="1717525"/>
            <a:ext cx="815282" cy="21791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grpSp>
        <p:nvGrpSpPr>
          <p:cNvPr id="72" name="Group 5">
            <a:extLst>
              <a:ext uri="{FF2B5EF4-FFF2-40B4-BE49-F238E27FC236}">
                <a16:creationId xmlns="" xmlns:a16="http://schemas.microsoft.com/office/drawing/2014/main" id="{6E65A757-CCD5-48A1-8DD3-F86E193ABBCE}"/>
              </a:ext>
            </a:extLst>
          </p:cNvPr>
          <p:cNvGrpSpPr/>
          <p:nvPr userDrawn="1"/>
        </p:nvGrpSpPr>
        <p:grpSpPr>
          <a:xfrm>
            <a:off x="1558338" y="1364962"/>
            <a:ext cx="1728217" cy="2985103"/>
            <a:chOff x="1438761" y="2033015"/>
            <a:chExt cx="1980000" cy="3420000"/>
          </a:xfrm>
        </p:grpSpPr>
        <p:sp>
          <p:nvSpPr>
            <p:cNvPr id="73" name="Rounded Rectangle 41">
              <a:extLst>
                <a:ext uri="{FF2B5EF4-FFF2-40B4-BE49-F238E27FC236}">
                  <a16:creationId xmlns="" xmlns:a16="http://schemas.microsoft.com/office/drawing/2014/main" id="{7DF5FFA1-E879-4ECA-9B4C-31AAE46B98D6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74" name="Rectangle 42">
              <a:extLst>
                <a:ext uri="{FF2B5EF4-FFF2-40B4-BE49-F238E27FC236}">
                  <a16:creationId xmlns="" xmlns:a16="http://schemas.microsoft.com/office/drawing/2014/main" id="{085BC32C-E608-44B8-A7A0-89B00F110C46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75" name="Group 6">
              <a:extLst>
                <a:ext uri="{FF2B5EF4-FFF2-40B4-BE49-F238E27FC236}">
                  <a16:creationId xmlns="" xmlns:a16="http://schemas.microsoft.com/office/drawing/2014/main" id="{56422AC3-6C41-4DC1-BFCF-E1FB16737474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76" name="Oval 44">
                <a:extLst>
                  <a:ext uri="{FF2B5EF4-FFF2-40B4-BE49-F238E27FC236}">
                    <a16:creationId xmlns="" xmlns:a16="http://schemas.microsoft.com/office/drawing/2014/main" id="{2EC257C4-0911-426B-A877-20FB5F821CDD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Rounded Rectangle 45">
                <a:extLst>
                  <a:ext uri="{FF2B5EF4-FFF2-40B4-BE49-F238E27FC236}">
                    <a16:creationId xmlns="" xmlns:a16="http://schemas.microsoft.com/office/drawing/2014/main" id="{8E296D12-D65E-431F-A0FB-A693E4FA6848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8" name="Picture Placeholder 9">
            <a:extLst>
              <a:ext uri="{FF2B5EF4-FFF2-40B4-BE49-F238E27FC236}">
                <a16:creationId xmlns="" xmlns:a16="http://schemas.microsoft.com/office/drawing/2014/main" id="{FBF029D3-590C-4B47-A9C3-7C543074FD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663086" y="1613689"/>
            <a:ext cx="1517540" cy="23566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38" name="Text Placeholder 9">
            <a:extLst>
              <a:ext uri="{FF2B5EF4-FFF2-40B4-BE49-F238E27FC236}">
                <a16:creationId xmlns="" xmlns:a16="http://schemas.microsoft.com/office/drawing/2014/main" id="{4D7B1FD0-5E10-43C8-B28F-F43B7DABDC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2647" y="336629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3117899026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5" y="1501752"/>
            <a:ext cx="8450164" cy="297014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8460824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370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284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948628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</p:spTree>
    <p:extLst>
      <p:ext uri="{BB962C8B-B14F-4D97-AF65-F5344CB8AC3E}">
        <p14:creationId xmlns:p14="http://schemas.microsoft.com/office/powerpoint/2010/main" val="47776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3635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 baseline="0"/>
            </a:lvl1pPr>
            <a:lvl3pPr>
              <a:defRPr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482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4">
            <a:extLst>
              <a:ext uri="{FF2B5EF4-FFF2-40B4-BE49-F238E27FC236}">
                <a16:creationId xmlns="" xmlns:a16="http://schemas.microsoft.com/office/drawing/2014/main" id="{C3CDBC2D-C9C0-4D36-A0F9-7EDE3B294276}"/>
              </a:ext>
            </a:extLst>
          </p:cNvPr>
          <p:cNvSpPr/>
          <p:nvPr userDrawn="1"/>
        </p:nvSpPr>
        <p:spPr>
          <a:xfrm>
            <a:off x="2659900" y="453912"/>
            <a:ext cx="5804833" cy="42406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694249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79" tIns="34289" rIns="68579" bIns="34289"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08" indent="0">
              <a:buNone/>
              <a:defRPr sz="2100"/>
            </a:lvl2pPr>
            <a:lvl3pPr marL="685818" indent="0">
              <a:buNone/>
              <a:defRPr sz="1800"/>
            </a:lvl3pPr>
            <a:lvl4pPr marL="1028726" indent="0">
              <a:buNone/>
              <a:defRPr sz="1500"/>
            </a:lvl4pPr>
            <a:lvl5pPr marL="1371634" indent="0">
              <a:buNone/>
              <a:defRPr sz="1500"/>
            </a:lvl5pPr>
            <a:lvl6pPr marL="1714544" indent="0">
              <a:buNone/>
              <a:defRPr sz="1500"/>
            </a:lvl6pPr>
            <a:lvl7pPr marL="2057452" indent="0">
              <a:buNone/>
              <a:defRPr sz="1500"/>
            </a:lvl7pPr>
            <a:lvl8pPr marL="2400360" indent="0">
              <a:buNone/>
              <a:defRPr sz="1500"/>
            </a:lvl8pPr>
            <a:lvl9pPr marL="2743268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763651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79" tIns="34289" rIns="68579" bIns="34289"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08" indent="0">
              <a:buNone/>
              <a:defRPr sz="2100"/>
            </a:lvl2pPr>
            <a:lvl3pPr marL="685818" indent="0">
              <a:buNone/>
              <a:defRPr sz="1800"/>
            </a:lvl3pPr>
            <a:lvl4pPr marL="1028726" indent="0">
              <a:buNone/>
              <a:defRPr sz="1500"/>
            </a:lvl4pPr>
            <a:lvl5pPr marL="1371634" indent="0">
              <a:buNone/>
              <a:defRPr sz="1500"/>
            </a:lvl5pPr>
            <a:lvl6pPr marL="1714544" indent="0">
              <a:buNone/>
              <a:defRPr sz="1500"/>
            </a:lvl6pPr>
            <a:lvl7pPr marL="2057452" indent="0">
              <a:buNone/>
              <a:defRPr sz="1500"/>
            </a:lvl7pPr>
            <a:lvl8pPr marL="2400360" indent="0">
              <a:buNone/>
              <a:defRPr sz="1500"/>
            </a:lvl8pPr>
            <a:lvl9pPr marL="2743268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2833053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79" tIns="34289" rIns="68579" bIns="34289"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08" indent="0">
              <a:buNone/>
              <a:defRPr sz="2100"/>
            </a:lvl2pPr>
            <a:lvl3pPr marL="685818" indent="0">
              <a:buNone/>
              <a:defRPr sz="1800"/>
            </a:lvl3pPr>
            <a:lvl4pPr marL="1028726" indent="0">
              <a:buNone/>
              <a:defRPr sz="1500"/>
            </a:lvl4pPr>
            <a:lvl5pPr marL="1371634" indent="0">
              <a:buNone/>
              <a:defRPr sz="1500"/>
            </a:lvl5pPr>
            <a:lvl6pPr marL="1714544" indent="0">
              <a:buNone/>
              <a:defRPr sz="1500"/>
            </a:lvl6pPr>
            <a:lvl7pPr marL="2057452" indent="0">
              <a:buNone/>
              <a:defRPr sz="1500"/>
            </a:lvl7pPr>
            <a:lvl8pPr marL="2400360" indent="0">
              <a:buNone/>
              <a:defRPr sz="1500"/>
            </a:lvl8pPr>
            <a:lvl9pPr marL="2743268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6" name="Rectangle 48">
            <a:extLst>
              <a:ext uri="{FF2B5EF4-FFF2-40B4-BE49-F238E27FC236}">
                <a16:creationId xmlns="" xmlns:a16="http://schemas.microsoft.com/office/drawing/2014/main" id="{7877AA66-AAFD-429C-B217-380BEF1ADDE2}"/>
              </a:ext>
            </a:extLst>
          </p:cNvPr>
          <p:cNvSpPr/>
          <p:nvPr userDrawn="1"/>
        </p:nvSpPr>
        <p:spPr>
          <a:xfrm>
            <a:off x="2833053" y="2743256"/>
            <a:ext cx="1620000" cy="48600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="" xmlns:a16="http://schemas.microsoft.com/office/drawing/2014/main" id="{852C85C1-7D9E-4F23-85EA-6A451FF0BEF6}"/>
              </a:ext>
            </a:extLst>
          </p:cNvPr>
          <p:cNvSpPr/>
          <p:nvPr userDrawn="1"/>
        </p:nvSpPr>
        <p:spPr>
          <a:xfrm>
            <a:off x="4763651" y="2735528"/>
            <a:ext cx="1620000" cy="486000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9" name="Rectangle 20">
            <a:extLst>
              <a:ext uri="{FF2B5EF4-FFF2-40B4-BE49-F238E27FC236}">
                <a16:creationId xmlns="" xmlns:a16="http://schemas.microsoft.com/office/drawing/2014/main" id="{E05C1512-E9F1-4355-8FF9-6A6F0DFFCB7B}"/>
              </a:ext>
            </a:extLst>
          </p:cNvPr>
          <p:cNvSpPr/>
          <p:nvPr userDrawn="1"/>
        </p:nvSpPr>
        <p:spPr>
          <a:xfrm>
            <a:off x="6694249" y="2743256"/>
            <a:ext cx="1620000" cy="48600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2211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B, partial image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182880" tIns="502920" rIns="182880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85763" y="2308225"/>
            <a:ext cx="8494712" cy="397115"/>
          </a:xfrm>
        </p:spPr>
        <p:txBody>
          <a:bodyPr/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293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5" y="1501752"/>
            <a:ext cx="8450164" cy="297014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8460824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3943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an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5383941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4" y="1656523"/>
            <a:ext cx="5383941" cy="281537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5385542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5980042" y="-1"/>
            <a:ext cx="3163957" cy="4819487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051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52984"/>
          </a:xfrm>
          <a:prstGeom prst="rect">
            <a:avLst/>
          </a:prstGeom>
        </p:spPr>
      </p:pic>
      <p:pic>
        <p:nvPicPr>
          <p:cNvPr id="16" name="Picture 15" descr="NPD_logo_RGB_Reverse_300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6091" y="3769599"/>
            <a:ext cx="914400" cy="9144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7213" y="1504950"/>
            <a:ext cx="6400800" cy="515541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>
                <a:solidFill>
                  <a:srgbClr val="FFFFFF"/>
                </a:solidFill>
              </a:defRPr>
            </a:lvl1pPr>
            <a:lvl2pPr marL="341313" indent="0">
              <a:buNone/>
              <a:defRPr>
                <a:solidFill>
                  <a:srgbClr val="FFFFFF"/>
                </a:solidFill>
              </a:defRPr>
            </a:lvl2pPr>
            <a:lvl3pPr marL="627062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Subhead of Presentation can go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7213" y="731887"/>
            <a:ext cx="6400800" cy="729763"/>
          </a:xfrm>
        </p:spPr>
        <p:txBody>
          <a:bodyPr wrap="square" lIns="0" tIns="0" rIns="0" bIns="0" anchor="t" anchorCtr="0"/>
          <a:lstStyle>
            <a:lvl1pPr>
              <a:lnSpc>
                <a:spcPct val="80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FFFFFF"/>
                </a:solidFill>
              </a:rPr>
              <a:t>Click To Add Title of Present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557214" y="4369078"/>
            <a:ext cx="279239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Arial" charset="0"/>
                <a:ea typeface="ＭＳ Ｐゴシック" charset="0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prstClr val="white"/>
                </a:solidFill>
                <a:latin typeface="Calibri"/>
              </a:rPr>
              <a:t>Copyright 2019. The NPD Group, Inc. All Rights Reserved. This presentation is </a:t>
            </a:r>
            <a:r>
              <a:rPr lang="en-US" b="1" dirty="0" smtClean="0">
                <a:solidFill>
                  <a:prstClr val="white"/>
                </a:solidFill>
                <a:latin typeface="Calibri"/>
              </a:rPr>
              <a:t>proprietary and confidential</a:t>
            </a:r>
            <a:r>
              <a:rPr lang="en-US" dirty="0" smtClean="0">
                <a:solidFill>
                  <a:prstClr val="white"/>
                </a:solidFill>
                <a:latin typeface="Calibri"/>
              </a:rPr>
              <a:t> and may not be disclosed in any manner, in whole or in part, to any third party without the express written consent of NPD.</a:t>
            </a:r>
            <a:endParaRPr lang="en-US" sz="7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214" y="3933570"/>
            <a:ext cx="2468562" cy="276225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Date (Optional)</a:t>
            </a:r>
          </a:p>
        </p:txBody>
      </p:sp>
    </p:spTree>
    <p:extLst>
      <p:ext uri="{BB962C8B-B14F-4D97-AF65-F5344CB8AC3E}">
        <p14:creationId xmlns:p14="http://schemas.microsoft.com/office/powerpoint/2010/main" val="3288064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/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050"/>
            <a:ext cx="9144000" cy="48420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6"/>
          <p:cNvSpPr txBox="1">
            <a:spLocks noChangeArrowheads="1"/>
          </p:cNvSpPr>
          <p:nvPr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1" name="TextBox 4"/>
          <p:cNvSpPr txBox="1">
            <a:spLocks noChangeArrowheads="1"/>
          </p:cNvSpPr>
          <p:nvPr userDrawn="1"/>
        </p:nvSpPr>
        <p:spPr bwMode="auto">
          <a:xfrm>
            <a:off x="7217834" y="433263"/>
            <a:ext cx="1729894" cy="394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spcCol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are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lianc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utomotiv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2B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eaut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ook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Consumer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E-commer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ashion Accessor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 Consumption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servi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twear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Hom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Juvenile Products</a:t>
            </a:r>
          </a:p>
          <a:p>
            <a:pPr eaLnBrk="1" hangingPunct="1">
              <a:spcAft>
                <a:spcPts val="300"/>
              </a:spcAft>
              <a:defRPr/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edia Entertainment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obil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Office Suppl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Sport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oy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ravel 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Video Gam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Watches / Jewelry</a:t>
            </a:r>
          </a:p>
        </p:txBody>
      </p:sp>
    </p:spTree>
    <p:extLst>
      <p:ext uri="{BB962C8B-B14F-4D97-AF65-F5344CB8AC3E}">
        <p14:creationId xmlns:p14="http://schemas.microsoft.com/office/powerpoint/2010/main" val="47158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09963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Font typeface="+mj-lt"/>
              <a:buAutoNum type="arabicPeriod"/>
              <a:defRPr sz="2800" b="0">
                <a:solidFill>
                  <a:schemeClr val="tx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Click To Create Your 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22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525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87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0078BE">
              <a:alpha val="60000"/>
            </a:srgbClr>
          </a:solidFill>
        </p:spPr>
        <p:txBody>
          <a:bodyPr lIns="365760" tIns="1371600" rIns="365760" bIns="1371600" anchor="ctr"/>
          <a:lstStyle>
            <a:lvl1pPr algn="ctr">
              <a:lnSpc>
                <a:spcPct val="80000"/>
              </a:lnSpc>
              <a:defRPr sz="5400" b="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663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D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2037644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11480" y="2330527"/>
            <a:ext cx="8321040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 smtClean="0"/>
              <a:t>Transition Slid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23305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2980266"/>
            <a:ext cx="8321040" cy="1491633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spcAft>
                <a:spcPts val="1000"/>
              </a:spcAft>
              <a:defRPr sz="2400"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74274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="" xmlns:a16="http://schemas.microsoft.com/office/drawing/2014/main" id="{2760AC20-0645-4AE6-BC4F-285B18B690B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834743" y="1378744"/>
            <a:ext cx="6309259" cy="3050383"/>
          </a:xfrm>
          <a:custGeom>
            <a:avLst/>
            <a:gdLst>
              <a:gd name="connsiteX0" fmla="*/ 0 w 8412345"/>
              <a:gd name="connsiteY0" fmla="*/ 0 h 4067177"/>
              <a:gd name="connsiteX1" fmla="*/ 8412345 w 8412345"/>
              <a:gd name="connsiteY1" fmla="*/ 0 h 4067177"/>
              <a:gd name="connsiteX2" fmla="*/ 8412345 w 8412345"/>
              <a:gd name="connsiteY2" fmla="*/ 4067177 h 4067177"/>
              <a:gd name="connsiteX3" fmla="*/ 1452936 w 8412345"/>
              <a:gd name="connsiteY3" fmla="*/ 4067177 h 4067177"/>
              <a:gd name="connsiteX4" fmla="*/ 1340647 w 8412345"/>
              <a:gd name="connsiteY4" fmla="*/ 3752847 h 4067177"/>
              <a:gd name="connsiteX5" fmla="*/ 8412344 w 8412345"/>
              <a:gd name="connsiteY5" fmla="*/ 3752847 h 4067177"/>
              <a:gd name="connsiteX6" fmla="*/ 8412344 w 8412345"/>
              <a:gd name="connsiteY6" fmla="*/ 3524256 h 4067177"/>
              <a:gd name="connsiteX7" fmla="*/ 1258986 w 8412345"/>
              <a:gd name="connsiteY7" fmla="*/ 3524256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12345" h="4067177">
                <a:moveTo>
                  <a:pt x="0" y="0"/>
                </a:moveTo>
                <a:lnTo>
                  <a:pt x="8412345" y="0"/>
                </a:lnTo>
                <a:lnTo>
                  <a:pt x="8412345" y="4067177"/>
                </a:lnTo>
                <a:lnTo>
                  <a:pt x="1452936" y="4067177"/>
                </a:lnTo>
                <a:lnTo>
                  <a:pt x="1340647" y="3752847"/>
                </a:lnTo>
                <a:lnTo>
                  <a:pt x="8412344" y="3752847"/>
                </a:lnTo>
                <a:lnTo>
                  <a:pt x="8412344" y="3524256"/>
                </a:lnTo>
                <a:lnTo>
                  <a:pt x="1258986" y="3524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9" tIns="34289" rIns="68579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08" indent="0">
              <a:buNone/>
              <a:defRPr sz="2100"/>
            </a:lvl2pPr>
            <a:lvl3pPr marL="685818" indent="0">
              <a:buNone/>
              <a:defRPr sz="1800"/>
            </a:lvl3pPr>
            <a:lvl4pPr marL="1028726" indent="0">
              <a:buNone/>
              <a:defRPr sz="1500"/>
            </a:lvl4pPr>
            <a:lvl5pPr marL="1371634" indent="0">
              <a:buNone/>
              <a:defRPr sz="1500"/>
            </a:lvl5pPr>
            <a:lvl6pPr marL="1714544" indent="0">
              <a:buNone/>
              <a:defRPr sz="1500"/>
            </a:lvl6pPr>
            <a:lvl7pPr marL="2057452" indent="0">
              <a:buNone/>
              <a:defRPr sz="1500"/>
            </a:lvl7pPr>
            <a:lvl8pPr marL="2400360" indent="0">
              <a:buNone/>
              <a:defRPr sz="1500"/>
            </a:lvl8pPr>
            <a:lvl9pPr marL="2743268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="" xmlns:a16="http://schemas.microsoft.com/office/drawing/2014/main" id="{DF0D5D85-25EF-40C1-9119-2AE98DC382AC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964407"/>
            <a:ext cx="3324186" cy="3050383"/>
          </a:xfrm>
          <a:custGeom>
            <a:avLst/>
            <a:gdLst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904875 w 4432248"/>
              <a:gd name="connsiteY2" fmla="*/ 0 h 4067177"/>
              <a:gd name="connsiteX3" fmla="*/ 2979312 w 4432248"/>
              <a:gd name="connsiteY3" fmla="*/ 0 h 4067177"/>
              <a:gd name="connsiteX4" fmla="*/ 4432248 w 4432248"/>
              <a:gd name="connsiteY4" fmla="*/ 4067177 h 4067177"/>
              <a:gd name="connsiteX5" fmla="*/ 571500 w 4432248"/>
              <a:gd name="connsiteY5" fmla="*/ 4067177 h 4067177"/>
              <a:gd name="connsiteX6" fmla="*/ 571500 w 4432248"/>
              <a:gd name="connsiteY6" fmla="*/ 4067175 h 4067177"/>
              <a:gd name="connsiteX7" fmla="*/ 0 w 4432248"/>
              <a:gd name="connsiteY7" fmla="*/ 4067175 h 4067177"/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2979312 w 4432248"/>
              <a:gd name="connsiteY2" fmla="*/ 0 h 4067177"/>
              <a:gd name="connsiteX3" fmla="*/ 4432248 w 4432248"/>
              <a:gd name="connsiteY3" fmla="*/ 4067177 h 4067177"/>
              <a:gd name="connsiteX4" fmla="*/ 571500 w 4432248"/>
              <a:gd name="connsiteY4" fmla="*/ 4067177 h 4067177"/>
              <a:gd name="connsiteX5" fmla="*/ 571500 w 4432248"/>
              <a:gd name="connsiteY5" fmla="*/ 4067175 h 4067177"/>
              <a:gd name="connsiteX6" fmla="*/ 0 w 4432248"/>
              <a:gd name="connsiteY6" fmla="*/ 4067175 h 4067177"/>
              <a:gd name="connsiteX7" fmla="*/ 0 w 4432248"/>
              <a:gd name="connsiteY7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571500 w 4432248"/>
              <a:gd name="connsiteY4" fmla="*/ 4067175 h 4067177"/>
              <a:gd name="connsiteX5" fmla="*/ 0 w 4432248"/>
              <a:gd name="connsiteY5" fmla="*/ 4067175 h 4067177"/>
              <a:gd name="connsiteX6" fmla="*/ 0 w 4432248"/>
              <a:gd name="connsiteY6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0 w 4432248"/>
              <a:gd name="connsiteY4" fmla="*/ 4067175 h 4067177"/>
              <a:gd name="connsiteX5" fmla="*/ 0 w 4432248"/>
              <a:gd name="connsiteY5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0 w 4432248"/>
              <a:gd name="connsiteY3" fmla="*/ 4067175 h 4067177"/>
              <a:gd name="connsiteX4" fmla="*/ 0 w 4432248"/>
              <a:gd name="connsiteY4" fmla="*/ 0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2248" h="4067177">
                <a:moveTo>
                  <a:pt x="0" y="0"/>
                </a:moveTo>
                <a:lnTo>
                  <a:pt x="2979312" y="0"/>
                </a:lnTo>
                <a:lnTo>
                  <a:pt x="4432248" y="4067177"/>
                </a:lnTo>
                <a:lnTo>
                  <a:pt x="0" y="406717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9" tIns="34289" rIns="68579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08" indent="0">
              <a:buNone/>
              <a:defRPr sz="2100"/>
            </a:lvl2pPr>
            <a:lvl3pPr marL="685818" indent="0">
              <a:buNone/>
              <a:defRPr sz="1800"/>
            </a:lvl3pPr>
            <a:lvl4pPr marL="1028726" indent="0">
              <a:buNone/>
              <a:defRPr sz="1500"/>
            </a:lvl4pPr>
            <a:lvl5pPr marL="1371634" indent="0">
              <a:buNone/>
              <a:defRPr sz="1500"/>
            </a:lvl5pPr>
            <a:lvl6pPr marL="1714544" indent="0">
              <a:buNone/>
              <a:defRPr sz="1500"/>
            </a:lvl6pPr>
            <a:lvl7pPr marL="2057452" indent="0">
              <a:buNone/>
              <a:defRPr sz="1500"/>
            </a:lvl7pPr>
            <a:lvl8pPr marL="2400360" indent="0">
              <a:buNone/>
              <a:defRPr sz="1500"/>
            </a:lvl8pPr>
            <a:lvl9pPr marL="2743268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09194609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3635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 baseline="0"/>
            </a:lvl1pPr>
            <a:lvl3pPr>
              <a:defRPr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219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542765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1231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331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none"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2195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123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935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 hasCustomPrompt="1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 hasCustomPrompt="1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 hasCustomPrompt="1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726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365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3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05094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55121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7CB68201-6AEB-4BFE-B92F-F7D14A3CB566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5366888" cy="5143500"/>
          </a:xfrm>
          <a:custGeom>
            <a:avLst/>
            <a:gdLst>
              <a:gd name="connsiteX0" fmla="*/ 0 w 7155850"/>
              <a:gd name="connsiteY0" fmla="*/ 3024930 h 6858000"/>
              <a:gd name="connsiteX1" fmla="*/ 2358530 w 7155850"/>
              <a:gd name="connsiteY1" fmla="*/ 6858000 h 6858000"/>
              <a:gd name="connsiteX2" fmla="*/ 1329860 w 7155850"/>
              <a:gd name="connsiteY2" fmla="*/ 6858000 h 6858000"/>
              <a:gd name="connsiteX3" fmla="*/ 0 w 7155850"/>
              <a:gd name="connsiteY3" fmla="*/ 4691859 h 6858000"/>
              <a:gd name="connsiteX4" fmla="*/ 1 w 7155850"/>
              <a:gd name="connsiteY4" fmla="*/ 397145 h 6858000"/>
              <a:gd name="connsiteX5" fmla="*/ 3459898 w 7155850"/>
              <a:gd name="connsiteY5" fmla="*/ 6020152 h 6858000"/>
              <a:gd name="connsiteX6" fmla="*/ 2945517 w 7155850"/>
              <a:gd name="connsiteY6" fmla="*/ 6858000 h 6858000"/>
              <a:gd name="connsiteX7" fmla="*/ 1 w 7155850"/>
              <a:gd name="connsiteY7" fmla="*/ 2060197 h 6858000"/>
              <a:gd name="connsiteX8" fmla="*/ 396861 w 7155850"/>
              <a:gd name="connsiteY8" fmla="*/ 0 h 6858000"/>
              <a:gd name="connsiteX9" fmla="*/ 7155850 w 7155850"/>
              <a:gd name="connsiteY9" fmla="*/ 0 h 6858000"/>
              <a:gd name="connsiteX10" fmla="*/ 3780151 w 7155850"/>
              <a:gd name="connsiteY10" fmla="*/ 54985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55850" h="6858000">
                <a:moveTo>
                  <a:pt x="0" y="3024930"/>
                </a:moveTo>
                <a:lnTo>
                  <a:pt x="2358530" y="6858000"/>
                </a:lnTo>
                <a:lnTo>
                  <a:pt x="1329860" y="6858000"/>
                </a:lnTo>
                <a:lnTo>
                  <a:pt x="0" y="4691859"/>
                </a:lnTo>
                <a:close/>
                <a:moveTo>
                  <a:pt x="1" y="397145"/>
                </a:moveTo>
                <a:lnTo>
                  <a:pt x="3459898" y="6020152"/>
                </a:lnTo>
                <a:lnTo>
                  <a:pt x="2945517" y="6858000"/>
                </a:lnTo>
                <a:lnTo>
                  <a:pt x="1" y="2060197"/>
                </a:lnTo>
                <a:close/>
                <a:moveTo>
                  <a:pt x="396861" y="0"/>
                </a:moveTo>
                <a:lnTo>
                  <a:pt x="7155850" y="0"/>
                </a:lnTo>
                <a:lnTo>
                  <a:pt x="3780151" y="54985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9" tIns="34289" rIns="68579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08" indent="0">
              <a:buNone/>
              <a:defRPr sz="2100"/>
            </a:lvl2pPr>
            <a:lvl3pPr marL="685818" indent="0">
              <a:buNone/>
              <a:defRPr sz="1800"/>
            </a:lvl3pPr>
            <a:lvl4pPr marL="1028726" indent="0">
              <a:buNone/>
              <a:defRPr sz="1500"/>
            </a:lvl4pPr>
            <a:lvl5pPr marL="1371634" indent="0">
              <a:buNone/>
              <a:defRPr sz="1500"/>
            </a:lvl5pPr>
            <a:lvl6pPr marL="1714544" indent="0">
              <a:buNone/>
              <a:defRPr sz="1500"/>
            </a:lvl6pPr>
            <a:lvl7pPr marL="2057452" indent="0">
              <a:buNone/>
              <a:defRPr sz="1500"/>
            </a:lvl7pPr>
            <a:lvl8pPr marL="2400360" indent="0">
              <a:buNone/>
              <a:defRPr sz="1500"/>
            </a:lvl8pPr>
            <a:lvl9pPr marL="2743268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94228318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83396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66307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hon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7211501" y="1568584"/>
            <a:ext cx="1340761" cy="240583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5"/>
            <a:ext cx="6244740" cy="265176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E5E2FCC6-9731-48B8-B2A2-39E9FD0F42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3362" y="1073899"/>
            <a:ext cx="1699776" cy="33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101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ptop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="" xmlns:a16="http://schemas.microsoft.com/office/drawing/2014/main" id="{69D3E401-F6DF-4A44-858C-E9410373BE6E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194050" y="1489753"/>
            <a:ext cx="3949950" cy="24783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  Picture</a:t>
            </a:r>
            <a:endParaRPr lang="en-US" dirty="0"/>
          </a:p>
        </p:txBody>
      </p:sp>
      <p:pic>
        <p:nvPicPr>
          <p:cNvPr id="3" name="Picture 2" descr="A picture containing electronics, display&#10;&#10;Description generated with very high confidence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6060" y="1319842"/>
            <a:ext cx="4567940" cy="3019246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</p:spPr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89753"/>
            <a:ext cx="4374815" cy="2478024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82110155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4"/>
            <a:ext cx="4059936" cy="2474601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6357922" y="1490674"/>
            <a:ext cx="1277283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Picture Placeholder 11"/>
          <p:cNvSpPr>
            <a:spLocks noGrp="1" noChangeAspect="1"/>
          </p:cNvSpPr>
          <p:nvPr>
            <p:ph type="pic" sz="quarter" idx="39"/>
          </p:nvPr>
        </p:nvSpPr>
        <p:spPr>
          <a:xfrm>
            <a:off x="484912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40"/>
          </p:nvPr>
        </p:nvSpPr>
        <p:spPr>
          <a:xfrm>
            <a:off x="786671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14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411480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672584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672584" y="1664884"/>
            <a:ext cx="4059936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Second Chart Goes Her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1664884"/>
            <a:ext cx="4057069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First Chart Goes He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80992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5479015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01194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786408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01194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33" hasCustomPrompt="1"/>
          </p:nvPr>
        </p:nvSpPr>
        <p:spPr>
          <a:xfrm>
            <a:off x="717162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34" hasCustomPrompt="1"/>
          </p:nvPr>
        </p:nvSpPr>
        <p:spPr>
          <a:xfrm>
            <a:off x="209380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35" hasCustomPrompt="1"/>
          </p:nvPr>
        </p:nvSpPr>
        <p:spPr>
          <a:xfrm>
            <a:off x="717162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209380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786408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5479015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40" name="Text Placeholder 12"/>
          <p:cNvSpPr>
            <a:spLocks noGrp="1"/>
          </p:cNvSpPr>
          <p:nvPr>
            <p:ph type="body" sz="quarter" idx="40"/>
          </p:nvPr>
        </p:nvSpPr>
        <p:spPr>
          <a:xfrm>
            <a:off x="401194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12"/>
          <p:cNvSpPr>
            <a:spLocks noGrp="1"/>
          </p:cNvSpPr>
          <p:nvPr>
            <p:ph type="body" sz="quarter" idx="41"/>
          </p:nvPr>
        </p:nvSpPr>
        <p:spPr>
          <a:xfrm>
            <a:off x="717162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42"/>
          </p:nvPr>
        </p:nvSpPr>
        <p:spPr>
          <a:xfrm>
            <a:off x="209380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12"/>
          <p:cNvSpPr>
            <a:spLocks noGrp="1"/>
          </p:cNvSpPr>
          <p:nvPr>
            <p:ph type="body" sz="quarter" idx="43"/>
          </p:nvPr>
        </p:nvSpPr>
        <p:spPr>
          <a:xfrm>
            <a:off x="3786408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12"/>
          <p:cNvSpPr>
            <a:spLocks noGrp="1"/>
          </p:cNvSpPr>
          <p:nvPr>
            <p:ph type="body" sz="quarter" idx="44"/>
          </p:nvPr>
        </p:nvSpPr>
        <p:spPr>
          <a:xfrm>
            <a:off x="5479015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401194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717162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209380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3786408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51" hasCustomPrompt="1"/>
          </p:nvPr>
        </p:nvSpPr>
        <p:spPr>
          <a:xfrm>
            <a:off x="5479015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52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5199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QUESTIONS</a:t>
            </a:r>
            <a:r>
              <a:rPr lang="en-US" sz="5400" b="0" dirty="0" smtClean="0">
                <a:solidFill>
                  <a:srgbClr val="0078BE"/>
                </a:solidFill>
              </a:rPr>
              <a:t>?</a:t>
            </a:r>
            <a:endParaRPr lang="en-US" sz="2800" b="0" dirty="0">
              <a:solidFill>
                <a:srgbClr val="0078B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932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APPENDIX</a:t>
            </a:r>
            <a:endParaRPr lang="en-US" sz="2800" b="0" dirty="0">
              <a:solidFill>
                <a:srgbClr val="0051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969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245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="" xmlns:a16="http://schemas.microsoft.com/office/drawing/2014/main" id="{55E6ADF9-2CA1-4B5D-B4B2-DC799783715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4467225" y="2"/>
            <a:ext cx="4009714" cy="5143499"/>
          </a:xfrm>
          <a:custGeom>
            <a:avLst/>
            <a:gdLst>
              <a:gd name="connsiteX0" fmla="*/ 1411644 w 5346285"/>
              <a:gd name="connsiteY0" fmla="*/ 735217 h 6857999"/>
              <a:gd name="connsiteX1" fmla="*/ 1555977 w 5346285"/>
              <a:gd name="connsiteY1" fmla="*/ 742505 h 6857999"/>
              <a:gd name="connsiteX2" fmla="*/ 1692597 w 5346285"/>
              <a:gd name="connsiteY2" fmla="*/ 763356 h 6857999"/>
              <a:gd name="connsiteX3" fmla="*/ 346164 w 5346285"/>
              <a:gd name="connsiteY3" fmla="*/ 2792427 h 6857999"/>
              <a:gd name="connsiteX4" fmla="*/ 1115774 w 5346285"/>
              <a:gd name="connsiteY4" fmla="*/ 2792427 h 6857999"/>
              <a:gd name="connsiteX5" fmla="*/ 2281106 w 5346285"/>
              <a:gd name="connsiteY5" fmla="*/ 1036275 h 6857999"/>
              <a:gd name="connsiteX6" fmla="*/ 2309581 w 5346285"/>
              <a:gd name="connsiteY6" fmla="*/ 1057568 h 6857999"/>
              <a:gd name="connsiteX7" fmla="*/ 2814083 w 5346285"/>
              <a:gd name="connsiteY7" fmla="*/ 1984766 h 6857999"/>
              <a:gd name="connsiteX8" fmla="*/ 2818612 w 5346285"/>
              <a:gd name="connsiteY8" fmla="*/ 2064522 h 6857999"/>
              <a:gd name="connsiteX9" fmla="*/ 2874475 w 5346285"/>
              <a:gd name="connsiteY9" fmla="*/ 2050158 h 6857999"/>
              <a:gd name="connsiteX10" fmla="*/ 3289075 w 5346285"/>
              <a:gd name="connsiteY10" fmla="*/ 2008363 h 6857999"/>
              <a:gd name="connsiteX11" fmla="*/ 5346285 w 5346285"/>
              <a:gd name="connsiteY11" fmla="*/ 4065573 h 6857999"/>
              <a:gd name="connsiteX12" fmla="*/ 3289075 w 5346285"/>
              <a:gd name="connsiteY12" fmla="*/ 6122783 h 6857999"/>
              <a:gd name="connsiteX13" fmla="*/ 1834408 w 5346285"/>
              <a:gd name="connsiteY13" fmla="*/ 5520240 h 6857999"/>
              <a:gd name="connsiteX14" fmla="*/ 1828667 w 5346285"/>
              <a:gd name="connsiteY14" fmla="*/ 5513924 h 6857999"/>
              <a:gd name="connsiteX15" fmla="*/ 936777 w 5346285"/>
              <a:gd name="connsiteY15" fmla="*/ 6857999 h 6857999"/>
              <a:gd name="connsiteX16" fmla="*/ 167167 w 5346285"/>
              <a:gd name="connsiteY16" fmla="*/ 6857999 h 6857999"/>
              <a:gd name="connsiteX17" fmla="*/ 1433594 w 5346285"/>
              <a:gd name="connsiteY17" fmla="*/ 4949498 h 6857999"/>
              <a:gd name="connsiteX18" fmla="*/ 1393531 w 5346285"/>
              <a:gd name="connsiteY18" fmla="*/ 4866332 h 6857999"/>
              <a:gd name="connsiteX19" fmla="*/ 1231865 w 5346285"/>
              <a:gd name="connsiteY19" fmla="*/ 4065573 h 6857999"/>
              <a:gd name="connsiteX20" fmla="*/ 1273661 w 5346285"/>
              <a:gd name="connsiteY20" fmla="*/ 3650974 h 6857999"/>
              <a:gd name="connsiteX21" fmla="*/ 1298900 w 5346285"/>
              <a:gd name="connsiteY21" fmla="*/ 3552812 h 6857999"/>
              <a:gd name="connsiteX22" fmla="*/ 1267312 w 5346285"/>
              <a:gd name="connsiteY22" fmla="*/ 3551217 h 6857999"/>
              <a:gd name="connsiteX23" fmla="*/ 0 w 5346285"/>
              <a:gd name="connsiteY23" fmla="*/ 2146861 h 6857999"/>
              <a:gd name="connsiteX24" fmla="*/ 1411644 w 5346285"/>
              <a:gd name="connsiteY24" fmla="*/ 735217 h 6857999"/>
              <a:gd name="connsiteX25" fmla="*/ 2199138 w 5346285"/>
              <a:gd name="connsiteY25" fmla="*/ 0 h 6857999"/>
              <a:gd name="connsiteX26" fmla="*/ 2968749 w 5346285"/>
              <a:gd name="connsiteY26" fmla="*/ 0 h 6857999"/>
              <a:gd name="connsiteX27" fmla="*/ 2281106 w 5346285"/>
              <a:gd name="connsiteY27" fmla="*/ 1036275 h 6857999"/>
              <a:gd name="connsiteX28" fmla="*/ 2200908 w 5346285"/>
              <a:gd name="connsiteY28" fmla="*/ 976304 h 6857999"/>
              <a:gd name="connsiteX29" fmla="*/ 1696140 w 5346285"/>
              <a:gd name="connsiteY29" fmla="*/ 763897 h 6857999"/>
              <a:gd name="connsiteX30" fmla="*/ 1692597 w 5346285"/>
              <a:gd name="connsiteY30" fmla="*/ 76335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346285" h="6857999">
                <a:moveTo>
                  <a:pt x="1411644" y="735217"/>
                </a:moveTo>
                <a:cubicBezTo>
                  <a:pt x="1460371" y="735217"/>
                  <a:pt x="1508521" y="737686"/>
                  <a:pt x="1555977" y="742505"/>
                </a:cubicBezTo>
                <a:lnTo>
                  <a:pt x="1692597" y="763356"/>
                </a:lnTo>
                <a:lnTo>
                  <a:pt x="346164" y="2792427"/>
                </a:lnTo>
                <a:lnTo>
                  <a:pt x="1115774" y="2792427"/>
                </a:lnTo>
                <a:lnTo>
                  <a:pt x="2281106" y="1036275"/>
                </a:lnTo>
                <a:lnTo>
                  <a:pt x="2309581" y="1057568"/>
                </a:lnTo>
                <a:cubicBezTo>
                  <a:pt x="2584098" y="1284120"/>
                  <a:pt x="2771517" y="1612438"/>
                  <a:pt x="2814083" y="1984766"/>
                </a:cubicBezTo>
                <a:lnTo>
                  <a:pt x="2818612" y="2064522"/>
                </a:lnTo>
                <a:lnTo>
                  <a:pt x="2874475" y="2050158"/>
                </a:lnTo>
                <a:cubicBezTo>
                  <a:pt x="3008395" y="2022754"/>
                  <a:pt x="3147054" y="2008363"/>
                  <a:pt x="3289075" y="2008363"/>
                </a:cubicBezTo>
                <a:cubicBezTo>
                  <a:pt x="4425241" y="2008363"/>
                  <a:pt x="5346285" y="2929407"/>
                  <a:pt x="5346285" y="4065573"/>
                </a:cubicBezTo>
                <a:cubicBezTo>
                  <a:pt x="5346285" y="5201739"/>
                  <a:pt x="4425241" y="6122783"/>
                  <a:pt x="3289075" y="6122783"/>
                </a:cubicBezTo>
                <a:cubicBezTo>
                  <a:pt x="2720992" y="6122783"/>
                  <a:pt x="2206690" y="5892522"/>
                  <a:pt x="1834408" y="5520240"/>
                </a:cubicBezTo>
                <a:lnTo>
                  <a:pt x="1828667" y="5513924"/>
                </a:lnTo>
                <a:lnTo>
                  <a:pt x="936777" y="6857999"/>
                </a:lnTo>
                <a:lnTo>
                  <a:pt x="167167" y="6857999"/>
                </a:lnTo>
                <a:lnTo>
                  <a:pt x="1433594" y="4949498"/>
                </a:lnTo>
                <a:lnTo>
                  <a:pt x="1393531" y="4866332"/>
                </a:lnTo>
                <a:cubicBezTo>
                  <a:pt x="1289431" y="4620211"/>
                  <a:pt x="1231865" y="4349615"/>
                  <a:pt x="1231865" y="4065573"/>
                </a:cubicBezTo>
                <a:cubicBezTo>
                  <a:pt x="1231865" y="3923552"/>
                  <a:pt x="1246257" y="3784893"/>
                  <a:pt x="1273661" y="3650974"/>
                </a:cubicBezTo>
                <a:lnTo>
                  <a:pt x="1298900" y="3552812"/>
                </a:lnTo>
                <a:lnTo>
                  <a:pt x="1267312" y="3551217"/>
                </a:lnTo>
                <a:cubicBezTo>
                  <a:pt x="555482" y="3478927"/>
                  <a:pt x="0" y="2877763"/>
                  <a:pt x="0" y="2146861"/>
                </a:cubicBezTo>
                <a:cubicBezTo>
                  <a:pt x="0" y="1367232"/>
                  <a:pt x="632015" y="735217"/>
                  <a:pt x="1411644" y="735217"/>
                </a:cubicBezTo>
                <a:close/>
                <a:moveTo>
                  <a:pt x="2199138" y="0"/>
                </a:moveTo>
                <a:lnTo>
                  <a:pt x="2968749" y="0"/>
                </a:lnTo>
                <a:lnTo>
                  <a:pt x="2281106" y="1036275"/>
                </a:lnTo>
                <a:lnTo>
                  <a:pt x="2200908" y="976304"/>
                </a:lnTo>
                <a:cubicBezTo>
                  <a:pt x="2050708" y="874831"/>
                  <a:pt x="1879929" y="801505"/>
                  <a:pt x="1696140" y="763897"/>
                </a:cubicBezTo>
                <a:lnTo>
                  <a:pt x="1692597" y="7633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9" tIns="34289" rIns="68579" bIns="34289" anchor="ctr">
            <a:noAutofit/>
          </a:bodyPr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342908" indent="0">
              <a:buNone/>
              <a:defRPr sz="2100"/>
            </a:lvl2pPr>
            <a:lvl3pPr marL="685818" indent="0">
              <a:buNone/>
              <a:defRPr sz="1800"/>
            </a:lvl3pPr>
            <a:lvl4pPr marL="1028726" indent="0">
              <a:buNone/>
              <a:defRPr sz="1500"/>
            </a:lvl4pPr>
            <a:lvl5pPr marL="1371634" indent="0">
              <a:buNone/>
              <a:defRPr sz="1500"/>
            </a:lvl5pPr>
            <a:lvl6pPr marL="1714544" indent="0">
              <a:buNone/>
              <a:defRPr sz="1500"/>
            </a:lvl6pPr>
            <a:lvl7pPr marL="2057452" indent="0">
              <a:buNone/>
              <a:defRPr sz="1500"/>
            </a:lvl7pPr>
            <a:lvl8pPr marL="2400360" indent="0">
              <a:buNone/>
              <a:defRPr sz="1500"/>
            </a:lvl8pPr>
            <a:lvl9pPr marL="2743268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55838928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4500" y="1197769"/>
            <a:ext cx="8321040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rgbClr val="8E908F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1023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061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chemeClr val="accent1">
              <a:alpha val="75000"/>
            </a:scheme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091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chemeClr val="bg2">
              <a:alpha val="60000"/>
            </a:scheme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00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631882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27842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09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25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59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710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="" xmlns:a16="http://schemas.microsoft.com/office/drawing/2014/main" id="{CAA37609-EE48-4945-848C-682481779A3D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0"/>
            <a:ext cx="7215926" cy="5143500"/>
          </a:xfrm>
          <a:custGeom>
            <a:avLst/>
            <a:gdLst>
              <a:gd name="connsiteX0" fmla="*/ 2853265 w 9621234"/>
              <a:gd name="connsiteY0" fmla="*/ 2028524 h 6858000"/>
              <a:gd name="connsiteX1" fmla="*/ 4826000 w 9621234"/>
              <a:gd name="connsiteY1" fmla="*/ 3431038 h 6858000"/>
              <a:gd name="connsiteX2" fmla="*/ 2854761 w 9621234"/>
              <a:gd name="connsiteY2" fmla="*/ 4832489 h 6858000"/>
              <a:gd name="connsiteX3" fmla="*/ 2822059 w 9621234"/>
              <a:gd name="connsiteY3" fmla="*/ 4789070 h 6858000"/>
              <a:gd name="connsiteX4" fmla="*/ 2403936 w 9621234"/>
              <a:gd name="connsiteY4" fmla="*/ 3443286 h 6858000"/>
              <a:gd name="connsiteX5" fmla="*/ 2806135 w 9621234"/>
              <a:gd name="connsiteY5" fmla="*/ 2092659 h 6858000"/>
              <a:gd name="connsiteX6" fmla="*/ 6877797 w 9621234"/>
              <a:gd name="connsiteY6" fmla="*/ 1970178 h 6858000"/>
              <a:gd name="connsiteX7" fmla="*/ 6978948 w 9621234"/>
              <a:gd name="connsiteY7" fmla="*/ 4734303 h 6858000"/>
              <a:gd name="connsiteX8" fmla="*/ 6870992 w 9621234"/>
              <a:gd name="connsiteY8" fmla="*/ 4896961 h 6858000"/>
              <a:gd name="connsiteX9" fmla="*/ 9621234 w 9621234"/>
              <a:gd name="connsiteY9" fmla="*/ 6858000 h 6858000"/>
              <a:gd name="connsiteX10" fmla="*/ 6307151 w 9621234"/>
              <a:gd name="connsiteY10" fmla="*/ 6858000 h 6858000"/>
              <a:gd name="connsiteX11" fmla="*/ 5779323 w 9621234"/>
              <a:gd name="connsiteY11" fmla="*/ 6481637 h 6858000"/>
              <a:gd name="connsiteX12" fmla="*/ 5834204 w 9621234"/>
              <a:gd name="connsiteY12" fmla="*/ 6465764 h 6858000"/>
              <a:gd name="connsiteX13" fmla="*/ 6942383 w 9621234"/>
              <a:gd name="connsiteY13" fmla="*/ 5827420 h 6858000"/>
              <a:gd name="connsiteX14" fmla="*/ 6870974 w 9621234"/>
              <a:gd name="connsiteY14" fmla="*/ 5746593 h 6858000"/>
              <a:gd name="connsiteX15" fmla="*/ 5800140 w 9621234"/>
              <a:gd name="connsiteY15" fmla="*/ 6363425 h 6858000"/>
              <a:gd name="connsiteX16" fmla="*/ 5667386 w 9621234"/>
              <a:gd name="connsiteY16" fmla="*/ 6401822 h 6858000"/>
              <a:gd name="connsiteX17" fmla="*/ 5011435 w 9621234"/>
              <a:gd name="connsiteY17" fmla="*/ 5934101 h 6858000"/>
              <a:gd name="connsiteX18" fmla="*/ 5080493 w 9621234"/>
              <a:gd name="connsiteY18" fmla="*/ 5930614 h 6858000"/>
              <a:gd name="connsiteX19" fmla="*/ 6763778 w 9621234"/>
              <a:gd name="connsiteY19" fmla="*/ 5028515 h 6858000"/>
              <a:gd name="connsiteX20" fmla="*/ 6861919 w 9621234"/>
              <a:gd name="connsiteY20" fmla="*/ 4897273 h 6858000"/>
              <a:gd name="connsiteX21" fmla="*/ 4829615 w 9621234"/>
              <a:gd name="connsiteY21" fmla="*/ 3428999 h 6858000"/>
              <a:gd name="connsiteX22" fmla="*/ 0 w 9621234"/>
              <a:gd name="connsiteY22" fmla="*/ 0 h 6858000"/>
              <a:gd name="connsiteX23" fmla="*/ 2 w 9621234"/>
              <a:gd name="connsiteY23" fmla="*/ 0 h 6858000"/>
              <a:gd name="connsiteX24" fmla="*/ 2775829 w 9621234"/>
              <a:gd name="connsiteY24" fmla="*/ 1973471 h 6858000"/>
              <a:gd name="connsiteX25" fmla="*/ 2726844 w 9621234"/>
              <a:gd name="connsiteY25" fmla="*/ 2040131 h 6858000"/>
              <a:gd name="connsiteX26" fmla="*/ 2308835 w 9621234"/>
              <a:gd name="connsiteY26" fmla="*/ 3443847 h 6858000"/>
              <a:gd name="connsiteX27" fmla="*/ 2743392 w 9621234"/>
              <a:gd name="connsiteY27" fmla="*/ 4842528 h 6858000"/>
              <a:gd name="connsiteX28" fmla="*/ 2777306 w 9621234"/>
              <a:gd name="connsiteY28" fmla="*/ 4887555 h 6858000"/>
              <a:gd name="connsiteX29" fmla="*/ 2304974 w 9621234"/>
              <a:gd name="connsiteY29" fmla="*/ 5223359 h 6858000"/>
              <a:gd name="connsiteX30" fmla="*/ 2297754 w 9621234"/>
              <a:gd name="connsiteY30" fmla="*/ 5213951 h 6858000"/>
              <a:gd name="connsiteX31" fmla="*/ 1834276 w 9621234"/>
              <a:gd name="connsiteY31" fmla="*/ 2635877 h 6858000"/>
              <a:gd name="connsiteX32" fmla="*/ 1730029 w 9621234"/>
              <a:gd name="connsiteY32" fmla="*/ 2608217 h 6858000"/>
              <a:gd name="connsiteX33" fmla="*/ 2209671 w 9621234"/>
              <a:gd name="connsiteY33" fmla="*/ 5276202 h 6858000"/>
              <a:gd name="connsiteX34" fmla="*/ 2217076 w 9621234"/>
              <a:gd name="connsiteY34" fmla="*/ 5285850 h 6858000"/>
              <a:gd name="connsiteX35" fmla="*/ 5735 w 9621234"/>
              <a:gd name="connsiteY35" fmla="*/ 6858000 h 6858000"/>
              <a:gd name="connsiteX36" fmla="*/ 0 w 9621234"/>
              <a:gd name="connsiteY3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9621234" h="6858000">
                <a:moveTo>
                  <a:pt x="2853265" y="2028524"/>
                </a:moveTo>
                <a:lnTo>
                  <a:pt x="4826000" y="3431038"/>
                </a:lnTo>
                <a:lnTo>
                  <a:pt x="2854761" y="4832489"/>
                </a:lnTo>
                <a:lnTo>
                  <a:pt x="2822059" y="4789070"/>
                </a:lnTo>
                <a:cubicBezTo>
                  <a:pt x="2560729" y="4405263"/>
                  <a:pt x="2406883" y="3942281"/>
                  <a:pt x="2403936" y="3443286"/>
                </a:cubicBezTo>
                <a:cubicBezTo>
                  <a:pt x="2400990" y="2944292"/>
                  <a:pt x="2549357" y="2479526"/>
                  <a:pt x="2806135" y="2092659"/>
                </a:cubicBezTo>
                <a:close/>
                <a:moveTo>
                  <a:pt x="6877797" y="1970178"/>
                </a:moveTo>
                <a:cubicBezTo>
                  <a:pt x="7464209" y="2793500"/>
                  <a:pt x="7497364" y="3881401"/>
                  <a:pt x="6978948" y="4734303"/>
                </a:cubicBezTo>
                <a:lnTo>
                  <a:pt x="6870992" y="4896961"/>
                </a:lnTo>
                <a:lnTo>
                  <a:pt x="9621234" y="6858000"/>
                </a:lnTo>
                <a:lnTo>
                  <a:pt x="6307151" y="6858000"/>
                </a:lnTo>
                <a:lnTo>
                  <a:pt x="5779323" y="6481637"/>
                </a:lnTo>
                <a:lnTo>
                  <a:pt x="5834204" y="6465764"/>
                </a:lnTo>
                <a:cubicBezTo>
                  <a:pt x="6234233" y="6332749"/>
                  <a:pt x="6612074" y="6119246"/>
                  <a:pt x="6942383" y="5827420"/>
                </a:cubicBezTo>
                <a:lnTo>
                  <a:pt x="6870974" y="5746593"/>
                </a:lnTo>
                <a:cubicBezTo>
                  <a:pt x="6551796" y="6028585"/>
                  <a:pt x="6186689" y="6234893"/>
                  <a:pt x="5800140" y="6363425"/>
                </a:cubicBezTo>
                <a:lnTo>
                  <a:pt x="5667386" y="6401822"/>
                </a:lnTo>
                <a:lnTo>
                  <a:pt x="5011435" y="5934101"/>
                </a:lnTo>
                <a:lnTo>
                  <a:pt x="5080493" y="5930614"/>
                </a:lnTo>
                <a:cubicBezTo>
                  <a:pt x="5756761" y="5861935"/>
                  <a:pt x="6353809" y="5525282"/>
                  <a:pt x="6763778" y="5028515"/>
                </a:cubicBezTo>
                <a:lnTo>
                  <a:pt x="6861919" y="4897273"/>
                </a:lnTo>
                <a:lnTo>
                  <a:pt x="4829615" y="3428999"/>
                </a:lnTo>
                <a:close/>
                <a:moveTo>
                  <a:pt x="0" y="0"/>
                </a:moveTo>
                <a:lnTo>
                  <a:pt x="2" y="0"/>
                </a:lnTo>
                <a:lnTo>
                  <a:pt x="2775829" y="1973471"/>
                </a:lnTo>
                <a:lnTo>
                  <a:pt x="2726844" y="2040131"/>
                </a:lnTo>
                <a:cubicBezTo>
                  <a:pt x="2459973" y="2442204"/>
                  <a:pt x="2305773" y="2925239"/>
                  <a:pt x="2308835" y="3443847"/>
                </a:cubicBezTo>
                <a:cubicBezTo>
                  <a:pt x="2311897" y="3962456"/>
                  <a:pt x="2471791" y="4443635"/>
                  <a:pt x="2743392" y="4842528"/>
                </a:cubicBezTo>
                <a:lnTo>
                  <a:pt x="2777306" y="4887555"/>
                </a:lnTo>
                <a:lnTo>
                  <a:pt x="2304974" y="5223359"/>
                </a:lnTo>
                <a:lnTo>
                  <a:pt x="2297754" y="5213951"/>
                </a:lnTo>
                <a:cubicBezTo>
                  <a:pt x="1780750" y="4481926"/>
                  <a:pt x="1593974" y="3541527"/>
                  <a:pt x="1834276" y="2635877"/>
                </a:cubicBezTo>
                <a:lnTo>
                  <a:pt x="1730029" y="2608217"/>
                </a:lnTo>
                <a:cubicBezTo>
                  <a:pt x="1481347" y="3545452"/>
                  <a:pt x="1674637" y="4518648"/>
                  <a:pt x="2209671" y="5276202"/>
                </a:cubicBezTo>
                <a:lnTo>
                  <a:pt x="2217076" y="5285850"/>
                </a:lnTo>
                <a:lnTo>
                  <a:pt x="573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9" tIns="34289" rIns="68579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08" indent="0">
              <a:buNone/>
              <a:defRPr sz="2100"/>
            </a:lvl2pPr>
            <a:lvl3pPr marL="685818" indent="0">
              <a:buNone/>
              <a:defRPr sz="1800"/>
            </a:lvl3pPr>
            <a:lvl4pPr marL="1028726" indent="0">
              <a:buNone/>
              <a:defRPr sz="1500"/>
            </a:lvl4pPr>
            <a:lvl5pPr marL="1371634" indent="0">
              <a:buNone/>
              <a:defRPr sz="1500"/>
            </a:lvl5pPr>
            <a:lvl6pPr marL="1714544" indent="0">
              <a:buNone/>
              <a:defRPr sz="1500"/>
            </a:lvl6pPr>
            <a:lvl7pPr marL="2057452" indent="0">
              <a:buNone/>
              <a:defRPr sz="1500"/>
            </a:lvl7pPr>
            <a:lvl8pPr marL="2400360" indent="0">
              <a:buNone/>
              <a:defRPr sz="1500"/>
            </a:lvl8pPr>
            <a:lvl9pPr marL="2743268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53253136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indent="0">
              <a:buNone/>
              <a:defRPr sz="900"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791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0433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677281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61566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51872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  <a:p>
            <a:pPr lvl="0"/>
            <a:endParaRPr lang="en-US" dirty="0" smtClean="0"/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427852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E908F"/>
                </a:solidFill>
              </a:rPr>
              <a:t>?</a:t>
            </a:r>
            <a:endParaRPr lang="en-US" sz="2800" b="0" dirty="0">
              <a:solidFill>
                <a:srgbClr val="8E908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2297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613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315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5115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chemeClr val="accent2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022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="" xmlns:a16="http://schemas.microsoft.com/office/drawing/2014/main" id="{D9F62109-B5FA-4FA8-A590-713EB2E5F365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4175912" y="0"/>
            <a:ext cx="4654612" cy="5143500"/>
          </a:xfrm>
          <a:custGeom>
            <a:avLst/>
            <a:gdLst>
              <a:gd name="connsiteX0" fmla="*/ 5280530 w 6206149"/>
              <a:gd name="connsiteY0" fmla="*/ 3429000 h 6858000"/>
              <a:gd name="connsiteX1" fmla="*/ 6206149 w 6206149"/>
              <a:gd name="connsiteY1" fmla="*/ 3429000 h 6858000"/>
              <a:gd name="connsiteX2" fmla="*/ 4207499 w 6206149"/>
              <a:gd name="connsiteY2" fmla="*/ 6858000 h 6858000"/>
              <a:gd name="connsiteX3" fmla="*/ 3281880 w 6206149"/>
              <a:gd name="connsiteY3" fmla="*/ 6858000 h 6858000"/>
              <a:gd name="connsiteX4" fmla="*/ 4173746 w 6206149"/>
              <a:gd name="connsiteY4" fmla="*/ 3429000 h 6858000"/>
              <a:gd name="connsiteX5" fmla="*/ 5099365 w 6206149"/>
              <a:gd name="connsiteY5" fmla="*/ 3429000 h 6858000"/>
              <a:gd name="connsiteX6" fmla="*/ 3100715 w 6206149"/>
              <a:gd name="connsiteY6" fmla="*/ 6858000 h 6858000"/>
              <a:gd name="connsiteX7" fmla="*/ 2175096 w 6206149"/>
              <a:gd name="connsiteY7" fmla="*/ 6858000 h 6858000"/>
              <a:gd name="connsiteX8" fmla="*/ 5075842 w 6206149"/>
              <a:gd name="connsiteY8" fmla="*/ 0 h 6858000"/>
              <a:gd name="connsiteX9" fmla="*/ 5993394 w 6206149"/>
              <a:gd name="connsiteY9" fmla="*/ 0 h 6858000"/>
              <a:gd name="connsiteX10" fmla="*/ 1976808 w 6206149"/>
              <a:gd name="connsiteY10" fmla="*/ 6858000 h 6858000"/>
              <a:gd name="connsiteX11" fmla="*/ 1059256 w 6206149"/>
              <a:gd name="connsiteY11" fmla="*/ 6858000 h 6858000"/>
              <a:gd name="connsiteX12" fmla="*/ 3931564 w 6206149"/>
              <a:gd name="connsiteY12" fmla="*/ 0 h 6858000"/>
              <a:gd name="connsiteX13" fmla="*/ 4857183 w 6206149"/>
              <a:gd name="connsiteY13" fmla="*/ 0 h 6858000"/>
              <a:gd name="connsiteX14" fmla="*/ 2858533 w 6206149"/>
              <a:gd name="connsiteY14" fmla="*/ 3429000 h 6858000"/>
              <a:gd name="connsiteX15" fmla="*/ 1932914 w 6206149"/>
              <a:gd name="connsiteY15" fmla="*/ 3429000 h 6858000"/>
              <a:gd name="connsiteX16" fmla="*/ 2008640 w 6206149"/>
              <a:gd name="connsiteY16" fmla="*/ 0 h 6858000"/>
              <a:gd name="connsiteX17" fmla="*/ 3684759 w 6206149"/>
              <a:gd name="connsiteY17" fmla="*/ 0 h 6858000"/>
              <a:gd name="connsiteX18" fmla="*/ 1676119 w 6206149"/>
              <a:gd name="connsiteY18" fmla="*/ 3429000 h 6858000"/>
              <a:gd name="connsiteX19" fmla="*/ 0 w 6206149"/>
              <a:gd name="connsiteY19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206149" h="6858000">
                <a:moveTo>
                  <a:pt x="5280530" y="3429000"/>
                </a:moveTo>
                <a:lnTo>
                  <a:pt x="6206149" y="3429000"/>
                </a:lnTo>
                <a:lnTo>
                  <a:pt x="4207499" y="6858000"/>
                </a:lnTo>
                <a:lnTo>
                  <a:pt x="3281880" y="6858000"/>
                </a:lnTo>
                <a:close/>
                <a:moveTo>
                  <a:pt x="4173746" y="3429000"/>
                </a:moveTo>
                <a:lnTo>
                  <a:pt x="5099365" y="3429000"/>
                </a:lnTo>
                <a:lnTo>
                  <a:pt x="3100715" y="6858000"/>
                </a:lnTo>
                <a:lnTo>
                  <a:pt x="2175096" y="6858000"/>
                </a:lnTo>
                <a:close/>
                <a:moveTo>
                  <a:pt x="5075842" y="0"/>
                </a:moveTo>
                <a:lnTo>
                  <a:pt x="5993394" y="0"/>
                </a:lnTo>
                <a:lnTo>
                  <a:pt x="1976808" y="6858000"/>
                </a:lnTo>
                <a:lnTo>
                  <a:pt x="1059256" y="6858000"/>
                </a:lnTo>
                <a:close/>
                <a:moveTo>
                  <a:pt x="3931564" y="0"/>
                </a:moveTo>
                <a:lnTo>
                  <a:pt x="4857183" y="0"/>
                </a:lnTo>
                <a:lnTo>
                  <a:pt x="2858533" y="3429000"/>
                </a:lnTo>
                <a:lnTo>
                  <a:pt x="1932914" y="3429000"/>
                </a:lnTo>
                <a:close/>
                <a:moveTo>
                  <a:pt x="2008640" y="0"/>
                </a:moveTo>
                <a:lnTo>
                  <a:pt x="3684759" y="0"/>
                </a:lnTo>
                <a:lnTo>
                  <a:pt x="1676119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9" tIns="34289" rIns="68579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08" indent="0">
              <a:buNone/>
              <a:defRPr sz="2100"/>
            </a:lvl2pPr>
            <a:lvl3pPr marL="685818" indent="0">
              <a:buNone/>
              <a:defRPr sz="1800"/>
            </a:lvl3pPr>
            <a:lvl4pPr marL="1028726" indent="0">
              <a:buNone/>
              <a:defRPr sz="1500"/>
            </a:lvl4pPr>
            <a:lvl5pPr marL="1371634" indent="0">
              <a:buNone/>
              <a:defRPr sz="1500"/>
            </a:lvl5pPr>
            <a:lvl6pPr marL="1714544" indent="0">
              <a:buNone/>
              <a:defRPr sz="1500"/>
            </a:lvl6pPr>
            <a:lvl7pPr marL="2057452" indent="0">
              <a:buNone/>
              <a:defRPr sz="1500"/>
            </a:lvl7pPr>
            <a:lvl8pPr marL="2400360" indent="0">
              <a:buNone/>
              <a:defRPr sz="1500"/>
            </a:lvl8pPr>
            <a:lvl9pPr marL="2743268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89598110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110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565A5C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7694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565A5C">
              <a:alpha val="60000"/>
            </a:srgb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0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781428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75960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2C341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14300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6930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83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250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37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8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8986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063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="" xmlns:a16="http://schemas.microsoft.com/office/drawing/2014/main" id="{14A4DE16-E6D8-44AB-9BB0-26000D522B6F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1060452" y="755687"/>
            <a:ext cx="3204011" cy="3632128"/>
          </a:xfrm>
          <a:custGeom>
            <a:avLst/>
            <a:gdLst>
              <a:gd name="connsiteX0" fmla="*/ 2353734 w 4272015"/>
              <a:gd name="connsiteY0" fmla="*/ 0 h 4842837"/>
              <a:gd name="connsiteX1" fmla="*/ 3850928 w 4272015"/>
              <a:gd name="connsiteY1" fmla="*/ 537479 h 4842837"/>
              <a:gd name="connsiteX2" fmla="*/ 3857149 w 4272015"/>
              <a:gd name="connsiteY2" fmla="*/ 543133 h 4842837"/>
              <a:gd name="connsiteX3" fmla="*/ 3591153 w 4272015"/>
              <a:gd name="connsiteY3" fmla="*/ 834148 h 4842837"/>
              <a:gd name="connsiteX4" fmla="*/ 3734536 w 4272015"/>
              <a:gd name="connsiteY4" fmla="*/ 991910 h 4842837"/>
              <a:gd name="connsiteX5" fmla="*/ 4272015 w 4272015"/>
              <a:gd name="connsiteY5" fmla="*/ 2489103 h 4842837"/>
              <a:gd name="connsiteX6" fmla="*/ 1918281 w 4272015"/>
              <a:gd name="connsiteY6" fmla="*/ 4842837 h 4842837"/>
              <a:gd name="connsiteX7" fmla="*/ 421087 w 4272015"/>
              <a:gd name="connsiteY7" fmla="*/ 4305358 h 4842837"/>
              <a:gd name="connsiteX8" fmla="*/ 414866 w 4272015"/>
              <a:gd name="connsiteY8" fmla="*/ 4299704 h 4842837"/>
              <a:gd name="connsiteX9" fmla="*/ 680863 w 4272015"/>
              <a:gd name="connsiteY9" fmla="*/ 4008689 h 4842837"/>
              <a:gd name="connsiteX10" fmla="*/ 537479 w 4272015"/>
              <a:gd name="connsiteY10" fmla="*/ 3850927 h 4842837"/>
              <a:gd name="connsiteX11" fmla="*/ 0 w 4272015"/>
              <a:gd name="connsiteY11" fmla="*/ 2353734 h 4842837"/>
              <a:gd name="connsiteX12" fmla="*/ 2353734 w 4272015"/>
              <a:gd name="connsiteY12" fmla="*/ 0 h 4842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272015" h="4842837">
                <a:moveTo>
                  <a:pt x="2353734" y="0"/>
                </a:moveTo>
                <a:cubicBezTo>
                  <a:pt x="2922454" y="0"/>
                  <a:pt x="3444064" y="201705"/>
                  <a:pt x="3850928" y="537479"/>
                </a:cubicBezTo>
                <a:lnTo>
                  <a:pt x="3857149" y="543133"/>
                </a:lnTo>
                <a:lnTo>
                  <a:pt x="3591153" y="834148"/>
                </a:lnTo>
                <a:lnTo>
                  <a:pt x="3734536" y="991910"/>
                </a:lnTo>
                <a:cubicBezTo>
                  <a:pt x="4070310" y="1398774"/>
                  <a:pt x="4272015" y="1920383"/>
                  <a:pt x="4272015" y="2489103"/>
                </a:cubicBezTo>
                <a:cubicBezTo>
                  <a:pt x="4272015" y="3789034"/>
                  <a:pt x="3218212" y="4842837"/>
                  <a:pt x="1918281" y="4842837"/>
                </a:cubicBezTo>
                <a:cubicBezTo>
                  <a:pt x="1349561" y="4842837"/>
                  <a:pt x="827951" y="4641132"/>
                  <a:pt x="421087" y="4305358"/>
                </a:cubicBezTo>
                <a:lnTo>
                  <a:pt x="414866" y="4299704"/>
                </a:lnTo>
                <a:lnTo>
                  <a:pt x="680863" y="4008689"/>
                </a:lnTo>
                <a:lnTo>
                  <a:pt x="537479" y="3850927"/>
                </a:lnTo>
                <a:cubicBezTo>
                  <a:pt x="201705" y="3444063"/>
                  <a:pt x="0" y="2922454"/>
                  <a:pt x="0" y="2353734"/>
                </a:cubicBezTo>
                <a:cubicBezTo>
                  <a:pt x="0" y="1053803"/>
                  <a:pt x="1053803" y="0"/>
                  <a:pt x="235373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9" tIns="34289" rIns="68579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08" indent="0">
              <a:buNone/>
              <a:defRPr sz="2100"/>
            </a:lvl2pPr>
            <a:lvl3pPr marL="685818" indent="0">
              <a:buNone/>
              <a:defRPr sz="1800"/>
            </a:lvl3pPr>
            <a:lvl4pPr marL="1028726" indent="0">
              <a:buNone/>
              <a:defRPr sz="1500"/>
            </a:lvl4pPr>
            <a:lvl5pPr marL="1371634" indent="0">
              <a:buNone/>
              <a:defRPr sz="1500"/>
            </a:lvl5pPr>
            <a:lvl6pPr marL="1714544" indent="0">
              <a:buNone/>
              <a:defRPr sz="1500"/>
            </a:lvl6pPr>
            <a:lvl7pPr marL="2057452" indent="0">
              <a:buNone/>
              <a:defRPr sz="1500"/>
            </a:lvl7pPr>
            <a:lvl8pPr marL="2400360" indent="0">
              <a:buNone/>
              <a:defRPr sz="1500"/>
            </a:lvl8pPr>
            <a:lvl9pPr marL="2743268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48894558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784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634535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973415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solidFill>
              <a:srgbClr val="56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98111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986437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2C341"/>
                </a:solidFill>
              </a:rPr>
              <a:t>?</a:t>
            </a:r>
            <a:endParaRPr lang="en-US" sz="2800" b="0" dirty="0">
              <a:solidFill>
                <a:srgbClr val="82C34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8747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18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3986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yl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388302"/>
      </p:ext>
    </p:extLst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Slide layout"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="" xmlns:a16="http://schemas.microsoft.com/office/drawing/2014/main" id="{AF5DEDB2-78E8-45EC-AB12-C2290127F53E}"/>
              </a:ext>
            </a:extLst>
          </p:cNvPr>
          <p:cNvSpPr/>
          <p:nvPr userDrawn="1"/>
        </p:nvSpPr>
        <p:spPr>
          <a:xfrm rot="18900000">
            <a:off x="2437817" y="-1492038"/>
            <a:ext cx="8127573" cy="8127575"/>
          </a:xfrm>
          <a:custGeom>
            <a:avLst/>
            <a:gdLst>
              <a:gd name="connsiteX0" fmla="*/ 4849337 w 10836764"/>
              <a:gd name="connsiteY0" fmla="*/ 0 h 10836766"/>
              <a:gd name="connsiteX1" fmla="*/ 10836764 w 10836764"/>
              <a:gd name="connsiteY1" fmla="*/ 5987428 h 10836766"/>
              <a:gd name="connsiteX2" fmla="*/ 5987426 w 10836764"/>
              <a:gd name="connsiteY2" fmla="*/ 10836766 h 10836766"/>
              <a:gd name="connsiteX3" fmla="*/ 1 w 10836764"/>
              <a:gd name="connsiteY3" fmla="*/ 4849340 h 10836766"/>
              <a:gd name="connsiteX4" fmla="*/ 0 w 10836764"/>
              <a:gd name="connsiteY4" fmla="*/ 1529113 h 10836766"/>
              <a:gd name="connsiteX5" fmla="*/ 1529113 w 10836764"/>
              <a:gd name="connsiteY5" fmla="*/ 0 h 10836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36764" h="10836766">
                <a:moveTo>
                  <a:pt x="4849337" y="0"/>
                </a:moveTo>
                <a:lnTo>
                  <a:pt x="10836764" y="5987428"/>
                </a:lnTo>
                <a:lnTo>
                  <a:pt x="5987426" y="10836766"/>
                </a:lnTo>
                <a:lnTo>
                  <a:pt x="1" y="4849340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89000">
                <a:schemeClr val="accent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E769B23C-815D-4713-8F2F-BE8E52CBCEEB}"/>
              </a:ext>
            </a:extLst>
          </p:cNvPr>
          <p:cNvSpPr/>
          <p:nvPr userDrawn="1"/>
        </p:nvSpPr>
        <p:spPr>
          <a:xfrm rot="18900000">
            <a:off x="8517299" y="1426573"/>
            <a:ext cx="2330225" cy="2330225"/>
          </a:xfrm>
          <a:custGeom>
            <a:avLst/>
            <a:gdLst>
              <a:gd name="connsiteX0" fmla="*/ 3106966 w 3106966"/>
              <a:gd name="connsiteY0" fmla="*/ 0 h 3106966"/>
              <a:gd name="connsiteX1" fmla="*/ 1 w 3106966"/>
              <a:gd name="connsiteY1" fmla="*/ 3106966 h 3106966"/>
              <a:gd name="connsiteX2" fmla="*/ 0 w 3106966"/>
              <a:gd name="connsiteY2" fmla="*/ 1529113 h 3106966"/>
              <a:gd name="connsiteX3" fmla="*/ 1529113 w 3106966"/>
              <a:gd name="connsiteY3" fmla="*/ 0 h 3106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6966" h="3106966">
                <a:moveTo>
                  <a:pt x="3106966" y="0"/>
                </a:moveTo>
                <a:lnTo>
                  <a:pt x="1" y="3106966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17439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>
            <a:extLst>
              <a:ext uri="{FF2B5EF4-FFF2-40B4-BE49-F238E27FC236}">
                <a16:creationId xmlns="" xmlns:a16="http://schemas.microsoft.com/office/drawing/2014/main" id="{B3CA5F7E-D45F-4887-AF9C-BB7E27A9C9CE}"/>
              </a:ext>
            </a:extLst>
          </p:cNvPr>
          <p:cNvSpPr/>
          <p:nvPr userDrawn="1"/>
        </p:nvSpPr>
        <p:spPr>
          <a:xfrm>
            <a:off x="5421090" y="1407112"/>
            <a:ext cx="3240000" cy="32400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ko-KR" altLang="en-US" sz="1400">
              <a:solidFill>
                <a:prstClr val="white"/>
              </a:solidFill>
            </a:endParaRPr>
          </a:p>
        </p:txBody>
      </p:sp>
      <p:sp>
        <p:nvSpPr>
          <p:cNvPr id="2" name="그림 개체 틀 5">
            <a:extLst>
              <a:ext uri="{FF2B5EF4-FFF2-40B4-BE49-F238E27FC236}">
                <a16:creationId xmlns="" xmlns:a16="http://schemas.microsoft.com/office/drawing/2014/main" id="{1C677DB5-A9F3-459B-9D51-37160E08512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93016" y="547007"/>
            <a:ext cx="3736584" cy="373658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lIns="68579" tIns="34289" rIns="68579" bIns="34289" anchor="ctr">
            <a:noAutofit/>
          </a:bodyPr>
          <a:lstStyle>
            <a:lvl1pPr marL="0" marR="0" indent="0" algn="ctr" defTabSz="685783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7062201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3630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4">
            <a:extLst>
              <a:ext uri="{FF2B5EF4-FFF2-40B4-BE49-F238E27FC236}">
                <a16:creationId xmlns="" xmlns:a16="http://schemas.microsoft.com/office/drawing/2014/main" id="{C3CDBC2D-C9C0-4D36-A0F9-7EDE3B294276}"/>
              </a:ext>
            </a:extLst>
          </p:cNvPr>
          <p:cNvSpPr/>
          <p:nvPr userDrawn="1"/>
        </p:nvSpPr>
        <p:spPr>
          <a:xfrm>
            <a:off x="2659899" y="453912"/>
            <a:ext cx="5804833" cy="42406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694249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763651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2833053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6" name="Rectangle 48">
            <a:extLst>
              <a:ext uri="{FF2B5EF4-FFF2-40B4-BE49-F238E27FC236}">
                <a16:creationId xmlns="" xmlns:a16="http://schemas.microsoft.com/office/drawing/2014/main" id="{7877AA66-AAFD-429C-B217-380BEF1ADDE2}"/>
              </a:ext>
            </a:extLst>
          </p:cNvPr>
          <p:cNvSpPr/>
          <p:nvPr userDrawn="1"/>
        </p:nvSpPr>
        <p:spPr>
          <a:xfrm>
            <a:off x="2833053" y="2743256"/>
            <a:ext cx="1620000" cy="48600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="" xmlns:a16="http://schemas.microsoft.com/office/drawing/2014/main" id="{852C85C1-7D9E-4F23-85EA-6A451FF0BEF6}"/>
              </a:ext>
            </a:extLst>
          </p:cNvPr>
          <p:cNvSpPr/>
          <p:nvPr userDrawn="1"/>
        </p:nvSpPr>
        <p:spPr>
          <a:xfrm>
            <a:off x="4763651" y="2735528"/>
            <a:ext cx="1620000" cy="486000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9" name="Rectangle 20">
            <a:extLst>
              <a:ext uri="{FF2B5EF4-FFF2-40B4-BE49-F238E27FC236}">
                <a16:creationId xmlns="" xmlns:a16="http://schemas.microsoft.com/office/drawing/2014/main" id="{E05C1512-E9F1-4355-8FF9-6A6F0DFFCB7B}"/>
              </a:ext>
            </a:extLst>
          </p:cNvPr>
          <p:cNvSpPr/>
          <p:nvPr userDrawn="1"/>
        </p:nvSpPr>
        <p:spPr>
          <a:xfrm>
            <a:off x="6694249" y="2743256"/>
            <a:ext cx="1620000" cy="48600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21745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="" xmlns:a16="http://schemas.microsoft.com/office/drawing/2014/main" id="{2760AC20-0645-4AE6-BC4F-285B18B690B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834742" y="1378743"/>
            <a:ext cx="6309259" cy="3050383"/>
          </a:xfrm>
          <a:custGeom>
            <a:avLst/>
            <a:gdLst>
              <a:gd name="connsiteX0" fmla="*/ 0 w 8412345"/>
              <a:gd name="connsiteY0" fmla="*/ 0 h 4067177"/>
              <a:gd name="connsiteX1" fmla="*/ 8412345 w 8412345"/>
              <a:gd name="connsiteY1" fmla="*/ 0 h 4067177"/>
              <a:gd name="connsiteX2" fmla="*/ 8412345 w 8412345"/>
              <a:gd name="connsiteY2" fmla="*/ 4067177 h 4067177"/>
              <a:gd name="connsiteX3" fmla="*/ 1452936 w 8412345"/>
              <a:gd name="connsiteY3" fmla="*/ 4067177 h 4067177"/>
              <a:gd name="connsiteX4" fmla="*/ 1340647 w 8412345"/>
              <a:gd name="connsiteY4" fmla="*/ 3752847 h 4067177"/>
              <a:gd name="connsiteX5" fmla="*/ 8412344 w 8412345"/>
              <a:gd name="connsiteY5" fmla="*/ 3752847 h 4067177"/>
              <a:gd name="connsiteX6" fmla="*/ 8412344 w 8412345"/>
              <a:gd name="connsiteY6" fmla="*/ 3524256 h 4067177"/>
              <a:gd name="connsiteX7" fmla="*/ 1258986 w 8412345"/>
              <a:gd name="connsiteY7" fmla="*/ 3524256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12345" h="4067177">
                <a:moveTo>
                  <a:pt x="0" y="0"/>
                </a:moveTo>
                <a:lnTo>
                  <a:pt x="8412345" y="0"/>
                </a:lnTo>
                <a:lnTo>
                  <a:pt x="8412345" y="4067177"/>
                </a:lnTo>
                <a:lnTo>
                  <a:pt x="1452936" y="4067177"/>
                </a:lnTo>
                <a:lnTo>
                  <a:pt x="1340647" y="3752847"/>
                </a:lnTo>
                <a:lnTo>
                  <a:pt x="8412344" y="3752847"/>
                </a:lnTo>
                <a:lnTo>
                  <a:pt x="8412344" y="3524256"/>
                </a:lnTo>
                <a:lnTo>
                  <a:pt x="1258986" y="3524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="" xmlns:a16="http://schemas.microsoft.com/office/drawing/2014/main" id="{DF0D5D85-25EF-40C1-9119-2AE98DC382AC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964406"/>
            <a:ext cx="3324186" cy="3050383"/>
          </a:xfrm>
          <a:custGeom>
            <a:avLst/>
            <a:gdLst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904875 w 4432248"/>
              <a:gd name="connsiteY2" fmla="*/ 0 h 4067177"/>
              <a:gd name="connsiteX3" fmla="*/ 2979312 w 4432248"/>
              <a:gd name="connsiteY3" fmla="*/ 0 h 4067177"/>
              <a:gd name="connsiteX4" fmla="*/ 4432248 w 4432248"/>
              <a:gd name="connsiteY4" fmla="*/ 4067177 h 4067177"/>
              <a:gd name="connsiteX5" fmla="*/ 571500 w 4432248"/>
              <a:gd name="connsiteY5" fmla="*/ 4067177 h 4067177"/>
              <a:gd name="connsiteX6" fmla="*/ 571500 w 4432248"/>
              <a:gd name="connsiteY6" fmla="*/ 4067175 h 4067177"/>
              <a:gd name="connsiteX7" fmla="*/ 0 w 4432248"/>
              <a:gd name="connsiteY7" fmla="*/ 4067175 h 4067177"/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2979312 w 4432248"/>
              <a:gd name="connsiteY2" fmla="*/ 0 h 4067177"/>
              <a:gd name="connsiteX3" fmla="*/ 4432248 w 4432248"/>
              <a:gd name="connsiteY3" fmla="*/ 4067177 h 4067177"/>
              <a:gd name="connsiteX4" fmla="*/ 571500 w 4432248"/>
              <a:gd name="connsiteY4" fmla="*/ 4067177 h 4067177"/>
              <a:gd name="connsiteX5" fmla="*/ 571500 w 4432248"/>
              <a:gd name="connsiteY5" fmla="*/ 4067175 h 4067177"/>
              <a:gd name="connsiteX6" fmla="*/ 0 w 4432248"/>
              <a:gd name="connsiteY6" fmla="*/ 4067175 h 4067177"/>
              <a:gd name="connsiteX7" fmla="*/ 0 w 4432248"/>
              <a:gd name="connsiteY7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571500 w 4432248"/>
              <a:gd name="connsiteY4" fmla="*/ 4067175 h 4067177"/>
              <a:gd name="connsiteX5" fmla="*/ 0 w 4432248"/>
              <a:gd name="connsiteY5" fmla="*/ 4067175 h 4067177"/>
              <a:gd name="connsiteX6" fmla="*/ 0 w 4432248"/>
              <a:gd name="connsiteY6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0 w 4432248"/>
              <a:gd name="connsiteY4" fmla="*/ 4067175 h 4067177"/>
              <a:gd name="connsiteX5" fmla="*/ 0 w 4432248"/>
              <a:gd name="connsiteY5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0 w 4432248"/>
              <a:gd name="connsiteY3" fmla="*/ 4067175 h 4067177"/>
              <a:gd name="connsiteX4" fmla="*/ 0 w 4432248"/>
              <a:gd name="connsiteY4" fmla="*/ 0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2248" h="4067177">
                <a:moveTo>
                  <a:pt x="0" y="0"/>
                </a:moveTo>
                <a:lnTo>
                  <a:pt x="2979312" y="0"/>
                </a:lnTo>
                <a:lnTo>
                  <a:pt x="4432248" y="4067177"/>
                </a:lnTo>
                <a:lnTo>
                  <a:pt x="0" y="406717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5659652"/>
      </p:ext>
    </p:extLst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15114" y="3851952"/>
            <a:ext cx="8457515" cy="434579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437129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8719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7CB68201-6AEB-4BFE-B92F-F7D14A3CB566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5366888" cy="5143500"/>
          </a:xfrm>
          <a:custGeom>
            <a:avLst/>
            <a:gdLst>
              <a:gd name="connsiteX0" fmla="*/ 0 w 7155850"/>
              <a:gd name="connsiteY0" fmla="*/ 3024930 h 6858000"/>
              <a:gd name="connsiteX1" fmla="*/ 2358530 w 7155850"/>
              <a:gd name="connsiteY1" fmla="*/ 6858000 h 6858000"/>
              <a:gd name="connsiteX2" fmla="*/ 1329860 w 7155850"/>
              <a:gd name="connsiteY2" fmla="*/ 6858000 h 6858000"/>
              <a:gd name="connsiteX3" fmla="*/ 0 w 7155850"/>
              <a:gd name="connsiteY3" fmla="*/ 4691859 h 6858000"/>
              <a:gd name="connsiteX4" fmla="*/ 1 w 7155850"/>
              <a:gd name="connsiteY4" fmla="*/ 397145 h 6858000"/>
              <a:gd name="connsiteX5" fmla="*/ 3459898 w 7155850"/>
              <a:gd name="connsiteY5" fmla="*/ 6020152 h 6858000"/>
              <a:gd name="connsiteX6" fmla="*/ 2945517 w 7155850"/>
              <a:gd name="connsiteY6" fmla="*/ 6858000 h 6858000"/>
              <a:gd name="connsiteX7" fmla="*/ 1 w 7155850"/>
              <a:gd name="connsiteY7" fmla="*/ 2060197 h 6858000"/>
              <a:gd name="connsiteX8" fmla="*/ 396861 w 7155850"/>
              <a:gd name="connsiteY8" fmla="*/ 0 h 6858000"/>
              <a:gd name="connsiteX9" fmla="*/ 7155850 w 7155850"/>
              <a:gd name="connsiteY9" fmla="*/ 0 h 6858000"/>
              <a:gd name="connsiteX10" fmla="*/ 3780151 w 7155850"/>
              <a:gd name="connsiteY10" fmla="*/ 54985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55850" h="6858000">
                <a:moveTo>
                  <a:pt x="0" y="3024930"/>
                </a:moveTo>
                <a:lnTo>
                  <a:pt x="2358530" y="6858000"/>
                </a:lnTo>
                <a:lnTo>
                  <a:pt x="1329860" y="6858000"/>
                </a:lnTo>
                <a:lnTo>
                  <a:pt x="0" y="4691859"/>
                </a:lnTo>
                <a:close/>
                <a:moveTo>
                  <a:pt x="1" y="397145"/>
                </a:moveTo>
                <a:lnTo>
                  <a:pt x="3459898" y="6020152"/>
                </a:lnTo>
                <a:lnTo>
                  <a:pt x="2945517" y="6858000"/>
                </a:lnTo>
                <a:lnTo>
                  <a:pt x="1" y="2060197"/>
                </a:lnTo>
                <a:close/>
                <a:moveTo>
                  <a:pt x="396861" y="0"/>
                </a:moveTo>
                <a:lnTo>
                  <a:pt x="7155850" y="0"/>
                </a:lnTo>
                <a:lnTo>
                  <a:pt x="3780151" y="54985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7" tIns="34289" rIns="68577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899" indent="0">
              <a:buNone/>
              <a:defRPr sz="2100"/>
            </a:lvl2pPr>
            <a:lvl3pPr marL="685801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2" indent="0">
              <a:buNone/>
              <a:defRPr sz="1500"/>
            </a:lvl6pPr>
            <a:lvl7pPr marL="2057401" indent="0">
              <a:buNone/>
              <a:defRPr sz="1500"/>
            </a:lvl7pPr>
            <a:lvl8pPr marL="2400300" indent="0">
              <a:buNone/>
              <a:defRPr sz="1500"/>
            </a:lvl8pPr>
            <a:lvl9pPr marL="2743199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27612282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947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5" y="1501752"/>
            <a:ext cx="8450164" cy="297014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8460824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98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an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5383941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4" y="1656523"/>
            <a:ext cx="5383941" cy="281537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5385542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5980042" y="-1"/>
            <a:ext cx="3163957" cy="4819487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289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B, partial image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182880" tIns="502920" rIns="182880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85763" y="2308225"/>
            <a:ext cx="8494712" cy="397115"/>
          </a:xfrm>
        </p:spPr>
        <p:txBody>
          <a:bodyPr/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211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28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26906" y="-31988"/>
            <a:ext cx="4211157" cy="5175489"/>
          </a:xfrm>
          <a:custGeom>
            <a:avLst/>
            <a:gdLst>
              <a:gd name="connsiteX0" fmla="*/ 0 w 4181475"/>
              <a:gd name="connsiteY0" fmla="*/ 0 h 6905625"/>
              <a:gd name="connsiteX1" fmla="*/ 4181475 w 4181475"/>
              <a:gd name="connsiteY1" fmla="*/ 9525 h 6905625"/>
              <a:gd name="connsiteX2" fmla="*/ 1000125 w 4181475"/>
              <a:gd name="connsiteY2" fmla="*/ 6877050 h 6905625"/>
              <a:gd name="connsiteX3" fmla="*/ 38100 w 4181475"/>
              <a:gd name="connsiteY3" fmla="*/ 6905625 h 6905625"/>
              <a:gd name="connsiteX4" fmla="*/ 0 w 4181475"/>
              <a:gd name="connsiteY4" fmla="*/ 0 h 6905625"/>
              <a:gd name="connsiteX0" fmla="*/ 125 w 4143375"/>
              <a:gd name="connsiteY0" fmla="*/ 0 h 6915198"/>
              <a:gd name="connsiteX1" fmla="*/ 4143375 w 4143375"/>
              <a:gd name="connsiteY1" fmla="*/ 19098 h 6915198"/>
              <a:gd name="connsiteX2" fmla="*/ 962025 w 4143375"/>
              <a:gd name="connsiteY2" fmla="*/ 6886623 h 6915198"/>
              <a:gd name="connsiteX3" fmla="*/ 0 w 4143375"/>
              <a:gd name="connsiteY3" fmla="*/ 6915198 h 6915198"/>
              <a:gd name="connsiteX4" fmla="*/ 125 w 4143375"/>
              <a:gd name="connsiteY4" fmla="*/ 0 h 6915198"/>
              <a:gd name="connsiteX0" fmla="*/ 125 w 4143375"/>
              <a:gd name="connsiteY0" fmla="*/ 0 h 6915198"/>
              <a:gd name="connsiteX1" fmla="*/ 4143375 w 4143375"/>
              <a:gd name="connsiteY1" fmla="*/ 19098 h 6915198"/>
              <a:gd name="connsiteX2" fmla="*/ 990694 w 4143375"/>
              <a:gd name="connsiteY2" fmla="*/ 6905770 h 6915198"/>
              <a:gd name="connsiteX3" fmla="*/ 0 w 4143375"/>
              <a:gd name="connsiteY3" fmla="*/ 6915198 h 6915198"/>
              <a:gd name="connsiteX4" fmla="*/ 125 w 4143375"/>
              <a:gd name="connsiteY4" fmla="*/ 0 h 6915198"/>
              <a:gd name="connsiteX0" fmla="*/ 125 w 4191156"/>
              <a:gd name="connsiteY0" fmla="*/ 28768 h 6943966"/>
              <a:gd name="connsiteX1" fmla="*/ 4191156 w 4191156"/>
              <a:gd name="connsiteY1" fmla="*/ 0 h 6943966"/>
              <a:gd name="connsiteX2" fmla="*/ 990694 w 4191156"/>
              <a:gd name="connsiteY2" fmla="*/ 6934538 h 6943966"/>
              <a:gd name="connsiteX3" fmla="*/ 0 w 4191156"/>
              <a:gd name="connsiteY3" fmla="*/ 6943966 h 6943966"/>
              <a:gd name="connsiteX4" fmla="*/ 125 w 4191156"/>
              <a:gd name="connsiteY4" fmla="*/ 28768 h 6943966"/>
              <a:gd name="connsiteX0" fmla="*/ 125 w 4191156"/>
              <a:gd name="connsiteY0" fmla="*/ 28768 h 6943966"/>
              <a:gd name="connsiteX1" fmla="*/ 4191156 w 4191156"/>
              <a:gd name="connsiteY1" fmla="*/ 0 h 6943966"/>
              <a:gd name="connsiteX2" fmla="*/ 1028919 w 4191156"/>
              <a:gd name="connsiteY2" fmla="*/ 6924966 h 6943966"/>
              <a:gd name="connsiteX3" fmla="*/ 0 w 4191156"/>
              <a:gd name="connsiteY3" fmla="*/ 6943966 h 6943966"/>
              <a:gd name="connsiteX4" fmla="*/ 125 w 4191156"/>
              <a:gd name="connsiteY4" fmla="*/ 28768 h 6943966"/>
              <a:gd name="connsiteX0" fmla="*/ 125 w 4213174"/>
              <a:gd name="connsiteY0" fmla="*/ 0 h 6915198"/>
              <a:gd name="connsiteX1" fmla="*/ 4213174 w 4213174"/>
              <a:gd name="connsiteY1" fmla="*/ 7993 h 6915198"/>
              <a:gd name="connsiteX2" fmla="*/ 1028919 w 4213174"/>
              <a:gd name="connsiteY2" fmla="*/ 6896198 h 6915198"/>
              <a:gd name="connsiteX3" fmla="*/ 0 w 4213174"/>
              <a:gd name="connsiteY3" fmla="*/ 6915198 h 6915198"/>
              <a:gd name="connsiteX4" fmla="*/ 125 w 4213174"/>
              <a:gd name="connsiteY4" fmla="*/ 0 h 6915198"/>
              <a:gd name="connsiteX0" fmla="*/ 125 w 4191156"/>
              <a:gd name="connsiteY0" fmla="*/ 0 h 6915198"/>
              <a:gd name="connsiteX1" fmla="*/ 4191156 w 4191156"/>
              <a:gd name="connsiteY1" fmla="*/ 640 h 6915198"/>
              <a:gd name="connsiteX2" fmla="*/ 1028919 w 4191156"/>
              <a:gd name="connsiteY2" fmla="*/ 6896198 h 6915198"/>
              <a:gd name="connsiteX3" fmla="*/ 0 w 4191156"/>
              <a:gd name="connsiteY3" fmla="*/ 6915198 h 6915198"/>
              <a:gd name="connsiteX4" fmla="*/ 125 w 4191156"/>
              <a:gd name="connsiteY4" fmla="*/ 0 h 6915198"/>
              <a:gd name="connsiteX0" fmla="*/ 125 w 4212595"/>
              <a:gd name="connsiteY0" fmla="*/ 0 h 6915198"/>
              <a:gd name="connsiteX1" fmla="*/ 4212595 w 4212595"/>
              <a:gd name="connsiteY1" fmla="*/ 38821 h 6915198"/>
              <a:gd name="connsiteX2" fmla="*/ 1028919 w 4212595"/>
              <a:gd name="connsiteY2" fmla="*/ 6896198 h 6915198"/>
              <a:gd name="connsiteX3" fmla="*/ 0 w 4212595"/>
              <a:gd name="connsiteY3" fmla="*/ 6915198 h 6915198"/>
              <a:gd name="connsiteX4" fmla="*/ 125 w 4212595"/>
              <a:gd name="connsiteY4" fmla="*/ 0 h 6915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12595" h="6915198">
                <a:moveTo>
                  <a:pt x="125" y="0"/>
                </a:moveTo>
                <a:lnTo>
                  <a:pt x="4212595" y="38821"/>
                </a:lnTo>
                <a:lnTo>
                  <a:pt x="1028919" y="6896198"/>
                </a:lnTo>
                <a:lnTo>
                  <a:pt x="0" y="6915198"/>
                </a:lnTo>
                <a:cubicBezTo>
                  <a:pt x="42" y="4610132"/>
                  <a:pt x="83" y="2305066"/>
                  <a:pt x="125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ko-KR" altLang="en-US" sz="1400" dirty="0">
              <a:solidFill>
                <a:prstClr val="white"/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2015065" y="-11949"/>
            <a:ext cx="2322042" cy="1850243"/>
            <a:chOff x="1827359" y="-19597"/>
            <a:chExt cx="3253206" cy="317333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" name="Freeform 3"/>
            <p:cNvSpPr/>
            <p:nvPr userDrawn="1"/>
          </p:nvSpPr>
          <p:spPr>
            <a:xfrm>
              <a:off x="2727889" y="-19597"/>
              <a:ext cx="2352676" cy="3171824"/>
            </a:xfrm>
            <a:custGeom>
              <a:avLst/>
              <a:gdLst>
                <a:gd name="connsiteX0" fmla="*/ 1447800 w 2352675"/>
                <a:gd name="connsiteY0" fmla="*/ 0 h 3171825"/>
                <a:gd name="connsiteX1" fmla="*/ 2352675 w 2352675"/>
                <a:gd name="connsiteY1" fmla="*/ 0 h 3171825"/>
                <a:gd name="connsiteX2" fmla="*/ 971550 w 2352675"/>
                <a:gd name="connsiteY2" fmla="*/ 3171825 h 3171825"/>
                <a:gd name="connsiteX3" fmla="*/ 0 w 2352675"/>
                <a:gd name="connsiteY3" fmla="*/ 3171825 h 3171825"/>
                <a:gd name="connsiteX4" fmla="*/ 1447800 w 2352675"/>
                <a:gd name="connsiteY4" fmla="*/ 0 h 317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2675" h="3171825">
                  <a:moveTo>
                    <a:pt x="1447800" y="0"/>
                  </a:moveTo>
                  <a:lnTo>
                    <a:pt x="2352675" y="0"/>
                  </a:lnTo>
                  <a:lnTo>
                    <a:pt x="971550" y="3171825"/>
                  </a:lnTo>
                  <a:lnTo>
                    <a:pt x="0" y="3171825"/>
                  </a:lnTo>
                  <a:lnTo>
                    <a:pt x="144780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98"/>
              <a:endParaRPr lang="ko-KR" altLang="en-US" sz="1400">
                <a:solidFill>
                  <a:prstClr val="white"/>
                </a:solidFill>
              </a:endParaRPr>
            </a:p>
          </p:txBody>
        </p:sp>
        <p:sp>
          <p:nvSpPr>
            <p:cNvPr id="66" name="Freeform 65"/>
            <p:cNvSpPr/>
            <p:nvPr userDrawn="1"/>
          </p:nvSpPr>
          <p:spPr>
            <a:xfrm>
              <a:off x="1827359" y="-18083"/>
              <a:ext cx="2352675" cy="3171825"/>
            </a:xfrm>
            <a:custGeom>
              <a:avLst/>
              <a:gdLst>
                <a:gd name="connsiteX0" fmla="*/ 1447800 w 2352675"/>
                <a:gd name="connsiteY0" fmla="*/ 0 h 3171825"/>
                <a:gd name="connsiteX1" fmla="*/ 2352675 w 2352675"/>
                <a:gd name="connsiteY1" fmla="*/ 0 h 3171825"/>
                <a:gd name="connsiteX2" fmla="*/ 971550 w 2352675"/>
                <a:gd name="connsiteY2" fmla="*/ 3171825 h 3171825"/>
                <a:gd name="connsiteX3" fmla="*/ 0 w 2352675"/>
                <a:gd name="connsiteY3" fmla="*/ 3171825 h 3171825"/>
                <a:gd name="connsiteX4" fmla="*/ 1447800 w 2352675"/>
                <a:gd name="connsiteY4" fmla="*/ 0 h 317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2675" h="3171825">
                  <a:moveTo>
                    <a:pt x="1447800" y="0"/>
                  </a:moveTo>
                  <a:lnTo>
                    <a:pt x="2352675" y="0"/>
                  </a:lnTo>
                  <a:lnTo>
                    <a:pt x="971550" y="3171825"/>
                  </a:lnTo>
                  <a:lnTo>
                    <a:pt x="0" y="3171825"/>
                  </a:lnTo>
                  <a:lnTo>
                    <a:pt x="144780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98"/>
              <a:endParaRPr lang="ko-KR" altLang="en-US" sz="1400">
                <a:solidFill>
                  <a:prstClr val="white"/>
                </a:solidFill>
              </a:endParaRPr>
            </a:p>
          </p:txBody>
        </p:sp>
      </p:grpSp>
      <p:grpSp>
        <p:nvGrpSpPr>
          <p:cNvPr id="40" name="Group 57">
            <a:extLst>
              <a:ext uri="{FF2B5EF4-FFF2-40B4-BE49-F238E27FC236}">
                <a16:creationId xmlns="" xmlns:a16="http://schemas.microsoft.com/office/drawing/2014/main" id="{EAB9B68E-0E3B-4BE0-B8F8-151B4F9AA20D}"/>
              </a:ext>
            </a:extLst>
          </p:cNvPr>
          <p:cNvGrpSpPr/>
          <p:nvPr userDrawn="1"/>
        </p:nvGrpSpPr>
        <p:grpSpPr>
          <a:xfrm>
            <a:off x="638098" y="1493734"/>
            <a:ext cx="1595147" cy="2755253"/>
            <a:chOff x="1438761" y="2033015"/>
            <a:chExt cx="1980000" cy="3420000"/>
          </a:xfrm>
        </p:grpSpPr>
        <p:sp>
          <p:nvSpPr>
            <p:cNvPr id="41" name="Rounded Rectangle 58">
              <a:extLst>
                <a:ext uri="{FF2B5EF4-FFF2-40B4-BE49-F238E27FC236}">
                  <a16:creationId xmlns="" xmlns:a16="http://schemas.microsoft.com/office/drawing/2014/main" id="{FDB5674B-8954-45D6-856F-8635A461E0AC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98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44" name="Rectangle 59">
              <a:extLst>
                <a:ext uri="{FF2B5EF4-FFF2-40B4-BE49-F238E27FC236}">
                  <a16:creationId xmlns="" xmlns:a16="http://schemas.microsoft.com/office/drawing/2014/main" id="{232323F7-730B-4115-90EB-2F2AD78DC6BD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98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48" name="Group 60">
              <a:extLst>
                <a:ext uri="{FF2B5EF4-FFF2-40B4-BE49-F238E27FC236}">
                  <a16:creationId xmlns="" xmlns:a16="http://schemas.microsoft.com/office/drawing/2014/main" id="{95EF7343-DE98-475F-9C99-3A196A57B891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49" name="Oval 61">
                <a:extLst>
                  <a:ext uri="{FF2B5EF4-FFF2-40B4-BE49-F238E27FC236}">
                    <a16:creationId xmlns="" xmlns:a16="http://schemas.microsoft.com/office/drawing/2014/main" id="{EAD9F21B-B819-474E-BF4D-5B3F0F9C074D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50" name="Rounded Rectangle 62">
                <a:extLst>
                  <a:ext uri="{FF2B5EF4-FFF2-40B4-BE49-F238E27FC236}">
                    <a16:creationId xmlns="" xmlns:a16="http://schemas.microsoft.com/office/drawing/2014/main" id="{F2404D1F-E10C-4A44-82A1-AF5E7CBB6610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51" name="Group 51">
            <a:extLst>
              <a:ext uri="{FF2B5EF4-FFF2-40B4-BE49-F238E27FC236}">
                <a16:creationId xmlns="" xmlns:a16="http://schemas.microsoft.com/office/drawing/2014/main" id="{029C3365-4C47-476F-BD96-60948EEED497}"/>
              </a:ext>
            </a:extLst>
          </p:cNvPr>
          <p:cNvGrpSpPr/>
          <p:nvPr userDrawn="1"/>
        </p:nvGrpSpPr>
        <p:grpSpPr>
          <a:xfrm>
            <a:off x="2571208" y="1468333"/>
            <a:ext cx="1595147" cy="2755253"/>
            <a:chOff x="1438761" y="2033015"/>
            <a:chExt cx="1980000" cy="3420000"/>
          </a:xfrm>
        </p:grpSpPr>
        <p:sp>
          <p:nvSpPr>
            <p:cNvPr id="64" name="Rounded Rectangle 52">
              <a:extLst>
                <a:ext uri="{FF2B5EF4-FFF2-40B4-BE49-F238E27FC236}">
                  <a16:creationId xmlns="" xmlns:a16="http://schemas.microsoft.com/office/drawing/2014/main" id="{903C2877-5648-4EA2-AAFC-71345F2CC0B8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98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65" name="Rectangle 53">
              <a:extLst>
                <a:ext uri="{FF2B5EF4-FFF2-40B4-BE49-F238E27FC236}">
                  <a16:creationId xmlns="" xmlns:a16="http://schemas.microsoft.com/office/drawing/2014/main" id="{D839E5E7-18B9-45E8-AE00-5146A6801EBA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98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67" name="Group 54">
              <a:extLst>
                <a:ext uri="{FF2B5EF4-FFF2-40B4-BE49-F238E27FC236}">
                  <a16:creationId xmlns="" xmlns:a16="http://schemas.microsoft.com/office/drawing/2014/main" id="{BCF7304E-770A-438E-AF0D-155014D0B1F0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68" name="Oval 55">
                <a:extLst>
                  <a:ext uri="{FF2B5EF4-FFF2-40B4-BE49-F238E27FC236}">
                    <a16:creationId xmlns="" xmlns:a16="http://schemas.microsoft.com/office/drawing/2014/main" id="{5B498A21-13F9-4FD8-BA7A-4CF5B592C91E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69" name="Rounded Rectangle 56">
                <a:extLst>
                  <a:ext uri="{FF2B5EF4-FFF2-40B4-BE49-F238E27FC236}">
                    <a16:creationId xmlns="" xmlns:a16="http://schemas.microsoft.com/office/drawing/2014/main" id="{A6711C24-306E-4C85-8E21-5B5B12708D31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Picture Placeholder 9">
            <a:extLst>
              <a:ext uri="{FF2B5EF4-FFF2-40B4-BE49-F238E27FC236}">
                <a16:creationId xmlns="" xmlns:a16="http://schemas.microsoft.com/office/drawing/2014/main" id="{A9684557-E735-4F99-9200-B752FE63292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67022" y="1680853"/>
            <a:ext cx="795685" cy="21791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79" tIns="34289" rIns="68579" bIns="34289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71" name="Picture Placeholder 9">
            <a:extLst>
              <a:ext uri="{FF2B5EF4-FFF2-40B4-BE49-F238E27FC236}">
                <a16:creationId xmlns="" xmlns:a16="http://schemas.microsoft.com/office/drawing/2014/main" id="{E207400C-59DF-4155-A4E2-8588593E2F7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2133" y="1717525"/>
            <a:ext cx="815282" cy="21791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79" tIns="34289" rIns="68579" bIns="34289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grpSp>
        <p:nvGrpSpPr>
          <p:cNvPr id="72" name="Group 5">
            <a:extLst>
              <a:ext uri="{FF2B5EF4-FFF2-40B4-BE49-F238E27FC236}">
                <a16:creationId xmlns="" xmlns:a16="http://schemas.microsoft.com/office/drawing/2014/main" id="{6E65A757-CCD5-48A1-8DD3-F86E193ABBCE}"/>
              </a:ext>
            </a:extLst>
          </p:cNvPr>
          <p:cNvGrpSpPr/>
          <p:nvPr userDrawn="1"/>
        </p:nvGrpSpPr>
        <p:grpSpPr>
          <a:xfrm>
            <a:off x="1558339" y="1364963"/>
            <a:ext cx="1728217" cy="2985103"/>
            <a:chOff x="1438761" y="2033015"/>
            <a:chExt cx="1980000" cy="3420000"/>
          </a:xfrm>
        </p:grpSpPr>
        <p:sp>
          <p:nvSpPr>
            <p:cNvPr id="73" name="Rounded Rectangle 41">
              <a:extLst>
                <a:ext uri="{FF2B5EF4-FFF2-40B4-BE49-F238E27FC236}">
                  <a16:creationId xmlns="" xmlns:a16="http://schemas.microsoft.com/office/drawing/2014/main" id="{7DF5FFA1-E879-4ECA-9B4C-31AAE46B98D6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98"/>
              <a:endParaRPr lang="ko-KR" altLang="en-US" sz="2000">
                <a:solidFill>
                  <a:prstClr val="white"/>
                </a:solidFill>
              </a:endParaRPr>
            </a:p>
          </p:txBody>
        </p:sp>
        <p:sp>
          <p:nvSpPr>
            <p:cNvPr id="74" name="Rectangle 42">
              <a:extLst>
                <a:ext uri="{FF2B5EF4-FFF2-40B4-BE49-F238E27FC236}">
                  <a16:creationId xmlns="" xmlns:a16="http://schemas.microsoft.com/office/drawing/2014/main" id="{085BC32C-E608-44B8-A7A0-89B00F110C46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98"/>
              <a:endParaRPr lang="ko-KR" altLang="en-US" sz="2000">
                <a:solidFill>
                  <a:prstClr val="white"/>
                </a:solidFill>
              </a:endParaRPr>
            </a:p>
          </p:txBody>
        </p:sp>
        <p:grpSp>
          <p:nvGrpSpPr>
            <p:cNvPr id="75" name="Group 6">
              <a:extLst>
                <a:ext uri="{FF2B5EF4-FFF2-40B4-BE49-F238E27FC236}">
                  <a16:creationId xmlns="" xmlns:a16="http://schemas.microsoft.com/office/drawing/2014/main" id="{56422AC3-6C41-4DC1-BFCF-E1FB16737474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76" name="Oval 44">
                <a:extLst>
                  <a:ext uri="{FF2B5EF4-FFF2-40B4-BE49-F238E27FC236}">
                    <a16:creationId xmlns="" xmlns:a16="http://schemas.microsoft.com/office/drawing/2014/main" id="{2EC257C4-0911-426B-A877-20FB5F821CDD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Rounded Rectangle 45">
                <a:extLst>
                  <a:ext uri="{FF2B5EF4-FFF2-40B4-BE49-F238E27FC236}">
                    <a16:creationId xmlns="" xmlns:a16="http://schemas.microsoft.com/office/drawing/2014/main" id="{8E296D12-D65E-431F-A0FB-A693E4FA6848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98"/>
                <a:endParaRPr lang="ko-KR" altLang="en-US" sz="20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8" name="Picture Placeholder 9">
            <a:extLst>
              <a:ext uri="{FF2B5EF4-FFF2-40B4-BE49-F238E27FC236}">
                <a16:creationId xmlns="" xmlns:a16="http://schemas.microsoft.com/office/drawing/2014/main" id="{FBF029D3-590C-4B47-A9C3-7C543074FD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663087" y="1613690"/>
            <a:ext cx="1517540" cy="23566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79" tIns="34289" rIns="68579" bIns="34289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38" name="Text Placeholder 9">
            <a:extLst>
              <a:ext uri="{FF2B5EF4-FFF2-40B4-BE49-F238E27FC236}">
                <a16:creationId xmlns="" xmlns:a16="http://schemas.microsoft.com/office/drawing/2014/main" id="{4D7B1FD0-5E10-43C8-B28F-F43B7DABDC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2648" y="336630"/>
            <a:ext cx="8679898" cy="543185"/>
          </a:xfrm>
          <a:prstGeom prst="rect">
            <a:avLst/>
          </a:prstGeom>
        </p:spPr>
        <p:txBody>
          <a:bodyPr lIns="68579" tIns="34289" rIns="68579" bIns="34289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368018806"/>
      </p:ext>
    </p:extLst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52984"/>
          </a:xfrm>
          <a:prstGeom prst="rect">
            <a:avLst/>
          </a:prstGeom>
        </p:spPr>
      </p:pic>
      <p:pic>
        <p:nvPicPr>
          <p:cNvPr id="16" name="Picture 15" descr="NPD_logo_RGB_Reverse_300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6091" y="3769599"/>
            <a:ext cx="914400" cy="9144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7213" y="1504950"/>
            <a:ext cx="6400800" cy="515541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>
                <a:solidFill>
                  <a:srgbClr val="FFFFFF"/>
                </a:solidFill>
              </a:defRPr>
            </a:lvl1pPr>
            <a:lvl2pPr marL="341313" indent="0">
              <a:buNone/>
              <a:defRPr>
                <a:solidFill>
                  <a:srgbClr val="FFFFFF"/>
                </a:solidFill>
              </a:defRPr>
            </a:lvl2pPr>
            <a:lvl3pPr marL="627062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Subhead of Presentation can go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7213" y="731887"/>
            <a:ext cx="6400800" cy="729763"/>
          </a:xfrm>
        </p:spPr>
        <p:txBody>
          <a:bodyPr wrap="square" lIns="0" tIns="0" rIns="0" bIns="0" anchor="t" anchorCtr="0"/>
          <a:lstStyle>
            <a:lvl1pPr>
              <a:lnSpc>
                <a:spcPct val="80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FFFFFF"/>
                </a:solidFill>
              </a:rPr>
              <a:t>Click To Add Title of Present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557214" y="4369078"/>
            <a:ext cx="279239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Arial" charset="0"/>
                <a:ea typeface="ＭＳ Ｐゴシック" charset="0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prstClr val="white"/>
                </a:solidFill>
                <a:latin typeface="Calibri"/>
              </a:rPr>
              <a:t>Copyright 2019. The NPD Group, Inc. All Rights Reserved. This presentation is </a:t>
            </a:r>
            <a:r>
              <a:rPr lang="en-US" b="1" dirty="0" smtClean="0">
                <a:solidFill>
                  <a:prstClr val="white"/>
                </a:solidFill>
                <a:latin typeface="Calibri"/>
              </a:rPr>
              <a:t>proprietary and confidential</a:t>
            </a:r>
            <a:r>
              <a:rPr lang="en-US" dirty="0" smtClean="0">
                <a:solidFill>
                  <a:prstClr val="white"/>
                </a:solidFill>
                <a:latin typeface="Calibri"/>
              </a:rPr>
              <a:t> and may not be disclosed in any manner, in whole or in part, to any third party without the express written consent of NPD.</a:t>
            </a:r>
            <a:endParaRPr lang="en-US" sz="7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214" y="3933570"/>
            <a:ext cx="2468562" cy="276225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Date (Optional)</a:t>
            </a:r>
          </a:p>
        </p:txBody>
      </p:sp>
    </p:spTree>
    <p:extLst>
      <p:ext uri="{BB962C8B-B14F-4D97-AF65-F5344CB8AC3E}">
        <p14:creationId xmlns:p14="http://schemas.microsoft.com/office/powerpoint/2010/main" val="147229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/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050"/>
            <a:ext cx="9144000" cy="48420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6"/>
          <p:cNvSpPr txBox="1">
            <a:spLocks noChangeArrowheads="1"/>
          </p:cNvSpPr>
          <p:nvPr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1" name="TextBox 4"/>
          <p:cNvSpPr txBox="1">
            <a:spLocks noChangeArrowheads="1"/>
          </p:cNvSpPr>
          <p:nvPr userDrawn="1"/>
        </p:nvSpPr>
        <p:spPr bwMode="auto">
          <a:xfrm>
            <a:off x="7217834" y="433263"/>
            <a:ext cx="1729894" cy="394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spcCol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are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lianc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utomotiv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2B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eaut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ook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Consumer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E-commer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ashion Accessor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 Consumption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servi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twear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Hom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Juvenile Products</a:t>
            </a:r>
          </a:p>
          <a:p>
            <a:pPr eaLnBrk="1" hangingPunct="1">
              <a:spcAft>
                <a:spcPts val="300"/>
              </a:spcAft>
              <a:defRPr/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edia Entertainment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obil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Office Suppl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Sport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oy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ravel 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Video Gam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Watches / Jewelry</a:t>
            </a:r>
          </a:p>
        </p:txBody>
      </p:sp>
    </p:spTree>
    <p:extLst>
      <p:ext uri="{BB962C8B-B14F-4D97-AF65-F5344CB8AC3E}">
        <p14:creationId xmlns:p14="http://schemas.microsoft.com/office/powerpoint/2010/main" val="2224289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09963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Font typeface="+mj-lt"/>
              <a:buAutoNum type="arabicPeriod"/>
              <a:defRPr sz="2800" b="0">
                <a:solidFill>
                  <a:schemeClr val="tx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Click To Create Your 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440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63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6467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0078BE">
              <a:alpha val="60000"/>
            </a:srgbClr>
          </a:solidFill>
        </p:spPr>
        <p:txBody>
          <a:bodyPr lIns="365760" tIns="1371600" rIns="365760" bIns="1371600" anchor="ctr"/>
          <a:lstStyle>
            <a:lvl1pPr algn="ctr">
              <a:lnSpc>
                <a:spcPct val="80000"/>
              </a:lnSpc>
              <a:defRPr sz="5400" b="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635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D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2037644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11480" y="2330527"/>
            <a:ext cx="8321040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 smtClean="0"/>
              <a:t>Transition Slid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23305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2980266"/>
            <a:ext cx="8321040" cy="1491633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spcAft>
                <a:spcPts val="1000"/>
              </a:spcAft>
              <a:defRPr sz="2400"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98478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3635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 baseline="0"/>
            </a:lvl1pPr>
            <a:lvl3pPr>
              <a:defRPr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57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942732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1231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751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42648" y="184044"/>
            <a:ext cx="8679898" cy="543185"/>
          </a:xfrm>
          <a:prstGeom prst="rect">
            <a:avLst/>
          </a:prstGeom>
        </p:spPr>
        <p:txBody>
          <a:bodyPr lIns="68579" tIns="34289" rIns="68579" bIns="34289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4080249224"/>
      </p:ext>
    </p:extLst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none"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2195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512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016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 hasCustomPrompt="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 hasCustomPrompt="1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 hasCustomPrompt="1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 hasCustomPrompt="1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add text</a:t>
            </a:r>
            <a:endParaRPr lang="en-US" dirty="0"/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718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356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885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882586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bg1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FFFFFF"/>
          </a:solidFill>
          <a:ln>
            <a:solidFill>
              <a:srgbClr val="0078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tx2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207232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48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3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96272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841621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Phon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7211501" y="1568584"/>
            <a:ext cx="1340761" cy="240583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5"/>
            <a:ext cx="6244740" cy="265176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E5E2FCC6-9731-48B8-B2A2-39E9FD0F42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3362" y="1073899"/>
            <a:ext cx="1699776" cy="33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037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76449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42648" y="92610"/>
            <a:ext cx="8679898" cy="543185"/>
          </a:xfrm>
          <a:prstGeom prst="rect">
            <a:avLst/>
          </a:prstGeom>
        </p:spPr>
        <p:txBody>
          <a:bodyPr lIns="68579" tIns="34289" rIns="68579" bIns="34289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265509" y="848693"/>
            <a:ext cx="2670575" cy="405192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ko-KR" altLang="en-US" sz="1000">
              <a:solidFill>
                <a:prstClr val="white"/>
              </a:solidFill>
            </a:endParaRPr>
          </a:p>
        </p:txBody>
      </p:sp>
      <p:sp>
        <p:nvSpPr>
          <p:cNvPr id="4" name="Rounded Rectangle 3"/>
          <p:cNvSpPr/>
          <p:nvPr userDrawn="1"/>
        </p:nvSpPr>
        <p:spPr>
          <a:xfrm>
            <a:off x="398951" y="1010625"/>
            <a:ext cx="115401" cy="37614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ko-KR" altLang="en-US" sz="1000">
              <a:solidFill>
                <a:prstClr val="white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2292884" y="957491"/>
            <a:ext cx="514387" cy="513861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698"/>
            <a:endParaRPr lang="ko-KR" altLang="en-US" sz="100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533778" y="1216369"/>
            <a:ext cx="1674186" cy="415497"/>
          </a:xfrm>
          <a:prstGeom prst="rect">
            <a:avLst/>
          </a:prstGeom>
          <a:noFill/>
        </p:spPr>
        <p:txBody>
          <a:bodyPr wrap="square" lIns="68579" tIns="34289" rIns="68579" bIns="34289" rtlCol="0" anchor="ctr">
            <a:spAutoFit/>
          </a:bodyPr>
          <a:lstStyle/>
          <a:p>
            <a:pPr defTabSz="685698"/>
            <a:r>
              <a:rPr lang="en-US" altLang="ko-KR" sz="1100" b="1" dirty="0">
                <a:solidFill>
                  <a:prstClr val="white"/>
                </a:solidFill>
                <a:cs typeface="Arial" pitchFamily="34" charset="0"/>
              </a:rPr>
              <a:t>You can Resize without losing quality</a:t>
            </a:r>
            <a:endParaRPr lang="ko-KR" altLang="en-US" sz="11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533778" y="1578287"/>
            <a:ext cx="1674186" cy="588621"/>
          </a:xfrm>
          <a:prstGeom prst="rect">
            <a:avLst/>
          </a:prstGeom>
          <a:noFill/>
        </p:spPr>
        <p:txBody>
          <a:bodyPr wrap="square" lIns="68579" tIns="34289" rIns="68579" bIns="34289" rtlCol="0" anchor="ctr">
            <a:spAutoFit/>
          </a:bodyPr>
          <a:lstStyle/>
          <a:p>
            <a:pPr defTabSz="685698"/>
            <a:r>
              <a:rPr lang="en-US" altLang="ko-KR" sz="1100" b="1" dirty="0">
                <a:solidFill>
                  <a:prstClr val="white"/>
                </a:solidFill>
                <a:cs typeface="Arial" pitchFamily="34" charset="0"/>
              </a:rPr>
              <a:t>You can Change Fill Color &amp;</a:t>
            </a:r>
          </a:p>
          <a:p>
            <a:pPr defTabSz="685698"/>
            <a:r>
              <a:rPr lang="en-US" altLang="ko-KR" sz="1100" b="1" dirty="0">
                <a:solidFill>
                  <a:prstClr val="white"/>
                </a:solidFill>
                <a:cs typeface="Arial" pitchFamily="34" charset="0"/>
              </a:rPr>
              <a:t>Line Color</a:t>
            </a:r>
            <a:endParaRPr lang="ko-KR" altLang="en-US" sz="11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962A52DF-2523-4479-BFA3-B5ACE9887E1C}"/>
              </a:ext>
            </a:extLst>
          </p:cNvPr>
          <p:cNvSpPr txBox="1"/>
          <p:nvPr userDrawn="1"/>
        </p:nvSpPr>
        <p:spPr>
          <a:xfrm>
            <a:off x="540922" y="4350561"/>
            <a:ext cx="1674000" cy="242372"/>
          </a:xfrm>
          <a:prstGeom prst="rect">
            <a:avLst/>
          </a:prstGeom>
          <a:noFill/>
        </p:spPr>
        <p:txBody>
          <a:bodyPr wrap="square" lIns="68579" tIns="34289" rIns="68579" bIns="34289" rtlCol="0" anchor="ctr">
            <a:spAutoFit/>
          </a:bodyPr>
          <a:lstStyle/>
          <a:p>
            <a:pPr defTabSz="685698"/>
            <a:r>
              <a:rPr lang="en-US" altLang="ko-KR" sz="1100" dirty="0">
                <a:solidFill>
                  <a:prstClr val="white"/>
                </a:solidFill>
                <a:cs typeface="Arial" pitchFamily="34" charset="0"/>
              </a:rPr>
              <a:t>www.allppt.com</a:t>
            </a:r>
            <a:endParaRPr lang="ko-KR" altLang="en-US" sz="11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BAAC314F-E96A-4408-95DE-A70E9ED054AF}"/>
              </a:ext>
            </a:extLst>
          </p:cNvPr>
          <p:cNvSpPr txBox="1"/>
          <p:nvPr userDrawn="1"/>
        </p:nvSpPr>
        <p:spPr>
          <a:xfrm>
            <a:off x="540922" y="3337744"/>
            <a:ext cx="2037972" cy="1038746"/>
          </a:xfrm>
          <a:prstGeom prst="rect">
            <a:avLst/>
          </a:prstGeom>
          <a:noFill/>
        </p:spPr>
        <p:txBody>
          <a:bodyPr wrap="square" lIns="68579" tIns="34289" rIns="68579" bIns="34289" rtlCol="0" anchor="ctr">
            <a:spAutoFit/>
          </a:bodyPr>
          <a:lstStyle/>
          <a:p>
            <a:pPr defTabSz="685698"/>
            <a:r>
              <a:rPr lang="en-US" altLang="ko-KR" sz="2100" b="1" dirty="0">
                <a:solidFill>
                  <a:prstClr val="white"/>
                </a:solidFill>
                <a:cs typeface="Arial" pitchFamily="34" charset="0"/>
              </a:rPr>
              <a:t>FREE </a:t>
            </a:r>
          </a:p>
          <a:p>
            <a:pPr defTabSz="685698"/>
            <a:r>
              <a:rPr lang="en-US" altLang="ko-KR" sz="2100" b="1" dirty="0">
                <a:solidFill>
                  <a:prstClr val="white"/>
                </a:solidFill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763596379"/>
      </p:ext>
    </p:extLst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Laptop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="" xmlns:a16="http://schemas.microsoft.com/office/drawing/2014/main" id="{69D3E401-F6DF-4A44-858C-E9410373BE6E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194050" y="1489753"/>
            <a:ext cx="3949950" cy="24783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  Picture</a:t>
            </a:r>
            <a:endParaRPr lang="en-US" dirty="0"/>
          </a:p>
        </p:txBody>
      </p:sp>
      <p:pic>
        <p:nvPicPr>
          <p:cNvPr id="3" name="Picture 2" descr="A picture containing electronics, display&#10;&#10;Description generated with very high confidence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6060" y="1319842"/>
            <a:ext cx="4567940" cy="3019246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</p:spPr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89753"/>
            <a:ext cx="4374815" cy="2478024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20000808"/>
      </p:ext>
    </p:extLst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Vertical Imag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 bwMode="black">
          <a:xfrm>
            <a:off x="412844" y="1490674"/>
            <a:ext cx="4059936" cy="2474601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38"/>
          </p:nvPr>
        </p:nvSpPr>
        <p:spPr>
          <a:xfrm>
            <a:off x="6357922" y="1490674"/>
            <a:ext cx="1277283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Picture Placeholder 11"/>
          <p:cNvSpPr>
            <a:spLocks noGrp="1" noChangeAspect="1"/>
          </p:cNvSpPr>
          <p:nvPr>
            <p:ph type="pic" sz="quarter" idx="39"/>
          </p:nvPr>
        </p:nvSpPr>
        <p:spPr>
          <a:xfrm>
            <a:off x="484912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Picture Placeholder 11"/>
          <p:cNvSpPr>
            <a:spLocks noGrp="1" noChangeAspect="1"/>
          </p:cNvSpPr>
          <p:nvPr>
            <p:ph type="pic" sz="quarter" idx="40"/>
          </p:nvPr>
        </p:nvSpPr>
        <p:spPr>
          <a:xfrm>
            <a:off x="7866717" y="1490674"/>
            <a:ext cx="1278141" cy="247802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118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411480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672584" y="2188267"/>
            <a:ext cx="4059936" cy="205740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 smtClean="0"/>
              <a:t>Click on icon to add char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672584" y="1664884"/>
            <a:ext cx="4059936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Second Chart Goes Her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480" y="1664884"/>
            <a:ext cx="4057069" cy="368917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itle of First Chart Goes He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130776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5479015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01194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786408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01194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33" hasCustomPrompt="1"/>
          </p:nvPr>
        </p:nvSpPr>
        <p:spPr>
          <a:xfrm>
            <a:off x="717162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34" hasCustomPrompt="1"/>
          </p:nvPr>
        </p:nvSpPr>
        <p:spPr>
          <a:xfrm>
            <a:off x="2093801" y="1489969"/>
            <a:ext cx="1029883" cy="102988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35" hasCustomPrompt="1"/>
          </p:nvPr>
        </p:nvSpPr>
        <p:spPr>
          <a:xfrm>
            <a:off x="717162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2093801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786408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5479015" y="2599292"/>
            <a:ext cx="1463040" cy="182880"/>
          </a:xfrm>
          <a:noFill/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4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40" name="Text Placeholder 12"/>
          <p:cNvSpPr>
            <a:spLocks noGrp="1"/>
          </p:cNvSpPr>
          <p:nvPr>
            <p:ph type="body" sz="quarter" idx="40"/>
          </p:nvPr>
        </p:nvSpPr>
        <p:spPr>
          <a:xfrm>
            <a:off x="401194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12"/>
          <p:cNvSpPr>
            <a:spLocks noGrp="1"/>
          </p:cNvSpPr>
          <p:nvPr>
            <p:ph type="body" sz="quarter" idx="41"/>
          </p:nvPr>
        </p:nvSpPr>
        <p:spPr>
          <a:xfrm>
            <a:off x="717162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42"/>
          </p:nvPr>
        </p:nvSpPr>
        <p:spPr>
          <a:xfrm>
            <a:off x="2093801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12"/>
          <p:cNvSpPr>
            <a:spLocks noGrp="1"/>
          </p:cNvSpPr>
          <p:nvPr>
            <p:ph type="body" sz="quarter" idx="43"/>
          </p:nvPr>
        </p:nvSpPr>
        <p:spPr>
          <a:xfrm>
            <a:off x="3786408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12"/>
          <p:cNvSpPr>
            <a:spLocks noGrp="1"/>
          </p:cNvSpPr>
          <p:nvPr>
            <p:ph type="body" sz="quarter" idx="44"/>
          </p:nvPr>
        </p:nvSpPr>
        <p:spPr>
          <a:xfrm>
            <a:off x="5479015" y="3002605"/>
            <a:ext cx="1463040" cy="1188720"/>
          </a:xfrm>
        </p:spPr>
        <p:txBody>
          <a:bodyPr lIns="0"/>
          <a:lstStyle>
            <a:lvl1pPr marL="0" indent="0" algn="l">
              <a:lnSpc>
                <a:spcPts val="1440"/>
              </a:lnSpc>
              <a:spcAft>
                <a:spcPts val="0"/>
              </a:spcAft>
              <a:buNone/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401194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717162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2093801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50" hasCustomPrompt="1"/>
          </p:nvPr>
        </p:nvSpPr>
        <p:spPr>
          <a:xfrm>
            <a:off x="3786408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51" hasCustomPrompt="1"/>
          </p:nvPr>
        </p:nvSpPr>
        <p:spPr>
          <a:xfrm>
            <a:off x="5479015" y="2796016"/>
            <a:ext cx="1463040" cy="182880"/>
          </a:xfrm>
          <a:noFill/>
        </p:spPr>
        <p:txBody>
          <a:bodyPr lIns="0" tIns="91440" rIns="91440" bIns="91440" anchor="ctr"/>
          <a:lstStyle>
            <a:lvl1pPr marL="0" indent="0" algn="l">
              <a:lnSpc>
                <a:spcPts val="1200"/>
              </a:lnSpc>
              <a:spcAft>
                <a:spcPts val="200"/>
              </a:spcAft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52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0819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QUESTIONS</a:t>
            </a:r>
            <a:r>
              <a:rPr lang="en-US" sz="5400" b="0" dirty="0" smtClean="0">
                <a:solidFill>
                  <a:srgbClr val="0078BE"/>
                </a:solidFill>
              </a:rPr>
              <a:t>?</a:t>
            </a:r>
            <a:endParaRPr lang="en-US" sz="2800" b="0" dirty="0">
              <a:solidFill>
                <a:srgbClr val="0078B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/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133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srgbClr val="00517D"/>
                </a:solidFill>
              </a:rPr>
              <a:t>APPENDIX</a:t>
            </a:r>
            <a:endParaRPr lang="en-US" sz="2800" b="0" dirty="0">
              <a:solidFill>
                <a:srgbClr val="0051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769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223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4500" y="1197769"/>
            <a:ext cx="8321040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rgbClr val="8E908F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815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916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chemeClr val="accent1">
              <a:alpha val="75000"/>
            </a:scheme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673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52984"/>
          </a:xfrm>
          <a:prstGeom prst="rect">
            <a:avLst/>
          </a:prstGeom>
        </p:spPr>
      </p:pic>
      <p:pic>
        <p:nvPicPr>
          <p:cNvPr id="16" name="Picture 15" descr="NPD_logo_RGB_Reverse_300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6091" y="3769599"/>
            <a:ext cx="914400" cy="9144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57213" y="1504950"/>
            <a:ext cx="6400800" cy="515541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>
                <a:solidFill>
                  <a:srgbClr val="FFFFFF"/>
                </a:solidFill>
              </a:defRPr>
            </a:lvl1pPr>
            <a:lvl2pPr marL="341313" indent="0">
              <a:buNone/>
              <a:defRPr>
                <a:solidFill>
                  <a:srgbClr val="FFFFFF"/>
                </a:solidFill>
              </a:defRPr>
            </a:lvl2pPr>
            <a:lvl3pPr marL="627062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Subhead of Presentation can go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7213" y="731887"/>
            <a:ext cx="6400800" cy="729763"/>
          </a:xfrm>
        </p:spPr>
        <p:txBody>
          <a:bodyPr wrap="square" lIns="0" tIns="0" rIns="0" bIns="0" anchor="t" anchorCtr="0"/>
          <a:lstStyle>
            <a:lvl1pPr>
              <a:lnSpc>
                <a:spcPct val="80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smtClean="0">
                <a:solidFill>
                  <a:srgbClr val="FFFFFF"/>
                </a:solidFill>
              </a:rPr>
              <a:t>Click To Add Title of Present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5"/>
          <p:cNvSpPr txBox="1">
            <a:spLocks noChangeArrowheads="1"/>
          </p:cNvSpPr>
          <p:nvPr/>
        </p:nvSpPr>
        <p:spPr bwMode="gray">
          <a:xfrm>
            <a:off x="557214" y="4369078"/>
            <a:ext cx="279239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1"/>
                </a:solidFill>
                <a:latin typeface="Arial" charset="0"/>
                <a:ea typeface="ＭＳ Ｐゴシック" charset="0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l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prstClr val="white"/>
                </a:solidFill>
                <a:latin typeface="Calibri"/>
              </a:rPr>
              <a:t>Copyright 2019. The NPD Group, Inc. All Rights Reserved. This presentation is </a:t>
            </a:r>
            <a:r>
              <a:rPr lang="en-US" b="1" dirty="0" smtClean="0">
                <a:solidFill>
                  <a:prstClr val="white"/>
                </a:solidFill>
                <a:latin typeface="Calibri"/>
              </a:rPr>
              <a:t>proprietary and confidential</a:t>
            </a:r>
            <a:r>
              <a:rPr lang="en-US" dirty="0" smtClean="0">
                <a:solidFill>
                  <a:prstClr val="white"/>
                </a:solidFill>
                <a:latin typeface="Calibri"/>
              </a:rPr>
              <a:t> and may not be disclosed in any manner, in whole or in part, to any third party without the express written consent of NPD.</a:t>
            </a:r>
            <a:endParaRPr lang="en-US" sz="7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214" y="3933570"/>
            <a:ext cx="2468562" cy="276225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 smtClean="0"/>
              <a:t>Date (Optional)</a:t>
            </a:r>
          </a:p>
        </p:txBody>
      </p:sp>
    </p:spTree>
    <p:extLst>
      <p:ext uri="{BB962C8B-B14F-4D97-AF65-F5344CB8AC3E}">
        <p14:creationId xmlns:p14="http://schemas.microsoft.com/office/powerpoint/2010/main" val="689246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chemeClr val="bg2">
              <a:alpha val="60000"/>
            </a:scheme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02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060265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rgbClr val="8E908F"/>
          </a:solidFill>
          <a:ln>
            <a:solidFill>
              <a:srgbClr val="8E908F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183155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0953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401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424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rgbClr val="8E908F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836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670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indent="0">
              <a:buNone/>
              <a:defRPr sz="900"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60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rgbClr val="8E908F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183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898343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/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n-wave-cover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050"/>
            <a:ext cx="9144000" cy="484202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6"/>
          <p:cNvSpPr txBox="1">
            <a:spLocks noChangeArrowheads="1"/>
          </p:cNvSpPr>
          <p:nvPr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black">
          <a:xfrm>
            <a:off x="677648" y="1726544"/>
            <a:ext cx="7158684" cy="708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468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4800" b="1" dirty="0" smtClean="0">
                <a:solidFill>
                  <a:prstClr val="white"/>
                </a:solidFill>
              </a:rPr>
              <a:t>Thank you</a:t>
            </a:r>
          </a:p>
        </p:txBody>
      </p:sp>
      <p:sp>
        <p:nvSpPr>
          <p:cNvPr id="11" name="TextBox 4"/>
          <p:cNvSpPr txBox="1">
            <a:spLocks noChangeArrowheads="1"/>
          </p:cNvSpPr>
          <p:nvPr userDrawn="1"/>
        </p:nvSpPr>
        <p:spPr bwMode="auto">
          <a:xfrm>
            <a:off x="7217834" y="433263"/>
            <a:ext cx="1729894" cy="3947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spcCol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are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pplianc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Automotiv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2B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eaut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Book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Consumer Technology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E-commer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ashion Accessor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 Consumption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dservic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Footwear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Hom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Juvenile Products</a:t>
            </a:r>
          </a:p>
          <a:p>
            <a:pPr eaLnBrk="1" hangingPunct="1">
              <a:spcAft>
                <a:spcPts val="300"/>
              </a:spcAft>
              <a:defRPr/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edia Entertainment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Mobile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Office Suppli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Sport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oy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Travel Retail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Video Games</a:t>
            </a:r>
          </a:p>
          <a:p>
            <a:pPr eaLnBrk="1" hangingPunct="1">
              <a:spcAft>
                <a:spcPts val="300"/>
              </a:spcAft>
            </a:pPr>
            <a:r>
              <a:rPr lang="en-US" sz="850" dirty="0" smtClean="0">
                <a:solidFill>
                  <a:prstClr val="white">
                    <a:alpha val="50000"/>
                  </a:prstClr>
                </a:solidFill>
                <a:latin typeface="Calibri"/>
              </a:rPr>
              <a:t>Watches / Jewelry</a:t>
            </a:r>
          </a:p>
        </p:txBody>
      </p:sp>
    </p:spTree>
    <p:extLst>
      <p:ext uri="{BB962C8B-B14F-4D97-AF65-F5344CB8AC3E}">
        <p14:creationId xmlns:p14="http://schemas.microsoft.com/office/powerpoint/2010/main" val="2073830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357639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407475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chemeClr val="bg2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  <a:p>
            <a:pPr lvl="0"/>
            <a:endParaRPr lang="en-US" dirty="0" smtClean="0"/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75513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E908F"/>
                </a:solidFill>
              </a:rPr>
              <a:t>?</a:t>
            </a:r>
            <a:endParaRPr lang="en-US" sz="2800" b="0" dirty="0">
              <a:solidFill>
                <a:srgbClr val="8E908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rgbClr val="8E908F"/>
          </a:solidFill>
          <a:ln>
            <a:solidFill>
              <a:srgbClr val="8E908F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941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328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5576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826733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5115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Clr>
                <a:schemeClr val="accent2"/>
              </a:buClr>
              <a:buFont typeface="+mj-lt"/>
              <a:buAutoNum type="arabicPeriod"/>
              <a:defRPr sz="2800" b="0">
                <a:solidFill>
                  <a:srgbClr val="FFFFFF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649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415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565A5C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676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565A5C">
              <a:alpha val="60000"/>
            </a:srgbClr>
          </a:solidFill>
        </p:spPr>
        <p:txBody>
          <a:bodyPr lIns="365760" tIns="1371600" rIns="365760" bIns="1371600" anchor="ctr" anchorCtr="0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892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09963" y="1197769"/>
            <a:ext cx="8324074" cy="3199529"/>
          </a:xfrm>
        </p:spPr>
        <p:txBody>
          <a:bodyPr anchor="t" anchorCtr="0"/>
          <a:lstStyle>
            <a:lvl1pPr marL="342900" indent="-342900">
              <a:spcAft>
                <a:spcPts val="2000"/>
              </a:spcAft>
              <a:buFont typeface="+mj-lt"/>
              <a:buAutoNum type="arabicPeriod"/>
              <a:defRPr sz="2800" b="0">
                <a:solidFill>
                  <a:schemeClr val="tx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Click To Create Your 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812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43735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61061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091160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806" y="1656523"/>
            <a:ext cx="5303520" cy="260286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2C341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2C341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5980042" y="0"/>
            <a:ext cx="3163957" cy="4828032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114300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smtClean="0">
                <a:solidFill>
                  <a:schemeClr val="tx1"/>
                </a:solidFill>
              </a:rPr>
              <a:t>Click icon to add picture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1806" y="4368667"/>
            <a:ext cx="5303520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302807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 hasCustomPrompt="1"/>
          </p:nvPr>
        </p:nvSpPr>
        <p:spPr bwMode="black">
          <a:xfrm>
            <a:off x="411480" y="349327"/>
            <a:ext cx="530352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4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nted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656523"/>
            <a:ext cx="5321311" cy="2602862"/>
          </a:xfrm>
          <a:custGeom>
            <a:avLst/>
            <a:gdLst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5383941 w 5383941"/>
              <a:gd name="connsiteY2" fmla="*/ 2602862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83941"/>
              <a:gd name="connsiteY0" fmla="*/ 0 h 2602862"/>
              <a:gd name="connsiteX1" fmla="*/ 5383941 w 5383941"/>
              <a:gd name="connsiteY1" fmla="*/ 0 h 2602862"/>
              <a:gd name="connsiteX2" fmla="*/ 4137601 w 5383941"/>
              <a:gd name="connsiteY2" fmla="*/ 2596599 h 2602862"/>
              <a:gd name="connsiteX3" fmla="*/ 0 w 5383941"/>
              <a:gd name="connsiteY3" fmla="*/ 2602862 h 2602862"/>
              <a:gd name="connsiteX4" fmla="*/ 0 w 538394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37601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  <a:gd name="connsiteX0" fmla="*/ 0 w 5321311"/>
              <a:gd name="connsiteY0" fmla="*/ 0 h 2602862"/>
              <a:gd name="connsiteX1" fmla="*/ 5321311 w 5321311"/>
              <a:gd name="connsiteY1" fmla="*/ 0 h 2602862"/>
              <a:gd name="connsiteX2" fmla="*/ 4100023 w 5321311"/>
              <a:gd name="connsiteY2" fmla="*/ 2596599 h 2602862"/>
              <a:gd name="connsiteX3" fmla="*/ 0 w 5321311"/>
              <a:gd name="connsiteY3" fmla="*/ 2602862 h 2602862"/>
              <a:gd name="connsiteX4" fmla="*/ 0 w 5321311"/>
              <a:gd name="connsiteY4" fmla="*/ 0 h 2602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1311" h="2602862">
                <a:moveTo>
                  <a:pt x="0" y="0"/>
                </a:moveTo>
                <a:lnTo>
                  <a:pt x="5321311" y="0"/>
                </a:lnTo>
                <a:lnTo>
                  <a:pt x="4100023" y="2596599"/>
                </a:lnTo>
                <a:lnTo>
                  <a:pt x="0" y="260286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346075" indent="-346075" algn="l">
              <a:spcBef>
                <a:spcPts val="0"/>
              </a:spcBef>
              <a:buClr>
                <a:schemeClr val="accent2"/>
              </a:buClr>
              <a:tabLst>
                <a:tab pos="1200150" algn="l"/>
              </a:tabLst>
              <a:defRPr sz="2400"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tabLst>
                <a:tab pos="1200150" algn="l"/>
              </a:tabLst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4549775" y="-6264"/>
            <a:ext cx="4594225" cy="4827501"/>
          </a:xfrm>
          <a:custGeom>
            <a:avLst/>
            <a:gdLst>
              <a:gd name="connsiteX0" fmla="*/ 0 w 4594225"/>
              <a:gd name="connsiteY0" fmla="*/ 0 h 4821238"/>
              <a:gd name="connsiteX1" fmla="*/ 4594225 w 4594225"/>
              <a:gd name="connsiteY1" fmla="*/ 0 h 4821238"/>
              <a:gd name="connsiteX2" fmla="*/ 4594225 w 4594225"/>
              <a:gd name="connsiteY2" fmla="*/ 4821238 h 4821238"/>
              <a:gd name="connsiteX3" fmla="*/ 0 w 4594225"/>
              <a:gd name="connsiteY3" fmla="*/ 4821238 h 4821238"/>
              <a:gd name="connsiteX4" fmla="*/ 0 w 4594225"/>
              <a:gd name="connsiteY4" fmla="*/ 0 h 4821238"/>
              <a:gd name="connsiteX0" fmla="*/ 2260948 w 4594225"/>
              <a:gd name="connsiteY0" fmla="*/ 0 h 4827501"/>
              <a:gd name="connsiteX1" fmla="*/ 4594225 w 4594225"/>
              <a:gd name="connsiteY1" fmla="*/ 6263 h 4827501"/>
              <a:gd name="connsiteX2" fmla="*/ 4594225 w 4594225"/>
              <a:gd name="connsiteY2" fmla="*/ 4827501 h 4827501"/>
              <a:gd name="connsiteX3" fmla="*/ 0 w 4594225"/>
              <a:gd name="connsiteY3" fmla="*/ 4827501 h 4827501"/>
              <a:gd name="connsiteX4" fmla="*/ 2260948 w 4594225"/>
              <a:gd name="connsiteY4" fmla="*/ 0 h 4827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94225" h="4827501">
                <a:moveTo>
                  <a:pt x="2260948" y="0"/>
                </a:moveTo>
                <a:lnTo>
                  <a:pt x="4594225" y="6263"/>
                </a:lnTo>
                <a:lnTo>
                  <a:pt x="4594225" y="4827501"/>
                </a:lnTo>
                <a:lnTo>
                  <a:pt x="0" y="4827501"/>
                </a:lnTo>
                <a:lnTo>
                  <a:pt x="22609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457200" rIns="731520" bIns="228600" anchor="b" anchorCtr="0"/>
          <a:lstStyle>
            <a:lvl1pPr marL="0" marR="0" indent="0" algn="r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677709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11806" y="4368667"/>
            <a:ext cx="4062939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rIns="0"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567842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saic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 userDrawn="1">
            <p:ph type="pic" sz="quarter" idx="25"/>
          </p:nvPr>
        </p:nvSpPr>
        <p:spPr>
          <a:xfrm>
            <a:off x="411480" y="1655408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6"/>
          </p:nvPr>
        </p:nvSpPr>
        <p:spPr>
          <a:xfrm>
            <a:off x="5349240" y="3139440"/>
            <a:ext cx="3383280" cy="13807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7"/>
          </p:nvPr>
        </p:nvSpPr>
        <p:spPr>
          <a:xfrm>
            <a:off x="3886200" y="1655408"/>
            <a:ext cx="1371600" cy="28739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8"/>
          </p:nvPr>
        </p:nvSpPr>
        <p:spPr>
          <a:xfrm>
            <a:off x="411480" y="3139440"/>
            <a:ext cx="1645920" cy="1378857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2148840" y="3139440"/>
            <a:ext cx="164592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5349240" y="1655408"/>
            <a:ext cx="3383280" cy="138074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wrap="square" lIns="137160" tIns="137160" rIns="137160" bIns="137160" anchor="t">
            <a:noAutofit/>
          </a:bodyPr>
          <a:lstStyle>
            <a:lvl1pPr marL="0" indent="0" algn="l">
              <a:lnSpc>
                <a:spcPts val="1440"/>
              </a:lnSpc>
              <a:spcAft>
                <a:spcPts val="600"/>
              </a:spcAft>
              <a:buNone/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34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Long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8E908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7" hasCustomPrompt="1"/>
          </p:nvPr>
        </p:nvSpPr>
        <p:spPr>
          <a:xfrm>
            <a:off x="2579278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690372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230124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4602480" y="1823720"/>
            <a:ext cx="2240280" cy="1170432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411480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4878126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7159722" y="3148838"/>
            <a:ext cx="1645920" cy="210312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7159722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2"/>
          </p:nvPr>
        </p:nvSpPr>
        <p:spPr>
          <a:xfrm>
            <a:off x="2579278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34"/>
          <p:cNvSpPr>
            <a:spLocks noGrp="1"/>
          </p:cNvSpPr>
          <p:nvPr>
            <p:ph type="body" sz="quarter" idx="23"/>
          </p:nvPr>
        </p:nvSpPr>
        <p:spPr>
          <a:xfrm>
            <a:off x="4878126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47" name="Text Placeholder 34"/>
          <p:cNvSpPr>
            <a:spLocks noGrp="1"/>
          </p:cNvSpPr>
          <p:nvPr>
            <p:ph type="body" sz="quarter" idx="33"/>
          </p:nvPr>
        </p:nvSpPr>
        <p:spPr>
          <a:xfrm>
            <a:off x="411480" y="3384868"/>
            <a:ext cx="1645920" cy="9144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2C341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37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38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779738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18" name="Rectangle 17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3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506955" y="2823944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24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506955" y="1520494"/>
            <a:ext cx="2286000" cy="118872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3429000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8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6353518" y="1520494"/>
            <a:ext cx="2286000" cy="118872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3429000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0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6353518" y="2817681"/>
            <a:ext cx="2286000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1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506896" y="3100911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6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3429000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8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6353518" y="3094648"/>
            <a:ext cx="2286000" cy="109728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32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346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25" name="Rectangle 24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9" name="Rectangle 28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41" hasCustomPrompt="1"/>
          </p:nvPr>
        </p:nvSpPr>
        <p:spPr>
          <a:xfrm>
            <a:off x="419274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37"/>
          </p:nvPr>
        </p:nvSpPr>
        <p:spPr>
          <a:xfrm>
            <a:off x="419215" y="1520494"/>
            <a:ext cx="1874520" cy="1097280"/>
          </a:xfrm>
          <a:solidFill>
            <a:schemeClr val="bg1">
              <a:lumMod val="75000"/>
            </a:schemeClr>
          </a:solidFill>
          <a:ln w="9525"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Picture Placeholder 31"/>
          <p:cNvSpPr>
            <a:spLocks noGrp="1"/>
          </p:cNvSpPr>
          <p:nvPr>
            <p:ph type="pic" sz="quarter" idx="38"/>
          </p:nvPr>
        </p:nvSpPr>
        <p:spPr>
          <a:xfrm>
            <a:off x="2561038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4" name="Picture Placeholder 31"/>
          <p:cNvSpPr>
            <a:spLocks noGrp="1"/>
          </p:cNvSpPr>
          <p:nvPr>
            <p:ph type="pic" sz="quarter" idx="39"/>
          </p:nvPr>
        </p:nvSpPr>
        <p:spPr>
          <a:xfrm>
            <a:off x="4702861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Picture Placeholder 31"/>
          <p:cNvSpPr>
            <a:spLocks noGrp="1"/>
          </p:cNvSpPr>
          <p:nvPr>
            <p:ph type="pic" sz="quarter" idx="40"/>
          </p:nvPr>
        </p:nvSpPr>
        <p:spPr>
          <a:xfrm>
            <a:off x="6844683" y="1520494"/>
            <a:ext cx="1874520" cy="10972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9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Text Placeholder 7"/>
          <p:cNvSpPr>
            <a:spLocks noGrp="1"/>
          </p:cNvSpPr>
          <p:nvPr userDrawn="1">
            <p:ph type="body" sz="quarter" idx="36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6"/>
          <p:cNvSpPr>
            <a:spLocks noGrp="1"/>
          </p:cNvSpPr>
          <p:nvPr>
            <p:ph type="body" sz="quarter" idx="42" hasCustomPrompt="1"/>
          </p:nvPr>
        </p:nvSpPr>
        <p:spPr>
          <a:xfrm>
            <a:off x="2564885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2" name="Text Placeholder 36"/>
          <p:cNvSpPr>
            <a:spLocks noGrp="1"/>
          </p:cNvSpPr>
          <p:nvPr>
            <p:ph type="body" sz="quarter" idx="43" hasCustomPrompt="1"/>
          </p:nvPr>
        </p:nvSpPr>
        <p:spPr>
          <a:xfrm>
            <a:off x="4706350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3" name="Text Placeholder 36"/>
          <p:cNvSpPr>
            <a:spLocks noGrp="1"/>
          </p:cNvSpPr>
          <p:nvPr>
            <p:ph type="body" sz="quarter" idx="44" hasCustomPrompt="1"/>
          </p:nvPr>
        </p:nvSpPr>
        <p:spPr>
          <a:xfrm>
            <a:off x="6844683" y="2711210"/>
            <a:ext cx="1876425" cy="249238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 baseline="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HEADING IN CAPS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sz="quarter" idx="45" hasCustomPrompt="1"/>
          </p:nvPr>
        </p:nvSpPr>
        <p:spPr>
          <a:xfrm>
            <a:off x="41921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5" name="Text Placeholder 36"/>
          <p:cNvSpPr>
            <a:spLocks noGrp="1"/>
          </p:cNvSpPr>
          <p:nvPr>
            <p:ph type="body" sz="quarter" idx="46" hasCustomPrompt="1"/>
          </p:nvPr>
        </p:nvSpPr>
        <p:spPr>
          <a:xfrm>
            <a:off x="2564885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6" name="Text Placeholder 36"/>
          <p:cNvSpPr>
            <a:spLocks noGrp="1"/>
          </p:cNvSpPr>
          <p:nvPr>
            <p:ph type="body" sz="quarter" idx="47" hasCustomPrompt="1"/>
          </p:nvPr>
        </p:nvSpPr>
        <p:spPr>
          <a:xfrm>
            <a:off x="4706350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48" hasCustomPrompt="1"/>
          </p:nvPr>
        </p:nvSpPr>
        <p:spPr>
          <a:xfrm>
            <a:off x="6844683" y="2988179"/>
            <a:ext cx="1876425" cy="1188720"/>
          </a:xfrm>
        </p:spPr>
        <p:txBody>
          <a:bodyPr wrap="square" anchor="t">
            <a:noAutofit/>
          </a:bodyPr>
          <a:lstStyle>
            <a:lvl1pPr marL="0" marR="0" indent="0" algn="ctr" defTabSz="457200" rtl="0" eaLnBrk="1" fontAlgn="auto" latinLnBrk="0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 sz="1200" b="0" baseline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 smtClean="0"/>
              <a:t>Click to add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54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2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7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511296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82061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391906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017766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511296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611112" y="3312436"/>
            <a:ext cx="2121408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611112" y="2882900"/>
            <a:ext cx="2121408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80577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390422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004045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728161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039325"/>
            <a:ext cx="9144000" cy="2783444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12846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2549039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Data - oval 1"/>
          <p:cNvSpPr/>
          <p:nvPr userDrawn="1"/>
        </p:nvSpPr>
        <p:spPr>
          <a:xfrm>
            <a:off x="715459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91440" rtlCol="0" anchor="ctr"/>
          <a:lstStyle/>
          <a:p>
            <a:pPr algn="ctr"/>
            <a:endParaRPr lang="en-US" sz="4000" b="1" dirty="0">
              <a:solidFill>
                <a:srgbClr val="EC7A08"/>
              </a:solidFill>
            </a:endParaRPr>
          </a:p>
        </p:txBody>
      </p:sp>
      <p:sp>
        <p:nvSpPr>
          <p:cNvPr id="28" name="Organization - oval 1"/>
          <p:cNvSpPr/>
          <p:nvPr/>
        </p:nvSpPr>
        <p:spPr>
          <a:xfrm>
            <a:off x="2851652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31" name="Manufacturers - oval 1"/>
          <p:cNvSpPr/>
          <p:nvPr/>
        </p:nvSpPr>
        <p:spPr>
          <a:xfrm>
            <a:off x="7122922" y="1397546"/>
            <a:ext cx="1308100" cy="13081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12846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2549039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6821424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821424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700623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36816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7109201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4685232" y="3314881"/>
            <a:ext cx="1911096" cy="914400"/>
          </a:xfrm>
        </p:spPr>
        <p:txBody>
          <a:bodyPr anchor="t" anchorCtr="0"/>
          <a:lstStyle>
            <a:lvl1pPr marL="0" indent="0" algn="ctr">
              <a:lnSpc>
                <a:spcPts val="1440"/>
              </a:lnSpc>
              <a:spcAft>
                <a:spcPts val="0"/>
              </a:spcAft>
              <a:buFont typeface="+mj-lt"/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-342900">
              <a:spcAft>
                <a:spcPts val="2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40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Organization - oval 1"/>
          <p:cNvSpPr/>
          <p:nvPr userDrawn="1"/>
        </p:nvSpPr>
        <p:spPr>
          <a:xfrm>
            <a:off x="4987845" y="1397546"/>
            <a:ext cx="1305870" cy="130587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rgbClr val="0078BE"/>
              </a:solidFill>
            </a:endParaRP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4685232" y="2885345"/>
            <a:ext cx="1911096" cy="360363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20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4973009" y="1397546"/>
            <a:ext cx="1335542" cy="1306059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4000" b="1">
                <a:solidFill>
                  <a:schemeClr val="bg1"/>
                </a:solidFill>
              </a:defRPr>
            </a:lvl1pPr>
            <a:lvl2pPr marL="341313" indent="0">
              <a:buFontTx/>
              <a:buNone/>
              <a:defRPr/>
            </a:lvl2pPr>
            <a:lvl3pPr marL="627062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3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2772508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A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0078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63840" y="1937944"/>
            <a:ext cx="5608783" cy="1828800"/>
          </a:xfrm>
        </p:spPr>
        <p:txBody>
          <a:bodyPr/>
          <a:lstStyle>
            <a:lvl1pPr>
              <a:spcAft>
                <a:spcPts val="0"/>
              </a:spcAft>
              <a:defRPr sz="3400" b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ransition Slide — Click to Add Heading and revise number to coincide with agend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18160" y="1513843"/>
            <a:ext cx="5428479" cy="4019550"/>
          </a:xfrm>
        </p:spPr>
        <p:txBody>
          <a:bodyPr/>
          <a:lstStyle>
            <a:lvl1pPr marL="0" indent="0" algn="r">
              <a:buNone/>
              <a:defRPr sz="40000" b="1" kern="1200" spc="-3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94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eric List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</p:grpSpPr>
        <p:sp>
          <p:nvSpPr>
            <p:cNvPr id="20" name="Rectangle 19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solidFill>
              <a:srgbClr val="56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12845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12845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3454838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456184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4"/>
          </p:nvPr>
        </p:nvSpPr>
        <p:spPr>
          <a:xfrm>
            <a:off x="6494799" y="1727550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497490" y="1192011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12845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2845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3454838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3456184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51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6494799" y="3233775"/>
            <a:ext cx="2239086" cy="914400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497490" y="2698236"/>
            <a:ext cx="2236395" cy="446806"/>
          </a:xfr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00  |  TITLE IN CAPS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11"/>
          <p:cNvSpPr>
            <a:spLocks noGrp="1"/>
          </p:cNvSpPr>
          <p:nvPr>
            <p:ph type="body" sz="quarter" idx="45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5576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 Point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 userDrawn="1"/>
        </p:nvGrpSpPr>
        <p:grpSpPr>
          <a:xfrm>
            <a:off x="0" y="0"/>
            <a:ext cx="9144000" cy="4824046"/>
            <a:chOff x="152400" y="152401"/>
            <a:chExt cx="9144000" cy="4824046"/>
          </a:xfrm>
          <a:solidFill>
            <a:srgbClr val="565A5C"/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52400" y="152401"/>
              <a:ext cx="9144000" cy="4824046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52400" y="501727"/>
              <a:ext cx="109728" cy="4572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38" name="Rectangle 37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45996" y="1392238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50" hasCustomPrompt="1"/>
          </p:nvPr>
        </p:nvSpPr>
        <p:spPr>
          <a:xfrm>
            <a:off x="645996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51" hasCustomPrompt="1"/>
          </p:nvPr>
        </p:nvSpPr>
        <p:spPr>
          <a:xfrm>
            <a:off x="645996" y="3503105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52" hasCustomPrompt="1"/>
          </p:nvPr>
        </p:nvSpPr>
        <p:spPr>
          <a:xfrm>
            <a:off x="4902177" y="1397840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53" hasCustomPrompt="1"/>
          </p:nvPr>
        </p:nvSpPr>
        <p:spPr>
          <a:xfrm>
            <a:off x="4902177" y="2433263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54" hasCustomPrompt="1"/>
          </p:nvPr>
        </p:nvSpPr>
        <p:spPr>
          <a:xfrm>
            <a:off x="4902177" y="3468686"/>
            <a:ext cx="749808" cy="74980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91440" tIns="91440" rIns="91440" bIns="91440" anchor="ctr"/>
          <a:lstStyle>
            <a:lvl1pPr marL="0" indent="0" algn="ctr">
              <a:lnSpc>
                <a:spcPct val="100000"/>
              </a:lnSpc>
              <a:spcAft>
                <a:spcPts val="200"/>
              </a:spcAft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1468763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468763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38"/>
          </p:nvPr>
        </p:nvSpPr>
        <p:spPr>
          <a:xfrm>
            <a:off x="1468763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1468763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0"/>
          </p:nvPr>
        </p:nvSpPr>
        <p:spPr>
          <a:xfrm>
            <a:off x="5730280" y="2694997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5730280" y="2471962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42"/>
          </p:nvPr>
        </p:nvSpPr>
        <p:spPr>
          <a:xfrm>
            <a:off x="5730280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730280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44"/>
          </p:nvPr>
        </p:nvSpPr>
        <p:spPr>
          <a:xfrm>
            <a:off x="5730280" y="165630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5730280" y="143326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49" name="Text Placeholder 5"/>
          <p:cNvSpPr>
            <a:spLocks noGrp="1"/>
          </p:cNvSpPr>
          <p:nvPr>
            <p:ph type="body" sz="quarter" idx="46"/>
          </p:nvPr>
        </p:nvSpPr>
        <p:spPr>
          <a:xfrm>
            <a:off x="1468763" y="3766754"/>
            <a:ext cx="2741910" cy="403609"/>
          </a:xfrm>
        </p:spPr>
        <p:txBody>
          <a:bodyPr/>
          <a:lstStyle>
            <a:lvl1pPr marL="0" indent="0">
              <a:lnSpc>
                <a:spcPts val="144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1468763" y="3543719"/>
            <a:ext cx="2743200" cy="182880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200"/>
              </a:spcAft>
              <a:buNone/>
              <a:defRPr sz="1600" b="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HEADING in cap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246660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QUESTIONS</a:t>
            </a:r>
            <a:r>
              <a:rPr lang="en-US" sz="5400" b="0" dirty="0" smtClean="0">
                <a:solidFill>
                  <a:srgbClr val="82C341"/>
                </a:solidFill>
              </a:rPr>
              <a:t>?</a:t>
            </a:r>
            <a:endParaRPr lang="en-US" sz="2800" b="0" dirty="0">
              <a:solidFill>
                <a:srgbClr val="82C34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277547" y="2728867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 baseline="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Email (delete if not needed)</a:t>
            </a:r>
            <a:endParaRPr lang="en-US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7" y="3080706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smtClean="0"/>
              <a:t>Phone number (delete if not needed)</a:t>
            </a:r>
            <a:endParaRPr lang="en-US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277547" y="3432544"/>
            <a:ext cx="3003657" cy="36036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341313" indent="0">
              <a:buNone/>
              <a:defRPr sz="1400"/>
            </a:lvl2pPr>
            <a:lvl3pPr marL="627062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 err="1" smtClean="0"/>
              <a:t>npd.com</a:t>
            </a:r>
            <a:r>
              <a:rPr lang="en-US" dirty="0" smtClean="0"/>
              <a:t> (delete if not needed)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905131" y="2771888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905131" y="3475565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905131" y="3123727"/>
            <a:ext cx="274320" cy="27432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2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649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4824045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3"/>
          <p:cNvSpPr txBox="1">
            <a:spLocks/>
          </p:cNvSpPr>
          <p:nvPr userDrawn="1"/>
        </p:nvSpPr>
        <p:spPr bwMode="black">
          <a:xfrm>
            <a:off x="0" y="1371438"/>
            <a:ext cx="9144000" cy="135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0" dirty="0" smtClean="0">
                <a:solidFill>
                  <a:prstClr val="white"/>
                </a:solidFill>
              </a:rPr>
              <a:t>APPENDIX</a:t>
            </a:r>
            <a:endParaRPr lang="en-US" sz="2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214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318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yl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2431937"/>
      </p:ext>
    </p:extLst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Slide layout"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="" xmlns:a16="http://schemas.microsoft.com/office/drawing/2014/main" id="{AF5DEDB2-78E8-45EC-AB12-C2290127F53E}"/>
              </a:ext>
            </a:extLst>
          </p:cNvPr>
          <p:cNvSpPr/>
          <p:nvPr userDrawn="1"/>
        </p:nvSpPr>
        <p:spPr>
          <a:xfrm rot="18900000">
            <a:off x="2437817" y="-1492038"/>
            <a:ext cx="8127573" cy="8127575"/>
          </a:xfrm>
          <a:custGeom>
            <a:avLst/>
            <a:gdLst>
              <a:gd name="connsiteX0" fmla="*/ 4849337 w 10836764"/>
              <a:gd name="connsiteY0" fmla="*/ 0 h 10836766"/>
              <a:gd name="connsiteX1" fmla="*/ 10836764 w 10836764"/>
              <a:gd name="connsiteY1" fmla="*/ 5987428 h 10836766"/>
              <a:gd name="connsiteX2" fmla="*/ 5987426 w 10836764"/>
              <a:gd name="connsiteY2" fmla="*/ 10836766 h 10836766"/>
              <a:gd name="connsiteX3" fmla="*/ 1 w 10836764"/>
              <a:gd name="connsiteY3" fmla="*/ 4849340 h 10836766"/>
              <a:gd name="connsiteX4" fmla="*/ 0 w 10836764"/>
              <a:gd name="connsiteY4" fmla="*/ 1529113 h 10836766"/>
              <a:gd name="connsiteX5" fmla="*/ 1529113 w 10836764"/>
              <a:gd name="connsiteY5" fmla="*/ 0 h 10836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36764" h="10836766">
                <a:moveTo>
                  <a:pt x="4849337" y="0"/>
                </a:moveTo>
                <a:lnTo>
                  <a:pt x="10836764" y="5987428"/>
                </a:lnTo>
                <a:lnTo>
                  <a:pt x="5987426" y="10836766"/>
                </a:lnTo>
                <a:lnTo>
                  <a:pt x="1" y="4849340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89000">
                <a:schemeClr val="accent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E769B23C-815D-4713-8F2F-BE8E52CBCEEB}"/>
              </a:ext>
            </a:extLst>
          </p:cNvPr>
          <p:cNvSpPr/>
          <p:nvPr userDrawn="1"/>
        </p:nvSpPr>
        <p:spPr>
          <a:xfrm rot="18900000">
            <a:off x="8517299" y="1426573"/>
            <a:ext cx="2330225" cy="2330225"/>
          </a:xfrm>
          <a:custGeom>
            <a:avLst/>
            <a:gdLst>
              <a:gd name="connsiteX0" fmla="*/ 3106966 w 3106966"/>
              <a:gd name="connsiteY0" fmla="*/ 0 h 3106966"/>
              <a:gd name="connsiteX1" fmla="*/ 1 w 3106966"/>
              <a:gd name="connsiteY1" fmla="*/ 3106966 h 3106966"/>
              <a:gd name="connsiteX2" fmla="*/ 0 w 3106966"/>
              <a:gd name="connsiteY2" fmla="*/ 1529113 h 3106966"/>
              <a:gd name="connsiteX3" fmla="*/ 1529113 w 3106966"/>
              <a:gd name="connsiteY3" fmla="*/ 0 h 3106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06966" h="3106966">
                <a:moveTo>
                  <a:pt x="3106966" y="0"/>
                </a:moveTo>
                <a:lnTo>
                  <a:pt x="1" y="3106966"/>
                </a:lnTo>
                <a:lnTo>
                  <a:pt x="0" y="1529113"/>
                </a:lnTo>
                <a:cubicBezTo>
                  <a:pt x="0" y="684607"/>
                  <a:pt x="684607" y="0"/>
                  <a:pt x="152911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12031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Whi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739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4">
            <a:extLst>
              <a:ext uri="{FF2B5EF4-FFF2-40B4-BE49-F238E27FC236}">
                <a16:creationId xmlns="" xmlns:a16="http://schemas.microsoft.com/office/drawing/2014/main" id="{C3CDBC2D-C9C0-4D36-A0F9-7EDE3B294276}"/>
              </a:ext>
            </a:extLst>
          </p:cNvPr>
          <p:cNvSpPr/>
          <p:nvPr userDrawn="1"/>
        </p:nvSpPr>
        <p:spPr>
          <a:xfrm>
            <a:off x="2659899" y="453912"/>
            <a:ext cx="5804833" cy="42406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694249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763651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2833053" y="590097"/>
            <a:ext cx="1620000" cy="1998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9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6" name="Rectangle 48">
            <a:extLst>
              <a:ext uri="{FF2B5EF4-FFF2-40B4-BE49-F238E27FC236}">
                <a16:creationId xmlns="" xmlns:a16="http://schemas.microsoft.com/office/drawing/2014/main" id="{7877AA66-AAFD-429C-B217-380BEF1ADDE2}"/>
              </a:ext>
            </a:extLst>
          </p:cNvPr>
          <p:cNvSpPr/>
          <p:nvPr userDrawn="1"/>
        </p:nvSpPr>
        <p:spPr>
          <a:xfrm>
            <a:off x="2833053" y="2743256"/>
            <a:ext cx="1620000" cy="486000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="" xmlns:a16="http://schemas.microsoft.com/office/drawing/2014/main" id="{852C85C1-7D9E-4F23-85EA-6A451FF0BEF6}"/>
              </a:ext>
            </a:extLst>
          </p:cNvPr>
          <p:cNvSpPr/>
          <p:nvPr userDrawn="1"/>
        </p:nvSpPr>
        <p:spPr>
          <a:xfrm>
            <a:off x="4763651" y="2735528"/>
            <a:ext cx="1620000" cy="486000"/>
          </a:xfrm>
          <a:prstGeom prst="rect">
            <a:avLst/>
          </a:prstGeom>
          <a:solidFill>
            <a:schemeClr val="accent3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9" name="Rectangle 20">
            <a:extLst>
              <a:ext uri="{FF2B5EF4-FFF2-40B4-BE49-F238E27FC236}">
                <a16:creationId xmlns="" xmlns:a16="http://schemas.microsoft.com/office/drawing/2014/main" id="{E05C1512-E9F1-4355-8FF9-6A6F0DFFCB7B}"/>
              </a:ext>
            </a:extLst>
          </p:cNvPr>
          <p:cNvSpPr/>
          <p:nvPr userDrawn="1"/>
        </p:nvSpPr>
        <p:spPr>
          <a:xfrm>
            <a:off x="6694249" y="2743256"/>
            <a:ext cx="1620000" cy="48600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57200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="" xmlns:a16="http://schemas.microsoft.com/office/drawing/2014/main" id="{2760AC20-0645-4AE6-BC4F-285B18B690BF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834742" y="1378743"/>
            <a:ext cx="6309259" cy="3050383"/>
          </a:xfrm>
          <a:custGeom>
            <a:avLst/>
            <a:gdLst>
              <a:gd name="connsiteX0" fmla="*/ 0 w 8412345"/>
              <a:gd name="connsiteY0" fmla="*/ 0 h 4067177"/>
              <a:gd name="connsiteX1" fmla="*/ 8412345 w 8412345"/>
              <a:gd name="connsiteY1" fmla="*/ 0 h 4067177"/>
              <a:gd name="connsiteX2" fmla="*/ 8412345 w 8412345"/>
              <a:gd name="connsiteY2" fmla="*/ 4067177 h 4067177"/>
              <a:gd name="connsiteX3" fmla="*/ 1452936 w 8412345"/>
              <a:gd name="connsiteY3" fmla="*/ 4067177 h 4067177"/>
              <a:gd name="connsiteX4" fmla="*/ 1340647 w 8412345"/>
              <a:gd name="connsiteY4" fmla="*/ 3752847 h 4067177"/>
              <a:gd name="connsiteX5" fmla="*/ 8412344 w 8412345"/>
              <a:gd name="connsiteY5" fmla="*/ 3752847 h 4067177"/>
              <a:gd name="connsiteX6" fmla="*/ 8412344 w 8412345"/>
              <a:gd name="connsiteY6" fmla="*/ 3524256 h 4067177"/>
              <a:gd name="connsiteX7" fmla="*/ 1258986 w 8412345"/>
              <a:gd name="connsiteY7" fmla="*/ 3524256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12345" h="4067177">
                <a:moveTo>
                  <a:pt x="0" y="0"/>
                </a:moveTo>
                <a:lnTo>
                  <a:pt x="8412345" y="0"/>
                </a:lnTo>
                <a:lnTo>
                  <a:pt x="8412345" y="4067177"/>
                </a:lnTo>
                <a:lnTo>
                  <a:pt x="1452936" y="4067177"/>
                </a:lnTo>
                <a:lnTo>
                  <a:pt x="1340647" y="3752847"/>
                </a:lnTo>
                <a:lnTo>
                  <a:pt x="8412344" y="3752847"/>
                </a:lnTo>
                <a:lnTo>
                  <a:pt x="8412344" y="3524256"/>
                </a:lnTo>
                <a:lnTo>
                  <a:pt x="1258986" y="3524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="" xmlns:a16="http://schemas.microsoft.com/office/drawing/2014/main" id="{DF0D5D85-25EF-40C1-9119-2AE98DC382AC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964406"/>
            <a:ext cx="3324186" cy="3050383"/>
          </a:xfrm>
          <a:custGeom>
            <a:avLst/>
            <a:gdLst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904875 w 4432248"/>
              <a:gd name="connsiteY2" fmla="*/ 0 h 4067177"/>
              <a:gd name="connsiteX3" fmla="*/ 2979312 w 4432248"/>
              <a:gd name="connsiteY3" fmla="*/ 0 h 4067177"/>
              <a:gd name="connsiteX4" fmla="*/ 4432248 w 4432248"/>
              <a:gd name="connsiteY4" fmla="*/ 4067177 h 4067177"/>
              <a:gd name="connsiteX5" fmla="*/ 571500 w 4432248"/>
              <a:gd name="connsiteY5" fmla="*/ 4067177 h 4067177"/>
              <a:gd name="connsiteX6" fmla="*/ 571500 w 4432248"/>
              <a:gd name="connsiteY6" fmla="*/ 4067175 h 4067177"/>
              <a:gd name="connsiteX7" fmla="*/ 0 w 4432248"/>
              <a:gd name="connsiteY7" fmla="*/ 4067175 h 4067177"/>
              <a:gd name="connsiteX0" fmla="*/ 0 w 4432248"/>
              <a:gd name="connsiteY0" fmla="*/ 0 h 4067177"/>
              <a:gd name="connsiteX1" fmla="*/ 571500 w 4432248"/>
              <a:gd name="connsiteY1" fmla="*/ 0 h 4067177"/>
              <a:gd name="connsiteX2" fmla="*/ 2979312 w 4432248"/>
              <a:gd name="connsiteY2" fmla="*/ 0 h 4067177"/>
              <a:gd name="connsiteX3" fmla="*/ 4432248 w 4432248"/>
              <a:gd name="connsiteY3" fmla="*/ 4067177 h 4067177"/>
              <a:gd name="connsiteX4" fmla="*/ 571500 w 4432248"/>
              <a:gd name="connsiteY4" fmla="*/ 4067177 h 4067177"/>
              <a:gd name="connsiteX5" fmla="*/ 571500 w 4432248"/>
              <a:gd name="connsiteY5" fmla="*/ 4067175 h 4067177"/>
              <a:gd name="connsiteX6" fmla="*/ 0 w 4432248"/>
              <a:gd name="connsiteY6" fmla="*/ 4067175 h 4067177"/>
              <a:gd name="connsiteX7" fmla="*/ 0 w 4432248"/>
              <a:gd name="connsiteY7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571500 w 4432248"/>
              <a:gd name="connsiteY4" fmla="*/ 4067175 h 4067177"/>
              <a:gd name="connsiteX5" fmla="*/ 0 w 4432248"/>
              <a:gd name="connsiteY5" fmla="*/ 4067175 h 4067177"/>
              <a:gd name="connsiteX6" fmla="*/ 0 w 4432248"/>
              <a:gd name="connsiteY6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571500 w 4432248"/>
              <a:gd name="connsiteY3" fmla="*/ 4067177 h 4067177"/>
              <a:gd name="connsiteX4" fmla="*/ 0 w 4432248"/>
              <a:gd name="connsiteY4" fmla="*/ 4067175 h 4067177"/>
              <a:gd name="connsiteX5" fmla="*/ 0 w 4432248"/>
              <a:gd name="connsiteY5" fmla="*/ 0 h 4067177"/>
              <a:gd name="connsiteX0" fmla="*/ 0 w 4432248"/>
              <a:gd name="connsiteY0" fmla="*/ 0 h 4067177"/>
              <a:gd name="connsiteX1" fmla="*/ 2979312 w 4432248"/>
              <a:gd name="connsiteY1" fmla="*/ 0 h 4067177"/>
              <a:gd name="connsiteX2" fmla="*/ 4432248 w 4432248"/>
              <a:gd name="connsiteY2" fmla="*/ 4067177 h 4067177"/>
              <a:gd name="connsiteX3" fmla="*/ 0 w 4432248"/>
              <a:gd name="connsiteY3" fmla="*/ 4067175 h 4067177"/>
              <a:gd name="connsiteX4" fmla="*/ 0 w 4432248"/>
              <a:gd name="connsiteY4" fmla="*/ 0 h 406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2248" h="4067177">
                <a:moveTo>
                  <a:pt x="0" y="0"/>
                </a:moveTo>
                <a:lnTo>
                  <a:pt x="2979312" y="0"/>
                </a:lnTo>
                <a:lnTo>
                  <a:pt x="4432248" y="4067177"/>
                </a:lnTo>
                <a:lnTo>
                  <a:pt x="0" y="406717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7226474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B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365760" tIns="0" rIns="365760" bIns="0" anchor="ctr" anchorCtr="1"/>
          <a:lstStyle>
            <a:lvl1pPr algn="ctr">
              <a:lnSpc>
                <a:spcPct val="80000"/>
              </a:lnSpc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97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5" y="803341"/>
            <a:ext cx="8460825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15114" y="3851952"/>
            <a:ext cx="8457515" cy="434579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4"/>
          </p:nvPr>
        </p:nvSpPr>
        <p:spPr>
          <a:xfrm>
            <a:off x="415114" y="1347285"/>
            <a:ext cx="8457516" cy="2437129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15115" y="4368667"/>
            <a:ext cx="845751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810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age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="" xmlns:a16="http://schemas.microsoft.com/office/drawing/2014/main" id="{7CB68201-6AEB-4BFE-B92F-F7D14A3CB566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0"/>
            <a:ext cx="5366888" cy="5143500"/>
          </a:xfrm>
          <a:custGeom>
            <a:avLst/>
            <a:gdLst>
              <a:gd name="connsiteX0" fmla="*/ 0 w 7155850"/>
              <a:gd name="connsiteY0" fmla="*/ 3024930 h 6858000"/>
              <a:gd name="connsiteX1" fmla="*/ 2358530 w 7155850"/>
              <a:gd name="connsiteY1" fmla="*/ 6858000 h 6858000"/>
              <a:gd name="connsiteX2" fmla="*/ 1329860 w 7155850"/>
              <a:gd name="connsiteY2" fmla="*/ 6858000 h 6858000"/>
              <a:gd name="connsiteX3" fmla="*/ 0 w 7155850"/>
              <a:gd name="connsiteY3" fmla="*/ 4691859 h 6858000"/>
              <a:gd name="connsiteX4" fmla="*/ 1 w 7155850"/>
              <a:gd name="connsiteY4" fmla="*/ 397145 h 6858000"/>
              <a:gd name="connsiteX5" fmla="*/ 3459898 w 7155850"/>
              <a:gd name="connsiteY5" fmla="*/ 6020152 h 6858000"/>
              <a:gd name="connsiteX6" fmla="*/ 2945517 w 7155850"/>
              <a:gd name="connsiteY6" fmla="*/ 6858000 h 6858000"/>
              <a:gd name="connsiteX7" fmla="*/ 1 w 7155850"/>
              <a:gd name="connsiteY7" fmla="*/ 2060197 h 6858000"/>
              <a:gd name="connsiteX8" fmla="*/ 396861 w 7155850"/>
              <a:gd name="connsiteY8" fmla="*/ 0 h 6858000"/>
              <a:gd name="connsiteX9" fmla="*/ 7155850 w 7155850"/>
              <a:gd name="connsiteY9" fmla="*/ 0 h 6858000"/>
              <a:gd name="connsiteX10" fmla="*/ 3780151 w 7155850"/>
              <a:gd name="connsiteY10" fmla="*/ 549850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155850" h="6858000">
                <a:moveTo>
                  <a:pt x="0" y="3024930"/>
                </a:moveTo>
                <a:lnTo>
                  <a:pt x="2358530" y="6858000"/>
                </a:lnTo>
                <a:lnTo>
                  <a:pt x="1329860" y="6858000"/>
                </a:lnTo>
                <a:lnTo>
                  <a:pt x="0" y="4691859"/>
                </a:lnTo>
                <a:close/>
                <a:moveTo>
                  <a:pt x="1" y="397145"/>
                </a:moveTo>
                <a:lnTo>
                  <a:pt x="3459898" y="6020152"/>
                </a:lnTo>
                <a:lnTo>
                  <a:pt x="2945517" y="6858000"/>
                </a:lnTo>
                <a:lnTo>
                  <a:pt x="1" y="2060197"/>
                </a:lnTo>
                <a:close/>
                <a:moveTo>
                  <a:pt x="396861" y="0"/>
                </a:moveTo>
                <a:lnTo>
                  <a:pt x="7155850" y="0"/>
                </a:lnTo>
                <a:lnTo>
                  <a:pt x="3780151" y="549850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68577" tIns="34289" rIns="68577" bIns="34289" anchor="ctr">
            <a:noAutofit/>
          </a:bodyPr>
          <a:lstStyle>
            <a:lvl1pPr marL="0" indent="0" algn="ctr">
              <a:buNone/>
              <a:defRPr sz="1400">
                <a:latin typeface="+mn-lt"/>
                <a:cs typeface="Arial" pitchFamily="34" charset="0"/>
              </a:defRPr>
            </a:lvl1pPr>
            <a:lvl2pPr marL="342899" indent="0">
              <a:buNone/>
              <a:defRPr sz="2100"/>
            </a:lvl2pPr>
            <a:lvl3pPr marL="685801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2" indent="0">
              <a:buNone/>
              <a:defRPr sz="1500"/>
            </a:lvl6pPr>
            <a:lvl7pPr marL="2057401" indent="0">
              <a:buNone/>
              <a:defRPr sz="1500"/>
            </a:lvl7pPr>
            <a:lvl8pPr marL="2400300" indent="0">
              <a:buNone/>
              <a:defRPr sz="1500"/>
            </a:lvl8pPr>
            <a:lvl9pPr marL="2743199" indent="0">
              <a:buNone/>
              <a:defRPr sz="15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22236968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Gra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rgbClr val="565A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2C3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5221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5" y="1501752"/>
            <a:ext cx="8450164" cy="297014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rgbClr val="8E908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908F"/>
              </a:buCl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8460824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05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Content and Im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9144000" cy="4824046"/>
          </a:xfrm>
          <a:prstGeom prst="rect">
            <a:avLst/>
          </a:prstGeom>
          <a:solidFill>
            <a:srgbClr val="005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5383941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3884" y="1656523"/>
            <a:ext cx="5383941" cy="2815378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buClr>
                <a:srgbClr val="8E908F"/>
              </a:buClr>
              <a:tabLst/>
              <a:defRPr sz="2400">
                <a:solidFill>
                  <a:srgbClr val="FFFFFF"/>
                </a:solidFill>
              </a:defRPr>
            </a:lvl1pPr>
            <a:lvl2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2pPr>
            <a:lvl3pPr>
              <a:buClr>
                <a:srgbClr val="8E908F"/>
              </a:buClr>
              <a:tabLst/>
              <a:defRPr>
                <a:solidFill>
                  <a:srgbClr val="FFFFFF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806" y="803341"/>
            <a:ext cx="5385542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8E908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5980042" y="-1"/>
            <a:ext cx="3163957" cy="4819487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128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B, partial image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" y="995447"/>
            <a:ext cx="9144000" cy="2746060"/>
          </a:xfrm>
          <a:solidFill>
            <a:srgbClr val="0078BE">
              <a:alpha val="75000"/>
            </a:srgbClr>
          </a:solidFill>
        </p:spPr>
        <p:txBody>
          <a:bodyPr lIns="182880" tIns="502920" rIns="182880"/>
          <a:lstStyle>
            <a:lvl1pPr algn="ctr">
              <a:defRPr sz="5400" b="0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IN CAPS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85763" y="2308225"/>
            <a:ext cx="8494712" cy="397115"/>
          </a:xfrm>
        </p:spPr>
        <p:txBody>
          <a:bodyPr/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0327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Title Only –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6513"/>
            <a:ext cx="9144000" cy="48305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885" y="290786"/>
            <a:ext cx="8458745" cy="45720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rgbClr val="8E90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01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 descr="shutterstock_17479292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5143500"/>
          </a:xfrm>
          <a:solidFill>
            <a:srgbClr val="0078BE">
              <a:alpha val="60000"/>
            </a:srgbClr>
          </a:solidFill>
        </p:spPr>
        <p:txBody>
          <a:bodyPr lIns="365760" tIns="1371600" rIns="365760" bIns="1371600" anchor="ctr"/>
          <a:lstStyle>
            <a:lvl1pPr algn="ctr">
              <a:lnSpc>
                <a:spcPct val="80000"/>
              </a:lnSpc>
              <a:defRPr sz="5400" b="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ition slide            TITLE IN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42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Option D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2037644"/>
          </a:xfrm>
          <a:solidFill>
            <a:schemeClr val="bg1">
              <a:lumMod val="75000"/>
            </a:schemeClr>
          </a:solidFill>
        </p:spPr>
        <p:txBody>
          <a:bodyPr wrap="none" bIns="457200" anchor="b" anchorCtr="0"/>
          <a:lstStyle>
            <a:lvl1pPr marL="573088" marR="0" indent="0" algn="l" defTabSz="4572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tabLst/>
              <a:defRPr sz="1000"/>
            </a:lvl1pPr>
          </a:lstStyle>
          <a:p>
            <a:pPr algn="l" eaLnBrk="0" hangingPunct="0">
              <a:defRPr/>
            </a:pPr>
            <a:r>
              <a:rPr lang="en-US" sz="700" dirty="0" smtClean="0">
                <a:solidFill>
                  <a:schemeClr val="tx1"/>
                </a:solidFill>
              </a:rPr>
              <a:t>The image should fill up the entire space of the gray box, no gray should</a:t>
            </a:r>
            <a:r>
              <a:rPr lang="en-US" sz="700" baseline="0" dirty="0" smtClean="0">
                <a:solidFill>
                  <a:schemeClr val="tx1"/>
                </a:solidFill>
              </a:rPr>
              <a:t> be seen</a:t>
            </a:r>
            <a:endParaRPr lang="en-US" sz="700" dirty="0" smtClean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11480" y="2330527"/>
            <a:ext cx="8321040" cy="4572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 smtClean="0"/>
              <a:t>Transition Slid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23305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2980266"/>
            <a:ext cx="8321040" cy="1491633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spcAft>
                <a:spcPts val="1000"/>
              </a:spcAft>
              <a:defRPr sz="2400"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5896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black">
          <a:xfrm>
            <a:off x="411480" y="1501752"/>
            <a:ext cx="8321040" cy="2736352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 baseline="0"/>
            </a:lvl1pPr>
            <a:lvl3pPr>
              <a:defRPr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916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-by-Side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9327"/>
            <a:ext cx="109728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611214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 bwMode="black">
          <a:xfrm>
            <a:off x="4875185" y="2188267"/>
            <a:ext cx="3657600" cy="2057400"/>
          </a:xfrm>
          <a:prstGeom prst="rect">
            <a:avLst/>
          </a:prstGeom>
        </p:spPr>
        <p:txBody>
          <a:bodyPr/>
          <a:lstStyle>
            <a:lvl1pPr marL="346075" indent="-346075" algn="l">
              <a:spcBef>
                <a:spcPts val="0"/>
              </a:spcBef>
              <a:defRPr sz="2400"/>
            </a:lvl1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11480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8321040" cy="368917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200"/>
              </a:spcAft>
              <a:buNone/>
              <a:defRPr sz="2000" b="1">
                <a:solidFill>
                  <a:srgbClr val="0078BE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51" y="1536970"/>
            <a:ext cx="4057069" cy="4572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lIns="210312" tIns="91440" rIns="91440" bIns="91440" anchor="ctr"/>
          <a:lstStyle>
            <a:lvl1pPr marL="0" indent="0" algn="l">
              <a:lnSpc>
                <a:spcPct val="100000"/>
              </a:lnSpc>
              <a:spcAft>
                <a:spcPts val="200"/>
              </a:spcAft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Edit Master text styles</a:t>
            </a:r>
          </a:p>
        </p:txBody>
      </p:sp>
      <p:sp>
        <p:nvSpPr>
          <p:cNvPr id="14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71695" y="4374930"/>
            <a:ext cx="4060825" cy="261938"/>
          </a:xfrm>
        </p:spPr>
        <p:txBody>
          <a:bodyPr anchor="b" anchorCtr="0"/>
          <a:lstStyle>
            <a:lvl1pPr marL="0" indent="0" algn="r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source lin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480" y="4374930"/>
            <a:ext cx="4060825" cy="261938"/>
          </a:xfrm>
        </p:spPr>
        <p:txBody>
          <a:bodyPr anchor="b" anchorCtr="0"/>
          <a:lstStyle>
            <a:lvl1pPr marL="0" indent="0" algn="l">
              <a:spcAft>
                <a:spcPts val="0"/>
              </a:spcAft>
              <a:buFontTx/>
              <a:buNone/>
              <a:defRPr sz="900" i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908505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10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70.xml"/><Relationship Id="rId21" Type="http://schemas.openxmlformats.org/officeDocument/2006/relationships/slideLayout" Target="../slideLayouts/slideLayout665.xml"/><Relationship Id="rId42" Type="http://schemas.openxmlformats.org/officeDocument/2006/relationships/slideLayout" Target="../slideLayouts/slideLayout686.xml"/><Relationship Id="rId47" Type="http://schemas.openxmlformats.org/officeDocument/2006/relationships/slideLayout" Target="../slideLayouts/slideLayout691.xml"/><Relationship Id="rId63" Type="http://schemas.openxmlformats.org/officeDocument/2006/relationships/slideLayout" Target="../slideLayouts/slideLayout707.xml"/><Relationship Id="rId68" Type="http://schemas.openxmlformats.org/officeDocument/2006/relationships/slideLayout" Target="../slideLayouts/slideLayout712.xml"/><Relationship Id="rId16" Type="http://schemas.openxmlformats.org/officeDocument/2006/relationships/slideLayout" Target="../slideLayouts/slideLayout660.xml"/><Relationship Id="rId11" Type="http://schemas.openxmlformats.org/officeDocument/2006/relationships/slideLayout" Target="../slideLayouts/slideLayout655.xml"/><Relationship Id="rId24" Type="http://schemas.openxmlformats.org/officeDocument/2006/relationships/slideLayout" Target="../slideLayouts/slideLayout668.xml"/><Relationship Id="rId32" Type="http://schemas.openxmlformats.org/officeDocument/2006/relationships/slideLayout" Target="../slideLayouts/slideLayout676.xml"/><Relationship Id="rId37" Type="http://schemas.openxmlformats.org/officeDocument/2006/relationships/slideLayout" Target="../slideLayouts/slideLayout681.xml"/><Relationship Id="rId40" Type="http://schemas.openxmlformats.org/officeDocument/2006/relationships/slideLayout" Target="../slideLayouts/slideLayout684.xml"/><Relationship Id="rId45" Type="http://schemas.openxmlformats.org/officeDocument/2006/relationships/slideLayout" Target="../slideLayouts/slideLayout689.xml"/><Relationship Id="rId53" Type="http://schemas.openxmlformats.org/officeDocument/2006/relationships/slideLayout" Target="../slideLayouts/slideLayout697.xml"/><Relationship Id="rId58" Type="http://schemas.openxmlformats.org/officeDocument/2006/relationships/slideLayout" Target="../slideLayouts/slideLayout702.xml"/><Relationship Id="rId66" Type="http://schemas.openxmlformats.org/officeDocument/2006/relationships/slideLayout" Target="../slideLayouts/slideLayout710.xml"/><Relationship Id="rId74" Type="http://schemas.openxmlformats.org/officeDocument/2006/relationships/slideLayout" Target="../slideLayouts/slideLayout718.xml"/><Relationship Id="rId5" Type="http://schemas.openxmlformats.org/officeDocument/2006/relationships/slideLayout" Target="../slideLayouts/slideLayout649.xml"/><Relationship Id="rId61" Type="http://schemas.openxmlformats.org/officeDocument/2006/relationships/slideLayout" Target="../slideLayouts/slideLayout705.xml"/><Relationship Id="rId19" Type="http://schemas.openxmlformats.org/officeDocument/2006/relationships/slideLayout" Target="../slideLayouts/slideLayout663.xml"/><Relationship Id="rId14" Type="http://schemas.openxmlformats.org/officeDocument/2006/relationships/slideLayout" Target="../slideLayouts/slideLayout658.xml"/><Relationship Id="rId22" Type="http://schemas.openxmlformats.org/officeDocument/2006/relationships/slideLayout" Target="../slideLayouts/slideLayout666.xml"/><Relationship Id="rId27" Type="http://schemas.openxmlformats.org/officeDocument/2006/relationships/slideLayout" Target="../slideLayouts/slideLayout671.xml"/><Relationship Id="rId30" Type="http://schemas.openxmlformats.org/officeDocument/2006/relationships/slideLayout" Target="../slideLayouts/slideLayout674.xml"/><Relationship Id="rId35" Type="http://schemas.openxmlformats.org/officeDocument/2006/relationships/slideLayout" Target="../slideLayouts/slideLayout679.xml"/><Relationship Id="rId43" Type="http://schemas.openxmlformats.org/officeDocument/2006/relationships/slideLayout" Target="../slideLayouts/slideLayout687.xml"/><Relationship Id="rId48" Type="http://schemas.openxmlformats.org/officeDocument/2006/relationships/slideLayout" Target="../slideLayouts/slideLayout692.xml"/><Relationship Id="rId56" Type="http://schemas.openxmlformats.org/officeDocument/2006/relationships/slideLayout" Target="../slideLayouts/slideLayout700.xml"/><Relationship Id="rId64" Type="http://schemas.openxmlformats.org/officeDocument/2006/relationships/slideLayout" Target="../slideLayouts/slideLayout708.xml"/><Relationship Id="rId69" Type="http://schemas.openxmlformats.org/officeDocument/2006/relationships/slideLayout" Target="../slideLayouts/slideLayout713.xml"/><Relationship Id="rId77" Type="http://schemas.openxmlformats.org/officeDocument/2006/relationships/slideLayout" Target="../slideLayouts/slideLayout721.xml"/><Relationship Id="rId8" Type="http://schemas.openxmlformats.org/officeDocument/2006/relationships/slideLayout" Target="../slideLayouts/slideLayout652.xml"/><Relationship Id="rId51" Type="http://schemas.openxmlformats.org/officeDocument/2006/relationships/slideLayout" Target="../slideLayouts/slideLayout695.xml"/><Relationship Id="rId72" Type="http://schemas.openxmlformats.org/officeDocument/2006/relationships/slideLayout" Target="../slideLayouts/slideLayout716.xml"/><Relationship Id="rId3" Type="http://schemas.openxmlformats.org/officeDocument/2006/relationships/slideLayout" Target="../slideLayouts/slideLayout647.xml"/><Relationship Id="rId12" Type="http://schemas.openxmlformats.org/officeDocument/2006/relationships/slideLayout" Target="../slideLayouts/slideLayout656.xml"/><Relationship Id="rId17" Type="http://schemas.openxmlformats.org/officeDocument/2006/relationships/slideLayout" Target="../slideLayouts/slideLayout661.xml"/><Relationship Id="rId25" Type="http://schemas.openxmlformats.org/officeDocument/2006/relationships/slideLayout" Target="../slideLayouts/slideLayout669.xml"/><Relationship Id="rId33" Type="http://schemas.openxmlformats.org/officeDocument/2006/relationships/slideLayout" Target="../slideLayouts/slideLayout677.xml"/><Relationship Id="rId38" Type="http://schemas.openxmlformats.org/officeDocument/2006/relationships/slideLayout" Target="../slideLayouts/slideLayout682.xml"/><Relationship Id="rId46" Type="http://schemas.openxmlformats.org/officeDocument/2006/relationships/slideLayout" Target="../slideLayouts/slideLayout690.xml"/><Relationship Id="rId59" Type="http://schemas.openxmlformats.org/officeDocument/2006/relationships/slideLayout" Target="../slideLayouts/slideLayout703.xml"/><Relationship Id="rId67" Type="http://schemas.openxmlformats.org/officeDocument/2006/relationships/slideLayout" Target="../slideLayouts/slideLayout711.xml"/><Relationship Id="rId20" Type="http://schemas.openxmlformats.org/officeDocument/2006/relationships/slideLayout" Target="../slideLayouts/slideLayout664.xml"/><Relationship Id="rId41" Type="http://schemas.openxmlformats.org/officeDocument/2006/relationships/slideLayout" Target="../slideLayouts/slideLayout685.xml"/><Relationship Id="rId54" Type="http://schemas.openxmlformats.org/officeDocument/2006/relationships/slideLayout" Target="../slideLayouts/slideLayout698.xml"/><Relationship Id="rId62" Type="http://schemas.openxmlformats.org/officeDocument/2006/relationships/slideLayout" Target="../slideLayouts/slideLayout706.xml"/><Relationship Id="rId70" Type="http://schemas.openxmlformats.org/officeDocument/2006/relationships/slideLayout" Target="../slideLayouts/slideLayout714.xml"/><Relationship Id="rId75" Type="http://schemas.openxmlformats.org/officeDocument/2006/relationships/slideLayout" Target="../slideLayouts/slideLayout719.xml"/><Relationship Id="rId1" Type="http://schemas.openxmlformats.org/officeDocument/2006/relationships/slideLayout" Target="../slideLayouts/slideLayout645.xml"/><Relationship Id="rId6" Type="http://schemas.openxmlformats.org/officeDocument/2006/relationships/slideLayout" Target="../slideLayouts/slideLayout650.xml"/><Relationship Id="rId15" Type="http://schemas.openxmlformats.org/officeDocument/2006/relationships/slideLayout" Target="../slideLayouts/slideLayout659.xml"/><Relationship Id="rId23" Type="http://schemas.openxmlformats.org/officeDocument/2006/relationships/slideLayout" Target="../slideLayouts/slideLayout667.xml"/><Relationship Id="rId28" Type="http://schemas.openxmlformats.org/officeDocument/2006/relationships/slideLayout" Target="../slideLayouts/slideLayout672.xml"/><Relationship Id="rId36" Type="http://schemas.openxmlformats.org/officeDocument/2006/relationships/slideLayout" Target="../slideLayouts/slideLayout680.xml"/><Relationship Id="rId49" Type="http://schemas.openxmlformats.org/officeDocument/2006/relationships/slideLayout" Target="../slideLayouts/slideLayout693.xml"/><Relationship Id="rId57" Type="http://schemas.openxmlformats.org/officeDocument/2006/relationships/slideLayout" Target="../slideLayouts/slideLayout701.xml"/><Relationship Id="rId10" Type="http://schemas.openxmlformats.org/officeDocument/2006/relationships/slideLayout" Target="../slideLayouts/slideLayout654.xml"/><Relationship Id="rId31" Type="http://schemas.openxmlformats.org/officeDocument/2006/relationships/slideLayout" Target="../slideLayouts/slideLayout675.xml"/><Relationship Id="rId44" Type="http://schemas.openxmlformats.org/officeDocument/2006/relationships/slideLayout" Target="../slideLayouts/slideLayout688.xml"/><Relationship Id="rId52" Type="http://schemas.openxmlformats.org/officeDocument/2006/relationships/slideLayout" Target="../slideLayouts/slideLayout696.xml"/><Relationship Id="rId60" Type="http://schemas.openxmlformats.org/officeDocument/2006/relationships/slideLayout" Target="../slideLayouts/slideLayout704.xml"/><Relationship Id="rId65" Type="http://schemas.openxmlformats.org/officeDocument/2006/relationships/slideLayout" Target="../slideLayouts/slideLayout709.xml"/><Relationship Id="rId73" Type="http://schemas.openxmlformats.org/officeDocument/2006/relationships/slideLayout" Target="../slideLayouts/slideLayout717.xml"/><Relationship Id="rId78" Type="http://schemas.openxmlformats.org/officeDocument/2006/relationships/theme" Target="../theme/theme10.xml"/><Relationship Id="rId4" Type="http://schemas.openxmlformats.org/officeDocument/2006/relationships/slideLayout" Target="../slideLayouts/slideLayout648.xml"/><Relationship Id="rId9" Type="http://schemas.openxmlformats.org/officeDocument/2006/relationships/slideLayout" Target="../slideLayouts/slideLayout653.xml"/><Relationship Id="rId13" Type="http://schemas.openxmlformats.org/officeDocument/2006/relationships/slideLayout" Target="../slideLayouts/slideLayout657.xml"/><Relationship Id="rId18" Type="http://schemas.openxmlformats.org/officeDocument/2006/relationships/slideLayout" Target="../slideLayouts/slideLayout662.xml"/><Relationship Id="rId39" Type="http://schemas.openxmlformats.org/officeDocument/2006/relationships/slideLayout" Target="../slideLayouts/slideLayout683.xml"/><Relationship Id="rId34" Type="http://schemas.openxmlformats.org/officeDocument/2006/relationships/slideLayout" Target="../slideLayouts/slideLayout678.xml"/><Relationship Id="rId50" Type="http://schemas.openxmlformats.org/officeDocument/2006/relationships/slideLayout" Target="../slideLayouts/slideLayout694.xml"/><Relationship Id="rId55" Type="http://schemas.openxmlformats.org/officeDocument/2006/relationships/slideLayout" Target="../slideLayouts/slideLayout699.xml"/><Relationship Id="rId76" Type="http://schemas.openxmlformats.org/officeDocument/2006/relationships/slideLayout" Target="../slideLayouts/slideLayout720.xml"/><Relationship Id="rId7" Type="http://schemas.openxmlformats.org/officeDocument/2006/relationships/slideLayout" Target="../slideLayouts/slideLayout651.xml"/><Relationship Id="rId71" Type="http://schemas.openxmlformats.org/officeDocument/2006/relationships/slideLayout" Target="../slideLayouts/slideLayout715.xml"/><Relationship Id="rId2" Type="http://schemas.openxmlformats.org/officeDocument/2006/relationships/slideLayout" Target="../slideLayouts/slideLayout646.xml"/><Relationship Id="rId29" Type="http://schemas.openxmlformats.org/officeDocument/2006/relationships/slideLayout" Target="../slideLayouts/slideLayout673.xml"/></Relationships>
</file>

<file path=ppt/slideMasters/_rels/slideMaster1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47.xml"/><Relationship Id="rId21" Type="http://schemas.openxmlformats.org/officeDocument/2006/relationships/slideLayout" Target="../slideLayouts/slideLayout742.xml"/><Relationship Id="rId42" Type="http://schemas.openxmlformats.org/officeDocument/2006/relationships/slideLayout" Target="../slideLayouts/slideLayout763.xml"/><Relationship Id="rId47" Type="http://schemas.openxmlformats.org/officeDocument/2006/relationships/slideLayout" Target="../slideLayouts/slideLayout768.xml"/><Relationship Id="rId63" Type="http://schemas.openxmlformats.org/officeDocument/2006/relationships/slideLayout" Target="../slideLayouts/slideLayout784.xml"/><Relationship Id="rId68" Type="http://schemas.openxmlformats.org/officeDocument/2006/relationships/slideLayout" Target="../slideLayouts/slideLayout789.xml"/><Relationship Id="rId16" Type="http://schemas.openxmlformats.org/officeDocument/2006/relationships/slideLayout" Target="../slideLayouts/slideLayout737.xml"/><Relationship Id="rId11" Type="http://schemas.openxmlformats.org/officeDocument/2006/relationships/slideLayout" Target="../slideLayouts/slideLayout732.xml"/><Relationship Id="rId32" Type="http://schemas.openxmlformats.org/officeDocument/2006/relationships/slideLayout" Target="../slideLayouts/slideLayout753.xml"/><Relationship Id="rId37" Type="http://schemas.openxmlformats.org/officeDocument/2006/relationships/slideLayout" Target="../slideLayouts/slideLayout758.xml"/><Relationship Id="rId53" Type="http://schemas.openxmlformats.org/officeDocument/2006/relationships/slideLayout" Target="../slideLayouts/slideLayout774.xml"/><Relationship Id="rId58" Type="http://schemas.openxmlformats.org/officeDocument/2006/relationships/slideLayout" Target="../slideLayouts/slideLayout779.xml"/><Relationship Id="rId74" Type="http://schemas.openxmlformats.org/officeDocument/2006/relationships/slideLayout" Target="../slideLayouts/slideLayout795.xml"/><Relationship Id="rId79" Type="http://schemas.openxmlformats.org/officeDocument/2006/relationships/slideLayout" Target="../slideLayouts/slideLayout800.xml"/><Relationship Id="rId5" Type="http://schemas.openxmlformats.org/officeDocument/2006/relationships/slideLayout" Target="../slideLayouts/slideLayout726.xml"/><Relationship Id="rId61" Type="http://schemas.openxmlformats.org/officeDocument/2006/relationships/slideLayout" Target="../slideLayouts/slideLayout782.xml"/><Relationship Id="rId82" Type="http://schemas.openxmlformats.org/officeDocument/2006/relationships/theme" Target="../theme/theme11.xml"/><Relationship Id="rId19" Type="http://schemas.openxmlformats.org/officeDocument/2006/relationships/slideLayout" Target="../slideLayouts/slideLayout740.xml"/><Relationship Id="rId14" Type="http://schemas.openxmlformats.org/officeDocument/2006/relationships/slideLayout" Target="../slideLayouts/slideLayout735.xml"/><Relationship Id="rId22" Type="http://schemas.openxmlformats.org/officeDocument/2006/relationships/slideLayout" Target="../slideLayouts/slideLayout743.xml"/><Relationship Id="rId27" Type="http://schemas.openxmlformats.org/officeDocument/2006/relationships/slideLayout" Target="../slideLayouts/slideLayout748.xml"/><Relationship Id="rId30" Type="http://schemas.openxmlformats.org/officeDocument/2006/relationships/slideLayout" Target="../slideLayouts/slideLayout751.xml"/><Relationship Id="rId35" Type="http://schemas.openxmlformats.org/officeDocument/2006/relationships/slideLayout" Target="../slideLayouts/slideLayout756.xml"/><Relationship Id="rId43" Type="http://schemas.openxmlformats.org/officeDocument/2006/relationships/slideLayout" Target="../slideLayouts/slideLayout764.xml"/><Relationship Id="rId48" Type="http://schemas.openxmlformats.org/officeDocument/2006/relationships/slideLayout" Target="../slideLayouts/slideLayout769.xml"/><Relationship Id="rId56" Type="http://schemas.openxmlformats.org/officeDocument/2006/relationships/slideLayout" Target="../slideLayouts/slideLayout777.xml"/><Relationship Id="rId64" Type="http://schemas.openxmlformats.org/officeDocument/2006/relationships/slideLayout" Target="../slideLayouts/slideLayout785.xml"/><Relationship Id="rId69" Type="http://schemas.openxmlformats.org/officeDocument/2006/relationships/slideLayout" Target="../slideLayouts/slideLayout790.xml"/><Relationship Id="rId77" Type="http://schemas.openxmlformats.org/officeDocument/2006/relationships/slideLayout" Target="../slideLayouts/slideLayout798.xml"/><Relationship Id="rId8" Type="http://schemas.openxmlformats.org/officeDocument/2006/relationships/slideLayout" Target="../slideLayouts/slideLayout729.xml"/><Relationship Id="rId51" Type="http://schemas.openxmlformats.org/officeDocument/2006/relationships/slideLayout" Target="../slideLayouts/slideLayout772.xml"/><Relationship Id="rId72" Type="http://schemas.openxmlformats.org/officeDocument/2006/relationships/slideLayout" Target="../slideLayouts/slideLayout793.xml"/><Relationship Id="rId80" Type="http://schemas.openxmlformats.org/officeDocument/2006/relationships/slideLayout" Target="../slideLayouts/slideLayout801.xml"/><Relationship Id="rId3" Type="http://schemas.openxmlformats.org/officeDocument/2006/relationships/slideLayout" Target="../slideLayouts/slideLayout724.xml"/><Relationship Id="rId12" Type="http://schemas.openxmlformats.org/officeDocument/2006/relationships/slideLayout" Target="../slideLayouts/slideLayout733.xml"/><Relationship Id="rId17" Type="http://schemas.openxmlformats.org/officeDocument/2006/relationships/slideLayout" Target="../slideLayouts/slideLayout738.xml"/><Relationship Id="rId25" Type="http://schemas.openxmlformats.org/officeDocument/2006/relationships/slideLayout" Target="../slideLayouts/slideLayout746.xml"/><Relationship Id="rId33" Type="http://schemas.openxmlformats.org/officeDocument/2006/relationships/slideLayout" Target="../slideLayouts/slideLayout754.xml"/><Relationship Id="rId38" Type="http://schemas.openxmlformats.org/officeDocument/2006/relationships/slideLayout" Target="../slideLayouts/slideLayout759.xml"/><Relationship Id="rId46" Type="http://schemas.openxmlformats.org/officeDocument/2006/relationships/slideLayout" Target="../slideLayouts/slideLayout767.xml"/><Relationship Id="rId59" Type="http://schemas.openxmlformats.org/officeDocument/2006/relationships/slideLayout" Target="../slideLayouts/slideLayout780.xml"/><Relationship Id="rId67" Type="http://schemas.openxmlformats.org/officeDocument/2006/relationships/slideLayout" Target="../slideLayouts/slideLayout788.xml"/><Relationship Id="rId20" Type="http://schemas.openxmlformats.org/officeDocument/2006/relationships/slideLayout" Target="../slideLayouts/slideLayout741.xml"/><Relationship Id="rId41" Type="http://schemas.openxmlformats.org/officeDocument/2006/relationships/slideLayout" Target="../slideLayouts/slideLayout762.xml"/><Relationship Id="rId54" Type="http://schemas.openxmlformats.org/officeDocument/2006/relationships/slideLayout" Target="../slideLayouts/slideLayout775.xml"/><Relationship Id="rId62" Type="http://schemas.openxmlformats.org/officeDocument/2006/relationships/slideLayout" Target="../slideLayouts/slideLayout783.xml"/><Relationship Id="rId70" Type="http://schemas.openxmlformats.org/officeDocument/2006/relationships/slideLayout" Target="../slideLayouts/slideLayout791.xml"/><Relationship Id="rId75" Type="http://schemas.openxmlformats.org/officeDocument/2006/relationships/slideLayout" Target="../slideLayouts/slideLayout796.xml"/><Relationship Id="rId1" Type="http://schemas.openxmlformats.org/officeDocument/2006/relationships/slideLayout" Target="../slideLayouts/slideLayout722.xml"/><Relationship Id="rId6" Type="http://schemas.openxmlformats.org/officeDocument/2006/relationships/slideLayout" Target="../slideLayouts/slideLayout727.xml"/><Relationship Id="rId15" Type="http://schemas.openxmlformats.org/officeDocument/2006/relationships/slideLayout" Target="../slideLayouts/slideLayout736.xml"/><Relationship Id="rId23" Type="http://schemas.openxmlformats.org/officeDocument/2006/relationships/slideLayout" Target="../slideLayouts/slideLayout744.xml"/><Relationship Id="rId28" Type="http://schemas.openxmlformats.org/officeDocument/2006/relationships/slideLayout" Target="../slideLayouts/slideLayout749.xml"/><Relationship Id="rId36" Type="http://schemas.openxmlformats.org/officeDocument/2006/relationships/slideLayout" Target="../slideLayouts/slideLayout757.xml"/><Relationship Id="rId49" Type="http://schemas.openxmlformats.org/officeDocument/2006/relationships/slideLayout" Target="../slideLayouts/slideLayout770.xml"/><Relationship Id="rId57" Type="http://schemas.openxmlformats.org/officeDocument/2006/relationships/slideLayout" Target="../slideLayouts/slideLayout778.xml"/><Relationship Id="rId10" Type="http://schemas.openxmlformats.org/officeDocument/2006/relationships/slideLayout" Target="../slideLayouts/slideLayout731.xml"/><Relationship Id="rId31" Type="http://schemas.openxmlformats.org/officeDocument/2006/relationships/slideLayout" Target="../slideLayouts/slideLayout752.xml"/><Relationship Id="rId44" Type="http://schemas.openxmlformats.org/officeDocument/2006/relationships/slideLayout" Target="../slideLayouts/slideLayout765.xml"/><Relationship Id="rId52" Type="http://schemas.openxmlformats.org/officeDocument/2006/relationships/slideLayout" Target="../slideLayouts/slideLayout773.xml"/><Relationship Id="rId60" Type="http://schemas.openxmlformats.org/officeDocument/2006/relationships/slideLayout" Target="../slideLayouts/slideLayout781.xml"/><Relationship Id="rId65" Type="http://schemas.openxmlformats.org/officeDocument/2006/relationships/slideLayout" Target="../slideLayouts/slideLayout786.xml"/><Relationship Id="rId73" Type="http://schemas.openxmlformats.org/officeDocument/2006/relationships/slideLayout" Target="../slideLayouts/slideLayout794.xml"/><Relationship Id="rId78" Type="http://schemas.openxmlformats.org/officeDocument/2006/relationships/slideLayout" Target="../slideLayouts/slideLayout799.xml"/><Relationship Id="rId81" Type="http://schemas.openxmlformats.org/officeDocument/2006/relationships/slideLayout" Target="../slideLayouts/slideLayout802.xml"/><Relationship Id="rId4" Type="http://schemas.openxmlformats.org/officeDocument/2006/relationships/slideLayout" Target="../slideLayouts/slideLayout725.xml"/><Relationship Id="rId9" Type="http://schemas.openxmlformats.org/officeDocument/2006/relationships/slideLayout" Target="../slideLayouts/slideLayout730.xml"/><Relationship Id="rId13" Type="http://schemas.openxmlformats.org/officeDocument/2006/relationships/slideLayout" Target="../slideLayouts/slideLayout734.xml"/><Relationship Id="rId18" Type="http://schemas.openxmlformats.org/officeDocument/2006/relationships/slideLayout" Target="../slideLayouts/slideLayout739.xml"/><Relationship Id="rId39" Type="http://schemas.openxmlformats.org/officeDocument/2006/relationships/slideLayout" Target="../slideLayouts/slideLayout760.xml"/><Relationship Id="rId34" Type="http://schemas.openxmlformats.org/officeDocument/2006/relationships/slideLayout" Target="../slideLayouts/slideLayout755.xml"/><Relationship Id="rId50" Type="http://schemas.openxmlformats.org/officeDocument/2006/relationships/slideLayout" Target="../slideLayouts/slideLayout771.xml"/><Relationship Id="rId55" Type="http://schemas.openxmlformats.org/officeDocument/2006/relationships/slideLayout" Target="../slideLayouts/slideLayout776.xml"/><Relationship Id="rId76" Type="http://schemas.openxmlformats.org/officeDocument/2006/relationships/slideLayout" Target="../slideLayouts/slideLayout797.xml"/><Relationship Id="rId7" Type="http://schemas.openxmlformats.org/officeDocument/2006/relationships/slideLayout" Target="../slideLayouts/slideLayout728.xml"/><Relationship Id="rId71" Type="http://schemas.openxmlformats.org/officeDocument/2006/relationships/slideLayout" Target="../slideLayouts/slideLayout792.xml"/><Relationship Id="rId2" Type="http://schemas.openxmlformats.org/officeDocument/2006/relationships/slideLayout" Target="../slideLayouts/slideLayout723.xml"/><Relationship Id="rId29" Type="http://schemas.openxmlformats.org/officeDocument/2006/relationships/slideLayout" Target="../slideLayouts/slideLayout750.xml"/><Relationship Id="rId24" Type="http://schemas.openxmlformats.org/officeDocument/2006/relationships/slideLayout" Target="../slideLayouts/slideLayout745.xml"/><Relationship Id="rId40" Type="http://schemas.openxmlformats.org/officeDocument/2006/relationships/slideLayout" Target="../slideLayouts/slideLayout761.xml"/><Relationship Id="rId45" Type="http://schemas.openxmlformats.org/officeDocument/2006/relationships/slideLayout" Target="../slideLayouts/slideLayout766.xml"/><Relationship Id="rId66" Type="http://schemas.openxmlformats.org/officeDocument/2006/relationships/slideLayout" Target="../slideLayouts/slideLayout787.xml"/></Relationships>
</file>

<file path=ppt/slideMasters/_rels/slideMaster1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28.xml"/><Relationship Id="rId21" Type="http://schemas.openxmlformats.org/officeDocument/2006/relationships/slideLayout" Target="../slideLayouts/slideLayout823.xml"/><Relationship Id="rId42" Type="http://schemas.openxmlformats.org/officeDocument/2006/relationships/slideLayout" Target="../slideLayouts/slideLayout844.xml"/><Relationship Id="rId47" Type="http://schemas.openxmlformats.org/officeDocument/2006/relationships/slideLayout" Target="../slideLayouts/slideLayout849.xml"/><Relationship Id="rId63" Type="http://schemas.openxmlformats.org/officeDocument/2006/relationships/slideLayout" Target="../slideLayouts/slideLayout865.xml"/><Relationship Id="rId68" Type="http://schemas.openxmlformats.org/officeDocument/2006/relationships/slideLayout" Target="../slideLayouts/slideLayout870.xml"/><Relationship Id="rId16" Type="http://schemas.openxmlformats.org/officeDocument/2006/relationships/slideLayout" Target="../slideLayouts/slideLayout818.xml"/><Relationship Id="rId11" Type="http://schemas.openxmlformats.org/officeDocument/2006/relationships/slideLayout" Target="../slideLayouts/slideLayout813.xml"/><Relationship Id="rId24" Type="http://schemas.openxmlformats.org/officeDocument/2006/relationships/slideLayout" Target="../slideLayouts/slideLayout826.xml"/><Relationship Id="rId32" Type="http://schemas.openxmlformats.org/officeDocument/2006/relationships/slideLayout" Target="../slideLayouts/slideLayout834.xml"/><Relationship Id="rId37" Type="http://schemas.openxmlformats.org/officeDocument/2006/relationships/slideLayout" Target="../slideLayouts/slideLayout839.xml"/><Relationship Id="rId40" Type="http://schemas.openxmlformats.org/officeDocument/2006/relationships/slideLayout" Target="../slideLayouts/slideLayout842.xml"/><Relationship Id="rId45" Type="http://schemas.openxmlformats.org/officeDocument/2006/relationships/slideLayout" Target="../slideLayouts/slideLayout847.xml"/><Relationship Id="rId53" Type="http://schemas.openxmlformats.org/officeDocument/2006/relationships/slideLayout" Target="../slideLayouts/slideLayout855.xml"/><Relationship Id="rId58" Type="http://schemas.openxmlformats.org/officeDocument/2006/relationships/slideLayout" Target="../slideLayouts/slideLayout860.xml"/><Relationship Id="rId66" Type="http://schemas.openxmlformats.org/officeDocument/2006/relationships/slideLayout" Target="../slideLayouts/slideLayout868.xml"/><Relationship Id="rId74" Type="http://schemas.openxmlformats.org/officeDocument/2006/relationships/slideLayout" Target="../slideLayouts/slideLayout876.xml"/><Relationship Id="rId5" Type="http://schemas.openxmlformats.org/officeDocument/2006/relationships/slideLayout" Target="../slideLayouts/slideLayout807.xml"/><Relationship Id="rId61" Type="http://schemas.openxmlformats.org/officeDocument/2006/relationships/slideLayout" Target="../slideLayouts/slideLayout863.xml"/><Relationship Id="rId19" Type="http://schemas.openxmlformats.org/officeDocument/2006/relationships/slideLayout" Target="../slideLayouts/slideLayout821.xml"/><Relationship Id="rId14" Type="http://schemas.openxmlformats.org/officeDocument/2006/relationships/slideLayout" Target="../slideLayouts/slideLayout816.xml"/><Relationship Id="rId22" Type="http://schemas.openxmlformats.org/officeDocument/2006/relationships/slideLayout" Target="../slideLayouts/slideLayout824.xml"/><Relationship Id="rId27" Type="http://schemas.openxmlformats.org/officeDocument/2006/relationships/slideLayout" Target="../slideLayouts/slideLayout829.xml"/><Relationship Id="rId30" Type="http://schemas.openxmlformats.org/officeDocument/2006/relationships/slideLayout" Target="../slideLayouts/slideLayout832.xml"/><Relationship Id="rId35" Type="http://schemas.openxmlformats.org/officeDocument/2006/relationships/slideLayout" Target="../slideLayouts/slideLayout837.xml"/><Relationship Id="rId43" Type="http://schemas.openxmlformats.org/officeDocument/2006/relationships/slideLayout" Target="../slideLayouts/slideLayout845.xml"/><Relationship Id="rId48" Type="http://schemas.openxmlformats.org/officeDocument/2006/relationships/slideLayout" Target="../slideLayouts/slideLayout850.xml"/><Relationship Id="rId56" Type="http://schemas.openxmlformats.org/officeDocument/2006/relationships/slideLayout" Target="../slideLayouts/slideLayout858.xml"/><Relationship Id="rId64" Type="http://schemas.openxmlformats.org/officeDocument/2006/relationships/slideLayout" Target="../slideLayouts/slideLayout866.xml"/><Relationship Id="rId69" Type="http://schemas.openxmlformats.org/officeDocument/2006/relationships/slideLayout" Target="../slideLayouts/slideLayout871.xml"/><Relationship Id="rId77" Type="http://schemas.openxmlformats.org/officeDocument/2006/relationships/slideLayout" Target="../slideLayouts/slideLayout879.xml"/><Relationship Id="rId8" Type="http://schemas.openxmlformats.org/officeDocument/2006/relationships/slideLayout" Target="../slideLayouts/slideLayout810.xml"/><Relationship Id="rId51" Type="http://schemas.openxmlformats.org/officeDocument/2006/relationships/slideLayout" Target="../slideLayouts/slideLayout853.xml"/><Relationship Id="rId72" Type="http://schemas.openxmlformats.org/officeDocument/2006/relationships/slideLayout" Target="../slideLayouts/slideLayout874.xml"/><Relationship Id="rId3" Type="http://schemas.openxmlformats.org/officeDocument/2006/relationships/slideLayout" Target="../slideLayouts/slideLayout805.xml"/><Relationship Id="rId12" Type="http://schemas.openxmlformats.org/officeDocument/2006/relationships/slideLayout" Target="../slideLayouts/slideLayout814.xml"/><Relationship Id="rId17" Type="http://schemas.openxmlformats.org/officeDocument/2006/relationships/slideLayout" Target="../slideLayouts/slideLayout819.xml"/><Relationship Id="rId25" Type="http://schemas.openxmlformats.org/officeDocument/2006/relationships/slideLayout" Target="../slideLayouts/slideLayout827.xml"/><Relationship Id="rId33" Type="http://schemas.openxmlformats.org/officeDocument/2006/relationships/slideLayout" Target="../slideLayouts/slideLayout835.xml"/><Relationship Id="rId38" Type="http://schemas.openxmlformats.org/officeDocument/2006/relationships/slideLayout" Target="../slideLayouts/slideLayout840.xml"/><Relationship Id="rId46" Type="http://schemas.openxmlformats.org/officeDocument/2006/relationships/slideLayout" Target="../slideLayouts/slideLayout848.xml"/><Relationship Id="rId59" Type="http://schemas.openxmlformats.org/officeDocument/2006/relationships/slideLayout" Target="../slideLayouts/slideLayout861.xml"/><Relationship Id="rId67" Type="http://schemas.openxmlformats.org/officeDocument/2006/relationships/slideLayout" Target="../slideLayouts/slideLayout869.xml"/><Relationship Id="rId20" Type="http://schemas.openxmlformats.org/officeDocument/2006/relationships/slideLayout" Target="../slideLayouts/slideLayout822.xml"/><Relationship Id="rId41" Type="http://schemas.openxmlformats.org/officeDocument/2006/relationships/slideLayout" Target="../slideLayouts/slideLayout843.xml"/><Relationship Id="rId54" Type="http://schemas.openxmlformats.org/officeDocument/2006/relationships/slideLayout" Target="../slideLayouts/slideLayout856.xml"/><Relationship Id="rId62" Type="http://schemas.openxmlformats.org/officeDocument/2006/relationships/slideLayout" Target="../slideLayouts/slideLayout864.xml"/><Relationship Id="rId70" Type="http://schemas.openxmlformats.org/officeDocument/2006/relationships/slideLayout" Target="../slideLayouts/slideLayout872.xml"/><Relationship Id="rId75" Type="http://schemas.openxmlformats.org/officeDocument/2006/relationships/slideLayout" Target="../slideLayouts/slideLayout877.xml"/><Relationship Id="rId1" Type="http://schemas.openxmlformats.org/officeDocument/2006/relationships/slideLayout" Target="../slideLayouts/slideLayout803.xml"/><Relationship Id="rId6" Type="http://schemas.openxmlformats.org/officeDocument/2006/relationships/slideLayout" Target="../slideLayouts/slideLayout808.xml"/><Relationship Id="rId15" Type="http://schemas.openxmlformats.org/officeDocument/2006/relationships/slideLayout" Target="../slideLayouts/slideLayout817.xml"/><Relationship Id="rId23" Type="http://schemas.openxmlformats.org/officeDocument/2006/relationships/slideLayout" Target="../slideLayouts/slideLayout825.xml"/><Relationship Id="rId28" Type="http://schemas.openxmlformats.org/officeDocument/2006/relationships/slideLayout" Target="../slideLayouts/slideLayout830.xml"/><Relationship Id="rId36" Type="http://schemas.openxmlformats.org/officeDocument/2006/relationships/slideLayout" Target="../slideLayouts/slideLayout838.xml"/><Relationship Id="rId49" Type="http://schemas.openxmlformats.org/officeDocument/2006/relationships/slideLayout" Target="../slideLayouts/slideLayout851.xml"/><Relationship Id="rId57" Type="http://schemas.openxmlformats.org/officeDocument/2006/relationships/slideLayout" Target="../slideLayouts/slideLayout859.xml"/><Relationship Id="rId10" Type="http://schemas.openxmlformats.org/officeDocument/2006/relationships/slideLayout" Target="../slideLayouts/slideLayout812.xml"/><Relationship Id="rId31" Type="http://schemas.openxmlformats.org/officeDocument/2006/relationships/slideLayout" Target="../slideLayouts/slideLayout833.xml"/><Relationship Id="rId44" Type="http://schemas.openxmlformats.org/officeDocument/2006/relationships/slideLayout" Target="../slideLayouts/slideLayout846.xml"/><Relationship Id="rId52" Type="http://schemas.openxmlformats.org/officeDocument/2006/relationships/slideLayout" Target="../slideLayouts/slideLayout854.xml"/><Relationship Id="rId60" Type="http://schemas.openxmlformats.org/officeDocument/2006/relationships/slideLayout" Target="../slideLayouts/slideLayout862.xml"/><Relationship Id="rId65" Type="http://schemas.openxmlformats.org/officeDocument/2006/relationships/slideLayout" Target="../slideLayouts/slideLayout867.xml"/><Relationship Id="rId73" Type="http://schemas.openxmlformats.org/officeDocument/2006/relationships/slideLayout" Target="../slideLayouts/slideLayout875.xml"/><Relationship Id="rId78" Type="http://schemas.openxmlformats.org/officeDocument/2006/relationships/theme" Target="../theme/theme12.xml"/><Relationship Id="rId4" Type="http://schemas.openxmlformats.org/officeDocument/2006/relationships/slideLayout" Target="../slideLayouts/slideLayout806.xml"/><Relationship Id="rId9" Type="http://schemas.openxmlformats.org/officeDocument/2006/relationships/slideLayout" Target="../slideLayouts/slideLayout811.xml"/><Relationship Id="rId13" Type="http://schemas.openxmlformats.org/officeDocument/2006/relationships/slideLayout" Target="../slideLayouts/slideLayout815.xml"/><Relationship Id="rId18" Type="http://schemas.openxmlformats.org/officeDocument/2006/relationships/slideLayout" Target="../slideLayouts/slideLayout820.xml"/><Relationship Id="rId39" Type="http://schemas.openxmlformats.org/officeDocument/2006/relationships/slideLayout" Target="../slideLayouts/slideLayout841.xml"/><Relationship Id="rId34" Type="http://schemas.openxmlformats.org/officeDocument/2006/relationships/slideLayout" Target="../slideLayouts/slideLayout836.xml"/><Relationship Id="rId50" Type="http://schemas.openxmlformats.org/officeDocument/2006/relationships/slideLayout" Target="../slideLayouts/slideLayout852.xml"/><Relationship Id="rId55" Type="http://schemas.openxmlformats.org/officeDocument/2006/relationships/slideLayout" Target="../slideLayouts/slideLayout857.xml"/><Relationship Id="rId76" Type="http://schemas.openxmlformats.org/officeDocument/2006/relationships/slideLayout" Target="../slideLayouts/slideLayout878.xml"/><Relationship Id="rId7" Type="http://schemas.openxmlformats.org/officeDocument/2006/relationships/slideLayout" Target="../slideLayouts/slideLayout809.xml"/><Relationship Id="rId71" Type="http://schemas.openxmlformats.org/officeDocument/2006/relationships/slideLayout" Target="../slideLayouts/slideLayout873.xml"/><Relationship Id="rId2" Type="http://schemas.openxmlformats.org/officeDocument/2006/relationships/slideLayout" Target="../slideLayouts/slideLayout804.xml"/><Relationship Id="rId29" Type="http://schemas.openxmlformats.org/officeDocument/2006/relationships/slideLayout" Target="../slideLayouts/slideLayout831.xml"/></Relationships>
</file>

<file path=ppt/slideMasters/_rels/slideMaster1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05.xml"/><Relationship Id="rId21" Type="http://schemas.openxmlformats.org/officeDocument/2006/relationships/slideLayout" Target="../slideLayouts/slideLayout900.xml"/><Relationship Id="rId42" Type="http://schemas.openxmlformats.org/officeDocument/2006/relationships/slideLayout" Target="../slideLayouts/slideLayout921.xml"/><Relationship Id="rId47" Type="http://schemas.openxmlformats.org/officeDocument/2006/relationships/slideLayout" Target="../slideLayouts/slideLayout926.xml"/><Relationship Id="rId63" Type="http://schemas.openxmlformats.org/officeDocument/2006/relationships/slideLayout" Target="../slideLayouts/slideLayout942.xml"/><Relationship Id="rId68" Type="http://schemas.openxmlformats.org/officeDocument/2006/relationships/slideLayout" Target="../slideLayouts/slideLayout947.xml"/><Relationship Id="rId16" Type="http://schemas.openxmlformats.org/officeDocument/2006/relationships/slideLayout" Target="../slideLayouts/slideLayout895.xml"/><Relationship Id="rId11" Type="http://schemas.openxmlformats.org/officeDocument/2006/relationships/slideLayout" Target="../slideLayouts/slideLayout890.xml"/><Relationship Id="rId24" Type="http://schemas.openxmlformats.org/officeDocument/2006/relationships/slideLayout" Target="../slideLayouts/slideLayout903.xml"/><Relationship Id="rId32" Type="http://schemas.openxmlformats.org/officeDocument/2006/relationships/slideLayout" Target="../slideLayouts/slideLayout911.xml"/><Relationship Id="rId37" Type="http://schemas.openxmlformats.org/officeDocument/2006/relationships/slideLayout" Target="../slideLayouts/slideLayout916.xml"/><Relationship Id="rId40" Type="http://schemas.openxmlformats.org/officeDocument/2006/relationships/slideLayout" Target="../slideLayouts/slideLayout919.xml"/><Relationship Id="rId45" Type="http://schemas.openxmlformats.org/officeDocument/2006/relationships/slideLayout" Target="../slideLayouts/slideLayout924.xml"/><Relationship Id="rId53" Type="http://schemas.openxmlformats.org/officeDocument/2006/relationships/slideLayout" Target="../slideLayouts/slideLayout932.xml"/><Relationship Id="rId58" Type="http://schemas.openxmlformats.org/officeDocument/2006/relationships/slideLayout" Target="../slideLayouts/slideLayout937.xml"/><Relationship Id="rId66" Type="http://schemas.openxmlformats.org/officeDocument/2006/relationships/slideLayout" Target="../slideLayouts/slideLayout945.xml"/><Relationship Id="rId74" Type="http://schemas.openxmlformats.org/officeDocument/2006/relationships/slideLayout" Target="../slideLayouts/slideLayout953.xml"/><Relationship Id="rId5" Type="http://schemas.openxmlformats.org/officeDocument/2006/relationships/slideLayout" Target="../slideLayouts/slideLayout884.xml"/><Relationship Id="rId61" Type="http://schemas.openxmlformats.org/officeDocument/2006/relationships/slideLayout" Target="../slideLayouts/slideLayout940.xml"/><Relationship Id="rId19" Type="http://schemas.openxmlformats.org/officeDocument/2006/relationships/slideLayout" Target="../slideLayouts/slideLayout898.xml"/><Relationship Id="rId14" Type="http://schemas.openxmlformats.org/officeDocument/2006/relationships/slideLayout" Target="../slideLayouts/slideLayout893.xml"/><Relationship Id="rId22" Type="http://schemas.openxmlformats.org/officeDocument/2006/relationships/slideLayout" Target="../slideLayouts/slideLayout901.xml"/><Relationship Id="rId27" Type="http://schemas.openxmlformats.org/officeDocument/2006/relationships/slideLayout" Target="../slideLayouts/slideLayout906.xml"/><Relationship Id="rId30" Type="http://schemas.openxmlformats.org/officeDocument/2006/relationships/slideLayout" Target="../slideLayouts/slideLayout909.xml"/><Relationship Id="rId35" Type="http://schemas.openxmlformats.org/officeDocument/2006/relationships/slideLayout" Target="../slideLayouts/slideLayout914.xml"/><Relationship Id="rId43" Type="http://schemas.openxmlformats.org/officeDocument/2006/relationships/slideLayout" Target="../slideLayouts/slideLayout922.xml"/><Relationship Id="rId48" Type="http://schemas.openxmlformats.org/officeDocument/2006/relationships/slideLayout" Target="../slideLayouts/slideLayout927.xml"/><Relationship Id="rId56" Type="http://schemas.openxmlformats.org/officeDocument/2006/relationships/slideLayout" Target="../slideLayouts/slideLayout935.xml"/><Relationship Id="rId64" Type="http://schemas.openxmlformats.org/officeDocument/2006/relationships/slideLayout" Target="../slideLayouts/slideLayout943.xml"/><Relationship Id="rId69" Type="http://schemas.openxmlformats.org/officeDocument/2006/relationships/slideLayout" Target="../slideLayouts/slideLayout948.xml"/><Relationship Id="rId77" Type="http://schemas.openxmlformats.org/officeDocument/2006/relationships/slideLayout" Target="../slideLayouts/slideLayout956.xml"/><Relationship Id="rId8" Type="http://schemas.openxmlformats.org/officeDocument/2006/relationships/slideLayout" Target="../slideLayouts/slideLayout887.xml"/><Relationship Id="rId51" Type="http://schemas.openxmlformats.org/officeDocument/2006/relationships/slideLayout" Target="../slideLayouts/slideLayout930.xml"/><Relationship Id="rId72" Type="http://schemas.openxmlformats.org/officeDocument/2006/relationships/slideLayout" Target="../slideLayouts/slideLayout951.xml"/><Relationship Id="rId3" Type="http://schemas.openxmlformats.org/officeDocument/2006/relationships/slideLayout" Target="../slideLayouts/slideLayout882.xml"/><Relationship Id="rId12" Type="http://schemas.openxmlformats.org/officeDocument/2006/relationships/slideLayout" Target="../slideLayouts/slideLayout891.xml"/><Relationship Id="rId17" Type="http://schemas.openxmlformats.org/officeDocument/2006/relationships/slideLayout" Target="../slideLayouts/slideLayout896.xml"/><Relationship Id="rId25" Type="http://schemas.openxmlformats.org/officeDocument/2006/relationships/slideLayout" Target="../slideLayouts/slideLayout904.xml"/><Relationship Id="rId33" Type="http://schemas.openxmlformats.org/officeDocument/2006/relationships/slideLayout" Target="../slideLayouts/slideLayout912.xml"/><Relationship Id="rId38" Type="http://schemas.openxmlformats.org/officeDocument/2006/relationships/slideLayout" Target="../slideLayouts/slideLayout917.xml"/><Relationship Id="rId46" Type="http://schemas.openxmlformats.org/officeDocument/2006/relationships/slideLayout" Target="../slideLayouts/slideLayout925.xml"/><Relationship Id="rId59" Type="http://schemas.openxmlformats.org/officeDocument/2006/relationships/slideLayout" Target="../slideLayouts/slideLayout938.xml"/><Relationship Id="rId67" Type="http://schemas.openxmlformats.org/officeDocument/2006/relationships/slideLayout" Target="../slideLayouts/slideLayout946.xml"/><Relationship Id="rId20" Type="http://schemas.openxmlformats.org/officeDocument/2006/relationships/slideLayout" Target="../slideLayouts/slideLayout899.xml"/><Relationship Id="rId41" Type="http://schemas.openxmlformats.org/officeDocument/2006/relationships/slideLayout" Target="../slideLayouts/slideLayout920.xml"/><Relationship Id="rId54" Type="http://schemas.openxmlformats.org/officeDocument/2006/relationships/slideLayout" Target="../slideLayouts/slideLayout933.xml"/><Relationship Id="rId62" Type="http://schemas.openxmlformats.org/officeDocument/2006/relationships/slideLayout" Target="../slideLayouts/slideLayout941.xml"/><Relationship Id="rId70" Type="http://schemas.openxmlformats.org/officeDocument/2006/relationships/slideLayout" Target="../slideLayouts/slideLayout949.xml"/><Relationship Id="rId75" Type="http://schemas.openxmlformats.org/officeDocument/2006/relationships/slideLayout" Target="../slideLayouts/slideLayout954.xml"/><Relationship Id="rId1" Type="http://schemas.openxmlformats.org/officeDocument/2006/relationships/slideLayout" Target="../slideLayouts/slideLayout880.xml"/><Relationship Id="rId6" Type="http://schemas.openxmlformats.org/officeDocument/2006/relationships/slideLayout" Target="../slideLayouts/slideLayout885.xml"/><Relationship Id="rId15" Type="http://schemas.openxmlformats.org/officeDocument/2006/relationships/slideLayout" Target="../slideLayouts/slideLayout894.xml"/><Relationship Id="rId23" Type="http://schemas.openxmlformats.org/officeDocument/2006/relationships/slideLayout" Target="../slideLayouts/slideLayout902.xml"/><Relationship Id="rId28" Type="http://schemas.openxmlformats.org/officeDocument/2006/relationships/slideLayout" Target="../slideLayouts/slideLayout907.xml"/><Relationship Id="rId36" Type="http://schemas.openxmlformats.org/officeDocument/2006/relationships/slideLayout" Target="../slideLayouts/slideLayout915.xml"/><Relationship Id="rId49" Type="http://schemas.openxmlformats.org/officeDocument/2006/relationships/slideLayout" Target="../slideLayouts/slideLayout928.xml"/><Relationship Id="rId57" Type="http://schemas.openxmlformats.org/officeDocument/2006/relationships/slideLayout" Target="../slideLayouts/slideLayout936.xml"/><Relationship Id="rId10" Type="http://schemas.openxmlformats.org/officeDocument/2006/relationships/slideLayout" Target="../slideLayouts/slideLayout889.xml"/><Relationship Id="rId31" Type="http://schemas.openxmlformats.org/officeDocument/2006/relationships/slideLayout" Target="../slideLayouts/slideLayout910.xml"/><Relationship Id="rId44" Type="http://schemas.openxmlformats.org/officeDocument/2006/relationships/slideLayout" Target="../slideLayouts/slideLayout923.xml"/><Relationship Id="rId52" Type="http://schemas.openxmlformats.org/officeDocument/2006/relationships/slideLayout" Target="../slideLayouts/slideLayout931.xml"/><Relationship Id="rId60" Type="http://schemas.openxmlformats.org/officeDocument/2006/relationships/slideLayout" Target="../slideLayouts/slideLayout939.xml"/><Relationship Id="rId65" Type="http://schemas.openxmlformats.org/officeDocument/2006/relationships/slideLayout" Target="../slideLayouts/slideLayout944.xml"/><Relationship Id="rId73" Type="http://schemas.openxmlformats.org/officeDocument/2006/relationships/slideLayout" Target="../slideLayouts/slideLayout952.xml"/><Relationship Id="rId78" Type="http://schemas.openxmlformats.org/officeDocument/2006/relationships/theme" Target="../theme/theme13.xml"/><Relationship Id="rId4" Type="http://schemas.openxmlformats.org/officeDocument/2006/relationships/slideLayout" Target="../slideLayouts/slideLayout883.xml"/><Relationship Id="rId9" Type="http://schemas.openxmlformats.org/officeDocument/2006/relationships/slideLayout" Target="../slideLayouts/slideLayout888.xml"/><Relationship Id="rId13" Type="http://schemas.openxmlformats.org/officeDocument/2006/relationships/slideLayout" Target="../slideLayouts/slideLayout892.xml"/><Relationship Id="rId18" Type="http://schemas.openxmlformats.org/officeDocument/2006/relationships/slideLayout" Target="../slideLayouts/slideLayout897.xml"/><Relationship Id="rId39" Type="http://schemas.openxmlformats.org/officeDocument/2006/relationships/slideLayout" Target="../slideLayouts/slideLayout918.xml"/><Relationship Id="rId34" Type="http://schemas.openxmlformats.org/officeDocument/2006/relationships/slideLayout" Target="../slideLayouts/slideLayout913.xml"/><Relationship Id="rId50" Type="http://schemas.openxmlformats.org/officeDocument/2006/relationships/slideLayout" Target="../slideLayouts/slideLayout929.xml"/><Relationship Id="rId55" Type="http://schemas.openxmlformats.org/officeDocument/2006/relationships/slideLayout" Target="../slideLayouts/slideLayout934.xml"/><Relationship Id="rId76" Type="http://schemas.openxmlformats.org/officeDocument/2006/relationships/slideLayout" Target="../slideLayouts/slideLayout955.xml"/><Relationship Id="rId7" Type="http://schemas.openxmlformats.org/officeDocument/2006/relationships/slideLayout" Target="../slideLayouts/slideLayout886.xml"/><Relationship Id="rId71" Type="http://schemas.openxmlformats.org/officeDocument/2006/relationships/slideLayout" Target="../slideLayouts/slideLayout950.xml"/><Relationship Id="rId2" Type="http://schemas.openxmlformats.org/officeDocument/2006/relationships/slideLayout" Target="../slideLayouts/slideLayout881.xml"/><Relationship Id="rId29" Type="http://schemas.openxmlformats.org/officeDocument/2006/relationships/slideLayout" Target="../slideLayouts/slideLayout90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16.xml"/><Relationship Id="rId21" Type="http://schemas.openxmlformats.org/officeDocument/2006/relationships/slideLayout" Target="../slideLayouts/slideLayout111.xml"/><Relationship Id="rId42" Type="http://schemas.openxmlformats.org/officeDocument/2006/relationships/slideLayout" Target="../slideLayouts/slideLayout132.xml"/><Relationship Id="rId47" Type="http://schemas.openxmlformats.org/officeDocument/2006/relationships/slideLayout" Target="../slideLayouts/slideLayout137.xml"/><Relationship Id="rId63" Type="http://schemas.openxmlformats.org/officeDocument/2006/relationships/slideLayout" Target="../slideLayouts/slideLayout153.xml"/><Relationship Id="rId68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01.xml"/><Relationship Id="rId24" Type="http://schemas.openxmlformats.org/officeDocument/2006/relationships/slideLayout" Target="../slideLayouts/slideLayout114.xml"/><Relationship Id="rId32" Type="http://schemas.openxmlformats.org/officeDocument/2006/relationships/slideLayout" Target="../slideLayouts/slideLayout122.xml"/><Relationship Id="rId37" Type="http://schemas.openxmlformats.org/officeDocument/2006/relationships/slideLayout" Target="../slideLayouts/slideLayout127.xml"/><Relationship Id="rId40" Type="http://schemas.openxmlformats.org/officeDocument/2006/relationships/slideLayout" Target="../slideLayouts/slideLayout130.xml"/><Relationship Id="rId45" Type="http://schemas.openxmlformats.org/officeDocument/2006/relationships/slideLayout" Target="../slideLayouts/slideLayout135.xml"/><Relationship Id="rId53" Type="http://schemas.openxmlformats.org/officeDocument/2006/relationships/slideLayout" Target="../slideLayouts/slideLayout143.xml"/><Relationship Id="rId58" Type="http://schemas.openxmlformats.org/officeDocument/2006/relationships/slideLayout" Target="../slideLayouts/slideLayout148.xml"/><Relationship Id="rId66" Type="http://schemas.openxmlformats.org/officeDocument/2006/relationships/slideLayout" Target="../slideLayouts/slideLayout156.xml"/><Relationship Id="rId74" Type="http://schemas.openxmlformats.org/officeDocument/2006/relationships/slideLayout" Target="../slideLayouts/slideLayout164.xml"/><Relationship Id="rId79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95.xml"/><Relationship Id="rId61" Type="http://schemas.openxmlformats.org/officeDocument/2006/relationships/slideLayout" Target="../slideLayouts/slideLayout151.xml"/><Relationship Id="rId1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112.xml"/><Relationship Id="rId27" Type="http://schemas.openxmlformats.org/officeDocument/2006/relationships/slideLayout" Target="../slideLayouts/slideLayout117.xml"/><Relationship Id="rId30" Type="http://schemas.openxmlformats.org/officeDocument/2006/relationships/slideLayout" Target="../slideLayouts/slideLayout120.xml"/><Relationship Id="rId35" Type="http://schemas.openxmlformats.org/officeDocument/2006/relationships/slideLayout" Target="../slideLayouts/slideLayout125.xml"/><Relationship Id="rId43" Type="http://schemas.openxmlformats.org/officeDocument/2006/relationships/slideLayout" Target="../slideLayouts/slideLayout133.xml"/><Relationship Id="rId48" Type="http://schemas.openxmlformats.org/officeDocument/2006/relationships/slideLayout" Target="../slideLayouts/slideLayout138.xml"/><Relationship Id="rId56" Type="http://schemas.openxmlformats.org/officeDocument/2006/relationships/slideLayout" Target="../slideLayouts/slideLayout146.xml"/><Relationship Id="rId64" Type="http://schemas.openxmlformats.org/officeDocument/2006/relationships/slideLayout" Target="../slideLayouts/slideLayout154.xml"/><Relationship Id="rId69" Type="http://schemas.openxmlformats.org/officeDocument/2006/relationships/slideLayout" Target="../slideLayouts/slideLayout159.xml"/><Relationship Id="rId77" Type="http://schemas.openxmlformats.org/officeDocument/2006/relationships/slideLayout" Target="../slideLayouts/slideLayout167.xml"/><Relationship Id="rId8" Type="http://schemas.openxmlformats.org/officeDocument/2006/relationships/slideLayout" Target="../slideLayouts/slideLayout98.xml"/><Relationship Id="rId51" Type="http://schemas.openxmlformats.org/officeDocument/2006/relationships/slideLayout" Target="../slideLayouts/slideLayout141.xml"/><Relationship Id="rId72" Type="http://schemas.openxmlformats.org/officeDocument/2006/relationships/slideLayout" Target="../slideLayouts/slideLayout162.xml"/><Relationship Id="rId80" Type="http://schemas.openxmlformats.org/officeDocument/2006/relationships/theme" Target="../theme/theme3.xml"/><Relationship Id="rId3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slideLayout" Target="../slideLayouts/slideLayout115.xml"/><Relationship Id="rId33" Type="http://schemas.openxmlformats.org/officeDocument/2006/relationships/slideLayout" Target="../slideLayouts/slideLayout123.xml"/><Relationship Id="rId38" Type="http://schemas.openxmlformats.org/officeDocument/2006/relationships/slideLayout" Target="../slideLayouts/slideLayout128.xml"/><Relationship Id="rId46" Type="http://schemas.openxmlformats.org/officeDocument/2006/relationships/slideLayout" Target="../slideLayouts/slideLayout136.xml"/><Relationship Id="rId59" Type="http://schemas.openxmlformats.org/officeDocument/2006/relationships/slideLayout" Target="../slideLayouts/slideLayout149.xml"/><Relationship Id="rId67" Type="http://schemas.openxmlformats.org/officeDocument/2006/relationships/slideLayout" Target="../slideLayouts/slideLayout157.xml"/><Relationship Id="rId20" Type="http://schemas.openxmlformats.org/officeDocument/2006/relationships/slideLayout" Target="../slideLayouts/slideLayout110.xml"/><Relationship Id="rId41" Type="http://schemas.openxmlformats.org/officeDocument/2006/relationships/slideLayout" Target="../slideLayouts/slideLayout131.xml"/><Relationship Id="rId54" Type="http://schemas.openxmlformats.org/officeDocument/2006/relationships/slideLayout" Target="../slideLayouts/slideLayout144.xml"/><Relationship Id="rId62" Type="http://schemas.openxmlformats.org/officeDocument/2006/relationships/slideLayout" Target="../slideLayouts/slideLayout152.xml"/><Relationship Id="rId70" Type="http://schemas.openxmlformats.org/officeDocument/2006/relationships/slideLayout" Target="../slideLayouts/slideLayout160.xml"/><Relationship Id="rId75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5.xml"/><Relationship Id="rId23" Type="http://schemas.openxmlformats.org/officeDocument/2006/relationships/slideLayout" Target="../slideLayouts/slideLayout113.xml"/><Relationship Id="rId28" Type="http://schemas.openxmlformats.org/officeDocument/2006/relationships/slideLayout" Target="../slideLayouts/slideLayout118.xml"/><Relationship Id="rId36" Type="http://schemas.openxmlformats.org/officeDocument/2006/relationships/slideLayout" Target="../slideLayouts/slideLayout126.xml"/><Relationship Id="rId49" Type="http://schemas.openxmlformats.org/officeDocument/2006/relationships/slideLayout" Target="../slideLayouts/slideLayout139.xml"/><Relationship Id="rId57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00.xml"/><Relationship Id="rId31" Type="http://schemas.openxmlformats.org/officeDocument/2006/relationships/slideLayout" Target="../slideLayouts/slideLayout121.xml"/><Relationship Id="rId44" Type="http://schemas.openxmlformats.org/officeDocument/2006/relationships/slideLayout" Target="../slideLayouts/slideLayout134.xml"/><Relationship Id="rId52" Type="http://schemas.openxmlformats.org/officeDocument/2006/relationships/slideLayout" Target="../slideLayouts/slideLayout142.xml"/><Relationship Id="rId60" Type="http://schemas.openxmlformats.org/officeDocument/2006/relationships/slideLayout" Target="../slideLayouts/slideLayout150.xml"/><Relationship Id="rId65" Type="http://schemas.openxmlformats.org/officeDocument/2006/relationships/slideLayout" Target="../slideLayouts/slideLayout155.xml"/><Relationship Id="rId73" Type="http://schemas.openxmlformats.org/officeDocument/2006/relationships/slideLayout" Target="../slideLayouts/slideLayout163.xml"/><Relationship Id="rId78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39" Type="http://schemas.openxmlformats.org/officeDocument/2006/relationships/slideLayout" Target="../slideLayouts/slideLayout129.xml"/><Relationship Id="rId34" Type="http://schemas.openxmlformats.org/officeDocument/2006/relationships/slideLayout" Target="../slideLayouts/slideLayout124.xml"/><Relationship Id="rId50" Type="http://schemas.openxmlformats.org/officeDocument/2006/relationships/slideLayout" Target="../slideLayouts/slideLayout140.xml"/><Relationship Id="rId55" Type="http://schemas.openxmlformats.org/officeDocument/2006/relationships/slideLayout" Target="../slideLayouts/slideLayout145.xml"/><Relationship Id="rId76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97.xml"/><Relationship Id="rId71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19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95.xml"/><Relationship Id="rId21" Type="http://schemas.openxmlformats.org/officeDocument/2006/relationships/slideLayout" Target="../slideLayouts/slideLayout190.xml"/><Relationship Id="rId42" Type="http://schemas.openxmlformats.org/officeDocument/2006/relationships/slideLayout" Target="../slideLayouts/slideLayout211.xml"/><Relationship Id="rId47" Type="http://schemas.openxmlformats.org/officeDocument/2006/relationships/slideLayout" Target="../slideLayouts/slideLayout216.xml"/><Relationship Id="rId63" Type="http://schemas.openxmlformats.org/officeDocument/2006/relationships/slideLayout" Target="../slideLayouts/slideLayout232.xml"/><Relationship Id="rId68" Type="http://schemas.openxmlformats.org/officeDocument/2006/relationships/slideLayout" Target="../slideLayouts/slideLayout237.xml"/><Relationship Id="rId1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80.xml"/><Relationship Id="rId32" Type="http://schemas.openxmlformats.org/officeDocument/2006/relationships/slideLayout" Target="../slideLayouts/slideLayout201.xml"/><Relationship Id="rId37" Type="http://schemas.openxmlformats.org/officeDocument/2006/relationships/slideLayout" Target="../slideLayouts/slideLayout206.xml"/><Relationship Id="rId53" Type="http://schemas.openxmlformats.org/officeDocument/2006/relationships/slideLayout" Target="../slideLayouts/slideLayout222.xml"/><Relationship Id="rId58" Type="http://schemas.openxmlformats.org/officeDocument/2006/relationships/slideLayout" Target="../slideLayouts/slideLayout227.xml"/><Relationship Id="rId74" Type="http://schemas.openxmlformats.org/officeDocument/2006/relationships/slideLayout" Target="../slideLayouts/slideLayout243.xml"/><Relationship Id="rId79" Type="http://schemas.openxmlformats.org/officeDocument/2006/relationships/slideLayout" Target="../slideLayouts/slideLayout248.xml"/><Relationship Id="rId5" Type="http://schemas.openxmlformats.org/officeDocument/2006/relationships/slideLayout" Target="../slideLayouts/slideLayout174.xml"/><Relationship Id="rId61" Type="http://schemas.openxmlformats.org/officeDocument/2006/relationships/slideLayout" Target="../slideLayouts/slideLayout230.xml"/><Relationship Id="rId82" Type="http://schemas.openxmlformats.org/officeDocument/2006/relationships/slideLayout" Target="../slideLayouts/slideLayout251.xml"/><Relationship Id="rId1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83.xml"/><Relationship Id="rId22" Type="http://schemas.openxmlformats.org/officeDocument/2006/relationships/slideLayout" Target="../slideLayouts/slideLayout191.xml"/><Relationship Id="rId27" Type="http://schemas.openxmlformats.org/officeDocument/2006/relationships/slideLayout" Target="../slideLayouts/slideLayout196.xml"/><Relationship Id="rId30" Type="http://schemas.openxmlformats.org/officeDocument/2006/relationships/slideLayout" Target="../slideLayouts/slideLayout199.xml"/><Relationship Id="rId35" Type="http://schemas.openxmlformats.org/officeDocument/2006/relationships/slideLayout" Target="../slideLayouts/slideLayout204.xml"/><Relationship Id="rId43" Type="http://schemas.openxmlformats.org/officeDocument/2006/relationships/slideLayout" Target="../slideLayouts/slideLayout212.xml"/><Relationship Id="rId48" Type="http://schemas.openxmlformats.org/officeDocument/2006/relationships/slideLayout" Target="../slideLayouts/slideLayout217.xml"/><Relationship Id="rId56" Type="http://schemas.openxmlformats.org/officeDocument/2006/relationships/slideLayout" Target="../slideLayouts/slideLayout225.xml"/><Relationship Id="rId64" Type="http://schemas.openxmlformats.org/officeDocument/2006/relationships/slideLayout" Target="../slideLayouts/slideLayout233.xml"/><Relationship Id="rId69" Type="http://schemas.openxmlformats.org/officeDocument/2006/relationships/slideLayout" Target="../slideLayouts/slideLayout238.xml"/><Relationship Id="rId77" Type="http://schemas.openxmlformats.org/officeDocument/2006/relationships/slideLayout" Target="../slideLayouts/slideLayout246.xml"/><Relationship Id="rId8" Type="http://schemas.openxmlformats.org/officeDocument/2006/relationships/slideLayout" Target="../slideLayouts/slideLayout177.xml"/><Relationship Id="rId51" Type="http://schemas.openxmlformats.org/officeDocument/2006/relationships/slideLayout" Target="../slideLayouts/slideLayout220.xml"/><Relationship Id="rId72" Type="http://schemas.openxmlformats.org/officeDocument/2006/relationships/slideLayout" Target="../slideLayouts/slideLayout241.xml"/><Relationship Id="rId80" Type="http://schemas.openxmlformats.org/officeDocument/2006/relationships/slideLayout" Target="../slideLayouts/slideLayout249.xml"/><Relationship Id="rId3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81.xml"/><Relationship Id="rId17" Type="http://schemas.openxmlformats.org/officeDocument/2006/relationships/slideLayout" Target="../slideLayouts/slideLayout186.xml"/><Relationship Id="rId25" Type="http://schemas.openxmlformats.org/officeDocument/2006/relationships/slideLayout" Target="../slideLayouts/slideLayout194.xml"/><Relationship Id="rId33" Type="http://schemas.openxmlformats.org/officeDocument/2006/relationships/slideLayout" Target="../slideLayouts/slideLayout202.xml"/><Relationship Id="rId38" Type="http://schemas.openxmlformats.org/officeDocument/2006/relationships/slideLayout" Target="../slideLayouts/slideLayout207.xml"/><Relationship Id="rId46" Type="http://schemas.openxmlformats.org/officeDocument/2006/relationships/slideLayout" Target="../slideLayouts/slideLayout215.xml"/><Relationship Id="rId59" Type="http://schemas.openxmlformats.org/officeDocument/2006/relationships/slideLayout" Target="../slideLayouts/slideLayout228.xml"/><Relationship Id="rId67" Type="http://schemas.openxmlformats.org/officeDocument/2006/relationships/slideLayout" Target="../slideLayouts/slideLayout236.xml"/><Relationship Id="rId20" Type="http://schemas.openxmlformats.org/officeDocument/2006/relationships/slideLayout" Target="../slideLayouts/slideLayout189.xml"/><Relationship Id="rId41" Type="http://schemas.openxmlformats.org/officeDocument/2006/relationships/slideLayout" Target="../slideLayouts/slideLayout210.xml"/><Relationship Id="rId54" Type="http://schemas.openxmlformats.org/officeDocument/2006/relationships/slideLayout" Target="../slideLayouts/slideLayout223.xml"/><Relationship Id="rId62" Type="http://schemas.openxmlformats.org/officeDocument/2006/relationships/slideLayout" Target="../slideLayouts/slideLayout231.xml"/><Relationship Id="rId70" Type="http://schemas.openxmlformats.org/officeDocument/2006/relationships/slideLayout" Target="../slideLayouts/slideLayout239.xml"/><Relationship Id="rId75" Type="http://schemas.openxmlformats.org/officeDocument/2006/relationships/slideLayout" Target="../slideLayouts/slideLayout244.xml"/><Relationship Id="rId83" Type="http://schemas.openxmlformats.org/officeDocument/2006/relationships/theme" Target="../theme/theme4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5" Type="http://schemas.openxmlformats.org/officeDocument/2006/relationships/slideLayout" Target="../slideLayouts/slideLayout184.xml"/><Relationship Id="rId23" Type="http://schemas.openxmlformats.org/officeDocument/2006/relationships/slideLayout" Target="../slideLayouts/slideLayout192.xml"/><Relationship Id="rId28" Type="http://schemas.openxmlformats.org/officeDocument/2006/relationships/slideLayout" Target="../slideLayouts/slideLayout197.xml"/><Relationship Id="rId36" Type="http://schemas.openxmlformats.org/officeDocument/2006/relationships/slideLayout" Target="../slideLayouts/slideLayout205.xml"/><Relationship Id="rId49" Type="http://schemas.openxmlformats.org/officeDocument/2006/relationships/slideLayout" Target="../slideLayouts/slideLayout218.xml"/><Relationship Id="rId57" Type="http://schemas.openxmlformats.org/officeDocument/2006/relationships/slideLayout" Target="../slideLayouts/slideLayout226.xml"/><Relationship Id="rId10" Type="http://schemas.openxmlformats.org/officeDocument/2006/relationships/slideLayout" Target="../slideLayouts/slideLayout179.xml"/><Relationship Id="rId31" Type="http://schemas.openxmlformats.org/officeDocument/2006/relationships/slideLayout" Target="../slideLayouts/slideLayout200.xml"/><Relationship Id="rId44" Type="http://schemas.openxmlformats.org/officeDocument/2006/relationships/slideLayout" Target="../slideLayouts/slideLayout213.xml"/><Relationship Id="rId52" Type="http://schemas.openxmlformats.org/officeDocument/2006/relationships/slideLayout" Target="../slideLayouts/slideLayout221.xml"/><Relationship Id="rId60" Type="http://schemas.openxmlformats.org/officeDocument/2006/relationships/slideLayout" Target="../slideLayouts/slideLayout229.xml"/><Relationship Id="rId65" Type="http://schemas.openxmlformats.org/officeDocument/2006/relationships/slideLayout" Target="../slideLayouts/slideLayout234.xml"/><Relationship Id="rId73" Type="http://schemas.openxmlformats.org/officeDocument/2006/relationships/slideLayout" Target="../slideLayouts/slideLayout242.xml"/><Relationship Id="rId78" Type="http://schemas.openxmlformats.org/officeDocument/2006/relationships/slideLayout" Target="../slideLayouts/slideLayout247.xml"/><Relationship Id="rId81" Type="http://schemas.openxmlformats.org/officeDocument/2006/relationships/slideLayout" Target="../slideLayouts/slideLayout250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Relationship Id="rId13" Type="http://schemas.openxmlformats.org/officeDocument/2006/relationships/slideLayout" Target="../slideLayouts/slideLayout182.xml"/><Relationship Id="rId18" Type="http://schemas.openxmlformats.org/officeDocument/2006/relationships/slideLayout" Target="../slideLayouts/slideLayout187.xml"/><Relationship Id="rId39" Type="http://schemas.openxmlformats.org/officeDocument/2006/relationships/slideLayout" Target="../slideLayouts/slideLayout208.xml"/><Relationship Id="rId34" Type="http://schemas.openxmlformats.org/officeDocument/2006/relationships/slideLayout" Target="../slideLayouts/slideLayout203.xml"/><Relationship Id="rId50" Type="http://schemas.openxmlformats.org/officeDocument/2006/relationships/slideLayout" Target="../slideLayouts/slideLayout219.xml"/><Relationship Id="rId55" Type="http://schemas.openxmlformats.org/officeDocument/2006/relationships/slideLayout" Target="../slideLayouts/slideLayout224.xml"/><Relationship Id="rId76" Type="http://schemas.openxmlformats.org/officeDocument/2006/relationships/slideLayout" Target="../slideLayouts/slideLayout245.xml"/><Relationship Id="rId7" Type="http://schemas.openxmlformats.org/officeDocument/2006/relationships/slideLayout" Target="../slideLayouts/slideLayout176.xml"/><Relationship Id="rId71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171.xml"/><Relationship Id="rId29" Type="http://schemas.openxmlformats.org/officeDocument/2006/relationships/slideLayout" Target="../slideLayouts/slideLayout198.xml"/><Relationship Id="rId24" Type="http://schemas.openxmlformats.org/officeDocument/2006/relationships/slideLayout" Target="../slideLayouts/slideLayout193.xml"/><Relationship Id="rId40" Type="http://schemas.openxmlformats.org/officeDocument/2006/relationships/slideLayout" Target="../slideLayouts/slideLayout209.xml"/><Relationship Id="rId45" Type="http://schemas.openxmlformats.org/officeDocument/2006/relationships/slideLayout" Target="../slideLayouts/slideLayout214.xml"/><Relationship Id="rId66" Type="http://schemas.openxmlformats.org/officeDocument/2006/relationships/slideLayout" Target="../slideLayouts/slideLayout235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77.xml"/><Relationship Id="rId21" Type="http://schemas.openxmlformats.org/officeDocument/2006/relationships/slideLayout" Target="../slideLayouts/slideLayout272.xml"/><Relationship Id="rId42" Type="http://schemas.openxmlformats.org/officeDocument/2006/relationships/slideLayout" Target="../slideLayouts/slideLayout293.xml"/><Relationship Id="rId47" Type="http://schemas.openxmlformats.org/officeDocument/2006/relationships/slideLayout" Target="../slideLayouts/slideLayout298.xml"/><Relationship Id="rId63" Type="http://schemas.openxmlformats.org/officeDocument/2006/relationships/slideLayout" Target="../slideLayouts/slideLayout314.xml"/><Relationship Id="rId68" Type="http://schemas.openxmlformats.org/officeDocument/2006/relationships/slideLayout" Target="../slideLayouts/slideLayout319.xml"/><Relationship Id="rId16" Type="http://schemas.openxmlformats.org/officeDocument/2006/relationships/slideLayout" Target="../slideLayouts/slideLayout267.xml"/><Relationship Id="rId11" Type="http://schemas.openxmlformats.org/officeDocument/2006/relationships/slideLayout" Target="../slideLayouts/slideLayout262.xml"/><Relationship Id="rId32" Type="http://schemas.openxmlformats.org/officeDocument/2006/relationships/slideLayout" Target="../slideLayouts/slideLayout283.xml"/><Relationship Id="rId37" Type="http://schemas.openxmlformats.org/officeDocument/2006/relationships/slideLayout" Target="../slideLayouts/slideLayout288.xml"/><Relationship Id="rId53" Type="http://schemas.openxmlformats.org/officeDocument/2006/relationships/slideLayout" Target="../slideLayouts/slideLayout304.xml"/><Relationship Id="rId58" Type="http://schemas.openxmlformats.org/officeDocument/2006/relationships/slideLayout" Target="../slideLayouts/slideLayout309.xml"/><Relationship Id="rId74" Type="http://schemas.openxmlformats.org/officeDocument/2006/relationships/slideLayout" Target="../slideLayouts/slideLayout325.xml"/><Relationship Id="rId79" Type="http://schemas.openxmlformats.org/officeDocument/2006/relationships/slideLayout" Target="../slideLayouts/slideLayout330.xml"/><Relationship Id="rId5" Type="http://schemas.openxmlformats.org/officeDocument/2006/relationships/slideLayout" Target="../slideLayouts/slideLayout256.xml"/><Relationship Id="rId61" Type="http://schemas.openxmlformats.org/officeDocument/2006/relationships/slideLayout" Target="../slideLayouts/slideLayout312.xml"/><Relationship Id="rId82" Type="http://schemas.openxmlformats.org/officeDocument/2006/relationships/theme" Target="../theme/theme5.xml"/><Relationship Id="rId19" Type="http://schemas.openxmlformats.org/officeDocument/2006/relationships/slideLayout" Target="../slideLayouts/slideLayout270.xml"/><Relationship Id="rId14" Type="http://schemas.openxmlformats.org/officeDocument/2006/relationships/slideLayout" Target="../slideLayouts/slideLayout265.xml"/><Relationship Id="rId22" Type="http://schemas.openxmlformats.org/officeDocument/2006/relationships/slideLayout" Target="../slideLayouts/slideLayout273.xml"/><Relationship Id="rId27" Type="http://schemas.openxmlformats.org/officeDocument/2006/relationships/slideLayout" Target="../slideLayouts/slideLayout278.xml"/><Relationship Id="rId30" Type="http://schemas.openxmlformats.org/officeDocument/2006/relationships/slideLayout" Target="../slideLayouts/slideLayout281.xml"/><Relationship Id="rId35" Type="http://schemas.openxmlformats.org/officeDocument/2006/relationships/slideLayout" Target="../slideLayouts/slideLayout286.xml"/><Relationship Id="rId43" Type="http://schemas.openxmlformats.org/officeDocument/2006/relationships/slideLayout" Target="../slideLayouts/slideLayout294.xml"/><Relationship Id="rId48" Type="http://schemas.openxmlformats.org/officeDocument/2006/relationships/slideLayout" Target="../slideLayouts/slideLayout299.xml"/><Relationship Id="rId56" Type="http://schemas.openxmlformats.org/officeDocument/2006/relationships/slideLayout" Target="../slideLayouts/slideLayout307.xml"/><Relationship Id="rId64" Type="http://schemas.openxmlformats.org/officeDocument/2006/relationships/slideLayout" Target="../slideLayouts/slideLayout315.xml"/><Relationship Id="rId69" Type="http://schemas.openxmlformats.org/officeDocument/2006/relationships/slideLayout" Target="../slideLayouts/slideLayout320.xml"/><Relationship Id="rId77" Type="http://schemas.openxmlformats.org/officeDocument/2006/relationships/slideLayout" Target="../slideLayouts/slideLayout328.xml"/><Relationship Id="rId8" Type="http://schemas.openxmlformats.org/officeDocument/2006/relationships/slideLayout" Target="../slideLayouts/slideLayout259.xml"/><Relationship Id="rId51" Type="http://schemas.openxmlformats.org/officeDocument/2006/relationships/slideLayout" Target="../slideLayouts/slideLayout302.xml"/><Relationship Id="rId72" Type="http://schemas.openxmlformats.org/officeDocument/2006/relationships/slideLayout" Target="../slideLayouts/slideLayout323.xml"/><Relationship Id="rId80" Type="http://schemas.openxmlformats.org/officeDocument/2006/relationships/slideLayout" Target="../slideLayouts/slideLayout331.xml"/><Relationship Id="rId3" Type="http://schemas.openxmlformats.org/officeDocument/2006/relationships/slideLayout" Target="../slideLayouts/slideLayout254.xml"/><Relationship Id="rId12" Type="http://schemas.openxmlformats.org/officeDocument/2006/relationships/slideLayout" Target="../slideLayouts/slideLayout263.xml"/><Relationship Id="rId17" Type="http://schemas.openxmlformats.org/officeDocument/2006/relationships/slideLayout" Target="../slideLayouts/slideLayout268.xml"/><Relationship Id="rId25" Type="http://schemas.openxmlformats.org/officeDocument/2006/relationships/slideLayout" Target="../slideLayouts/slideLayout276.xml"/><Relationship Id="rId33" Type="http://schemas.openxmlformats.org/officeDocument/2006/relationships/slideLayout" Target="../slideLayouts/slideLayout284.xml"/><Relationship Id="rId38" Type="http://schemas.openxmlformats.org/officeDocument/2006/relationships/slideLayout" Target="../slideLayouts/slideLayout289.xml"/><Relationship Id="rId46" Type="http://schemas.openxmlformats.org/officeDocument/2006/relationships/slideLayout" Target="../slideLayouts/slideLayout297.xml"/><Relationship Id="rId59" Type="http://schemas.openxmlformats.org/officeDocument/2006/relationships/slideLayout" Target="../slideLayouts/slideLayout310.xml"/><Relationship Id="rId67" Type="http://schemas.openxmlformats.org/officeDocument/2006/relationships/slideLayout" Target="../slideLayouts/slideLayout318.xml"/><Relationship Id="rId20" Type="http://schemas.openxmlformats.org/officeDocument/2006/relationships/slideLayout" Target="../slideLayouts/slideLayout271.xml"/><Relationship Id="rId41" Type="http://schemas.openxmlformats.org/officeDocument/2006/relationships/slideLayout" Target="../slideLayouts/slideLayout292.xml"/><Relationship Id="rId54" Type="http://schemas.openxmlformats.org/officeDocument/2006/relationships/slideLayout" Target="../slideLayouts/slideLayout305.xml"/><Relationship Id="rId62" Type="http://schemas.openxmlformats.org/officeDocument/2006/relationships/slideLayout" Target="../slideLayouts/slideLayout313.xml"/><Relationship Id="rId70" Type="http://schemas.openxmlformats.org/officeDocument/2006/relationships/slideLayout" Target="../slideLayouts/slideLayout321.xml"/><Relationship Id="rId75" Type="http://schemas.openxmlformats.org/officeDocument/2006/relationships/slideLayout" Target="../slideLayouts/slideLayout326.xml"/><Relationship Id="rId1" Type="http://schemas.openxmlformats.org/officeDocument/2006/relationships/slideLayout" Target="../slideLayouts/slideLayout252.xml"/><Relationship Id="rId6" Type="http://schemas.openxmlformats.org/officeDocument/2006/relationships/slideLayout" Target="../slideLayouts/slideLayout257.xml"/><Relationship Id="rId15" Type="http://schemas.openxmlformats.org/officeDocument/2006/relationships/slideLayout" Target="../slideLayouts/slideLayout266.xml"/><Relationship Id="rId23" Type="http://schemas.openxmlformats.org/officeDocument/2006/relationships/slideLayout" Target="../slideLayouts/slideLayout274.xml"/><Relationship Id="rId28" Type="http://schemas.openxmlformats.org/officeDocument/2006/relationships/slideLayout" Target="../slideLayouts/slideLayout279.xml"/><Relationship Id="rId36" Type="http://schemas.openxmlformats.org/officeDocument/2006/relationships/slideLayout" Target="../slideLayouts/slideLayout287.xml"/><Relationship Id="rId49" Type="http://schemas.openxmlformats.org/officeDocument/2006/relationships/slideLayout" Target="../slideLayouts/slideLayout300.xml"/><Relationship Id="rId57" Type="http://schemas.openxmlformats.org/officeDocument/2006/relationships/slideLayout" Target="../slideLayouts/slideLayout308.xml"/><Relationship Id="rId10" Type="http://schemas.openxmlformats.org/officeDocument/2006/relationships/slideLayout" Target="../slideLayouts/slideLayout261.xml"/><Relationship Id="rId31" Type="http://schemas.openxmlformats.org/officeDocument/2006/relationships/slideLayout" Target="../slideLayouts/slideLayout282.xml"/><Relationship Id="rId44" Type="http://schemas.openxmlformats.org/officeDocument/2006/relationships/slideLayout" Target="../slideLayouts/slideLayout295.xml"/><Relationship Id="rId52" Type="http://schemas.openxmlformats.org/officeDocument/2006/relationships/slideLayout" Target="../slideLayouts/slideLayout303.xml"/><Relationship Id="rId60" Type="http://schemas.openxmlformats.org/officeDocument/2006/relationships/slideLayout" Target="../slideLayouts/slideLayout311.xml"/><Relationship Id="rId65" Type="http://schemas.openxmlformats.org/officeDocument/2006/relationships/slideLayout" Target="../slideLayouts/slideLayout316.xml"/><Relationship Id="rId73" Type="http://schemas.openxmlformats.org/officeDocument/2006/relationships/slideLayout" Target="../slideLayouts/slideLayout324.xml"/><Relationship Id="rId78" Type="http://schemas.openxmlformats.org/officeDocument/2006/relationships/slideLayout" Target="../slideLayouts/slideLayout329.xml"/><Relationship Id="rId81" Type="http://schemas.openxmlformats.org/officeDocument/2006/relationships/slideLayout" Target="../slideLayouts/slideLayout332.xml"/><Relationship Id="rId4" Type="http://schemas.openxmlformats.org/officeDocument/2006/relationships/slideLayout" Target="../slideLayouts/slideLayout255.xml"/><Relationship Id="rId9" Type="http://schemas.openxmlformats.org/officeDocument/2006/relationships/slideLayout" Target="../slideLayouts/slideLayout260.xml"/><Relationship Id="rId13" Type="http://schemas.openxmlformats.org/officeDocument/2006/relationships/slideLayout" Target="../slideLayouts/slideLayout264.xml"/><Relationship Id="rId18" Type="http://schemas.openxmlformats.org/officeDocument/2006/relationships/slideLayout" Target="../slideLayouts/slideLayout269.xml"/><Relationship Id="rId39" Type="http://schemas.openxmlformats.org/officeDocument/2006/relationships/slideLayout" Target="../slideLayouts/slideLayout290.xml"/><Relationship Id="rId34" Type="http://schemas.openxmlformats.org/officeDocument/2006/relationships/slideLayout" Target="../slideLayouts/slideLayout285.xml"/><Relationship Id="rId50" Type="http://schemas.openxmlformats.org/officeDocument/2006/relationships/slideLayout" Target="../slideLayouts/slideLayout301.xml"/><Relationship Id="rId55" Type="http://schemas.openxmlformats.org/officeDocument/2006/relationships/slideLayout" Target="../slideLayouts/slideLayout306.xml"/><Relationship Id="rId76" Type="http://schemas.openxmlformats.org/officeDocument/2006/relationships/slideLayout" Target="../slideLayouts/slideLayout327.xml"/><Relationship Id="rId7" Type="http://schemas.openxmlformats.org/officeDocument/2006/relationships/slideLayout" Target="../slideLayouts/slideLayout258.xml"/><Relationship Id="rId71" Type="http://schemas.openxmlformats.org/officeDocument/2006/relationships/slideLayout" Target="../slideLayouts/slideLayout322.xml"/><Relationship Id="rId2" Type="http://schemas.openxmlformats.org/officeDocument/2006/relationships/slideLayout" Target="../slideLayouts/slideLayout253.xml"/><Relationship Id="rId29" Type="http://schemas.openxmlformats.org/officeDocument/2006/relationships/slideLayout" Target="../slideLayouts/slideLayout280.xml"/><Relationship Id="rId24" Type="http://schemas.openxmlformats.org/officeDocument/2006/relationships/slideLayout" Target="../slideLayouts/slideLayout275.xml"/><Relationship Id="rId40" Type="http://schemas.openxmlformats.org/officeDocument/2006/relationships/slideLayout" Target="../slideLayouts/slideLayout291.xml"/><Relationship Id="rId45" Type="http://schemas.openxmlformats.org/officeDocument/2006/relationships/slideLayout" Target="../slideLayouts/slideLayout296.xml"/><Relationship Id="rId66" Type="http://schemas.openxmlformats.org/officeDocument/2006/relationships/slideLayout" Target="../slideLayouts/slideLayout317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58.xml"/><Relationship Id="rId21" Type="http://schemas.openxmlformats.org/officeDocument/2006/relationships/slideLayout" Target="../slideLayouts/slideLayout353.xml"/><Relationship Id="rId42" Type="http://schemas.openxmlformats.org/officeDocument/2006/relationships/slideLayout" Target="../slideLayouts/slideLayout374.xml"/><Relationship Id="rId47" Type="http://schemas.openxmlformats.org/officeDocument/2006/relationships/slideLayout" Target="../slideLayouts/slideLayout379.xml"/><Relationship Id="rId63" Type="http://schemas.openxmlformats.org/officeDocument/2006/relationships/slideLayout" Target="../slideLayouts/slideLayout395.xml"/><Relationship Id="rId68" Type="http://schemas.openxmlformats.org/officeDocument/2006/relationships/slideLayout" Target="../slideLayouts/slideLayout400.xml"/><Relationship Id="rId16" Type="http://schemas.openxmlformats.org/officeDocument/2006/relationships/slideLayout" Target="../slideLayouts/slideLayout348.xml"/><Relationship Id="rId11" Type="http://schemas.openxmlformats.org/officeDocument/2006/relationships/slideLayout" Target="../slideLayouts/slideLayout343.xml"/><Relationship Id="rId24" Type="http://schemas.openxmlformats.org/officeDocument/2006/relationships/slideLayout" Target="../slideLayouts/slideLayout356.xml"/><Relationship Id="rId32" Type="http://schemas.openxmlformats.org/officeDocument/2006/relationships/slideLayout" Target="../slideLayouts/slideLayout364.xml"/><Relationship Id="rId37" Type="http://schemas.openxmlformats.org/officeDocument/2006/relationships/slideLayout" Target="../slideLayouts/slideLayout369.xml"/><Relationship Id="rId40" Type="http://schemas.openxmlformats.org/officeDocument/2006/relationships/slideLayout" Target="../slideLayouts/slideLayout372.xml"/><Relationship Id="rId45" Type="http://schemas.openxmlformats.org/officeDocument/2006/relationships/slideLayout" Target="../slideLayouts/slideLayout377.xml"/><Relationship Id="rId53" Type="http://schemas.openxmlformats.org/officeDocument/2006/relationships/slideLayout" Target="../slideLayouts/slideLayout385.xml"/><Relationship Id="rId58" Type="http://schemas.openxmlformats.org/officeDocument/2006/relationships/slideLayout" Target="../slideLayouts/slideLayout390.xml"/><Relationship Id="rId66" Type="http://schemas.openxmlformats.org/officeDocument/2006/relationships/slideLayout" Target="../slideLayouts/slideLayout398.xml"/><Relationship Id="rId74" Type="http://schemas.openxmlformats.org/officeDocument/2006/relationships/slideLayout" Target="../slideLayouts/slideLayout406.xml"/><Relationship Id="rId5" Type="http://schemas.openxmlformats.org/officeDocument/2006/relationships/slideLayout" Target="../slideLayouts/slideLayout337.xml"/><Relationship Id="rId61" Type="http://schemas.openxmlformats.org/officeDocument/2006/relationships/slideLayout" Target="../slideLayouts/slideLayout393.xml"/><Relationship Id="rId19" Type="http://schemas.openxmlformats.org/officeDocument/2006/relationships/slideLayout" Target="../slideLayouts/slideLayout351.xml"/><Relationship Id="rId14" Type="http://schemas.openxmlformats.org/officeDocument/2006/relationships/slideLayout" Target="../slideLayouts/slideLayout346.xml"/><Relationship Id="rId22" Type="http://schemas.openxmlformats.org/officeDocument/2006/relationships/slideLayout" Target="../slideLayouts/slideLayout354.xml"/><Relationship Id="rId27" Type="http://schemas.openxmlformats.org/officeDocument/2006/relationships/slideLayout" Target="../slideLayouts/slideLayout359.xml"/><Relationship Id="rId30" Type="http://schemas.openxmlformats.org/officeDocument/2006/relationships/slideLayout" Target="../slideLayouts/slideLayout362.xml"/><Relationship Id="rId35" Type="http://schemas.openxmlformats.org/officeDocument/2006/relationships/slideLayout" Target="../slideLayouts/slideLayout367.xml"/><Relationship Id="rId43" Type="http://schemas.openxmlformats.org/officeDocument/2006/relationships/slideLayout" Target="../slideLayouts/slideLayout375.xml"/><Relationship Id="rId48" Type="http://schemas.openxmlformats.org/officeDocument/2006/relationships/slideLayout" Target="../slideLayouts/slideLayout380.xml"/><Relationship Id="rId56" Type="http://schemas.openxmlformats.org/officeDocument/2006/relationships/slideLayout" Target="../slideLayouts/slideLayout388.xml"/><Relationship Id="rId64" Type="http://schemas.openxmlformats.org/officeDocument/2006/relationships/slideLayout" Target="../slideLayouts/slideLayout396.xml"/><Relationship Id="rId69" Type="http://schemas.openxmlformats.org/officeDocument/2006/relationships/slideLayout" Target="../slideLayouts/slideLayout401.xml"/><Relationship Id="rId77" Type="http://schemas.openxmlformats.org/officeDocument/2006/relationships/slideLayout" Target="../slideLayouts/slideLayout409.xml"/><Relationship Id="rId8" Type="http://schemas.openxmlformats.org/officeDocument/2006/relationships/slideLayout" Target="../slideLayouts/slideLayout340.xml"/><Relationship Id="rId51" Type="http://schemas.openxmlformats.org/officeDocument/2006/relationships/slideLayout" Target="../slideLayouts/slideLayout383.xml"/><Relationship Id="rId72" Type="http://schemas.openxmlformats.org/officeDocument/2006/relationships/slideLayout" Target="../slideLayouts/slideLayout404.xml"/><Relationship Id="rId3" Type="http://schemas.openxmlformats.org/officeDocument/2006/relationships/slideLayout" Target="../slideLayouts/slideLayout335.xml"/><Relationship Id="rId12" Type="http://schemas.openxmlformats.org/officeDocument/2006/relationships/slideLayout" Target="../slideLayouts/slideLayout344.xml"/><Relationship Id="rId17" Type="http://schemas.openxmlformats.org/officeDocument/2006/relationships/slideLayout" Target="../slideLayouts/slideLayout349.xml"/><Relationship Id="rId25" Type="http://schemas.openxmlformats.org/officeDocument/2006/relationships/slideLayout" Target="../slideLayouts/slideLayout357.xml"/><Relationship Id="rId33" Type="http://schemas.openxmlformats.org/officeDocument/2006/relationships/slideLayout" Target="../slideLayouts/slideLayout365.xml"/><Relationship Id="rId38" Type="http://schemas.openxmlformats.org/officeDocument/2006/relationships/slideLayout" Target="../slideLayouts/slideLayout370.xml"/><Relationship Id="rId46" Type="http://schemas.openxmlformats.org/officeDocument/2006/relationships/slideLayout" Target="../slideLayouts/slideLayout378.xml"/><Relationship Id="rId59" Type="http://schemas.openxmlformats.org/officeDocument/2006/relationships/slideLayout" Target="../slideLayouts/slideLayout391.xml"/><Relationship Id="rId67" Type="http://schemas.openxmlformats.org/officeDocument/2006/relationships/slideLayout" Target="../slideLayouts/slideLayout399.xml"/><Relationship Id="rId20" Type="http://schemas.openxmlformats.org/officeDocument/2006/relationships/slideLayout" Target="../slideLayouts/slideLayout352.xml"/><Relationship Id="rId41" Type="http://schemas.openxmlformats.org/officeDocument/2006/relationships/slideLayout" Target="../slideLayouts/slideLayout373.xml"/><Relationship Id="rId54" Type="http://schemas.openxmlformats.org/officeDocument/2006/relationships/slideLayout" Target="../slideLayouts/slideLayout386.xml"/><Relationship Id="rId62" Type="http://schemas.openxmlformats.org/officeDocument/2006/relationships/slideLayout" Target="../slideLayouts/slideLayout394.xml"/><Relationship Id="rId70" Type="http://schemas.openxmlformats.org/officeDocument/2006/relationships/slideLayout" Target="../slideLayouts/slideLayout402.xml"/><Relationship Id="rId75" Type="http://schemas.openxmlformats.org/officeDocument/2006/relationships/slideLayout" Target="../slideLayouts/slideLayout407.xml"/><Relationship Id="rId1" Type="http://schemas.openxmlformats.org/officeDocument/2006/relationships/slideLayout" Target="../slideLayouts/slideLayout333.xml"/><Relationship Id="rId6" Type="http://schemas.openxmlformats.org/officeDocument/2006/relationships/slideLayout" Target="../slideLayouts/slideLayout338.xml"/><Relationship Id="rId15" Type="http://schemas.openxmlformats.org/officeDocument/2006/relationships/slideLayout" Target="../slideLayouts/slideLayout347.xml"/><Relationship Id="rId23" Type="http://schemas.openxmlformats.org/officeDocument/2006/relationships/slideLayout" Target="../slideLayouts/slideLayout355.xml"/><Relationship Id="rId28" Type="http://schemas.openxmlformats.org/officeDocument/2006/relationships/slideLayout" Target="../slideLayouts/slideLayout360.xml"/><Relationship Id="rId36" Type="http://schemas.openxmlformats.org/officeDocument/2006/relationships/slideLayout" Target="../slideLayouts/slideLayout368.xml"/><Relationship Id="rId49" Type="http://schemas.openxmlformats.org/officeDocument/2006/relationships/slideLayout" Target="../slideLayouts/slideLayout381.xml"/><Relationship Id="rId57" Type="http://schemas.openxmlformats.org/officeDocument/2006/relationships/slideLayout" Target="../slideLayouts/slideLayout389.xml"/><Relationship Id="rId10" Type="http://schemas.openxmlformats.org/officeDocument/2006/relationships/slideLayout" Target="../slideLayouts/slideLayout342.xml"/><Relationship Id="rId31" Type="http://schemas.openxmlformats.org/officeDocument/2006/relationships/slideLayout" Target="../slideLayouts/slideLayout363.xml"/><Relationship Id="rId44" Type="http://schemas.openxmlformats.org/officeDocument/2006/relationships/slideLayout" Target="../slideLayouts/slideLayout376.xml"/><Relationship Id="rId52" Type="http://schemas.openxmlformats.org/officeDocument/2006/relationships/slideLayout" Target="../slideLayouts/slideLayout384.xml"/><Relationship Id="rId60" Type="http://schemas.openxmlformats.org/officeDocument/2006/relationships/slideLayout" Target="../slideLayouts/slideLayout392.xml"/><Relationship Id="rId65" Type="http://schemas.openxmlformats.org/officeDocument/2006/relationships/slideLayout" Target="../slideLayouts/slideLayout397.xml"/><Relationship Id="rId73" Type="http://schemas.openxmlformats.org/officeDocument/2006/relationships/slideLayout" Target="../slideLayouts/slideLayout405.xml"/><Relationship Id="rId78" Type="http://schemas.openxmlformats.org/officeDocument/2006/relationships/theme" Target="../theme/theme6.xml"/><Relationship Id="rId4" Type="http://schemas.openxmlformats.org/officeDocument/2006/relationships/slideLayout" Target="../slideLayouts/slideLayout336.xml"/><Relationship Id="rId9" Type="http://schemas.openxmlformats.org/officeDocument/2006/relationships/slideLayout" Target="../slideLayouts/slideLayout341.xml"/><Relationship Id="rId13" Type="http://schemas.openxmlformats.org/officeDocument/2006/relationships/slideLayout" Target="../slideLayouts/slideLayout345.xml"/><Relationship Id="rId18" Type="http://schemas.openxmlformats.org/officeDocument/2006/relationships/slideLayout" Target="../slideLayouts/slideLayout350.xml"/><Relationship Id="rId39" Type="http://schemas.openxmlformats.org/officeDocument/2006/relationships/slideLayout" Target="../slideLayouts/slideLayout371.xml"/><Relationship Id="rId34" Type="http://schemas.openxmlformats.org/officeDocument/2006/relationships/slideLayout" Target="../slideLayouts/slideLayout366.xml"/><Relationship Id="rId50" Type="http://schemas.openxmlformats.org/officeDocument/2006/relationships/slideLayout" Target="../slideLayouts/slideLayout382.xml"/><Relationship Id="rId55" Type="http://schemas.openxmlformats.org/officeDocument/2006/relationships/slideLayout" Target="../slideLayouts/slideLayout387.xml"/><Relationship Id="rId76" Type="http://schemas.openxmlformats.org/officeDocument/2006/relationships/slideLayout" Target="../slideLayouts/slideLayout408.xml"/><Relationship Id="rId7" Type="http://schemas.openxmlformats.org/officeDocument/2006/relationships/slideLayout" Target="../slideLayouts/slideLayout339.xml"/><Relationship Id="rId71" Type="http://schemas.openxmlformats.org/officeDocument/2006/relationships/slideLayout" Target="../slideLayouts/slideLayout403.xml"/><Relationship Id="rId2" Type="http://schemas.openxmlformats.org/officeDocument/2006/relationships/slideLayout" Target="../slideLayouts/slideLayout334.xml"/><Relationship Id="rId29" Type="http://schemas.openxmlformats.org/officeDocument/2006/relationships/slideLayout" Target="../slideLayouts/slideLayout361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35.xml"/><Relationship Id="rId21" Type="http://schemas.openxmlformats.org/officeDocument/2006/relationships/slideLayout" Target="../slideLayouts/slideLayout430.xml"/><Relationship Id="rId42" Type="http://schemas.openxmlformats.org/officeDocument/2006/relationships/slideLayout" Target="../slideLayouts/slideLayout451.xml"/><Relationship Id="rId47" Type="http://schemas.openxmlformats.org/officeDocument/2006/relationships/slideLayout" Target="../slideLayouts/slideLayout456.xml"/><Relationship Id="rId63" Type="http://schemas.openxmlformats.org/officeDocument/2006/relationships/slideLayout" Target="../slideLayouts/slideLayout472.xml"/><Relationship Id="rId68" Type="http://schemas.openxmlformats.org/officeDocument/2006/relationships/slideLayout" Target="../slideLayouts/slideLayout477.xml"/><Relationship Id="rId16" Type="http://schemas.openxmlformats.org/officeDocument/2006/relationships/slideLayout" Target="../slideLayouts/slideLayout425.xml"/><Relationship Id="rId11" Type="http://schemas.openxmlformats.org/officeDocument/2006/relationships/slideLayout" Target="../slideLayouts/slideLayout420.xml"/><Relationship Id="rId24" Type="http://schemas.openxmlformats.org/officeDocument/2006/relationships/slideLayout" Target="../slideLayouts/slideLayout433.xml"/><Relationship Id="rId32" Type="http://schemas.openxmlformats.org/officeDocument/2006/relationships/slideLayout" Target="../slideLayouts/slideLayout441.xml"/><Relationship Id="rId37" Type="http://schemas.openxmlformats.org/officeDocument/2006/relationships/slideLayout" Target="../slideLayouts/slideLayout446.xml"/><Relationship Id="rId40" Type="http://schemas.openxmlformats.org/officeDocument/2006/relationships/slideLayout" Target="../slideLayouts/slideLayout449.xml"/><Relationship Id="rId45" Type="http://schemas.openxmlformats.org/officeDocument/2006/relationships/slideLayout" Target="../slideLayouts/slideLayout454.xml"/><Relationship Id="rId53" Type="http://schemas.openxmlformats.org/officeDocument/2006/relationships/slideLayout" Target="../slideLayouts/slideLayout462.xml"/><Relationship Id="rId58" Type="http://schemas.openxmlformats.org/officeDocument/2006/relationships/slideLayout" Target="../slideLayouts/slideLayout467.xml"/><Relationship Id="rId66" Type="http://schemas.openxmlformats.org/officeDocument/2006/relationships/slideLayout" Target="../slideLayouts/slideLayout475.xml"/><Relationship Id="rId74" Type="http://schemas.openxmlformats.org/officeDocument/2006/relationships/slideLayout" Target="../slideLayouts/slideLayout483.xml"/><Relationship Id="rId79" Type="http://schemas.openxmlformats.org/officeDocument/2006/relationships/theme" Target="../theme/theme7.xml"/><Relationship Id="rId5" Type="http://schemas.openxmlformats.org/officeDocument/2006/relationships/slideLayout" Target="../slideLayouts/slideLayout414.xml"/><Relationship Id="rId61" Type="http://schemas.openxmlformats.org/officeDocument/2006/relationships/slideLayout" Target="../slideLayouts/slideLayout470.xml"/><Relationship Id="rId19" Type="http://schemas.openxmlformats.org/officeDocument/2006/relationships/slideLayout" Target="../slideLayouts/slideLayout428.xml"/><Relationship Id="rId14" Type="http://schemas.openxmlformats.org/officeDocument/2006/relationships/slideLayout" Target="../slideLayouts/slideLayout423.xml"/><Relationship Id="rId22" Type="http://schemas.openxmlformats.org/officeDocument/2006/relationships/slideLayout" Target="../slideLayouts/slideLayout431.xml"/><Relationship Id="rId27" Type="http://schemas.openxmlformats.org/officeDocument/2006/relationships/slideLayout" Target="../slideLayouts/slideLayout436.xml"/><Relationship Id="rId30" Type="http://schemas.openxmlformats.org/officeDocument/2006/relationships/slideLayout" Target="../slideLayouts/slideLayout439.xml"/><Relationship Id="rId35" Type="http://schemas.openxmlformats.org/officeDocument/2006/relationships/slideLayout" Target="../slideLayouts/slideLayout444.xml"/><Relationship Id="rId43" Type="http://schemas.openxmlformats.org/officeDocument/2006/relationships/slideLayout" Target="../slideLayouts/slideLayout452.xml"/><Relationship Id="rId48" Type="http://schemas.openxmlformats.org/officeDocument/2006/relationships/slideLayout" Target="../slideLayouts/slideLayout457.xml"/><Relationship Id="rId56" Type="http://schemas.openxmlformats.org/officeDocument/2006/relationships/slideLayout" Target="../slideLayouts/slideLayout465.xml"/><Relationship Id="rId64" Type="http://schemas.openxmlformats.org/officeDocument/2006/relationships/slideLayout" Target="../slideLayouts/slideLayout473.xml"/><Relationship Id="rId69" Type="http://schemas.openxmlformats.org/officeDocument/2006/relationships/slideLayout" Target="../slideLayouts/slideLayout478.xml"/><Relationship Id="rId77" Type="http://schemas.openxmlformats.org/officeDocument/2006/relationships/slideLayout" Target="../slideLayouts/slideLayout486.xml"/><Relationship Id="rId8" Type="http://schemas.openxmlformats.org/officeDocument/2006/relationships/slideLayout" Target="../slideLayouts/slideLayout417.xml"/><Relationship Id="rId51" Type="http://schemas.openxmlformats.org/officeDocument/2006/relationships/slideLayout" Target="../slideLayouts/slideLayout460.xml"/><Relationship Id="rId72" Type="http://schemas.openxmlformats.org/officeDocument/2006/relationships/slideLayout" Target="../slideLayouts/slideLayout481.xml"/><Relationship Id="rId3" Type="http://schemas.openxmlformats.org/officeDocument/2006/relationships/slideLayout" Target="../slideLayouts/slideLayout412.xml"/><Relationship Id="rId12" Type="http://schemas.openxmlformats.org/officeDocument/2006/relationships/slideLayout" Target="../slideLayouts/slideLayout421.xml"/><Relationship Id="rId17" Type="http://schemas.openxmlformats.org/officeDocument/2006/relationships/slideLayout" Target="../slideLayouts/slideLayout426.xml"/><Relationship Id="rId25" Type="http://schemas.openxmlformats.org/officeDocument/2006/relationships/slideLayout" Target="../slideLayouts/slideLayout434.xml"/><Relationship Id="rId33" Type="http://schemas.openxmlformats.org/officeDocument/2006/relationships/slideLayout" Target="../slideLayouts/slideLayout442.xml"/><Relationship Id="rId38" Type="http://schemas.openxmlformats.org/officeDocument/2006/relationships/slideLayout" Target="../slideLayouts/slideLayout447.xml"/><Relationship Id="rId46" Type="http://schemas.openxmlformats.org/officeDocument/2006/relationships/slideLayout" Target="../slideLayouts/slideLayout455.xml"/><Relationship Id="rId59" Type="http://schemas.openxmlformats.org/officeDocument/2006/relationships/slideLayout" Target="../slideLayouts/slideLayout468.xml"/><Relationship Id="rId67" Type="http://schemas.openxmlformats.org/officeDocument/2006/relationships/slideLayout" Target="../slideLayouts/slideLayout476.xml"/><Relationship Id="rId20" Type="http://schemas.openxmlformats.org/officeDocument/2006/relationships/slideLayout" Target="../slideLayouts/slideLayout429.xml"/><Relationship Id="rId41" Type="http://schemas.openxmlformats.org/officeDocument/2006/relationships/slideLayout" Target="../slideLayouts/slideLayout450.xml"/><Relationship Id="rId54" Type="http://schemas.openxmlformats.org/officeDocument/2006/relationships/slideLayout" Target="../slideLayouts/slideLayout463.xml"/><Relationship Id="rId62" Type="http://schemas.openxmlformats.org/officeDocument/2006/relationships/slideLayout" Target="../slideLayouts/slideLayout471.xml"/><Relationship Id="rId70" Type="http://schemas.openxmlformats.org/officeDocument/2006/relationships/slideLayout" Target="../slideLayouts/slideLayout479.xml"/><Relationship Id="rId75" Type="http://schemas.openxmlformats.org/officeDocument/2006/relationships/slideLayout" Target="../slideLayouts/slideLayout484.xml"/><Relationship Id="rId1" Type="http://schemas.openxmlformats.org/officeDocument/2006/relationships/slideLayout" Target="../slideLayouts/slideLayout410.xml"/><Relationship Id="rId6" Type="http://schemas.openxmlformats.org/officeDocument/2006/relationships/slideLayout" Target="../slideLayouts/slideLayout415.xml"/><Relationship Id="rId15" Type="http://schemas.openxmlformats.org/officeDocument/2006/relationships/slideLayout" Target="../slideLayouts/slideLayout424.xml"/><Relationship Id="rId23" Type="http://schemas.openxmlformats.org/officeDocument/2006/relationships/slideLayout" Target="../slideLayouts/slideLayout432.xml"/><Relationship Id="rId28" Type="http://schemas.openxmlformats.org/officeDocument/2006/relationships/slideLayout" Target="../slideLayouts/slideLayout437.xml"/><Relationship Id="rId36" Type="http://schemas.openxmlformats.org/officeDocument/2006/relationships/slideLayout" Target="../slideLayouts/slideLayout445.xml"/><Relationship Id="rId49" Type="http://schemas.openxmlformats.org/officeDocument/2006/relationships/slideLayout" Target="../slideLayouts/slideLayout458.xml"/><Relationship Id="rId57" Type="http://schemas.openxmlformats.org/officeDocument/2006/relationships/slideLayout" Target="../slideLayouts/slideLayout466.xml"/><Relationship Id="rId10" Type="http://schemas.openxmlformats.org/officeDocument/2006/relationships/slideLayout" Target="../slideLayouts/slideLayout419.xml"/><Relationship Id="rId31" Type="http://schemas.openxmlformats.org/officeDocument/2006/relationships/slideLayout" Target="../slideLayouts/slideLayout440.xml"/><Relationship Id="rId44" Type="http://schemas.openxmlformats.org/officeDocument/2006/relationships/slideLayout" Target="../slideLayouts/slideLayout453.xml"/><Relationship Id="rId52" Type="http://schemas.openxmlformats.org/officeDocument/2006/relationships/slideLayout" Target="../slideLayouts/slideLayout461.xml"/><Relationship Id="rId60" Type="http://schemas.openxmlformats.org/officeDocument/2006/relationships/slideLayout" Target="../slideLayouts/slideLayout469.xml"/><Relationship Id="rId65" Type="http://schemas.openxmlformats.org/officeDocument/2006/relationships/slideLayout" Target="../slideLayouts/slideLayout474.xml"/><Relationship Id="rId73" Type="http://schemas.openxmlformats.org/officeDocument/2006/relationships/slideLayout" Target="../slideLayouts/slideLayout482.xml"/><Relationship Id="rId78" Type="http://schemas.openxmlformats.org/officeDocument/2006/relationships/slideLayout" Target="../slideLayouts/slideLayout487.xml"/><Relationship Id="rId4" Type="http://schemas.openxmlformats.org/officeDocument/2006/relationships/slideLayout" Target="../slideLayouts/slideLayout413.xml"/><Relationship Id="rId9" Type="http://schemas.openxmlformats.org/officeDocument/2006/relationships/slideLayout" Target="../slideLayouts/slideLayout418.xml"/><Relationship Id="rId13" Type="http://schemas.openxmlformats.org/officeDocument/2006/relationships/slideLayout" Target="../slideLayouts/slideLayout422.xml"/><Relationship Id="rId18" Type="http://schemas.openxmlformats.org/officeDocument/2006/relationships/slideLayout" Target="../slideLayouts/slideLayout427.xml"/><Relationship Id="rId39" Type="http://schemas.openxmlformats.org/officeDocument/2006/relationships/slideLayout" Target="../slideLayouts/slideLayout448.xml"/><Relationship Id="rId34" Type="http://schemas.openxmlformats.org/officeDocument/2006/relationships/slideLayout" Target="../slideLayouts/slideLayout443.xml"/><Relationship Id="rId50" Type="http://schemas.openxmlformats.org/officeDocument/2006/relationships/slideLayout" Target="../slideLayouts/slideLayout459.xml"/><Relationship Id="rId55" Type="http://schemas.openxmlformats.org/officeDocument/2006/relationships/slideLayout" Target="../slideLayouts/slideLayout464.xml"/><Relationship Id="rId76" Type="http://schemas.openxmlformats.org/officeDocument/2006/relationships/slideLayout" Target="../slideLayouts/slideLayout485.xml"/><Relationship Id="rId7" Type="http://schemas.openxmlformats.org/officeDocument/2006/relationships/slideLayout" Target="../slideLayouts/slideLayout416.xml"/><Relationship Id="rId71" Type="http://schemas.openxmlformats.org/officeDocument/2006/relationships/slideLayout" Target="../slideLayouts/slideLayout480.xml"/><Relationship Id="rId2" Type="http://schemas.openxmlformats.org/officeDocument/2006/relationships/slideLayout" Target="../slideLayouts/slideLayout411.xml"/><Relationship Id="rId29" Type="http://schemas.openxmlformats.org/officeDocument/2006/relationships/slideLayout" Target="../slideLayouts/slideLayout438.xml"/></Relationships>
</file>

<file path=ppt/slideMasters/_rels/slideMaster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13.xml"/><Relationship Id="rId21" Type="http://schemas.openxmlformats.org/officeDocument/2006/relationships/slideLayout" Target="../slideLayouts/slideLayout508.xml"/><Relationship Id="rId42" Type="http://schemas.openxmlformats.org/officeDocument/2006/relationships/slideLayout" Target="../slideLayouts/slideLayout529.xml"/><Relationship Id="rId47" Type="http://schemas.openxmlformats.org/officeDocument/2006/relationships/slideLayout" Target="../slideLayouts/slideLayout534.xml"/><Relationship Id="rId63" Type="http://schemas.openxmlformats.org/officeDocument/2006/relationships/slideLayout" Target="../slideLayouts/slideLayout550.xml"/><Relationship Id="rId68" Type="http://schemas.openxmlformats.org/officeDocument/2006/relationships/slideLayout" Target="../slideLayouts/slideLayout555.xml"/><Relationship Id="rId16" Type="http://schemas.openxmlformats.org/officeDocument/2006/relationships/slideLayout" Target="../slideLayouts/slideLayout503.xml"/><Relationship Id="rId11" Type="http://schemas.openxmlformats.org/officeDocument/2006/relationships/slideLayout" Target="../slideLayouts/slideLayout498.xml"/><Relationship Id="rId24" Type="http://schemas.openxmlformats.org/officeDocument/2006/relationships/slideLayout" Target="../slideLayouts/slideLayout511.xml"/><Relationship Id="rId32" Type="http://schemas.openxmlformats.org/officeDocument/2006/relationships/slideLayout" Target="../slideLayouts/slideLayout519.xml"/><Relationship Id="rId37" Type="http://schemas.openxmlformats.org/officeDocument/2006/relationships/slideLayout" Target="../slideLayouts/slideLayout524.xml"/><Relationship Id="rId40" Type="http://schemas.openxmlformats.org/officeDocument/2006/relationships/slideLayout" Target="../slideLayouts/slideLayout527.xml"/><Relationship Id="rId45" Type="http://schemas.openxmlformats.org/officeDocument/2006/relationships/slideLayout" Target="../slideLayouts/slideLayout532.xml"/><Relationship Id="rId53" Type="http://schemas.openxmlformats.org/officeDocument/2006/relationships/slideLayout" Target="../slideLayouts/slideLayout540.xml"/><Relationship Id="rId58" Type="http://schemas.openxmlformats.org/officeDocument/2006/relationships/slideLayout" Target="../slideLayouts/slideLayout545.xml"/><Relationship Id="rId66" Type="http://schemas.openxmlformats.org/officeDocument/2006/relationships/slideLayout" Target="../slideLayouts/slideLayout553.xml"/><Relationship Id="rId74" Type="http://schemas.openxmlformats.org/officeDocument/2006/relationships/slideLayout" Target="../slideLayouts/slideLayout561.xml"/><Relationship Id="rId5" Type="http://schemas.openxmlformats.org/officeDocument/2006/relationships/slideLayout" Target="../slideLayouts/slideLayout492.xml"/><Relationship Id="rId61" Type="http://schemas.openxmlformats.org/officeDocument/2006/relationships/slideLayout" Target="../slideLayouts/slideLayout548.xml"/><Relationship Id="rId19" Type="http://schemas.openxmlformats.org/officeDocument/2006/relationships/slideLayout" Target="../slideLayouts/slideLayout506.xml"/><Relationship Id="rId14" Type="http://schemas.openxmlformats.org/officeDocument/2006/relationships/slideLayout" Target="../slideLayouts/slideLayout501.xml"/><Relationship Id="rId22" Type="http://schemas.openxmlformats.org/officeDocument/2006/relationships/slideLayout" Target="../slideLayouts/slideLayout509.xml"/><Relationship Id="rId27" Type="http://schemas.openxmlformats.org/officeDocument/2006/relationships/slideLayout" Target="../slideLayouts/slideLayout514.xml"/><Relationship Id="rId30" Type="http://schemas.openxmlformats.org/officeDocument/2006/relationships/slideLayout" Target="../slideLayouts/slideLayout517.xml"/><Relationship Id="rId35" Type="http://schemas.openxmlformats.org/officeDocument/2006/relationships/slideLayout" Target="../slideLayouts/slideLayout522.xml"/><Relationship Id="rId43" Type="http://schemas.openxmlformats.org/officeDocument/2006/relationships/slideLayout" Target="../slideLayouts/slideLayout530.xml"/><Relationship Id="rId48" Type="http://schemas.openxmlformats.org/officeDocument/2006/relationships/slideLayout" Target="../slideLayouts/slideLayout535.xml"/><Relationship Id="rId56" Type="http://schemas.openxmlformats.org/officeDocument/2006/relationships/slideLayout" Target="../slideLayouts/slideLayout543.xml"/><Relationship Id="rId64" Type="http://schemas.openxmlformats.org/officeDocument/2006/relationships/slideLayout" Target="../slideLayouts/slideLayout551.xml"/><Relationship Id="rId69" Type="http://schemas.openxmlformats.org/officeDocument/2006/relationships/slideLayout" Target="../slideLayouts/slideLayout556.xml"/><Relationship Id="rId77" Type="http://schemas.openxmlformats.org/officeDocument/2006/relationships/theme" Target="../theme/theme8.xml"/><Relationship Id="rId8" Type="http://schemas.openxmlformats.org/officeDocument/2006/relationships/slideLayout" Target="../slideLayouts/slideLayout495.xml"/><Relationship Id="rId51" Type="http://schemas.openxmlformats.org/officeDocument/2006/relationships/slideLayout" Target="../slideLayouts/slideLayout538.xml"/><Relationship Id="rId72" Type="http://schemas.openxmlformats.org/officeDocument/2006/relationships/slideLayout" Target="../slideLayouts/slideLayout559.xml"/><Relationship Id="rId3" Type="http://schemas.openxmlformats.org/officeDocument/2006/relationships/slideLayout" Target="../slideLayouts/slideLayout490.xml"/><Relationship Id="rId12" Type="http://schemas.openxmlformats.org/officeDocument/2006/relationships/slideLayout" Target="../slideLayouts/slideLayout499.xml"/><Relationship Id="rId17" Type="http://schemas.openxmlformats.org/officeDocument/2006/relationships/slideLayout" Target="../slideLayouts/slideLayout504.xml"/><Relationship Id="rId25" Type="http://schemas.openxmlformats.org/officeDocument/2006/relationships/slideLayout" Target="../slideLayouts/slideLayout512.xml"/><Relationship Id="rId33" Type="http://schemas.openxmlformats.org/officeDocument/2006/relationships/slideLayout" Target="../slideLayouts/slideLayout520.xml"/><Relationship Id="rId38" Type="http://schemas.openxmlformats.org/officeDocument/2006/relationships/slideLayout" Target="../slideLayouts/slideLayout525.xml"/><Relationship Id="rId46" Type="http://schemas.openxmlformats.org/officeDocument/2006/relationships/slideLayout" Target="../slideLayouts/slideLayout533.xml"/><Relationship Id="rId59" Type="http://schemas.openxmlformats.org/officeDocument/2006/relationships/slideLayout" Target="../slideLayouts/slideLayout546.xml"/><Relationship Id="rId67" Type="http://schemas.openxmlformats.org/officeDocument/2006/relationships/slideLayout" Target="../slideLayouts/slideLayout554.xml"/><Relationship Id="rId20" Type="http://schemas.openxmlformats.org/officeDocument/2006/relationships/slideLayout" Target="../slideLayouts/slideLayout507.xml"/><Relationship Id="rId41" Type="http://schemas.openxmlformats.org/officeDocument/2006/relationships/slideLayout" Target="../slideLayouts/slideLayout528.xml"/><Relationship Id="rId54" Type="http://schemas.openxmlformats.org/officeDocument/2006/relationships/slideLayout" Target="../slideLayouts/slideLayout541.xml"/><Relationship Id="rId62" Type="http://schemas.openxmlformats.org/officeDocument/2006/relationships/slideLayout" Target="../slideLayouts/slideLayout549.xml"/><Relationship Id="rId70" Type="http://schemas.openxmlformats.org/officeDocument/2006/relationships/slideLayout" Target="../slideLayouts/slideLayout557.xml"/><Relationship Id="rId75" Type="http://schemas.openxmlformats.org/officeDocument/2006/relationships/slideLayout" Target="../slideLayouts/slideLayout562.xml"/><Relationship Id="rId1" Type="http://schemas.openxmlformats.org/officeDocument/2006/relationships/slideLayout" Target="../slideLayouts/slideLayout488.xml"/><Relationship Id="rId6" Type="http://schemas.openxmlformats.org/officeDocument/2006/relationships/slideLayout" Target="../slideLayouts/slideLayout493.xml"/><Relationship Id="rId15" Type="http://schemas.openxmlformats.org/officeDocument/2006/relationships/slideLayout" Target="../slideLayouts/slideLayout502.xml"/><Relationship Id="rId23" Type="http://schemas.openxmlformats.org/officeDocument/2006/relationships/slideLayout" Target="../slideLayouts/slideLayout510.xml"/><Relationship Id="rId28" Type="http://schemas.openxmlformats.org/officeDocument/2006/relationships/slideLayout" Target="../slideLayouts/slideLayout515.xml"/><Relationship Id="rId36" Type="http://schemas.openxmlformats.org/officeDocument/2006/relationships/slideLayout" Target="../slideLayouts/slideLayout523.xml"/><Relationship Id="rId49" Type="http://schemas.openxmlformats.org/officeDocument/2006/relationships/slideLayout" Target="../slideLayouts/slideLayout536.xml"/><Relationship Id="rId57" Type="http://schemas.openxmlformats.org/officeDocument/2006/relationships/slideLayout" Target="../slideLayouts/slideLayout544.xml"/><Relationship Id="rId10" Type="http://schemas.openxmlformats.org/officeDocument/2006/relationships/slideLayout" Target="../slideLayouts/slideLayout497.xml"/><Relationship Id="rId31" Type="http://schemas.openxmlformats.org/officeDocument/2006/relationships/slideLayout" Target="../slideLayouts/slideLayout518.xml"/><Relationship Id="rId44" Type="http://schemas.openxmlformats.org/officeDocument/2006/relationships/slideLayout" Target="../slideLayouts/slideLayout531.xml"/><Relationship Id="rId52" Type="http://schemas.openxmlformats.org/officeDocument/2006/relationships/slideLayout" Target="../slideLayouts/slideLayout539.xml"/><Relationship Id="rId60" Type="http://schemas.openxmlformats.org/officeDocument/2006/relationships/slideLayout" Target="../slideLayouts/slideLayout547.xml"/><Relationship Id="rId65" Type="http://schemas.openxmlformats.org/officeDocument/2006/relationships/slideLayout" Target="../slideLayouts/slideLayout552.xml"/><Relationship Id="rId73" Type="http://schemas.openxmlformats.org/officeDocument/2006/relationships/slideLayout" Target="../slideLayouts/slideLayout560.xml"/><Relationship Id="rId4" Type="http://schemas.openxmlformats.org/officeDocument/2006/relationships/slideLayout" Target="../slideLayouts/slideLayout491.xml"/><Relationship Id="rId9" Type="http://schemas.openxmlformats.org/officeDocument/2006/relationships/slideLayout" Target="../slideLayouts/slideLayout496.xml"/><Relationship Id="rId13" Type="http://schemas.openxmlformats.org/officeDocument/2006/relationships/slideLayout" Target="../slideLayouts/slideLayout500.xml"/><Relationship Id="rId18" Type="http://schemas.openxmlformats.org/officeDocument/2006/relationships/slideLayout" Target="../slideLayouts/slideLayout505.xml"/><Relationship Id="rId39" Type="http://schemas.openxmlformats.org/officeDocument/2006/relationships/slideLayout" Target="../slideLayouts/slideLayout526.xml"/><Relationship Id="rId34" Type="http://schemas.openxmlformats.org/officeDocument/2006/relationships/slideLayout" Target="../slideLayouts/slideLayout521.xml"/><Relationship Id="rId50" Type="http://schemas.openxmlformats.org/officeDocument/2006/relationships/slideLayout" Target="../slideLayouts/slideLayout537.xml"/><Relationship Id="rId55" Type="http://schemas.openxmlformats.org/officeDocument/2006/relationships/slideLayout" Target="../slideLayouts/slideLayout542.xml"/><Relationship Id="rId76" Type="http://schemas.openxmlformats.org/officeDocument/2006/relationships/slideLayout" Target="../slideLayouts/slideLayout563.xml"/><Relationship Id="rId7" Type="http://schemas.openxmlformats.org/officeDocument/2006/relationships/slideLayout" Target="../slideLayouts/slideLayout494.xml"/><Relationship Id="rId71" Type="http://schemas.openxmlformats.org/officeDocument/2006/relationships/slideLayout" Target="../slideLayouts/slideLayout558.xml"/><Relationship Id="rId2" Type="http://schemas.openxmlformats.org/officeDocument/2006/relationships/slideLayout" Target="../slideLayouts/slideLayout489.xml"/><Relationship Id="rId29" Type="http://schemas.openxmlformats.org/officeDocument/2006/relationships/slideLayout" Target="../slideLayouts/slideLayout516.xml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89.xml"/><Relationship Id="rId21" Type="http://schemas.openxmlformats.org/officeDocument/2006/relationships/slideLayout" Target="../slideLayouts/slideLayout584.xml"/><Relationship Id="rId42" Type="http://schemas.openxmlformats.org/officeDocument/2006/relationships/slideLayout" Target="../slideLayouts/slideLayout605.xml"/><Relationship Id="rId47" Type="http://schemas.openxmlformats.org/officeDocument/2006/relationships/slideLayout" Target="../slideLayouts/slideLayout610.xml"/><Relationship Id="rId63" Type="http://schemas.openxmlformats.org/officeDocument/2006/relationships/slideLayout" Target="../slideLayouts/slideLayout626.xml"/><Relationship Id="rId68" Type="http://schemas.openxmlformats.org/officeDocument/2006/relationships/slideLayout" Target="../slideLayouts/slideLayout631.xml"/><Relationship Id="rId16" Type="http://schemas.openxmlformats.org/officeDocument/2006/relationships/slideLayout" Target="../slideLayouts/slideLayout579.xml"/><Relationship Id="rId11" Type="http://schemas.openxmlformats.org/officeDocument/2006/relationships/slideLayout" Target="../slideLayouts/slideLayout574.xml"/><Relationship Id="rId32" Type="http://schemas.openxmlformats.org/officeDocument/2006/relationships/slideLayout" Target="../slideLayouts/slideLayout595.xml"/><Relationship Id="rId37" Type="http://schemas.openxmlformats.org/officeDocument/2006/relationships/slideLayout" Target="../slideLayouts/slideLayout600.xml"/><Relationship Id="rId53" Type="http://schemas.openxmlformats.org/officeDocument/2006/relationships/slideLayout" Target="../slideLayouts/slideLayout616.xml"/><Relationship Id="rId58" Type="http://schemas.openxmlformats.org/officeDocument/2006/relationships/slideLayout" Target="../slideLayouts/slideLayout621.xml"/><Relationship Id="rId74" Type="http://schemas.openxmlformats.org/officeDocument/2006/relationships/slideLayout" Target="../slideLayouts/slideLayout637.xml"/><Relationship Id="rId79" Type="http://schemas.openxmlformats.org/officeDocument/2006/relationships/slideLayout" Target="../slideLayouts/slideLayout642.xml"/><Relationship Id="rId5" Type="http://schemas.openxmlformats.org/officeDocument/2006/relationships/slideLayout" Target="../slideLayouts/slideLayout568.xml"/><Relationship Id="rId61" Type="http://schemas.openxmlformats.org/officeDocument/2006/relationships/slideLayout" Target="../slideLayouts/slideLayout624.xml"/><Relationship Id="rId82" Type="http://schemas.openxmlformats.org/officeDocument/2006/relationships/theme" Target="../theme/theme9.xml"/><Relationship Id="rId19" Type="http://schemas.openxmlformats.org/officeDocument/2006/relationships/slideLayout" Target="../slideLayouts/slideLayout582.xml"/><Relationship Id="rId14" Type="http://schemas.openxmlformats.org/officeDocument/2006/relationships/slideLayout" Target="../slideLayouts/slideLayout577.xml"/><Relationship Id="rId22" Type="http://schemas.openxmlformats.org/officeDocument/2006/relationships/slideLayout" Target="../slideLayouts/slideLayout585.xml"/><Relationship Id="rId27" Type="http://schemas.openxmlformats.org/officeDocument/2006/relationships/slideLayout" Target="../slideLayouts/slideLayout590.xml"/><Relationship Id="rId30" Type="http://schemas.openxmlformats.org/officeDocument/2006/relationships/slideLayout" Target="../slideLayouts/slideLayout593.xml"/><Relationship Id="rId35" Type="http://schemas.openxmlformats.org/officeDocument/2006/relationships/slideLayout" Target="../slideLayouts/slideLayout598.xml"/><Relationship Id="rId43" Type="http://schemas.openxmlformats.org/officeDocument/2006/relationships/slideLayout" Target="../slideLayouts/slideLayout606.xml"/><Relationship Id="rId48" Type="http://schemas.openxmlformats.org/officeDocument/2006/relationships/slideLayout" Target="../slideLayouts/slideLayout611.xml"/><Relationship Id="rId56" Type="http://schemas.openxmlformats.org/officeDocument/2006/relationships/slideLayout" Target="../slideLayouts/slideLayout619.xml"/><Relationship Id="rId64" Type="http://schemas.openxmlformats.org/officeDocument/2006/relationships/slideLayout" Target="../slideLayouts/slideLayout627.xml"/><Relationship Id="rId69" Type="http://schemas.openxmlformats.org/officeDocument/2006/relationships/slideLayout" Target="../slideLayouts/slideLayout632.xml"/><Relationship Id="rId77" Type="http://schemas.openxmlformats.org/officeDocument/2006/relationships/slideLayout" Target="../slideLayouts/slideLayout640.xml"/><Relationship Id="rId8" Type="http://schemas.openxmlformats.org/officeDocument/2006/relationships/slideLayout" Target="../slideLayouts/slideLayout571.xml"/><Relationship Id="rId51" Type="http://schemas.openxmlformats.org/officeDocument/2006/relationships/slideLayout" Target="../slideLayouts/slideLayout614.xml"/><Relationship Id="rId72" Type="http://schemas.openxmlformats.org/officeDocument/2006/relationships/slideLayout" Target="../slideLayouts/slideLayout635.xml"/><Relationship Id="rId80" Type="http://schemas.openxmlformats.org/officeDocument/2006/relationships/slideLayout" Target="../slideLayouts/slideLayout643.xml"/><Relationship Id="rId3" Type="http://schemas.openxmlformats.org/officeDocument/2006/relationships/slideLayout" Target="../slideLayouts/slideLayout566.xml"/><Relationship Id="rId12" Type="http://schemas.openxmlformats.org/officeDocument/2006/relationships/slideLayout" Target="../slideLayouts/slideLayout575.xml"/><Relationship Id="rId17" Type="http://schemas.openxmlformats.org/officeDocument/2006/relationships/slideLayout" Target="../slideLayouts/slideLayout580.xml"/><Relationship Id="rId25" Type="http://schemas.openxmlformats.org/officeDocument/2006/relationships/slideLayout" Target="../slideLayouts/slideLayout588.xml"/><Relationship Id="rId33" Type="http://schemas.openxmlformats.org/officeDocument/2006/relationships/slideLayout" Target="../slideLayouts/slideLayout596.xml"/><Relationship Id="rId38" Type="http://schemas.openxmlformats.org/officeDocument/2006/relationships/slideLayout" Target="../slideLayouts/slideLayout601.xml"/><Relationship Id="rId46" Type="http://schemas.openxmlformats.org/officeDocument/2006/relationships/slideLayout" Target="../slideLayouts/slideLayout609.xml"/><Relationship Id="rId59" Type="http://schemas.openxmlformats.org/officeDocument/2006/relationships/slideLayout" Target="../slideLayouts/slideLayout622.xml"/><Relationship Id="rId67" Type="http://schemas.openxmlformats.org/officeDocument/2006/relationships/slideLayout" Target="../slideLayouts/slideLayout630.xml"/><Relationship Id="rId20" Type="http://schemas.openxmlformats.org/officeDocument/2006/relationships/slideLayout" Target="../slideLayouts/slideLayout583.xml"/><Relationship Id="rId41" Type="http://schemas.openxmlformats.org/officeDocument/2006/relationships/slideLayout" Target="../slideLayouts/slideLayout604.xml"/><Relationship Id="rId54" Type="http://schemas.openxmlformats.org/officeDocument/2006/relationships/slideLayout" Target="../slideLayouts/slideLayout617.xml"/><Relationship Id="rId62" Type="http://schemas.openxmlformats.org/officeDocument/2006/relationships/slideLayout" Target="../slideLayouts/slideLayout625.xml"/><Relationship Id="rId70" Type="http://schemas.openxmlformats.org/officeDocument/2006/relationships/slideLayout" Target="../slideLayouts/slideLayout633.xml"/><Relationship Id="rId75" Type="http://schemas.openxmlformats.org/officeDocument/2006/relationships/slideLayout" Target="../slideLayouts/slideLayout638.xml"/><Relationship Id="rId1" Type="http://schemas.openxmlformats.org/officeDocument/2006/relationships/slideLayout" Target="../slideLayouts/slideLayout564.xml"/><Relationship Id="rId6" Type="http://schemas.openxmlformats.org/officeDocument/2006/relationships/slideLayout" Target="../slideLayouts/slideLayout569.xml"/><Relationship Id="rId15" Type="http://schemas.openxmlformats.org/officeDocument/2006/relationships/slideLayout" Target="../slideLayouts/slideLayout578.xml"/><Relationship Id="rId23" Type="http://schemas.openxmlformats.org/officeDocument/2006/relationships/slideLayout" Target="../slideLayouts/slideLayout586.xml"/><Relationship Id="rId28" Type="http://schemas.openxmlformats.org/officeDocument/2006/relationships/slideLayout" Target="../slideLayouts/slideLayout591.xml"/><Relationship Id="rId36" Type="http://schemas.openxmlformats.org/officeDocument/2006/relationships/slideLayout" Target="../slideLayouts/slideLayout599.xml"/><Relationship Id="rId49" Type="http://schemas.openxmlformats.org/officeDocument/2006/relationships/slideLayout" Target="../slideLayouts/slideLayout612.xml"/><Relationship Id="rId57" Type="http://schemas.openxmlformats.org/officeDocument/2006/relationships/slideLayout" Target="../slideLayouts/slideLayout620.xml"/><Relationship Id="rId10" Type="http://schemas.openxmlformats.org/officeDocument/2006/relationships/slideLayout" Target="../slideLayouts/slideLayout573.xml"/><Relationship Id="rId31" Type="http://schemas.openxmlformats.org/officeDocument/2006/relationships/slideLayout" Target="../slideLayouts/slideLayout594.xml"/><Relationship Id="rId44" Type="http://schemas.openxmlformats.org/officeDocument/2006/relationships/slideLayout" Target="../slideLayouts/slideLayout607.xml"/><Relationship Id="rId52" Type="http://schemas.openxmlformats.org/officeDocument/2006/relationships/slideLayout" Target="../slideLayouts/slideLayout615.xml"/><Relationship Id="rId60" Type="http://schemas.openxmlformats.org/officeDocument/2006/relationships/slideLayout" Target="../slideLayouts/slideLayout623.xml"/><Relationship Id="rId65" Type="http://schemas.openxmlformats.org/officeDocument/2006/relationships/slideLayout" Target="../slideLayouts/slideLayout628.xml"/><Relationship Id="rId73" Type="http://schemas.openxmlformats.org/officeDocument/2006/relationships/slideLayout" Target="../slideLayouts/slideLayout636.xml"/><Relationship Id="rId78" Type="http://schemas.openxmlformats.org/officeDocument/2006/relationships/slideLayout" Target="../slideLayouts/slideLayout641.xml"/><Relationship Id="rId81" Type="http://schemas.openxmlformats.org/officeDocument/2006/relationships/slideLayout" Target="../slideLayouts/slideLayout644.xml"/><Relationship Id="rId4" Type="http://schemas.openxmlformats.org/officeDocument/2006/relationships/slideLayout" Target="../slideLayouts/slideLayout567.xml"/><Relationship Id="rId9" Type="http://schemas.openxmlformats.org/officeDocument/2006/relationships/slideLayout" Target="../slideLayouts/slideLayout572.xml"/><Relationship Id="rId13" Type="http://schemas.openxmlformats.org/officeDocument/2006/relationships/slideLayout" Target="../slideLayouts/slideLayout576.xml"/><Relationship Id="rId18" Type="http://schemas.openxmlformats.org/officeDocument/2006/relationships/slideLayout" Target="../slideLayouts/slideLayout581.xml"/><Relationship Id="rId39" Type="http://schemas.openxmlformats.org/officeDocument/2006/relationships/slideLayout" Target="../slideLayouts/slideLayout602.xml"/><Relationship Id="rId34" Type="http://schemas.openxmlformats.org/officeDocument/2006/relationships/slideLayout" Target="../slideLayouts/slideLayout597.xml"/><Relationship Id="rId50" Type="http://schemas.openxmlformats.org/officeDocument/2006/relationships/slideLayout" Target="../slideLayouts/slideLayout613.xml"/><Relationship Id="rId55" Type="http://schemas.openxmlformats.org/officeDocument/2006/relationships/slideLayout" Target="../slideLayouts/slideLayout618.xml"/><Relationship Id="rId76" Type="http://schemas.openxmlformats.org/officeDocument/2006/relationships/slideLayout" Target="../slideLayouts/slideLayout639.xml"/><Relationship Id="rId7" Type="http://schemas.openxmlformats.org/officeDocument/2006/relationships/slideLayout" Target="../slideLayouts/slideLayout570.xml"/><Relationship Id="rId71" Type="http://schemas.openxmlformats.org/officeDocument/2006/relationships/slideLayout" Target="../slideLayouts/slideLayout634.xml"/><Relationship Id="rId2" Type="http://schemas.openxmlformats.org/officeDocument/2006/relationships/slideLayout" Target="../slideLayouts/slideLayout565.xml"/><Relationship Id="rId29" Type="http://schemas.openxmlformats.org/officeDocument/2006/relationships/slideLayout" Target="../slideLayouts/slideLayout592.xml"/><Relationship Id="rId24" Type="http://schemas.openxmlformats.org/officeDocument/2006/relationships/slideLayout" Target="../slideLayouts/slideLayout587.xml"/><Relationship Id="rId40" Type="http://schemas.openxmlformats.org/officeDocument/2006/relationships/slideLayout" Target="../slideLayouts/slideLayout603.xml"/><Relationship Id="rId45" Type="http://schemas.openxmlformats.org/officeDocument/2006/relationships/slideLayout" Target="../slideLayouts/slideLayout608.xml"/><Relationship Id="rId66" Type="http://schemas.openxmlformats.org/officeDocument/2006/relationships/slideLayout" Target="../slideLayouts/slideLayout6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0" y="4821238"/>
            <a:ext cx="9144000" cy="322262"/>
          </a:xfrm>
          <a:prstGeom prst="rect">
            <a:avLst/>
          </a:prstGeom>
          <a:solidFill>
            <a:srgbClr val="0078BE"/>
          </a:solidFill>
          <a:ln>
            <a:noFill/>
          </a:ln>
          <a:ex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Footer Placeholder 18"/>
          <p:cNvSpPr txBox="1">
            <a:spLocks/>
          </p:cNvSpPr>
          <p:nvPr/>
        </p:nvSpPr>
        <p:spPr>
          <a:xfrm>
            <a:off x="595313" y="4821237"/>
            <a:ext cx="3760810" cy="322263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4572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 smtClean="0">
                <a:solidFill>
                  <a:srgbClr val="FFFFFF"/>
                </a:solidFill>
                <a:latin typeface="+mj-lt"/>
              </a:rPr>
              <a:t>The NPD Group, Inc.  |  </a:t>
            </a:r>
            <a:r>
              <a:rPr lang="en-US" sz="10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Proprietary and confidential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1480" y="1834347"/>
            <a:ext cx="8321040" cy="2540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</a:t>
            </a:r>
            <a:r>
              <a:rPr lang="en-US" dirty="0" smtClean="0"/>
              <a:t>style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white">
          <a:xfrm>
            <a:off x="8036671" y="4820615"/>
            <a:ext cx="596901" cy="322886"/>
          </a:xfrm>
          <a:prstGeom prst="rect">
            <a:avLst/>
          </a:prstGeom>
        </p:spPr>
        <p:txBody>
          <a:bodyPr vert="horz" wrap="none" lIns="0" tIns="45720" rIns="13716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35A454EE-6717-4973-901E-6A90AD009CF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hl"/>
          <p:cNvSpPr txBox="1"/>
          <p:nvPr userDrawn="1"/>
        </p:nvSpPr>
        <p:spPr>
          <a:xfrm>
            <a:off x="0" y="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4" name="fl"/>
          <p:cNvSpPr txBox="1"/>
          <p:nvPr userDrawn="1"/>
        </p:nvSpPr>
        <p:spPr>
          <a:xfrm>
            <a:off x="0" y="477012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772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98" r:id="rId2"/>
    <p:sldLayoutId id="2147483685" r:id="rId3"/>
    <p:sldLayoutId id="2147483778" r:id="rId4"/>
    <p:sldLayoutId id="2147483686" r:id="rId5"/>
    <p:sldLayoutId id="2147483706" r:id="rId6"/>
    <p:sldLayoutId id="2147483733" r:id="rId7"/>
    <p:sldLayoutId id="2147483715" r:id="rId8"/>
    <p:sldLayoutId id="2147483822" r:id="rId9"/>
    <p:sldLayoutId id="2147483736" r:id="rId10"/>
    <p:sldLayoutId id="2147483769" r:id="rId11"/>
    <p:sldLayoutId id="2147483816" r:id="rId12"/>
    <p:sldLayoutId id="2147483805" r:id="rId13"/>
    <p:sldLayoutId id="2147483829" r:id="rId14"/>
    <p:sldLayoutId id="2147483828" r:id="rId15"/>
    <p:sldLayoutId id="2147483709" r:id="rId16"/>
    <p:sldLayoutId id="2147483791" r:id="rId17"/>
    <p:sldLayoutId id="2147483712" r:id="rId18"/>
    <p:sldLayoutId id="2147483824" r:id="rId19"/>
    <p:sldLayoutId id="2147483837" r:id="rId20"/>
    <p:sldLayoutId id="2147483819" r:id="rId21"/>
    <p:sldLayoutId id="2147483838" r:id="rId22"/>
    <p:sldLayoutId id="2147483718" r:id="rId23"/>
    <p:sldLayoutId id="2147483775" r:id="rId24"/>
    <p:sldLayoutId id="2147483799" r:id="rId25"/>
    <p:sldLayoutId id="2147483727" r:id="rId26"/>
    <p:sldLayoutId id="2147483739" r:id="rId27"/>
    <p:sldLayoutId id="2147483700" r:id="rId28"/>
    <p:sldLayoutId id="2147483796" r:id="rId29"/>
    <p:sldLayoutId id="2147483705" r:id="rId30"/>
    <p:sldLayoutId id="2147483708" r:id="rId31"/>
    <p:sldLayoutId id="2147483717" r:id="rId32"/>
    <p:sldLayoutId id="2147483830" r:id="rId33"/>
    <p:sldLayoutId id="2147483738" r:id="rId34"/>
    <p:sldLayoutId id="2147483771" r:id="rId35"/>
    <p:sldLayoutId id="2147483832" r:id="rId36"/>
    <p:sldLayoutId id="2147483834" r:id="rId37"/>
    <p:sldLayoutId id="2147483844" r:id="rId38"/>
    <p:sldLayoutId id="2147483843" r:id="rId39"/>
    <p:sldLayoutId id="2147483792" r:id="rId40"/>
    <p:sldLayoutId id="2147483793" r:id="rId41"/>
    <p:sldLayoutId id="2147483800" r:id="rId42"/>
    <p:sldLayoutId id="2147483839" r:id="rId43"/>
    <p:sldLayoutId id="2147483804" r:id="rId44"/>
    <p:sldLayoutId id="2147483729" r:id="rId45"/>
    <p:sldLayoutId id="2147483741" r:id="rId46"/>
    <p:sldLayoutId id="2147483699" r:id="rId47"/>
    <p:sldLayoutId id="2147483798" r:id="rId48"/>
    <p:sldLayoutId id="2147483704" r:id="rId49"/>
    <p:sldLayoutId id="2147483707" r:id="rId50"/>
    <p:sldLayoutId id="2147483716" r:id="rId51"/>
    <p:sldLayoutId id="2147483831" r:id="rId52"/>
    <p:sldLayoutId id="2147483737" r:id="rId53"/>
    <p:sldLayoutId id="2147483770" r:id="rId54"/>
    <p:sldLayoutId id="2147483833" r:id="rId55"/>
    <p:sldLayoutId id="2147483835" r:id="rId56"/>
    <p:sldLayoutId id="2147483846" r:id="rId57"/>
    <p:sldLayoutId id="2147483845" r:id="rId58"/>
    <p:sldLayoutId id="2147483794" r:id="rId59"/>
    <p:sldLayoutId id="2147483795" r:id="rId60"/>
    <p:sldLayoutId id="2147483801" r:id="rId61"/>
    <p:sldLayoutId id="2147483840" r:id="rId62"/>
    <p:sldLayoutId id="2147483803" r:id="rId63"/>
    <p:sldLayoutId id="2147483728" r:id="rId64"/>
    <p:sldLayoutId id="2147483740" r:id="rId65"/>
    <p:sldLayoutId id="2147483847" r:id="rId66"/>
    <p:sldLayoutId id="2147484784" r:id="rId67"/>
    <p:sldLayoutId id="2147484787" r:id="rId6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spcAft>
          <a:spcPts val="200"/>
        </a:spcAft>
        <a:buNone/>
        <a:defRPr sz="3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1313" indent="-341313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SzPct val="100000"/>
        <a:buFont typeface="Wingdings" panose="05000000000000000000" pitchFamily="2" charset="2"/>
        <a:buChar char="n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85750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87338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0" y="4821238"/>
            <a:ext cx="9144000" cy="322262"/>
          </a:xfrm>
          <a:prstGeom prst="rect">
            <a:avLst/>
          </a:prstGeom>
          <a:solidFill>
            <a:srgbClr val="0078BE"/>
          </a:solidFill>
          <a:ln>
            <a:noFill/>
          </a:ln>
          <a:ex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Footer Placeholder 18"/>
          <p:cNvSpPr txBox="1">
            <a:spLocks/>
          </p:cNvSpPr>
          <p:nvPr/>
        </p:nvSpPr>
        <p:spPr>
          <a:xfrm>
            <a:off x="595313" y="4821237"/>
            <a:ext cx="3760810" cy="322263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he NPD Group, Inc.  |  </a:t>
            </a:r>
            <a:r>
              <a:rPr lang="en-US" sz="1000" dirty="0" smtClean="0">
                <a:solidFill>
                  <a:srgbClr val="FFFFFF"/>
                </a:solidFill>
              </a:rPr>
              <a:t>Proprietary and confidential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1480" y="1834347"/>
            <a:ext cx="8321040" cy="2540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</a:t>
            </a:r>
            <a:r>
              <a:rPr lang="en-US" dirty="0" smtClean="0"/>
              <a:t>style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white">
          <a:xfrm>
            <a:off x="8036671" y="4820615"/>
            <a:ext cx="596901" cy="322886"/>
          </a:xfrm>
          <a:prstGeom prst="rect">
            <a:avLst/>
          </a:prstGeom>
        </p:spPr>
        <p:txBody>
          <a:bodyPr vert="horz" wrap="none" lIns="0" tIns="45720" rIns="13716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hl"/>
          <p:cNvSpPr txBox="1"/>
          <p:nvPr userDrawn="1"/>
        </p:nvSpPr>
        <p:spPr>
          <a:xfrm>
            <a:off x="0" y="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4" name="fl"/>
          <p:cNvSpPr txBox="1"/>
          <p:nvPr userDrawn="1"/>
        </p:nvSpPr>
        <p:spPr>
          <a:xfrm>
            <a:off x="0" y="477012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928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5" r:id="rId1"/>
    <p:sldLayoutId id="2147484466" r:id="rId2"/>
    <p:sldLayoutId id="2147484467" r:id="rId3"/>
    <p:sldLayoutId id="2147484468" r:id="rId4"/>
    <p:sldLayoutId id="2147484469" r:id="rId5"/>
    <p:sldLayoutId id="2147484470" r:id="rId6"/>
    <p:sldLayoutId id="2147484471" r:id="rId7"/>
    <p:sldLayoutId id="2147484472" r:id="rId8"/>
    <p:sldLayoutId id="2147484473" r:id="rId9"/>
    <p:sldLayoutId id="2147484474" r:id="rId10"/>
    <p:sldLayoutId id="2147484475" r:id="rId11"/>
    <p:sldLayoutId id="2147484476" r:id="rId12"/>
    <p:sldLayoutId id="2147484477" r:id="rId13"/>
    <p:sldLayoutId id="2147484478" r:id="rId14"/>
    <p:sldLayoutId id="2147484479" r:id="rId15"/>
    <p:sldLayoutId id="2147484480" r:id="rId16"/>
    <p:sldLayoutId id="2147484481" r:id="rId17"/>
    <p:sldLayoutId id="2147484482" r:id="rId18"/>
    <p:sldLayoutId id="2147484483" r:id="rId19"/>
    <p:sldLayoutId id="2147484484" r:id="rId20"/>
    <p:sldLayoutId id="2147484485" r:id="rId21"/>
    <p:sldLayoutId id="2147484486" r:id="rId22"/>
    <p:sldLayoutId id="2147484487" r:id="rId23"/>
    <p:sldLayoutId id="2147484488" r:id="rId24"/>
    <p:sldLayoutId id="2147484489" r:id="rId25"/>
    <p:sldLayoutId id="2147484490" r:id="rId26"/>
    <p:sldLayoutId id="2147484491" r:id="rId27"/>
    <p:sldLayoutId id="2147484492" r:id="rId28"/>
    <p:sldLayoutId id="2147484493" r:id="rId29"/>
    <p:sldLayoutId id="2147484494" r:id="rId30"/>
    <p:sldLayoutId id="2147484495" r:id="rId31"/>
    <p:sldLayoutId id="2147484496" r:id="rId32"/>
    <p:sldLayoutId id="2147484497" r:id="rId33"/>
    <p:sldLayoutId id="2147484498" r:id="rId34"/>
    <p:sldLayoutId id="2147484499" r:id="rId35"/>
    <p:sldLayoutId id="2147484500" r:id="rId36"/>
    <p:sldLayoutId id="2147484501" r:id="rId37"/>
    <p:sldLayoutId id="2147484502" r:id="rId38"/>
    <p:sldLayoutId id="2147484503" r:id="rId39"/>
    <p:sldLayoutId id="2147484504" r:id="rId40"/>
    <p:sldLayoutId id="2147484505" r:id="rId41"/>
    <p:sldLayoutId id="2147484506" r:id="rId42"/>
    <p:sldLayoutId id="2147484507" r:id="rId43"/>
    <p:sldLayoutId id="2147484508" r:id="rId44"/>
    <p:sldLayoutId id="2147484509" r:id="rId45"/>
    <p:sldLayoutId id="2147484510" r:id="rId46"/>
    <p:sldLayoutId id="2147484511" r:id="rId47"/>
    <p:sldLayoutId id="2147484512" r:id="rId48"/>
    <p:sldLayoutId id="2147484513" r:id="rId49"/>
    <p:sldLayoutId id="2147484514" r:id="rId50"/>
    <p:sldLayoutId id="2147484515" r:id="rId51"/>
    <p:sldLayoutId id="2147484516" r:id="rId52"/>
    <p:sldLayoutId id="2147484517" r:id="rId53"/>
    <p:sldLayoutId id="2147484518" r:id="rId54"/>
    <p:sldLayoutId id="2147484519" r:id="rId55"/>
    <p:sldLayoutId id="2147484520" r:id="rId56"/>
    <p:sldLayoutId id="2147484521" r:id="rId57"/>
    <p:sldLayoutId id="2147484522" r:id="rId58"/>
    <p:sldLayoutId id="2147484523" r:id="rId59"/>
    <p:sldLayoutId id="2147484524" r:id="rId60"/>
    <p:sldLayoutId id="2147484525" r:id="rId61"/>
    <p:sldLayoutId id="2147484526" r:id="rId62"/>
    <p:sldLayoutId id="2147484527" r:id="rId63"/>
    <p:sldLayoutId id="2147484528" r:id="rId64"/>
    <p:sldLayoutId id="2147484529" r:id="rId65"/>
    <p:sldLayoutId id="2147484531" r:id="rId66"/>
    <p:sldLayoutId id="2147484532" r:id="rId67"/>
    <p:sldLayoutId id="2147484533" r:id="rId68"/>
    <p:sldLayoutId id="2147484534" r:id="rId69"/>
    <p:sldLayoutId id="2147484535" r:id="rId70"/>
    <p:sldLayoutId id="2147484536" r:id="rId71"/>
    <p:sldLayoutId id="2147484537" r:id="rId72"/>
    <p:sldLayoutId id="2147484538" r:id="rId73"/>
    <p:sldLayoutId id="2147484539" r:id="rId74"/>
    <p:sldLayoutId id="2147484540" r:id="rId75"/>
    <p:sldLayoutId id="2147484541" r:id="rId76"/>
    <p:sldLayoutId id="2147484542" r:id="rId7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spcAft>
          <a:spcPts val="200"/>
        </a:spcAft>
        <a:buNone/>
        <a:defRPr sz="3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1313" indent="-341313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SzPct val="100000"/>
        <a:buFont typeface="Wingdings" panose="05000000000000000000" pitchFamily="2" charset="2"/>
        <a:buChar char="n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85750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87338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0" y="4821238"/>
            <a:ext cx="9144000" cy="322262"/>
          </a:xfrm>
          <a:prstGeom prst="rect">
            <a:avLst/>
          </a:prstGeom>
          <a:solidFill>
            <a:srgbClr val="0078BE"/>
          </a:solidFill>
          <a:ln>
            <a:noFill/>
          </a:ln>
          <a:ex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Footer Placeholder 18"/>
          <p:cNvSpPr txBox="1">
            <a:spLocks/>
          </p:cNvSpPr>
          <p:nvPr/>
        </p:nvSpPr>
        <p:spPr>
          <a:xfrm>
            <a:off x="595313" y="4821237"/>
            <a:ext cx="3760810" cy="322263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he NPD Group, Inc.  |  </a:t>
            </a:r>
            <a:r>
              <a:rPr lang="en-US" sz="1000" dirty="0" smtClean="0">
                <a:solidFill>
                  <a:srgbClr val="FFFFFF"/>
                </a:solidFill>
              </a:rPr>
              <a:t>Proprietary and confidential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1480" y="1834347"/>
            <a:ext cx="8321040" cy="2540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</a:t>
            </a:r>
            <a:r>
              <a:rPr lang="en-US" dirty="0" smtClean="0"/>
              <a:t>style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white">
          <a:xfrm>
            <a:off x="8036671" y="4820615"/>
            <a:ext cx="596901" cy="322886"/>
          </a:xfrm>
          <a:prstGeom prst="rect">
            <a:avLst/>
          </a:prstGeom>
        </p:spPr>
        <p:txBody>
          <a:bodyPr vert="horz" wrap="none" lIns="0" tIns="45720" rIns="13716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hl"/>
          <p:cNvSpPr txBox="1"/>
          <p:nvPr userDrawn="1"/>
        </p:nvSpPr>
        <p:spPr>
          <a:xfrm>
            <a:off x="0" y="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4" name="fl"/>
          <p:cNvSpPr txBox="1"/>
          <p:nvPr userDrawn="1"/>
        </p:nvSpPr>
        <p:spPr>
          <a:xfrm>
            <a:off x="0" y="477012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525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4" r:id="rId1"/>
    <p:sldLayoutId id="2147484545" r:id="rId2"/>
    <p:sldLayoutId id="2147484546" r:id="rId3"/>
    <p:sldLayoutId id="2147484547" r:id="rId4"/>
    <p:sldLayoutId id="2147484548" r:id="rId5"/>
    <p:sldLayoutId id="2147484549" r:id="rId6"/>
    <p:sldLayoutId id="2147484550" r:id="rId7"/>
    <p:sldLayoutId id="2147484551" r:id="rId8"/>
    <p:sldLayoutId id="2147484552" r:id="rId9"/>
    <p:sldLayoutId id="2147484553" r:id="rId10"/>
    <p:sldLayoutId id="2147484554" r:id="rId11"/>
    <p:sldLayoutId id="2147484555" r:id="rId12"/>
    <p:sldLayoutId id="2147484556" r:id="rId13"/>
    <p:sldLayoutId id="2147484557" r:id="rId14"/>
    <p:sldLayoutId id="2147484558" r:id="rId15"/>
    <p:sldLayoutId id="2147484559" r:id="rId16"/>
    <p:sldLayoutId id="2147484560" r:id="rId17"/>
    <p:sldLayoutId id="2147484561" r:id="rId18"/>
    <p:sldLayoutId id="2147484562" r:id="rId19"/>
    <p:sldLayoutId id="2147484563" r:id="rId20"/>
    <p:sldLayoutId id="2147484564" r:id="rId21"/>
    <p:sldLayoutId id="2147484565" r:id="rId22"/>
    <p:sldLayoutId id="2147484566" r:id="rId23"/>
    <p:sldLayoutId id="2147484567" r:id="rId24"/>
    <p:sldLayoutId id="2147484568" r:id="rId25"/>
    <p:sldLayoutId id="2147484569" r:id="rId26"/>
    <p:sldLayoutId id="2147484570" r:id="rId27"/>
    <p:sldLayoutId id="2147484571" r:id="rId28"/>
    <p:sldLayoutId id="2147484572" r:id="rId29"/>
    <p:sldLayoutId id="2147484573" r:id="rId30"/>
    <p:sldLayoutId id="2147484574" r:id="rId31"/>
    <p:sldLayoutId id="2147484575" r:id="rId32"/>
    <p:sldLayoutId id="2147484576" r:id="rId33"/>
    <p:sldLayoutId id="2147484577" r:id="rId34"/>
    <p:sldLayoutId id="2147484578" r:id="rId35"/>
    <p:sldLayoutId id="2147484579" r:id="rId36"/>
    <p:sldLayoutId id="2147484580" r:id="rId37"/>
    <p:sldLayoutId id="2147484581" r:id="rId38"/>
    <p:sldLayoutId id="2147484582" r:id="rId39"/>
    <p:sldLayoutId id="2147484583" r:id="rId40"/>
    <p:sldLayoutId id="2147484584" r:id="rId41"/>
    <p:sldLayoutId id="2147484585" r:id="rId42"/>
    <p:sldLayoutId id="2147484586" r:id="rId43"/>
    <p:sldLayoutId id="2147484587" r:id="rId44"/>
    <p:sldLayoutId id="2147484588" r:id="rId45"/>
    <p:sldLayoutId id="2147484589" r:id="rId46"/>
    <p:sldLayoutId id="2147484590" r:id="rId47"/>
    <p:sldLayoutId id="2147484591" r:id="rId48"/>
    <p:sldLayoutId id="2147484592" r:id="rId49"/>
    <p:sldLayoutId id="2147484593" r:id="rId50"/>
    <p:sldLayoutId id="2147484594" r:id="rId51"/>
    <p:sldLayoutId id="2147484595" r:id="rId52"/>
    <p:sldLayoutId id="2147484596" r:id="rId53"/>
    <p:sldLayoutId id="2147484597" r:id="rId54"/>
    <p:sldLayoutId id="2147484598" r:id="rId55"/>
    <p:sldLayoutId id="2147484599" r:id="rId56"/>
    <p:sldLayoutId id="2147484600" r:id="rId57"/>
    <p:sldLayoutId id="2147484601" r:id="rId58"/>
    <p:sldLayoutId id="2147484602" r:id="rId59"/>
    <p:sldLayoutId id="2147484603" r:id="rId60"/>
    <p:sldLayoutId id="2147484604" r:id="rId61"/>
    <p:sldLayoutId id="2147484605" r:id="rId62"/>
    <p:sldLayoutId id="2147484606" r:id="rId63"/>
    <p:sldLayoutId id="2147484607" r:id="rId64"/>
    <p:sldLayoutId id="2147484608" r:id="rId65"/>
    <p:sldLayoutId id="2147484609" r:id="rId66"/>
    <p:sldLayoutId id="2147484610" r:id="rId67"/>
    <p:sldLayoutId id="2147484611" r:id="rId68"/>
    <p:sldLayoutId id="2147484612" r:id="rId69"/>
    <p:sldLayoutId id="2147484613" r:id="rId70"/>
    <p:sldLayoutId id="2147484614" r:id="rId71"/>
    <p:sldLayoutId id="2147484615" r:id="rId72"/>
    <p:sldLayoutId id="2147484616" r:id="rId73"/>
    <p:sldLayoutId id="2147484617" r:id="rId74"/>
    <p:sldLayoutId id="2147484618" r:id="rId75"/>
    <p:sldLayoutId id="2147484619" r:id="rId76"/>
    <p:sldLayoutId id="2147484621" r:id="rId77"/>
    <p:sldLayoutId id="2147484622" r:id="rId78"/>
    <p:sldLayoutId id="2147484623" r:id="rId79"/>
    <p:sldLayoutId id="2147484624" r:id="rId80"/>
    <p:sldLayoutId id="2147484625" r:id="rId8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spcAft>
          <a:spcPts val="200"/>
        </a:spcAft>
        <a:buNone/>
        <a:defRPr sz="3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1313" indent="-341313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SzPct val="100000"/>
        <a:buFont typeface="Wingdings" panose="05000000000000000000" pitchFamily="2" charset="2"/>
        <a:buChar char="n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85750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87338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0" y="4821238"/>
            <a:ext cx="9144000" cy="322262"/>
          </a:xfrm>
          <a:prstGeom prst="rect">
            <a:avLst/>
          </a:prstGeom>
          <a:solidFill>
            <a:srgbClr val="0078BE"/>
          </a:solidFill>
          <a:ln>
            <a:noFill/>
          </a:ln>
          <a:ex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Footer Placeholder 18"/>
          <p:cNvSpPr txBox="1">
            <a:spLocks/>
          </p:cNvSpPr>
          <p:nvPr/>
        </p:nvSpPr>
        <p:spPr>
          <a:xfrm>
            <a:off x="595313" y="4821237"/>
            <a:ext cx="3760810" cy="322263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he NPD Group, Inc.  |  </a:t>
            </a:r>
            <a:r>
              <a:rPr lang="en-US" sz="1000" dirty="0" smtClean="0">
                <a:solidFill>
                  <a:srgbClr val="FFFFFF"/>
                </a:solidFill>
              </a:rPr>
              <a:t>Proprietary and confidential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1480" y="1834347"/>
            <a:ext cx="8321040" cy="2540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</a:t>
            </a:r>
            <a:r>
              <a:rPr lang="en-US" dirty="0" smtClean="0"/>
              <a:t>style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white">
          <a:xfrm>
            <a:off x="8036671" y="4820615"/>
            <a:ext cx="596901" cy="322886"/>
          </a:xfrm>
          <a:prstGeom prst="rect">
            <a:avLst/>
          </a:prstGeom>
        </p:spPr>
        <p:txBody>
          <a:bodyPr vert="horz" wrap="none" lIns="0" tIns="45720" rIns="13716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hl"/>
          <p:cNvSpPr txBox="1"/>
          <p:nvPr userDrawn="1"/>
        </p:nvSpPr>
        <p:spPr>
          <a:xfrm>
            <a:off x="0" y="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4" name="fl"/>
          <p:cNvSpPr txBox="1"/>
          <p:nvPr userDrawn="1"/>
        </p:nvSpPr>
        <p:spPr>
          <a:xfrm>
            <a:off x="0" y="477012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3125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7" r:id="rId1"/>
    <p:sldLayoutId id="2147484628" r:id="rId2"/>
    <p:sldLayoutId id="2147484629" r:id="rId3"/>
    <p:sldLayoutId id="2147484630" r:id="rId4"/>
    <p:sldLayoutId id="2147484631" r:id="rId5"/>
    <p:sldLayoutId id="2147484632" r:id="rId6"/>
    <p:sldLayoutId id="2147484633" r:id="rId7"/>
    <p:sldLayoutId id="2147484634" r:id="rId8"/>
    <p:sldLayoutId id="2147484635" r:id="rId9"/>
    <p:sldLayoutId id="2147484636" r:id="rId10"/>
    <p:sldLayoutId id="2147484637" r:id="rId11"/>
    <p:sldLayoutId id="2147484638" r:id="rId12"/>
    <p:sldLayoutId id="2147484639" r:id="rId13"/>
    <p:sldLayoutId id="2147484640" r:id="rId14"/>
    <p:sldLayoutId id="2147484641" r:id="rId15"/>
    <p:sldLayoutId id="2147484642" r:id="rId16"/>
    <p:sldLayoutId id="2147484643" r:id="rId17"/>
    <p:sldLayoutId id="2147484644" r:id="rId18"/>
    <p:sldLayoutId id="2147484645" r:id="rId19"/>
    <p:sldLayoutId id="2147484646" r:id="rId20"/>
    <p:sldLayoutId id="2147484647" r:id="rId21"/>
    <p:sldLayoutId id="2147484648" r:id="rId22"/>
    <p:sldLayoutId id="2147484649" r:id="rId23"/>
    <p:sldLayoutId id="2147484650" r:id="rId24"/>
    <p:sldLayoutId id="2147484651" r:id="rId25"/>
    <p:sldLayoutId id="2147484652" r:id="rId26"/>
    <p:sldLayoutId id="2147484653" r:id="rId27"/>
    <p:sldLayoutId id="2147484654" r:id="rId28"/>
    <p:sldLayoutId id="2147484655" r:id="rId29"/>
    <p:sldLayoutId id="2147484656" r:id="rId30"/>
    <p:sldLayoutId id="2147484657" r:id="rId31"/>
    <p:sldLayoutId id="2147484658" r:id="rId32"/>
    <p:sldLayoutId id="2147484659" r:id="rId33"/>
    <p:sldLayoutId id="2147484660" r:id="rId34"/>
    <p:sldLayoutId id="2147484661" r:id="rId35"/>
    <p:sldLayoutId id="2147484662" r:id="rId36"/>
    <p:sldLayoutId id="2147484663" r:id="rId37"/>
    <p:sldLayoutId id="2147484664" r:id="rId38"/>
    <p:sldLayoutId id="2147484665" r:id="rId39"/>
    <p:sldLayoutId id="2147484666" r:id="rId40"/>
    <p:sldLayoutId id="2147484667" r:id="rId41"/>
    <p:sldLayoutId id="2147484668" r:id="rId42"/>
    <p:sldLayoutId id="2147484669" r:id="rId43"/>
    <p:sldLayoutId id="2147484670" r:id="rId44"/>
    <p:sldLayoutId id="2147484671" r:id="rId45"/>
    <p:sldLayoutId id="2147484672" r:id="rId46"/>
    <p:sldLayoutId id="2147484673" r:id="rId47"/>
    <p:sldLayoutId id="2147484674" r:id="rId48"/>
    <p:sldLayoutId id="2147484675" r:id="rId49"/>
    <p:sldLayoutId id="2147484676" r:id="rId50"/>
    <p:sldLayoutId id="2147484677" r:id="rId51"/>
    <p:sldLayoutId id="2147484678" r:id="rId52"/>
    <p:sldLayoutId id="2147484679" r:id="rId53"/>
    <p:sldLayoutId id="2147484680" r:id="rId54"/>
    <p:sldLayoutId id="2147484681" r:id="rId55"/>
    <p:sldLayoutId id="2147484682" r:id="rId56"/>
    <p:sldLayoutId id="2147484683" r:id="rId57"/>
    <p:sldLayoutId id="2147484684" r:id="rId58"/>
    <p:sldLayoutId id="2147484685" r:id="rId59"/>
    <p:sldLayoutId id="2147484686" r:id="rId60"/>
    <p:sldLayoutId id="2147484687" r:id="rId61"/>
    <p:sldLayoutId id="2147484688" r:id="rId62"/>
    <p:sldLayoutId id="2147484689" r:id="rId63"/>
    <p:sldLayoutId id="2147484690" r:id="rId64"/>
    <p:sldLayoutId id="2147484691" r:id="rId65"/>
    <p:sldLayoutId id="2147484692" r:id="rId66"/>
    <p:sldLayoutId id="2147484693" r:id="rId67"/>
    <p:sldLayoutId id="2147484694" r:id="rId68"/>
    <p:sldLayoutId id="2147484696" r:id="rId69"/>
    <p:sldLayoutId id="2147484697" r:id="rId70"/>
    <p:sldLayoutId id="2147484698" r:id="rId71"/>
    <p:sldLayoutId id="2147484699" r:id="rId72"/>
    <p:sldLayoutId id="2147484700" r:id="rId73"/>
    <p:sldLayoutId id="2147484701" r:id="rId74"/>
    <p:sldLayoutId id="2147484702" r:id="rId75"/>
    <p:sldLayoutId id="2147484703" r:id="rId76"/>
    <p:sldLayoutId id="2147484704" r:id="rId7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spcAft>
          <a:spcPts val="200"/>
        </a:spcAft>
        <a:buNone/>
        <a:defRPr sz="3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1313" indent="-341313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SzPct val="100000"/>
        <a:buFont typeface="Wingdings" panose="05000000000000000000" pitchFamily="2" charset="2"/>
        <a:buChar char="n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85750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87338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0" y="4821238"/>
            <a:ext cx="9144000" cy="322262"/>
          </a:xfrm>
          <a:prstGeom prst="rect">
            <a:avLst/>
          </a:prstGeom>
          <a:solidFill>
            <a:srgbClr val="0078BE"/>
          </a:solidFill>
          <a:ln>
            <a:noFill/>
          </a:ln>
          <a:ex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Footer Placeholder 18"/>
          <p:cNvSpPr txBox="1">
            <a:spLocks/>
          </p:cNvSpPr>
          <p:nvPr/>
        </p:nvSpPr>
        <p:spPr>
          <a:xfrm>
            <a:off x="595313" y="4821237"/>
            <a:ext cx="3760810" cy="322263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he NPD Group, Inc.  |  </a:t>
            </a:r>
            <a:r>
              <a:rPr lang="en-US" sz="1000" dirty="0" smtClean="0">
                <a:solidFill>
                  <a:srgbClr val="FFFFFF"/>
                </a:solidFill>
              </a:rPr>
              <a:t>Proprietary and confidential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1480" y="1834347"/>
            <a:ext cx="8321040" cy="2540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</a:t>
            </a:r>
            <a:r>
              <a:rPr lang="en-US" dirty="0" smtClean="0"/>
              <a:t>style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white">
          <a:xfrm>
            <a:off x="8036671" y="4820615"/>
            <a:ext cx="596901" cy="322886"/>
          </a:xfrm>
          <a:prstGeom prst="rect">
            <a:avLst/>
          </a:prstGeom>
        </p:spPr>
        <p:txBody>
          <a:bodyPr vert="horz" wrap="none" lIns="0" tIns="45720" rIns="13716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hl"/>
          <p:cNvSpPr txBox="1"/>
          <p:nvPr userDrawn="1"/>
        </p:nvSpPr>
        <p:spPr>
          <a:xfrm>
            <a:off x="0" y="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4" name="fl"/>
          <p:cNvSpPr txBox="1"/>
          <p:nvPr userDrawn="1"/>
        </p:nvSpPr>
        <p:spPr>
          <a:xfrm>
            <a:off x="0" y="477012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538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6" r:id="rId1"/>
    <p:sldLayoutId id="2147484707" r:id="rId2"/>
    <p:sldLayoutId id="2147484708" r:id="rId3"/>
    <p:sldLayoutId id="2147484709" r:id="rId4"/>
    <p:sldLayoutId id="2147484710" r:id="rId5"/>
    <p:sldLayoutId id="2147484711" r:id="rId6"/>
    <p:sldLayoutId id="2147484712" r:id="rId7"/>
    <p:sldLayoutId id="2147484713" r:id="rId8"/>
    <p:sldLayoutId id="2147484714" r:id="rId9"/>
    <p:sldLayoutId id="2147484715" r:id="rId10"/>
    <p:sldLayoutId id="2147484716" r:id="rId11"/>
    <p:sldLayoutId id="2147484717" r:id="rId12"/>
    <p:sldLayoutId id="2147484718" r:id="rId13"/>
    <p:sldLayoutId id="2147484719" r:id="rId14"/>
    <p:sldLayoutId id="2147484720" r:id="rId15"/>
    <p:sldLayoutId id="2147484721" r:id="rId16"/>
    <p:sldLayoutId id="2147484722" r:id="rId17"/>
    <p:sldLayoutId id="2147484723" r:id="rId18"/>
    <p:sldLayoutId id="2147484724" r:id="rId19"/>
    <p:sldLayoutId id="2147484725" r:id="rId20"/>
    <p:sldLayoutId id="2147484726" r:id="rId21"/>
    <p:sldLayoutId id="2147484727" r:id="rId22"/>
    <p:sldLayoutId id="2147484728" r:id="rId23"/>
    <p:sldLayoutId id="2147484729" r:id="rId24"/>
    <p:sldLayoutId id="2147484730" r:id="rId25"/>
    <p:sldLayoutId id="2147484731" r:id="rId26"/>
    <p:sldLayoutId id="2147484732" r:id="rId27"/>
    <p:sldLayoutId id="2147484733" r:id="rId28"/>
    <p:sldLayoutId id="2147484734" r:id="rId29"/>
    <p:sldLayoutId id="2147484735" r:id="rId30"/>
    <p:sldLayoutId id="2147484736" r:id="rId31"/>
    <p:sldLayoutId id="2147484737" r:id="rId32"/>
    <p:sldLayoutId id="2147484738" r:id="rId33"/>
    <p:sldLayoutId id="2147484739" r:id="rId34"/>
    <p:sldLayoutId id="2147484740" r:id="rId35"/>
    <p:sldLayoutId id="2147484741" r:id="rId36"/>
    <p:sldLayoutId id="2147484742" r:id="rId37"/>
    <p:sldLayoutId id="2147484743" r:id="rId38"/>
    <p:sldLayoutId id="2147484744" r:id="rId39"/>
    <p:sldLayoutId id="2147484745" r:id="rId40"/>
    <p:sldLayoutId id="2147484746" r:id="rId41"/>
    <p:sldLayoutId id="2147484747" r:id="rId42"/>
    <p:sldLayoutId id="2147484748" r:id="rId43"/>
    <p:sldLayoutId id="2147484749" r:id="rId44"/>
    <p:sldLayoutId id="2147484750" r:id="rId45"/>
    <p:sldLayoutId id="2147484751" r:id="rId46"/>
    <p:sldLayoutId id="2147484752" r:id="rId47"/>
    <p:sldLayoutId id="2147484753" r:id="rId48"/>
    <p:sldLayoutId id="2147484754" r:id="rId49"/>
    <p:sldLayoutId id="2147484755" r:id="rId50"/>
    <p:sldLayoutId id="2147484756" r:id="rId51"/>
    <p:sldLayoutId id="2147484757" r:id="rId52"/>
    <p:sldLayoutId id="2147484758" r:id="rId53"/>
    <p:sldLayoutId id="2147484759" r:id="rId54"/>
    <p:sldLayoutId id="2147484760" r:id="rId55"/>
    <p:sldLayoutId id="2147484761" r:id="rId56"/>
    <p:sldLayoutId id="2147484762" r:id="rId57"/>
    <p:sldLayoutId id="2147484763" r:id="rId58"/>
    <p:sldLayoutId id="2147484764" r:id="rId59"/>
    <p:sldLayoutId id="2147484765" r:id="rId60"/>
    <p:sldLayoutId id="2147484766" r:id="rId61"/>
    <p:sldLayoutId id="2147484767" r:id="rId62"/>
    <p:sldLayoutId id="2147484768" r:id="rId63"/>
    <p:sldLayoutId id="2147484769" r:id="rId64"/>
    <p:sldLayoutId id="2147484770" r:id="rId65"/>
    <p:sldLayoutId id="2147484771" r:id="rId66"/>
    <p:sldLayoutId id="2147484772" r:id="rId67"/>
    <p:sldLayoutId id="2147484773" r:id="rId68"/>
    <p:sldLayoutId id="2147484775" r:id="rId69"/>
    <p:sldLayoutId id="2147484776" r:id="rId70"/>
    <p:sldLayoutId id="2147484777" r:id="rId71"/>
    <p:sldLayoutId id="2147484778" r:id="rId72"/>
    <p:sldLayoutId id="2147484779" r:id="rId73"/>
    <p:sldLayoutId id="2147484780" r:id="rId74"/>
    <p:sldLayoutId id="2147484781" r:id="rId75"/>
    <p:sldLayoutId id="2147484782" r:id="rId76"/>
    <p:sldLayoutId id="2147484783" r:id="rId7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spcAft>
          <a:spcPts val="200"/>
        </a:spcAft>
        <a:buNone/>
        <a:defRPr sz="3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1313" indent="-341313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SzPct val="100000"/>
        <a:buFont typeface="Wingdings" panose="05000000000000000000" pitchFamily="2" charset="2"/>
        <a:buChar char="n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85750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87338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hl"/>
          <p:cNvSpPr txBox="1"/>
          <p:nvPr userDrawn="1"/>
        </p:nvSpPr>
        <p:spPr>
          <a:xfrm>
            <a:off x="0" y="0"/>
            <a:ext cx="91440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fl"/>
          <p:cNvSpPr txBox="1"/>
          <p:nvPr userDrawn="1"/>
        </p:nvSpPr>
        <p:spPr>
          <a:xfrm>
            <a:off x="0" y="4805680"/>
            <a:ext cx="914400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62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  <p:sldLayoutId id="2147483873" r:id="rId16"/>
    <p:sldLayoutId id="2147483874" r:id="rId17"/>
    <p:sldLayoutId id="2147483875" r:id="rId18"/>
    <p:sldLayoutId id="2147483876" r:id="rId19"/>
    <p:sldLayoutId id="2147483877" r:id="rId20"/>
    <p:sldLayoutId id="2147483878" r:id="rId21"/>
    <p:sldLayoutId id="2147483879" r:id="rId2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2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49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1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2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1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2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99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1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0" y="4821238"/>
            <a:ext cx="9144000" cy="322262"/>
          </a:xfrm>
          <a:prstGeom prst="rect">
            <a:avLst/>
          </a:prstGeom>
          <a:solidFill>
            <a:srgbClr val="0078BE"/>
          </a:solidFill>
          <a:ln>
            <a:noFill/>
          </a:ln>
          <a:ex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Footer Placeholder 18"/>
          <p:cNvSpPr txBox="1">
            <a:spLocks/>
          </p:cNvSpPr>
          <p:nvPr/>
        </p:nvSpPr>
        <p:spPr>
          <a:xfrm>
            <a:off x="595313" y="4821237"/>
            <a:ext cx="3760810" cy="322263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he NPD Group, Inc.  |  </a:t>
            </a:r>
            <a:r>
              <a:rPr lang="en-US" sz="1000" dirty="0" smtClean="0">
                <a:solidFill>
                  <a:srgbClr val="FFFFFF"/>
                </a:solidFill>
              </a:rPr>
              <a:t>Proprietary and confidential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1480" y="1834347"/>
            <a:ext cx="8321040" cy="2540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</a:t>
            </a:r>
            <a:r>
              <a:rPr lang="en-US" dirty="0" smtClean="0"/>
              <a:t>style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white">
          <a:xfrm>
            <a:off x="8036671" y="4820615"/>
            <a:ext cx="596901" cy="322886"/>
          </a:xfrm>
          <a:prstGeom prst="rect">
            <a:avLst/>
          </a:prstGeom>
        </p:spPr>
        <p:txBody>
          <a:bodyPr vert="horz" wrap="none" lIns="0" tIns="45720" rIns="13716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hl"/>
          <p:cNvSpPr txBox="1"/>
          <p:nvPr userDrawn="1"/>
        </p:nvSpPr>
        <p:spPr>
          <a:xfrm>
            <a:off x="0" y="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4" name="fl"/>
          <p:cNvSpPr txBox="1"/>
          <p:nvPr userDrawn="1"/>
        </p:nvSpPr>
        <p:spPr>
          <a:xfrm>
            <a:off x="0" y="477012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1155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  <p:sldLayoutId id="2147483902" r:id="rId13"/>
    <p:sldLayoutId id="2147483903" r:id="rId14"/>
    <p:sldLayoutId id="2147483904" r:id="rId15"/>
    <p:sldLayoutId id="2147483905" r:id="rId16"/>
    <p:sldLayoutId id="2147483906" r:id="rId17"/>
    <p:sldLayoutId id="2147483907" r:id="rId18"/>
    <p:sldLayoutId id="2147483908" r:id="rId19"/>
    <p:sldLayoutId id="2147483909" r:id="rId20"/>
    <p:sldLayoutId id="2147483910" r:id="rId21"/>
    <p:sldLayoutId id="2147483911" r:id="rId22"/>
    <p:sldLayoutId id="2147483912" r:id="rId23"/>
    <p:sldLayoutId id="2147483913" r:id="rId24"/>
    <p:sldLayoutId id="2147483914" r:id="rId25"/>
    <p:sldLayoutId id="2147483915" r:id="rId26"/>
    <p:sldLayoutId id="2147483916" r:id="rId27"/>
    <p:sldLayoutId id="2147483917" r:id="rId28"/>
    <p:sldLayoutId id="2147483918" r:id="rId29"/>
    <p:sldLayoutId id="2147483919" r:id="rId30"/>
    <p:sldLayoutId id="2147483920" r:id="rId31"/>
    <p:sldLayoutId id="2147483921" r:id="rId32"/>
    <p:sldLayoutId id="2147483922" r:id="rId33"/>
    <p:sldLayoutId id="2147483923" r:id="rId34"/>
    <p:sldLayoutId id="2147483924" r:id="rId35"/>
    <p:sldLayoutId id="2147483925" r:id="rId36"/>
    <p:sldLayoutId id="2147483926" r:id="rId37"/>
    <p:sldLayoutId id="2147483927" r:id="rId38"/>
    <p:sldLayoutId id="2147483928" r:id="rId39"/>
    <p:sldLayoutId id="2147483929" r:id="rId40"/>
    <p:sldLayoutId id="2147483930" r:id="rId41"/>
    <p:sldLayoutId id="2147483931" r:id="rId42"/>
    <p:sldLayoutId id="2147483932" r:id="rId43"/>
    <p:sldLayoutId id="2147483933" r:id="rId44"/>
    <p:sldLayoutId id="2147483934" r:id="rId45"/>
    <p:sldLayoutId id="2147483935" r:id="rId46"/>
    <p:sldLayoutId id="2147483936" r:id="rId47"/>
    <p:sldLayoutId id="2147483937" r:id="rId48"/>
    <p:sldLayoutId id="2147483938" r:id="rId49"/>
    <p:sldLayoutId id="2147483939" r:id="rId50"/>
    <p:sldLayoutId id="2147483940" r:id="rId51"/>
    <p:sldLayoutId id="2147483941" r:id="rId52"/>
    <p:sldLayoutId id="2147483942" r:id="rId53"/>
    <p:sldLayoutId id="2147483943" r:id="rId54"/>
    <p:sldLayoutId id="2147483944" r:id="rId55"/>
    <p:sldLayoutId id="2147483945" r:id="rId56"/>
    <p:sldLayoutId id="2147483946" r:id="rId57"/>
    <p:sldLayoutId id="2147483947" r:id="rId58"/>
    <p:sldLayoutId id="2147483948" r:id="rId59"/>
    <p:sldLayoutId id="2147483949" r:id="rId60"/>
    <p:sldLayoutId id="2147483950" r:id="rId61"/>
    <p:sldLayoutId id="2147483951" r:id="rId62"/>
    <p:sldLayoutId id="2147483952" r:id="rId63"/>
    <p:sldLayoutId id="2147483953" r:id="rId64"/>
    <p:sldLayoutId id="2147483954" r:id="rId65"/>
    <p:sldLayoutId id="2147483955" r:id="rId66"/>
    <p:sldLayoutId id="2147483956" r:id="rId67"/>
    <p:sldLayoutId id="2147483957" r:id="rId68"/>
    <p:sldLayoutId id="2147483958" r:id="rId69"/>
    <p:sldLayoutId id="2147483959" r:id="rId70"/>
    <p:sldLayoutId id="2147483960" r:id="rId71"/>
    <p:sldLayoutId id="2147483961" r:id="rId72"/>
    <p:sldLayoutId id="2147483962" r:id="rId73"/>
    <p:sldLayoutId id="2147483963" r:id="rId74"/>
    <p:sldLayoutId id="2147483964" r:id="rId75"/>
    <p:sldLayoutId id="2147483968" r:id="rId76"/>
    <p:sldLayoutId id="2147483969" r:id="rId77"/>
    <p:sldLayoutId id="2147483970" r:id="rId78"/>
    <p:sldLayoutId id="2147483971" r:id="rId7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spcAft>
          <a:spcPts val="200"/>
        </a:spcAft>
        <a:buNone/>
        <a:defRPr sz="3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1313" indent="-341313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SzPct val="100000"/>
        <a:buFont typeface="Wingdings" panose="05000000000000000000" pitchFamily="2" charset="2"/>
        <a:buChar char="n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85750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87338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0" y="4821238"/>
            <a:ext cx="9144000" cy="322262"/>
          </a:xfrm>
          <a:prstGeom prst="rect">
            <a:avLst/>
          </a:prstGeom>
          <a:solidFill>
            <a:srgbClr val="0078BE"/>
          </a:solidFill>
          <a:ln>
            <a:noFill/>
          </a:ln>
          <a:ex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Footer Placeholder 18"/>
          <p:cNvSpPr txBox="1">
            <a:spLocks/>
          </p:cNvSpPr>
          <p:nvPr/>
        </p:nvSpPr>
        <p:spPr>
          <a:xfrm>
            <a:off x="595313" y="4821237"/>
            <a:ext cx="3760810" cy="322263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he NPD Group, Inc.  |  </a:t>
            </a:r>
            <a:r>
              <a:rPr lang="en-US" sz="1000" dirty="0" smtClean="0">
                <a:solidFill>
                  <a:srgbClr val="FFFFFF"/>
                </a:solidFill>
              </a:rPr>
              <a:t>Proprietary and confidential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1480" y="1834347"/>
            <a:ext cx="8321040" cy="2540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</a:t>
            </a:r>
            <a:r>
              <a:rPr lang="en-US" dirty="0" smtClean="0"/>
              <a:t>style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white">
          <a:xfrm>
            <a:off x="8036671" y="4820615"/>
            <a:ext cx="596901" cy="322886"/>
          </a:xfrm>
          <a:prstGeom prst="rect">
            <a:avLst/>
          </a:prstGeom>
        </p:spPr>
        <p:txBody>
          <a:bodyPr vert="horz" wrap="none" lIns="0" tIns="45720" rIns="13716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hl"/>
          <p:cNvSpPr txBox="1"/>
          <p:nvPr userDrawn="1"/>
        </p:nvSpPr>
        <p:spPr>
          <a:xfrm>
            <a:off x="0" y="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4" name="fl"/>
          <p:cNvSpPr txBox="1"/>
          <p:nvPr userDrawn="1"/>
        </p:nvSpPr>
        <p:spPr>
          <a:xfrm>
            <a:off x="0" y="477012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835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6" r:id="rId11"/>
    <p:sldLayoutId id="2147483987" r:id="rId12"/>
    <p:sldLayoutId id="2147483988" r:id="rId13"/>
    <p:sldLayoutId id="2147483989" r:id="rId14"/>
    <p:sldLayoutId id="2147483990" r:id="rId15"/>
    <p:sldLayoutId id="2147483991" r:id="rId16"/>
    <p:sldLayoutId id="2147483992" r:id="rId17"/>
    <p:sldLayoutId id="2147483993" r:id="rId18"/>
    <p:sldLayoutId id="2147483994" r:id="rId19"/>
    <p:sldLayoutId id="2147483995" r:id="rId20"/>
    <p:sldLayoutId id="2147483996" r:id="rId21"/>
    <p:sldLayoutId id="2147483997" r:id="rId22"/>
    <p:sldLayoutId id="2147483998" r:id="rId23"/>
    <p:sldLayoutId id="2147483999" r:id="rId24"/>
    <p:sldLayoutId id="2147484000" r:id="rId25"/>
    <p:sldLayoutId id="2147484001" r:id="rId26"/>
    <p:sldLayoutId id="2147484002" r:id="rId27"/>
    <p:sldLayoutId id="2147484003" r:id="rId28"/>
    <p:sldLayoutId id="2147484004" r:id="rId29"/>
    <p:sldLayoutId id="2147484005" r:id="rId30"/>
    <p:sldLayoutId id="2147484006" r:id="rId31"/>
    <p:sldLayoutId id="2147484007" r:id="rId32"/>
    <p:sldLayoutId id="2147484008" r:id="rId33"/>
    <p:sldLayoutId id="2147484009" r:id="rId34"/>
    <p:sldLayoutId id="2147484010" r:id="rId35"/>
    <p:sldLayoutId id="2147484011" r:id="rId36"/>
    <p:sldLayoutId id="2147484012" r:id="rId37"/>
    <p:sldLayoutId id="2147484013" r:id="rId38"/>
    <p:sldLayoutId id="2147484014" r:id="rId39"/>
    <p:sldLayoutId id="2147484015" r:id="rId40"/>
    <p:sldLayoutId id="2147484016" r:id="rId41"/>
    <p:sldLayoutId id="2147484017" r:id="rId42"/>
    <p:sldLayoutId id="2147484018" r:id="rId43"/>
    <p:sldLayoutId id="2147484019" r:id="rId44"/>
    <p:sldLayoutId id="2147484020" r:id="rId45"/>
    <p:sldLayoutId id="2147484021" r:id="rId46"/>
    <p:sldLayoutId id="2147484022" r:id="rId47"/>
    <p:sldLayoutId id="2147484023" r:id="rId48"/>
    <p:sldLayoutId id="2147484024" r:id="rId49"/>
    <p:sldLayoutId id="2147484025" r:id="rId50"/>
    <p:sldLayoutId id="2147484026" r:id="rId51"/>
    <p:sldLayoutId id="2147484027" r:id="rId52"/>
    <p:sldLayoutId id="2147484028" r:id="rId53"/>
    <p:sldLayoutId id="2147484029" r:id="rId54"/>
    <p:sldLayoutId id="2147484030" r:id="rId55"/>
    <p:sldLayoutId id="2147484031" r:id="rId56"/>
    <p:sldLayoutId id="2147484032" r:id="rId57"/>
    <p:sldLayoutId id="2147484033" r:id="rId58"/>
    <p:sldLayoutId id="2147484034" r:id="rId59"/>
    <p:sldLayoutId id="2147484035" r:id="rId60"/>
    <p:sldLayoutId id="2147484036" r:id="rId61"/>
    <p:sldLayoutId id="2147484037" r:id="rId62"/>
    <p:sldLayoutId id="2147484038" r:id="rId63"/>
    <p:sldLayoutId id="2147484039" r:id="rId64"/>
    <p:sldLayoutId id="2147484040" r:id="rId65"/>
    <p:sldLayoutId id="2147484042" r:id="rId66"/>
    <p:sldLayoutId id="2147484043" r:id="rId67"/>
    <p:sldLayoutId id="2147484044" r:id="rId68"/>
    <p:sldLayoutId id="2147484045" r:id="rId69"/>
    <p:sldLayoutId id="2147484046" r:id="rId70"/>
    <p:sldLayoutId id="2147484047" r:id="rId71"/>
    <p:sldLayoutId id="2147484048" r:id="rId72"/>
    <p:sldLayoutId id="2147484049" r:id="rId73"/>
    <p:sldLayoutId id="2147484050" r:id="rId74"/>
    <p:sldLayoutId id="2147484051" r:id="rId75"/>
    <p:sldLayoutId id="2147484052" r:id="rId76"/>
    <p:sldLayoutId id="2147484053" r:id="rId77"/>
    <p:sldLayoutId id="2147484054" r:id="rId78"/>
    <p:sldLayoutId id="2147484055" r:id="rId79"/>
    <p:sldLayoutId id="2147484056" r:id="rId80"/>
    <p:sldLayoutId id="2147484057" r:id="rId81"/>
    <p:sldLayoutId id="2147484786" r:id="rId8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spcAft>
          <a:spcPts val="200"/>
        </a:spcAft>
        <a:buNone/>
        <a:defRPr sz="3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1313" indent="-341313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SzPct val="100000"/>
        <a:buFont typeface="Wingdings" panose="05000000000000000000" pitchFamily="2" charset="2"/>
        <a:buChar char="n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85750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87338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0" y="4821238"/>
            <a:ext cx="9144000" cy="322262"/>
          </a:xfrm>
          <a:prstGeom prst="rect">
            <a:avLst/>
          </a:prstGeom>
          <a:solidFill>
            <a:srgbClr val="0078BE"/>
          </a:solidFill>
          <a:ln>
            <a:noFill/>
          </a:ln>
          <a:ex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Footer Placeholder 18"/>
          <p:cNvSpPr txBox="1">
            <a:spLocks/>
          </p:cNvSpPr>
          <p:nvPr/>
        </p:nvSpPr>
        <p:spPr>
          <a:xfrm>
            <a:off x="595313" y="4821237"/>
            <a:ext cx="3760810" cy="322263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he NPD Group, Inc.  |  </a:t>
            </a:r>
            <a:r>
              <a:rPr lang="en-US" sz="1000" dirty="0" smtClean="0">
                <a:solidFill>
                  <a:srgbClr val="FFFFFF"/>
                </a:solidFill>
              </a:rPr>
              <a:t>Proprietary and confidential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1480" y="1834347"/>
            <a:ext cx="8321040" cy="2540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</a:t>
            </a:r>
            <a:r>
              <a:rPr lang="en-US" dirty="0" smtClean="0"/>
              <a:t>style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white">
          <a:xfrm>
            <a:off x="8036671" y="4820615"/>
            <a:ext cx="596901" cy="322886"/>
          </a:xfrm>
          <a:prstGeom prst="rect">
            <a:avLst/>
          </a:prstGeom>
        </p:spPr>
        <p:txBody>
          <a:bodyPr vert="horz" wrap="none" lIns="0" tIns="45720" rIns="13716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hl"/>
          <p:cNvSpPr txBox="1"/>
          <p:nvPr userDrawn="1"/>
        </p:nvSpPr>
        <p:spPr>
          <a:xfrm>
            <a:off x="0" y="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4" name="fl"/>
          <p:cNvSpPr txBox="1"/>
          <p:nvPr userDrawn="1"/>
        </p:nvSpPr>
        <p:spPr>
          <a:xfrm>
            <a:off x="0" y="477012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673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9" r:id="rId1"/>
    <p:sldLayoutId id="2147484060" r:id="rId2"/>
    <p:sldLayoutId id="2147484061" r:id="rId3"/>
    <p:sldLayoutId id="2147484062" r:id="rId4"/>
    <p:sldLayoutId id="2147484063" r:id="rId5"/>
    <p:sldLayoutId id="2147484064" r:id="rId6"/>
    <p:sldLayoutId id="2147484065" r:id="rId7"/>
    <p:sldLayoutId id="2147484066" r:id="rId8"/>
    <p:sldLayoutId id="2147484067" r:id="rId9"/>
    <p:sldLayoutId id="2147484068" r:id="rId10"/>
    <p:sldLayoutId id="2147484069" r:id="rId11"/>
    <p:sldLayoutId id="2147484070" r:id="rId12"/>
    <p:sldLayoutId id="2147484071" r:id="rId13"/>
    <p:sldLayoutId id="2147484072" r:id="rId14"/>
    <p:sldLayoutId id="2147484073" r:id="rId15"/>
    <p:sldLayoutId id="2147484074" r:id="rId16"/>
    <p:sldLayoutId id="2147484075" r:id="rId17"/>
    <p:sldLayoutId id="2147484076" r:id="rId18"/>
    <p:sldLayoutId id="2147484077" r:id="rId19"/>
    <p:sldLayoutId id="2147484078" r:id="rId20"/>
    <p:sldLayoutId id="2147484079" r:id="rId21"/>
    <p:sldLayoutId id="2147484080" r:id="rId22"/>
    <p:sldLayoutId id="2147484081" r:id="rId23"/>
    <p:sldLayoutId id="2147484082" r:id="rId24"/>
    <p:sldLayoutId id="2147484083" r:id="rId25"/>
    <p:sldLayoutId id="2147484084" r:id="rId26"/>
    <p:sldLayoutId id="2147484085" r:id="rId27"/>
    <p:sldLayoutId id="2147484086" r:id="rId28"/>
    <p:sldLayoutId id="2147484087" r:id="rId29"/>
    <p:sldLayoutId id="2147484088" r:id="rId30"/>
    <p:sldLayoutId id="2147484089" r:id="rId31"/>
    <p:sldLayoutId id="2147484090" r:id="rId32"/>
    <p:sldLayoutId id="2147484091" r:id="rId33"/>
    <p:sldLayoutId id="2147484092" r:id="rId34"/>
    <p:sldLayoutId id="2147484093" r:id="rId35"/>
    <p:sldLayoutId id="2147484094" r:id="rId36"/>
    <p:sldLayoutId id="2147484095" r:id="rId37"/>
    <p:sldLayoutId id="2147484096" r:id="rId38"/>
    <p:sldLayoutId id="2147484097" r:id="rId39"/>
    <p:sldLayoutId id="2147484098" r:id="rId40"/>
    <p:sldLayoutId id="2147484099" r:id="rId41"/>
    <p:sldLayoutId id="2147484100" r:id="rId42"/>
    <p:sldLayoutId id="2147484101" r:id="rId43"/>
    <p:sldLayoutId id="2147484102" r:id="rId44"/>
    <p:sldLayoutId id="2147484103" r:id="rId45"/>
    <p:sldLayoutId id="2147484104" r:id="rId46"/>
    <p:sldLayoutId id="2147484105" r:id="rId47"/>
    <p:sldLayoutId id="2147484106" r:id="rId48"/>
    <p:sldLayoutId id="2147484107" r:id="rId49"/>
    <p:sldLayoutId id="2147484108" r:id="rId50"/>
    <p:sldLayoutId id="2147484109" r:id="rId51"/>
    <p:sldLayoutId id="2147484110" r:id="rId52"/>
    <p:sldLayoutId id="2147484111" r:id="rId53"/>
    <p:sldLayoutId id="2147484112" r:id="rId54"/>
    <p:sldLayoutId id="2147484113" r:id="rId55"/>
    <p:sldLayoutId id="2147484114" r:id="rId56"/>
    <p:sldLayoutId id="2147484115" r:id="rId57"/>
    <p:sldLayoutId id="2147484116" r:id="rId58"/>
    <p:sldLayoutId id="2147484117" r:id="rId59"/>
    <p:sldLayoutId id="2147484118" r:id="rId60"/>
    <p:sldLayoutId id="2147484119" r:id="rId61"/>
    <p:sldLayoutId id="2147484120" r:id="rId62"/>
    <p:sldLayoutId id="2147484121" r:id="rId63"/>
    <p:sldLayoutId id="2147484122" r:id="rId64"/>
    <p:sldLayoutId id="2147484123" r:id="rId65"/>
    <p:sldLayoutId id="2147484124" r:id="rId66"/>
    <p:sldLayoutId id="2147484125" r:id="rId67"/>
    <p:sldLayoutId id="2147484126" r:id="rId68"/>
    <p:sldLayoutId id="2147484127" r:id="rId69"/>
    <p:sldLayoutId id="2147484128" r:id="rId70"/>
    <p:sldLayoutId id="2147484129" r:id="rId71"/>
    <p:sldLayoutId id="2147484130" r:id="rId72"/>
    <p:sldLayoutId id="2147484131" r:id="rId73"/>
    <p:sldLayoutId id="2147484132" r:id="rId74"/>
    <p:sldLayoutId id="2147484133" r:id="rId75"/>
    <p:sldLayoutId id="2147484134" r:id="rId76"/>
    <p:sldLayoutId id="2147484135" r:id="rId77"/>
    <p:sldLayoutId id="2147484137" r:id="rId78"/>
    <p:sldLayoutId id="2147484138" r:id="rId79"/>
    <p:sldLayoutId id="2147484139" r:id="rId80"/>
    <p:sldLayoutId id="2147484140" r:id="rId8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spcAft>
          <a:spcPts val="200"/>
        </a:spcAft>
        <a:buNone/>
        <a:defRPr sz="3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1313" indent="-341313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SzPct val="100000"/>
        <a:buFont typeface="Wingdings" panose="05000000000000000000" pitchFamily="2" charset="2"/>
        <a:buChar char="n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85750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87338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0" y="4821238"/>
            <a:ext cx="9144000" cy="322262"/>
          </a:xfrm>
          <a:prstGeom prst="rect">
            <a:avLst/>
          </a:prstGeom>
          <a:solidFill>
            <a:srgbClr val="0078BE"/>
          </a:solidFill>
          <a:ln>
            <a:noFill/>
          </a:ln>
          <a:ex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Footer Placeholder 18"/>
          <p:cNvSpPr txBox="1">
            <a:spLocks/>
          </p:cNvSpPr>
          <p:nvPr/>
        </p:nvSpPr>
        <p:spPr>
          <a:xfrm>
            <a:off x="595313" y="4821237"/>
            <a:ext cx="3760810" cy="322263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he NPD Group, Inc.  |  </a:t>
            </a:r>
            <a:r>
              <a:rPr lang="en-US" sz="1000" dirty="0" smtClean="0">
                <a:solidFill>
                  <a:srgbClr val="FFFFFF"/>
                </a:solidFill>
              </a:rPr>
              <a:t>Proprietary and confidential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1480" y="1834347"/>
            <a:ext cx="8321040" cy="2540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</a:t>
            </a:r>
            <a:r>
              <a:rPr lang="en-US" dirty="0" smtClean="0"/>
              <a:t>style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white">
          <a:xfrm>
            <a:off x="8036671" y="4820615"/>
            <a:ext cx="596901" cy="322886"/>
          </a:xfrm>
          <a:prstGeom prst="rect">
            <a:avLst/>
          </a:prstGeom>
        </p:spPr>
        <p:txBody>
          <a:bodyPr vert="horz" wrap="none" lIns="0" tIns="45720" rIns="13716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hl"/>
          <p:cNvSpPr txBox="1"/>
          <p:nvPr userDrawn="1"/>
        </p:nvSpPr>
        <p:spPr>
          <a:xfrm>
            <a:off x="0" y="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4" name="fl"/>
          <p:cNvSpPr txBox="1"/>
          <p:nvPr userDrawn="1"/>
        </p:nvSpPr>
        <p:spPr>
          <a:xfrm>
            <a:off x="0" y="477012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258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46" r:id="rId5"/>
    <p:sldLayoutId id="2147484147" r:id="rId6"/>
    <p:sldLayoutId id="2147484148" r:id="rId7"/>
    <p:sldLayoutId id="2147484149" r:id="rId8"/>
    <p:sldLayoutId id="2147484150" r:id="rId9"/>
    <p:sldLayoutId id="2147484151" r:id="rId10"/>
    <p:sldLayoutId id="2147484152" r:id="rId11"/>
    <p:sldLayoutId id="2147484153" r:id="rId12"/>
    <p:sldLayoutId id="2147484154" r:id="rId13"/>
    <p:sldLayoutId id="2147484155" r:id="rId14"/>
    <p:sldLayoutId id="2147484156" r:id="rId15"/>
    <p:sldLayoutId id="2147484157" r:id="rId16"/>
    <p:sldLayoutId id="2147484158" r:id="rId17"/>
    <p:sldLayoutId id="2147484159" r:id="rId18"/>
    <p:sldLayoutId id="2147484160" r:id="rId19"/>
    <p:sldLayoutId id="2147484161" r:id="rId20"/>
    <p:sldLayoutId id="2147484162" r:id="rId21"/>
    <p:sldLayoutId id="2147484163" r:id="rId22"/>
    <p:sldLayoutId id="2147484164" r:id="rId23"/>
    <p:sldLayoutId id="2147484165" r:id="rId24"/>
    <p:sldLayoutId id="2147484166" r:id="rId25"/>
    <p:sldLayoutId id="2147484167" r:id="rId26"/>
    <p:sldLayoutId id="2147484168" r:id="rId27"/>
    <p:sldLayoutId id="2147484169" r:id="rId28"/>
    <p:sldLayoutId id="2147484170" r:id="rId29"/>
    <p:sldLayoutId id="2147484171" r:id="rId30"/>
    <p:sldLayoutId id="2147484172" r:id="rId31"/>
    <p:sldLayoutId id="2147484173" r:id="rId32"/>
    <p:sldLayoutId id="2147484174" r:id="rId33"/>
    <p:sldLayoutId id="2147484175" r:id="rId34"/>
    <p:sldLayoutId id="2147484176" r:id="rId35"/>
    <p:sldLayoutId id="2147484177" r:id="rId36"/>
    <p:sldLayoutId id="2147484178" r:id="rId37"/>
    <p:sldLayoutId id="2147484179" r:id="rId38"/>
    <p:sldLayoutId id="2147484180" r:id="rId39"/>
    <p:sldLayoutId id="2147484181" r:id="rId40"/>
    <p:sldLayoutId id="2147484182" r:id="rId41"/>
    <p:sldLayoutId id="2147484183" r:id="rId42"/>
    <p:sldLayoutId id="2147484184" r:id="rId43"/>
    <p:sldLayoutId id="2147484185" r:id="rId44"/>
    <p:sldLayoutId id="2147484186" r:id="rId45"/>
    <p:sldLayoutId id="2147484187" r:id="rId46"/>
    <p:sldLayoutId id="2147484188" r:id="rId47"/>
    <p:sldLayoutId id="2147484189" r:id="rId48"/>
    <p:sldLayoutId id="2147484190" r:id="rId49"/>
    <p:sldLayoutId id="2147484191" r:id="rId50"/>
    <p:sldLayoutId id="2147484192" r:id="rId51"/>
    <p:sldLayoutId id="2147484193" r:id="rId52"/>
    <p:sldLayoutId id="2147484194" r:id="rId53"/>
    <p:sldLayoutId id="2147484195" r:id="rId54"/>
    <p:sldLayoutId id="2147484196" r:id="rId55"/>
    <p:sldLayoutId id="2147484197" r:id="rId56"/>
    <p:sldLayoutId id="2147484198" r:id="rId57"/>
    <p:sldLayoutId id="2147484199" r:id="rId58"/>
    <p:sldLayoutId id="2147484200" r:id="rId59"/>
    <p:sldLayoutId id="2147484201" r:id="rId60"/>
    <p:sldLayoutId id="2147484202" r:id="rId61"/>
    <p:sldLayoutId id="2147484203" r:id="rId62"/>
    <p:sldLayoutId id="2147484204" r:id="rId63"/>
    <p:sldLayoutId id="2147484205" r:id="rId64"/>
    <p:sldLayoutId id="2147484206" r:id="rId65"/>
    <p:sldLayoutId id="2147484207" r:id="rId66"/>
    <p:sldLayoutId id="2147484208" r:id="rId67"/>
    <p:sldLayoutId id="2147484209" r:id="rId68"/>
    <p:sldLayoutId id="2147484210" r:id="rId69"/>
    <p:sldLayoutId id="2147484211" r:id="rId70"/>
    <p:sldLayoutId id="2147484212" r:id="rId71"/>
    <p:sldLayoutId id="2147484213" r:id="rId72"/>
    <p:sldLayoutId id="2147484214" r:id="rId73"/>
    <p:sldLayoutId id="2147484215" r:id="rId74"/>
    <p:sldLayoutId id="2147484218" r:id="rId75"/>
    <p:sldLayoutId id="2147484219" r:id="rId76"/>
    <p:sldLayoutId id="2147484220" r:id="rId7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spcAft>
          <a:spcPts val="200"/>
        </a:spcAft>
        <a:buNone/>
        <a:defRPr sz="3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1313" indent="-341313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SzPct val="100000"/>
        <a:buFont typeface="Wingdings" panose="05000000000000000000" pitchFamily="2" charset="2"/>
        <a:buChar char="n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85750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87338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0" y="4821238"/>
            <a:ext cx="9144000" cy="322262"/>
          </a:xfrm>
          <a:prstGeom prst="rect">
            <a:avLst/>
          </a:prstGeom>
          <a:solidFill>
            <a:srgbClr val="0078BE"/>
          </a:solidFill>
          <a:ln>
            <a:noFill/>
          </a:ln>
          <a:ex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Footer Placeholder 18"/>
          <p:cNvSpPr txBox="1">
            <a:spLocks/>
          </p:cNvSpPr>
          <p:nvPr/>
        </p:nvSpPr>
        <p:spPr>
          <a:xfrm>
            <a:off x="595313" y="4821237"/>
            <a:ext cx="3760810" cy="322263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he NPD Group, Inc.  |  </a:t>
            </a:r>
            <a:r>
              <a:rPr lang="en-US" sz="1000" dirty="0" smtClean="0">
                <a:solidFill>
                  <a:srgbClr val="FFFFFF"/>
                </a:solidFill>
              </a:rPr>
              <a:t>Proprietary and confidential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1480" y="1834347"/>
            <a:ext cx="8321040" cy="2540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</a:t>
            </a:r>
            <a:r>
              <a:rPr lang="en-US" dirty="0" smtClean="0"/>
              <a:t>style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white">
          <a:xfrm>
            <a:off x="8036671" y="4820615"/>
            <a:ext cx="596901" cy="322886"/>
          </a:xfrm>
          <a:prstGeom prst="rect">
            <a:avLst/>
          </a:prstGeom>
        </p:spPr>
        <p:txBody>
          <a:bodyPr vert="horz" wrap="none" lIns="0" tIns="45720" rIns="13716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hl"/>
          <p:cNvSpPr txBox="1"/>
          <p:nvPr userDrawn="1"/>
        </p:nvSpPr>
        <p:spPr>
          <a:xfrm>
            <a:off x="0" y="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4" name="fl"/>
          <p:cNvSpPr txBox="1"/>
          <p:nvPr userDrawn="1"/>
        </p:nvSpPr>
        <p:spPr>
          <a:xfrm>
            <a:off x="0" y="477012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273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3" r:id="rId1"/>
    <p:sldLayoutId id="2147484224" r:id="rId2"/>
    <p:sldLayoutId id="2147484225" r:id="rId3"/>
    <p:sldLayoutId id="2147484226" r:id="rId4"/>
    <p:sldLayoutId id="2147484227" r:id="rId5"/>
    <p:sldLayoutId id="2147484228" r:id="rId6"/>
    <p:sldLayoutId id="2147484229" r:id="rId7"/>
    <p:sldLayoutId id="2147484230" r:id="rId8"/>
    <p:sldLayoutId id="2147484231" r:id="rId9"/>
    <p:sldLayoutId id="2147484232" r:id="rId10"/>
    <p:sldLayoutId id="2147484233" r:id="rId11"/>
    <p:sldLayoutId id="2147484234" r:id="rId12"/>
    <p:sldLayoutId id="2147484235" r:id="rId13"/>
    <p:sldLayoutId id="2147484236" r:id="rId14"/>
    <p:sldLayoutId id="2147484237" r:id="rId15"/>
    <p:sldLayoutId id="2147484238" r:id="rId16"/>
    <p:sldLayoutId id="2147484239" r:id="rId17"/>
    <p:sldLayoutId id="2147484240" r:id="rId18"/>
    <p:sldLayoutId id="2147484241" r:id="rId19"/>
    <p:sldLayoutId id="2147484242" r:id="rId20"/>
    <p:sldLayoutId id="2147484243" r:id="rId21"/>
    <p:sldLayoutId id="2147484244" r:id="rId22"/>
    <p:sldLayoutId id="2147484245" r:id="rId23"/>
    <p:sldLayoutId id="2147484246" r:id="rId24"/>
    <p:sldLayoutId id="2147484247" r:id="rId25"/>
    <p:sldLayoutId id="2147484248" r:id="rId26"/>
    <p:sldLayoutId id="2147484249" r:id="rId27"/>
    <p:sldLayoutId id="2147484250" r:id="rId28"/>
    <p:sldLayoutId id="2147484251" r:id="rId29"/>
    <p:sldLayoutId id="2147484252" r:id="rId30"/>
    <p:sldLayoutId id="2147484253" r:id="rId31"/>
    <p:sldLayoutId id="2147484254" r:id="rId32"/>
    <p:sldLayoutId id="2147484255" r:id="rId33"/>
    <p:sldLayoutId id="2147484256" r:id="rId34"/>
    <p:sldLayoutId id="2147484257" r:id="rId35"/>
    <p:sldLayoutId id="2147484258" r:id="rId36"/>
    <p:sldLayoutId id="2147484259" r:id="rId37"/>
    <p:sldLayoutId id="2147484260" r:id="rId38"/>
    <p:sldLayoutId id="2147484261" r:id="rId39"/>
    <p:sldLayoutId id="2147484262" r:id="rId40"/>
    <p:sldLayoutId id="2147484263" r:id="rId41"/>
    <p:sldLayoutId id="2147484264" r:id="rId42"/>
    <p:sldLayoutId id="2147484265" r:id="rId43"/>
    <p:sldLayoutId id="2147484266" r:id="rId44"/>
    <p:sldLayoutId id="2147484267" r:id="rId45"/>
    <p:sldLayoutId id="2147484268" r:id="rId46"/>
    <p:sldLayoutId id="2147484269" r:id="rId47"/>
    <p:sldLayoutId id="2147484270" r:id="rId48"/>
    <p:sldLayoutId id="2147484271" r:id="rId49"/>
    <p:sldLayoutId id="2147484272" r:id="rId50"/>
    <p:sldLayoutId id="2147484273" r:id="rId51"/>
    <p:sldLayoutId id="2147484274" r:id="rId52"/>
    <p:sldLayoutId id="2147484275" r:id="rId53"/>
    <p:sldLayoutId id="2147484276" r:id="rId54"/>
    <p:sldLayoutId id="2147484277" r:id="rId55"/>
    <p:sldLayoutId id="2147484278" r:id="rId56"/>
    <p:sldLayoutId id="2147484279" r:id="rId57"/>
    <p:sldLayoutId id="2147484280" r:id="rId58"/>
    <p:sldLayoutId id="2147484281" r:id="rId59"/>
    <p:sldLayoutId id="2147484282" r:id="rId60"/>
    <p:sldLayoutId id="2147484283" r:id="rId61"/>
    <p:sldLayoutId id="2147484284" r:id="rId62"/>
    <p:sldLayoutId id="2147484285" r:id="rId63"/>
    <p:sldLayoutId id="2147484286" r:id="rId64"/>
    <p:sldLayoutId id="2147484287" r:id="rId65"/>
    <p:sldLayoutId id="2147484288" r:id="rId66"/>
    <p:sldLayoutId id="2147484289" r:id="rId67"/>
    <p:sldLayoutId id="2147484290" r:id="rId68"/>
    <p:sldLayoutId id="2147484291" r:id="rId69"/>
    <p:sldLayoutId id="2147484292" r:id="rId70"/>
    <p:sldLayoutId id="2147484293" r:id="rId71"/>
    <p:sldLayoutId id="2147484294" r:id="rId72"/>
    <p:sldLayoutId id="2147484295" r:id="rId73"/>
    <p:sldLayoutId id="2147484297" r:id="rId74"/>
    <p:sldLayoutId id="2147484298" r:id="rId75"/>
    <p:sldLayoutId id="2147484299" r:id="rId76"/>
    <p:sldLayoutId id="2147484300" r:id="rId77"/>
    <p:sldLayoutId id="2147484301" r:id="rId7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spcAft>
          <a:spcPts val="200"/>
        </a:spcAft>
        <a:buNone/>
        <a:defRPr sz="3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1313" indent="-341313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SzPct val="100000"/>
        <a:buFont typeface="Wingdings" panose="05000000000000000000" pitchFamily="2" charset="2"/>
        <a:buChar char="n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85750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87338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0" y="4821238"/>
            <a:ext cx="9144000" cy="322262"/>
          </a:xfrm>
          <a:prstGeom prst="rect">
            <a:avLst/>
          </a:prstGeom>
          <a:solidFill>
            <a:srgbClr val="0078BE"/>
          </a:solidFill>
          <a:ln>
            <a:noFill/>
          </a:ln>
          <a:ex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Footer Placeholder 18"/>
          <p:cNvSpPr txBox="1">
            <a:spLocks/>
          </p:cNvSpPr>
          <p:nvPr/>
        </p:nvSpPr>
        <p:spPr>
          <a:xfrm>
            <a:off x="595313" y="4821237"/>
            <a:ext cx="3760810" cy="322263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he NPD Group, Inc.  |  </a:t>
            </a:r>
            <a:r>
              <a:rPr lang="en-US" sz="1000" dirty="0" smtClean="0">
                <a:solidFill>
                  <a:srgbClr val="FFFFFF"/>
                </a:solidFill>
              </a:rPr>
              <a:t>Proprietary and confidential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1480" y="1834347"/>
            <a:ext cx="8321040" cy="2540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</a:t>
            </a:r>
            <a:r>
              <a:rPr lang="en-US" dirty="0" smtClean="0"/>
              <a:t>style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white">
          <a:xfrm>
            <a:off x="8036671" y="4820615"/>
            <a:ext cx="596901" cy="322886"/>
          </a:xfrm>
          <a:prstGeom prst="rect">
            <a:avLst/>
          </a:prstGeom>
        </p:spPr>
        <p:txBody>
          <a:bodyPr vert="horz" wrap="none" lIns="0" tIns="45720" rIns="13716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hl"/>
          <p:cNvSpPr txBox="1"/>
          <p:nvPr userDrawn="1"/>
        </p:nvSpPr>
        <p:spPr>
          <a:xfrm>
            <a:off x="0" y="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4" name="fl"/>
          <p:cNvSpPr txBox="1"/>
          <p:nvPr userDrawn="1"/>
        </p:nvSpPr>
        <p:spPr>
          <a:xfrm>
            <a:off x="0" y="477012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628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3" r:id="rId1"/>
    <p:sldLayoutId id="2147484304" r:id="rId2"/>
    <p:sldLayoutId id="2147484305" r:id="rId3"/>
    <p:sldLayoutId id="2147484306" r:id="rId4"/>
    <p:sldLayoutId id="2147484307" r:id="rId5"/>
    <p:sldLayoutId id="2147484308" r:id="rId6"/>
    <p:sldLayoutId id="2147484309" r:id="rId7"/>
    <p:sldLayoutId id="2147484310" r:id="rId8"/>
    <p:sldLayoutId id="2147484311" r:id="rId9"/>
    <p:sldLayoutId id="2147484312" r:id="rId10"/>
    <p:sldLayoutId id="2147484313" r:id="rId11"/>
    <p:sldLayoutId id="2147484314" r:id="rId12"/>
    <p:sldLayoutId id="2147484315" r:id="rId13"/>
    <p:sldLayoutId id="2147484316" r:id="rId14"/>
    <p:sldLayoutId id="2147484317" r:id="rId15"/>
    <p:sldLayoutId id="2147484318" r:id="rId16"/>
    <p:sldLayoutId id="2147484319" r:id="rId17"/>
    <p:sldLayoutId id="2147484320" r:id="rId18"/>
    <p:sldLayoutId id="2147484321" r:id="rId19"/>
    <p:sldLayoutId id="2147484322" r:id="rId20"/>
    <p:sldLayoutId id="2147484323" r:id="rId21"/>
    <p:sldLayoutId id="2147484324" r:id="rId22"/>
    <p:sldLayoutId id="2147484325" r:id="rId23"/>
    <p:sldLayoutId id="2147484326" r:id="rId24"/>
    <p:sldLayoutId id="2147484327" r:id="rId25"/>
    <p:sldLayoutId id="2147484328" r:id="rId26"/>
    <p:sldLayoutId id="2147484329" r:id="rId27"/>
    <p:sldLayoutId id="2147484330" r:id="rId28"/>
    <p:sldLayoutId id="2147484331" r:id="rId29"/>
    <p:sldLayoutId id="2147484332" r:id="rId30"/>
    <p:sldLayoutId id="2147484333" r:id="rId31"/>
    <p:sldLayoutId id="2147484334" r:id="rId32"/>
    <p:sldLayoutId id="2147484335" r:id="rId33"/>
    <p:sldLayoutId id="2147484336" r:id="rId34"/>
    <p:sldLayoutId id="2147484337" r:id="rId35"/>
    <p:sldLayoutId id="2147484338" r:id="rId36"/>
    <p:sldLayoutId id="2147484339" r:id="rId37"/>
    <p:sldLayoutId id="2147484340" r:id="rId38"/>
    <p:sldLayoutId id="2147484341" r:id="rId39"/>
    <p:sldLayoutId id="2147484342" r:id="rId40"/>
    <p:sldLayoutId id="2147484343" r:id="rId41"/>
    <p:sldLayoutId id="2147484344" r:id="rId42"/>
    <p:sldLayoutId id="2147484345" r:id="rId43"/>
    <p:sldLayoutId id="2147484346" r:id="rId44"/>
    <p:sldLayoutId id="2147484347" r:id="rId45"/>
    <p:sldLayoutId id="2147484348" r:id="rId46"/>
    <p:sldLayoutId id="2147484349" r:id="rId47"/>
    <p:sldLayoutId id="2147484350" r:id="rId48"/>
    <p:sldLayoutId id="2147484351" r:id="rId49"/>
    <p:sldLayoutId id="2147484352" r:id="rId50"/>
    <p:sldLayoutId id="2147484353" r:id="rId51"/>
    <p:sldLayoutId id="2147484354" r:id="rId52"/>
    <p:sldLayoutId id="2147484355" r:id="rId53"/>
    <p:sldLayoutId id="2147484356" r:id="rId54"/>
    <p:sldLayoutId id="2147484357" r:id="rId55"/>
    <p:sldLayoutId id="2147484358" r:id="rId56"/>
    <p:sldLayoutId id="2147484359" r:id="rId57"/>
    <p:sldLayoutId id="2147484360" r:id="rId58"/>
    <p:sldLayoutId id="2147484361" r:id="rId59"/>
    <p:sldLayoutId id="2147484362" r:id="rId60"/>
    <p:sldLayoutId id="2147484363" r:id="rId61"/>
    <p:sldLayoutId id="2147484364" r:id="rId62"/>
    <p:sldLayoutId id="2147484365" r:id="rId63"/>
    <p:sldLayoutId id="2147484366" r:id="rId64"/>
    <p:sldLayoutId id="2147484367" r:id="rId65"/>
    <p:sldLayoutId id="2147484369" r:id="rId66"/>
    <p:sldLayoutId id="2147484371" r:id="rId67"/>
    <p:sldLayoutId id="2147484372" r:id="rId68"/>
    <p:sldLayoutId id="2147484373" r:id="rId69"/>
    <p:sldLayoutId id="2147484374" r:id="rId70"/>
    <p:sldLayoutId id="2147484375" r:id="rId71"/>
    <p:sldLayoutId id="2147484376" r:id="rId72"/>
    <p:sldLayoutId id="2147484377" r:id="rId73"/>
    <p:sldLayoutId id="2147484378" r:id="rId74"/>
    <p:sldLayoutId id="2147484379" r:id="rId75"/>
    <p:sldLayoutId id="2147484380" r:id="rId7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spcAft>
          <a:spcPts val="200"/>
        </a:spcAft>
        <a:buNone/>
        <a:defRPr sz="3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1313" indent="-341313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SzPct val="100000"/>
        <a:buFont typeface="Wingdings" panose="05000000000000000000" pitchFamily="2" charset="2"/>
        <a:buChar char="n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85750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87338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0" y="4821238"/>
            <a:ext cx="9144000" cy="322262"/>
          </a:xfrm>
          <a:prstGeom prst="rect">
            <a:avLst/>
          </a:prstGeom>
          <a:solidFill>
            <a:srgbClr val="0078BE"/>
          </a:solidFill>
          <a:ln>
            <a:noFill/>
          </a:ln>
          <a:ex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Footer Placeholder 18"/>
          <p:cNvSpPr txBox="1">
            <a:spLocks/>
          </p:cNvSpPr>
          <p:nvPr/>
        </p:nvSpPr>
        <p:spPr>
          <a:xfrm>
            <a:off x="595313" y="4821237"/>
            <a:ext cx="3760810" cy="322263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defRPr/>
            </a:pPr>
            <a:r>
              <a:rPr lang="en-US" sz="1000" b="1" dirty="0" smtClean="0">
                <a:solidFill>
                  <a:srgbClr val="FFFFFF"/>
                </a:solidFill>
              </a:rPr>
              <a:t>The NPD Group, Inc.  |  </a:t>
            </a:r>
            <a:r>
              <a:rPr lang="en-US" sz="1000" dirty="0" smtClean="0">
                <a:solidFill>
                  <a:srgbClr val="FFFFFF"/>
                </a:solidFill>
              </a:rPr>
              <a:t>Proprietary and confidential</a:t>
            </a: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title"/>
          </p:nvPr>
        </p:nvSpPr>
        <p:spPr bwMode="black">
          <a:xfrm>
            <a:off x="411480" y="349327"/>
            <a:ext cx="83210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1480" y="1834347"/>
            <a:ext cx="8321040" cy="2540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</a:t>
            </a:r>
            <a:r>
              <a:rPr lang="en-US" dirty="0" smtClean="0"/>
              <a:t>style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white">
          <a:xfrm>
            <a:off x="8036671" y="4820615"/>
            <a:ext cx="596901" cy="322886"/>
          </a:xfrm>
          <a:prstGeom prst="rect">
            <a:avLst/>
          </a:prstGeom>
        </p:spPr>
        <p:txBody>
          <a:bodyPr vert="horz" wrap="none" lIns="0" tIns="45720" rIns="137160" bIns="45720" rtlCol="0" anchor="ctr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hl"/>
          <p:cNvSpPr txBox="1"/>
          <p:nvPr userDrawn="1"/>
        </p:nvSpPr>
        <p:spPr>
          <a:xfrm>
            <a:off x="0" y="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  <p:sp>
        <p:nvSpPr>
          <p:cNvPr id="14" name="fl"/>
          <p:cNvSpPr txBox="1"/>
          <p:nvPr userDrawn="1"/>
        </p:nvSpPr>
        <p:spPr>
          <a:xfrm>
            <a:off x="0" y="4770120"/>
            <a:ext cx="914400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en-GB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588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2" r:id="rId1"/>
    <p:sldLayoutId id="2147484383" r:id="rId2"/>
    <p:sldLayoutId id="2147484384" r:id="rId3"/>
    <p:sldLayoutId id="2147484385" r:id="rId4"/>
    <p:sldLayoutId id="2147484386" r:id="rId5"/>
    <p:sldLayoutId id="2147484387" r:id="rId6"/>
    <p:sldLayoutId id="2147484388" r:id="rId7"/>
    <p:sldLayoutId id="2147484389" r:id="rId8"/>
    <p:sldLayoutId id="2147484390" r:id="rId9"/>
    <p:sldLayoutId id="2147484391" r:id="rId10"/>
    <p:sldLayoutId id="2147484392" r:id="rId11"/>
    <p:sldLayoutId id="2147484393" r:id="rId12"/>
    <p:sldLayoutId id="2147484394" r:id="rId13"/>
    <p:sldLayoutId id="2147484395" r:id="rId14"/>
    <p:sldLayoutId id="2147484396" r:id="rId15"/>
    <p:sldLayoutId id="2147484397" r:id="rId16"/>
    <p:sldLayoutId id="2147484398" r:id="rId17"/>
    <p:sldLayoutId id="2147484399" r:id="rId18"/>
    <p:sldLayoutId id="2147484400" r:id="rId19"/>
    <p:sldLayoutId id="2147484401" r:id="rId20"/>
    <p:sldLayoutId id="2147484402" r:id="rId21"/>
    <p:sldLayoutId id="2147484403" r:id="rId22"/>
    <p:sldLayoutId id="2147484404" r:id="rId23"/>
    <p:sldLayoutId id="2147484405" r:id="rId24"/>
    <p:sldLayoutId id="2147484406" r:id="rId25"/>
    <p:sldLayoutId id="2147484407" r:id="rId26"/>
    <p:sldLayoutId id="2147484408" r:id="rId27"/>
    <p:sldLayoutId id="2147484409" r:id="rId28"/>
    <p:sldLayoutId id="2147484410" r:id="rId29"/>
    <p:sldLayoutId id="2147484411" r:id="rId30"/>
    <p:sldLayoutId id="2147484412" r:id="rId31"/>
    <p:sldLayoutId id="2147484413" r:id="rId32"/>
    <p:sldLayoutId id="2147484414" r:id="rId33"/>
    <p:sldLayoutId id="2147484415" r:id="rId34"/>
    <p:sldLayoutId id="2147484416" r:id="rId35"/>
    <p:sldLayoutId id="2147484417" r:id="rId36"/>
    <p:sldLayoutId id="2147484418" r:id="rId37"/>
    <p:sldLayoutId id="2147484419" r:id="rId38"/>
    <p:sldLayoutId id="2147484420" r:id="rId39"/>
    <p:sldLayoutId id="2147484421" r:id="rId40"/>
    <p:sldLayoutId id="2147484422" r:id="rId41"/>
    <p:sldLayoutId id="2147484423" r:id="rId42"/>
    <p:sldLayoutId id="2147484424" r:id="rId43"/>
    <p:sldLayoutId id="2147484425" r:id="rId44"/>
    <p:sldLayoutId id="2147484426" r:id="rId45"/>
    <p:sldLayoutId id="2147484427" r:id="rId46"/>
    <p:sldLayoutId id="2147484428" r:id="rId47"/>
    <p:sldLayoutId id="2147484429" r:id="rId48"/>
    <p:sldLayoutId id="2147484430" r:id="rId49"/>
    <p:sldLayoutId id="2147484431" r:id="rId50"/>
    <p:sldLayoutId id="2147484432" r:id="rId51"/>
    <p:sldLayoutId id="2147484433" r:id="rId52"/>
    <p:sldLayoutId id="2147484434" r:id="rId53"/>
    <p:sldLayoutId id="2147484435" r:id="rId54"/>
    <p:sldLayoutId id="2147484436" r:id="rId55"/>
    <p:sldLayoutId id="2147484437" r:id="rId56"/>
    <p:sldLayoutId id="2147484438" r:id="rId57"/>
    <p:sldLayoutId id="2147484439" r:id="rId58"/>
    <p:sldLayoutId id="2147484440" r:id="rId59"/>
    <p:sldLayoutId id="2147484441" r:id="rId60"/>
    <p:sldLayoutId id="2147484442" r:id="rId61"/>
    <p:sldLayoutId id="2147484443" r:id="rId62"/>
    <p:sldLayoutId id="2147484444" r:id="rId63"/>
    <p:sldLayoutId id="2147484445" r:id="rId64"/>
    <p:sldLayoutId id="2147484446" r:id="rId65"/>
    <p:sldLayoutId id="2147484448" r:id="rId66"/>
    <p:sldLayoutId id="2147484449" r:id="rId67"/>
    <p:sldLayoutId id="2147484450" r:id="rId68"/>
    <p:sldLayoutId id="2147484451" r:id="rId69"/>
    <p:sldLayoutId id="2147484452" r:id="rId70"/>
    <p:sldLayoutId id="2147484453" r:id="rId71"/>
    <p:sldLayoutId id="2147484454" r:id="rId72"/>
    <p:sldLayoutId id="2147484455" r:id="rId73"/>
    <p:sldLayoutId id="2147484456" r:id="rId74"/>
    <p:sldLayoutId id="2147484457" r:id="rId75"/>
    <p:sldLayoutId id="2147484458" r:id="rId76"/>
    <p:sldLayoutId id="2147484459" r:id="rId77"/>
    <p:sldLayoutId id="2147484460" r:id="rId78"/>
    <p:sldLayoutId id="2147484461" r:id="rId79"/>
    <p:sldLayoutId id="2147484462" r:id="rId80"/>
    <p:sldLayoutId id="2147484463" r:id="rId8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spcAft>
          <a:spcPts val="200"/>
        </a:spcAft>
        <a:buNone/>
        <a:defRPr sz="3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1313" indent="-341313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SzPct val="100000"/>
        <a:buFont typeface="Wingdings" panose="05000000000000000000" pitchFamily="2" charset="2"/>
        <a:buChar char="n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85750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87338" algn="l" defTabSz="457200" rtl="0" eaLnBrk="1" latinLnBrk="0" hangingPunct="1">
        <a:lnSpc>
          <a:spcPct val="80000"/>
        </a:lnSpc>
        <a:spcBef>
          <a:spcPts val="0"/>
        </a:spcBef>
        <a:spcAft>
          <a:spcPts val="1400"/>
        </a:spcAft>
        <a:buClr>
          <a:schemeClr val="accent3"/>
        </a:buClr>
        <a:buFont typeface="Calibri" panose="020F050202020403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85000"/>
        </a:lnSpc>
        <a:spcBef>
          <a:spcPts val="0"/>
        </a:spcBef>
        <a:spcAft>
          <a:spcPts val="1440"/>
        </a:spcAft>
        <a:buClr>
          <a:srgbClr val="00A1DE"/>
        </a:buClr>
        <a:buFont typeface="Arial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13" Type="http://schemas.openxmlformats.org/officeDocument/2006/relationships/image" Target="../media/image44.jpeg"/><Relationship Id="rId3" Type="http://schemas.openxmlformats.org/officeDocument/2006/relationships/image" Target="../media/image34.jpeg"/><Relationship Id="rId7" Type="http://schemas.openxmlformats.org/officeDocument/2006/relationships/image" Target="../media/image38.jpeg"/><Relationship Id="rId12" Type="http://schemas.openxmlformats.org/officeDocument/2006/relationships/image" Target="../media/image4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7.jpeg"/><Relationship Id="rId11" Type="http://schemas.openxmlformats.org/officeDocument/2006/relationships/image" Target="../media/image42.jpeg"/><Relationship Id="rId5" Type="http://schemas.openxmlformats.org/officeDocument/2006/relationships/image" Target="../media/image36.jpeg"/><Relationship Id="rId10" Type="http://schemas.openxmlformats.org/officeDocument/2006/relationships/image" Target="../media/image41.jpeg"/><Relationship Id="rId4" Type="http://schemas.openxmlformats.org/officeDocument/2006/relationships/image" Target="../media/image35.jpeg"/><Relationship Id="rId9" Type="http://schemas.openxmlformats.org/officeDocument/2006/relationships/image" Target="../media/image40.jpeg"/><Relationship Id="rId14" Type="http://schemas.openxmlformats.org/officeDocument/2006/relationships/image" Target="../media/image45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7" Type="http://schemas.openxmlformats.org/officeDocument/2006/relationships/image" Target="../media/image5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9.xml"/><Relationship Id="rId4" Type="http://schemas.openxmlformats.org/officeDocument/2006/relationships/chart" Target="../charts/char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7.xml"/><Relationship Id="rId4" Type="http://schemas.openxmlformats.org/officeDocument/2006/relationships/chart" Target="../charts/chart1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13" Type="http://schemas.openxmlformats.org/officeDocument/2006/relationships/image" Target="../media/image60.jpeg"/><Relationship Id="rId3" Type="http://schemas.openxmlformats.org/officeDocument/2006/relationships/image" Target="../media/image51.jpeg"/><Relationship Id="rId7" Type="http://schemas.openxmlformats.org/officeDocument/2006/relationships/image" Target="../media/image54.jpeg"/><Relationship Id="rId12" Type="http://schemas.openxmlformats.org/officeDocument/2006/relationships/image" Target="../media/image5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1.xml"/><Relationship Id="rId6" Type="http://schemas.openxmlformats.org/officeDocument/2006/relationships/image" Target="../media/image53.jpeg"/><Relationship Id="rId11" Type="http://schemas.openxmlformats.org/officeDocument/2006/relationships/image" Target="../media/image58.jpeg"/><Relationship Id="rId5" Type="http://schemas.microsoft.com/office/2007/relationships/hdphoto" Target="../media/hdphoto1.wdp"/><Relationship Id="rId10" Type="http://schemas.openxmlformats.org/officeDocument/2006/relationships/image" Target="../media/image57.jpeg"/><Relationship Id="rId4" Type="http://schemas.openxmlformats.org/officeDocument/2006/relationships/image" Target="../media/image52.png"/><Relationship Id="rId9" Type="http://schemas.openxmlformats.org/officeDocument/2006/relationships/image" Target="../media/image56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jpeg"/><Relationship Id="rId3" Type="http://schemas.openxmlformats.org/officeDocument/2006/relationships/image" Target="../media/image61.jpeg"/><Relationship Id="rId7" Type="http://schemas.openxmlformats.org/officeDocument/2006/relationships/image" Target="../media/image65.jpeg"/><Relationship Id="rId12" Type="http://schemas.openxmlformats.org/officeDocument/2006/relationships/image" Target="../media/image70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1.xml"/><Relationship Id="rId6" Type="http://schemas.openxmlformats.org/officeDocument/2006/relationships/image" Target="../media/image64.jpeg"/><Relationship Id="rId11" Type="http://schemas.openxmlformats.org/officeDocument/2006/relationships/image" Target="../media/image69.jpeg"/><Relationship Id="rId5" Type="http://schemas.openxmlformats.org/officeDocument/2006/relationships/image" Target="../media/image63.jpeg"/><Relationship Id="rId10" Type="http://schemas.openxmlformats.org/officeDocument/2006/relationships/image" Target="../media/image68.jpeg"/><Relationship Id="rId4" Type="http://schemas.openxmlformats.org/officeDocument/2006/relationships/image" Target="../media/image62.jpeg"/><Relationship Id="rId9" Type="http://schemas.openxmlformats.org/officeDocument/2006/relationships/image" Target="../media/image6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7.xml"/><Relationship Id="rId6" Type="http://schemas.openxmlformats.org/officeDocument/2006/relationships/image" Target="../media/image74.jpeg"/><Relationship Id="rId5" Type="http://schemas.openxmlformats.org/officeDocument/2006/relationships/image" Target="../media/image73.jpeg"/><Relationship Id="rId4" Type="http://schemas.openxmlformats.org/officeDocument/2006/relationships/image" Target="../media/image72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118.xml"/><Relationship Id="rId4" Type="http://schemas.openxmlformats.org/officeDocument/2006/relationships/image" Target="../media/image77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49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openxmlformats.org/officeDocument/2006/relationships/tags" Target="../tags/tag2.xml"/><Relationship Id="rId7" Type="http://schemas.openxmlformats.org/officeDocument/2006/relationships/image" Target="../media/image23.emf"/><Relationship Id="rId12" Type="http://schemas.openxmlformats.org/officeDocument/2006/relationships/image" Target="../media/image2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27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514.xml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7212" y="1227187"/>
            <a:ext cx="7850187" cy="729763"/>
          </a:xfrm>
        </p:spPr>
        <p:txBody>
          <a:bodyPr/>
          <a:lstStyle/>
          <a:p>
            <a:r>
              <a:rPr lang="en-GB" dirty="0" smtClean="0"/>
              <a:t>NPD UK Foodservice Perspectives:</a:t>
            </a:r>
            <a:br>
              <a:rPr lang="en-GB" dirty="0" smtClean="0"/>
            </a:br>
            <a:r>
              <a:rPr lang="en-GB" sz="2400" dirty="0" smtClean="0"/>
              <a:t>The Delivery market during </a:t>
            </a:r>
            <a:r>
              <a:rPr lang="en-GB" sz="2400" dirty="0" err="1" smtClean="0"/>
              <a:t>Covid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November 2020</a:t>
            </a:r>
            <a:endParaRPr lang="en-GB" dirty="0"/>
          </a:p>
        </p:txBody>
      </p:sp>
      <p:pic>
        <p:nvPicPr>
          <p:cNvPr id="1026" name="Picture 2" descr="man riding bicycle near vehicl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74" y="2122780"/>
            <a:ext cx="2906981" cy="1645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6213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/>
          <p:nvPr/>
        </p:nvSpPr>
        <p:spPr>
          <a:xfrm>
            <a:off x="0" y="-2984"/>
            <a:ext cx="7740352" cy="4823599"/>
          </a:xfrm>
          <a:prstGeom prst="rect">
            <a:avLst/>
          </a:prstGeom>
          <a:gradFill flip="none" rotWithShape="1">
            <a:gsLst>
              <a:gs pos="38000">
                <a:srgbClr val="E5E5E3"/>
              </a:gs>
              <a:gs pos="0">
                <a:srgbClr val="E5E5E3">
                  <a:alpha val="0"/>
                </a:srgbClr>
              </a:gs>
              <a:gs pos="100000">
                <a:srgbClr val="E6E6E5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36151" y="4084242"/>
            <a:ext cx="6399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b="1" dirty="0" smtClean="0">
                <a:solidFill>
                  <a:schemeClr val="bg1"/>
                </a:solidFill>
              </a:rPr>
              <a:t>Visits</a:t>
            </a:r>
            <a:endParaRPr lang="en-GB" sz="1600" dirty="0"/>
          </a:p>
        </p:txBody>
      </p:sp>
      <p:sp>
        <p:nvSpPr>
          <p:cNvPr id="7" name="Rectangle 6"/>
          <p:cNvSpPr/>
          <p:nvPr/>
        </p:nvSpPr>
        <p:spPr>
          <a:xfrm>
            <a:off x="97678" y="4541990"/>
            <a:ext cx="7168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</a:rPr>
              <a:t>Spend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19614" y="3667125"/>
            <a:ext cx="19507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 smtClean="0">
                <a:solidFill>
                  <a:schemeClr val="bg1"/>
                </a:solidFill>
              </a:rPr>
              <a:t>Total Delivery</a:t>
            </a:r>
            <a:endParaRPr lang="en-GB" sz="20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235382" y="3667125"/>
            <a:ext cx="24993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 smtClean="0">
                <a:solidFill>
                  <a:schemeClr val="bg1"/>
                </a:solidFill>
              </a:rPr>
              <a:t>Top 3 Aggregators</a:t>
            </a:r>
            <a:endParaRPr lang="en-GB" sz="2000" b="1" dirty="0">
              <a:solidFill>
                <a:schemeClr val="bg1"/>
              </a:solidFill>
            </a:endParaRPr>
          </a:p>
        </p:txBody>
      </p:sp>
      <p:sp>
        <p:nvSpPr>
          <p:cNvPr id="39" name="Rectangle: Rounded Corners 31">
            <a:extLst>
              <a:ext uri="{FF2B5EF4-FFF2-40B4-BE49-F238E27FC236}">
                <a16:creationId xmlns="" xmlns:a16="http://schemas.microsoft.com/office/drawing/2014/main" id="{C5A69632-EB0C-4C70-8AD8-DB9A1F6D4E28}"/>
              </a:ext>
            </a:extLst>
          </p:cNvPr>
          <p:cNvSpPr/>
          <p:nvPr/>
        </p:nvSpPr>
        <p:spPr>
          <a:xfrm>
            <a:off x="6942542" y="2620292"/>
            <a:ext cx="2090927" cy="519606"/>
          </a:xfrm>
          <a:prstGeom prst="roundRect">
            <a:avLst>
              <a:gd name="adj" fmla="val 11117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21917" tIns="60958" rIns="121917" bIns="60958" rtlCol="0" anchor="ctr">
            <a:noAutofit/>
          </a:bodyPr>
          <a:lstStyle/>
          <a:p>
            <a:pPr algn="ctr" defTabSz="609585">
              <a:lnSpc>
                <a:spcPts val="2000"/>
              </a:lnSpc>
              <a:defRPr/>
            </a:pPr>
            <a:r>
              <a:rPr lang="en-US" sz="1600" b="1" dirty="0">
                <a:solidFill>
                  <a:prstClr val="white"/>
                </a:solidFill>
              </a:rPr>
              <a:t>Contactless</a:t>
            </a:r>
          </a:p>
        </p:txBody>
      </p:sp>
      <p:sp>
        <p:nvSpPr>
          <p:cNvPr id="40" name="object 4"/>
          <p:cNvSpPr>
            <a:spLocks noChangeArrowheads="1"/>
          </p:cNvSpPr>
          <p:nvPr/>
        </p:nvSpPr>
        <p:spPr bwMode="auto">
          <a:xfrm>
            <a:off x="6942543" y="3165623"/>
            <a:ext cx="1958918" cy="1544656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lnSpc>
                <a:spcPct val="80000"/>
              </a:lnSpc>
              <a:spcAft>
                <a:spcPts val="1400"/>
              </a:spcAft>
              <a:buClr>
                <a:srgbClr val="0078BE"/>
              </a:buClr>
              <a:buSzPct val="100000"/>
              <a:buFont typeface="Wingdings" pitchFamily="2" charset="2"/>
              <a:buChar char="n"/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80000"/>
              </a:lnSpc>
              <a:spcAft>
                <a:spcPts val="1400"/>
              </a:spcAft>
              <a:buClr>
                <a:srgbClr val="0078BE"/>
              </a:buClr>
              <a:buFont typeface="Calibri" pitchFamily="34" charset="0"/>
              <a:buChar char="–"/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80000"/>
              </a:lnSpc>
              <a:spcAft>
                <a:spcPts val="1400"/>
              </a:spcAft>
              <a:buClr>
                <a:srgbClr val="0078BE"/>
              </a:buClr>
              <a:buFont typeface="Calibri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85000"/>
              </a:lnSpc>
              <a:spcAft>
                <a:spcPts val="1438"/>
              </a:spcAft>
              <a:buClr>
                <a:srgbClr val="00A1DE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85000"/>
              </a:lnSpc>
              <a:spcAft>
                <a:spcPts val="1438"/>
              </a:spcAft>
              <a:buClr>
                <a:srgbClr val="00A1DE"/>
              </a:buClr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1438"/>
              </a:spcAft>
              <a:buClr>
                <a:srgbClr val="00A1DE"/>
              </a:buClr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1438"/>
              </a:spcAft>
              <a:buClr>
                <a:srgbClr val="00A1DE"/>
              </a:buClr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1438"/>
              </a:spcAft>
              <a:buClr>
                <a:srgbClr val="00A1DE"/>
              </a:buClr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1438"/>
              </a:spcAft>
              <a:buClr>
                <a:srgbClr val="00A1DE"/>
              </a:buClr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endParaRPr lang="it-IT" altLang="it-IT"/>
          </a:p>
        </p:txBody>
      </p:sp>
      <p:sp>
        <p:nvSpPr>
          <p:cNvPr id="41" name="Rectangle: Rounded Corners 32">
            <a:extLst>
              <a:ext uri="{FF2B5EF4-FFF2-40B4-BE49-F238E27FC236}">
                <a16:creationId xmlns="" xmlns:a16="http://schemas.microsoft.com/office/drawing/2014/main" id="{4FAFA89D-5C8D-4D0F-80E2-1FEDEE0FD2C1}"/>
              </a:ext>
            </a:extLst>
          </p:cNvPr>
          <p:cNvSpPr/>
          <p:nvPr/>
        </p:nvSpPr>
        <p:spPr>
          <a:xfrm>
            <a:off x="2474647" y="118391"/>
            <a:ext cx="2090927" cy="519606"/>
          </a:xfrm>
          <a:prstGeom prst="roundRect">
            <a:avLst>
              <a:gd name="adj" fmla="val 10324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21917" tIns="60958" rIns="121917" bIns="60958" rtlCol="0" anchor="ctr">
            <a:noAutofit/>
          </a:bodyPr>
          <a:lstStyle/>
          <a:p>
            <a:pPr algn="ctr" defTabSz="609585">
              <a:lnSpc>
                <a:spcPts val="2000"/>
              </a:lnSpc>
              <a:defRPr/>
            </a:pPr>
            <a:r>
              <a:rPr lang="en-US" sz="1600" b="1" dirty="0">
                <a:solidFill>
                  <a:prstClr val="white"/>
                </a:solidFill>
              </a:rPr>
              <a:t>Dark </a:t>
            </a:r>
            <a:r>
              <a:rPr lang="en-US" sz="1600" b="1" dirty="0" smtClean="0">
                <a:solidFill>
                  <a:prstClr val="white"/>
                </a:solidFill>
              </a:rPr>
              <a:t>Kitchens &amp; Virtual Brands </a:t>
            </a: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42" name="object 7"/>
          <p:cNvSpPr>
            <a:spLocks noChangeArrowheads="1"/>
          </p:cNvSpPr>
          <p:nvPr/>
        </p:nvSpPr>
        <p:spPr bwMode="auto">
          <a:xfrm>
            <a:off x="2512577" y="730374"/>
            <a:ext cx="2015067" cy="1866900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lnSpc>
                <a:spcPct val="80000"/>
              </a:lnSpc>
              <a:spcAft>
                <a:spcPts val="1400"/>
              </a:spcAft>
              <a:buClr>
                <a:srgbClr val="0078BE"/>
              </a:buClr>
              <a:buSzPct val="100000"/>
              <a:buFont typeface="Wingdings" pitchFamily="2" charset="2"/>
              <a:buChar char="n"/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80000"/>
              </a:lnSpc>
              <a:spcAft>
                <a:spcPts val="1400"/>
              </a:spcAft>
              <a:buClr>
                <a:srgbClr val="0078BE"/>
              </a:buClr>
              <a:buFont typeface="Calibri" pitchFamily="34" charset="0"/>
              <a:buChar char="–"/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80000"/>
              </a:lnSpc>
              <a:spcAft>
                <a:spcPts val="1400"/>
              </a:spcAft>
              <a:buClr>
                <a:srgbClr val="0078BE"/>
              </a:buClr>
              <a:buFont typeface="Calibri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85000"/>
              </a:lnSpc>
              <a:spcAft>
                <a:spcPts val="1438"/>
              </a:spcAft>
              <a:buClr>
                <a:srgbClr val="00A1DE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85000"/>
              </a:lnSpc>
              <a:spcAft>
                <a:spcPts val="1438"/>
              </a:spcAft>
              <a:buClr>
                <a:srgbClr val="00A1DE"/>
              </a:buClr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1438"/>
              </a:spcAft>
              <a:buClr>
                <a:srgbClr val="00A1DE"/>
              </a:buClr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1438"/>
              </a:spcAft>
              <a:buClr>
                <a:srgbClr val="00A1DE"/>
              </a:buClr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1438"/>
              </a:spcAft>
              <a:buClr>
                <a:srgbClr val="00A1DE"/>
              </a:buClr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lnSpc>
                <a:spcPct val="85000"/>
              </a:lnSpc>
              <a:spcBef>
                <a:spcPct val="0"/>
              </a:spcBef>
              <a:spcAft>
                <a:spcPts val="1438"/>
              </a:spcAft>
              <a:buClr>
                <a:srgbClr val="00A1DE"/>
              </a:buClr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endParaRPr lang="it-IT" altLang="it-IT"/>
          </a:p>
        </p:txBody>
      </p:sp>
      <p:sp>
        <p:nvSpPr>
          <p:cNvPr id="43" name="Rectangle: Rounded Corners 33">
            <a:extLst>
              <a:ext uri="{FF2B5EF4-FFF2-40B4-BE49-F238E27FC236}">
                <a16:creationId xmlns="" xmlns:a16="http://schemas.microsoft.com/office/drawing/2014/main" id="{2D7366FB-0074-4C02-B0F9-24A078F94F76}"/>
              </a:ext>
            </a:extLst>
          </p:cNvPr>
          <p:cNvSpPr/>
          <p:nvPr/>
        </p:nvSpPr>
        <p:spPr>
          <a:xfrm>
            <a:off x="4708595" y="118391"/>
            <a:ext cx="2090927" cy="519606"/>
          </a:xfrm>
          <a:prstGeom prst="roundRect">
            <a:avLst>
              <a:gd name="adj" fmla="val 11117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21917" tIns="60958" rIns="121917" bIns="60958" rtlCol="0" anchor="ctr">
            <a:noAutofit/>
          </a:bodyPr>
          <a:lstStyle/>
          <a:p>
            <a:pPr algn="ctr" defTabSz="609585">
              <a:lnSpc>
                <a:spcPts val="2000"/>
              </a:lnSpc>
              <a:defRPr/>
            </a:pPr>
            <a:r>
              <a:rPr lang="en-US" sz="1600" b="1" dirty="0" smtClean="0">
                <a:solidFill>
                  <a:prstClr val="white"/>
                </a:solidFill>
              </a:rPr>
              <a:t>Groceries, DIY kits, boxes</a:t>
            </a:r>
            <a:endParaRPr lang="en-US" sz="1600" b="1" dirty="0">
              <a:solidFill>
                <a:prstClr val="white"/>
              </a:solidFill>
            </a:endParaRPr>
          </a:p>
        </p:txBody>
      </p:sp>
      <p:pic>
        <p:nvPicPr>
          <p:cNvPr id="44" name="Picture 2" descr="P&amp;B DIY Kit – Patty&amp;Bu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8595" y="1324434"/>
            <a:ext cx="1243206" cy="1243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angle: Rounded Corners 34">
            <a:extLst>
              <a:ext uri="{FF2B5EF4-FFF2-40B4-BE49-F238E27FC236}">
                <a16:creationId xmlns="" xmlns:a16="http://schemas.microsoft.com/office/drawing/2014/main" id="{5B3F4D76-B65D-4D95-9CBC-57ADCD02DC0D}"/>
              </a:ext>
            </a:extLst>
          </p:cNvPr>
          <p:cNvSpPr/>
          <p:nvPr/>
        </p:nvSpPr>
        <p:spPr>
          <a:xfrm>
            <a:off x="6942543" y="118391"/>
            <a:ext cx="2090927" cy="519606"/>
          </a:xfrm>
          <a:prstGeom prst="roundRect">
            <a:avLst>
              <a:gd name="adj" fmla="val 10324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21917" tIns="60958" rIns="121917" bIns="60958" rtlCol="0" anchor="ctr">
            <a:noAutofit/>
          </a:bodyPr>
          <a:lstStyle/>
          <a:p>
            <a:pPr algn="ctr" defTabSz="609585">
              <a:lnSpc>
                <a:spcPts val="2000"/>
              </a:lnSpc>
              <a:defRPr/>
            </a:pPr>
            <a:r>
              <a:rPr lang="en-GB" sz="1600" b="1" dirty="0" smtClean="0">
                <a:solidFill>
                  <a:prstClr val="white"/>
                </a:solidFill>
              </a:rPr>
              <a:t>Aggregators diversifying</a:t>
            </a: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47" name="Rectangle: Rounded Corners 35">
            <a:extLst>
              <a:ext uri="{FF2B5EF4-FFF2-40B4-BE49-F238E27FC236}">
                <a16:creationId xmlns="" xmlns:a16="http://schemas.microsoft.com/office/drawing/2014/main" id="{92637CEE-CB64-4A73-B975-6ECA3E72C536}"/>
              </a:ext>
            </a:extLst>
          </p:cNvPr>
          <p:cNvSpPr/>
          <p:nvPr/>
        </p:nvSpPr>
        <p:spPr>
          <a:xfrm>
            <a:off x="4708594" y="2620292"/>
            <a:ext cx="2090927" cy="519606"/>
          </a:xfrm>
          <a:prstGeom prst="roundRect">
            <a:avLst>
              <a:gd name="adj" fmla="val 11675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21917" tIns="60958" rIns="121917" bIns="60958" rtlCol="0" anchor="ctr">
            <a:noAutofit/>
          </a:bodyPr>
          <a:lstStyle/>
          <a:p>
            <a:pPr algn="ctr" defTabSz="609585">
              <a:lnSpc>
                <a:spcPts val="2000"/>
              </a:lnSpc>
              <a:defRPr/>
            </a:pPr>
            <a:r>
              <a:rPr lang="en-US" sz="1600" b="1" dirty="0" smtClean="0">
                <a:solidFill>
                  <a:prstClr val="white"/>
                </a:solidFill>
              </a:rPr>
              <a:t>New investment in aggregators</a:t>
            </a: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49" name="Rectangle: Rounded Corners 32">
            <a:extLst>
              <a:ext uri="{FF2B5EF4-FFF2-40B4-BE49-F238E27FC236}">
                <a16:creationId xmlns="" xmlns:a16="http://schemas.microsoft.com/office/drawing/2014/main" id="{4FAFA89D-5C8D-4D0F-80E2-1FEDEE0FD2C1}"/>
              </a:ext>
            </a:extLst>
          </p:cNvPr>
          <p:cNvSpPr/>
          <p:nvPr/>
        </p:nvSpPr>
        <p:spPr>
          <a:xfrm>
            <a:off x="2474646" y="2620292"/>
            <a:ext cx="2090927" cy="519606"/>
          </a:xfrm>
          <a:prstGeom prst="roundRect">
            <a:avLst>
              <a:gd name="adj" fmla="val 10324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21917" tIns="60958" rIns="121917" bIns="60958" rtlCol="0" anchor="ctr">
            <a:noAutofit/>
          </a:bodyPr>
          <a:lstStyle/>
          <a:p>
            <a:pPr algn="ctr" defTabSz="609585">
              <a:lnSpc>
                <a:spcPts val="2000"/>
              </a:lnSpc>
              <a:defRPr/>
            </a:pPr>
            <a:r>
              <a:rPr lang="en-US" sz="1600" b="1" dirty="0" smtClean="0">
                <a:solidFill>
                  <a:prstClr val="white"/>
                </a:solidFill>
              </a:rPr>
              <a:t>Blurred Boundaries</a:t>
            </a:r>
            <a:endParaRPr lang="en-US" sz="1600" b="1" dirty="0">
              <a:solidFill>
                <a:prstClr val="white"/>
              </a:solidFill>
            </a:endParaRPr>
          </a:p>
        </p:txBody>
      </p:sp>
      <p:pic>
        <p:nvPicPr>
          <p:cNvPr id="51" name="Picture 3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14" t="27592" r="63455" b="19444"/>
          <a:stretch/>
        </p:blipFill>
        <p:spPr bwMode="auto">
          <a:xfrm>
            <a:off x="2608528" y="3331270"/>
            <a:ext cx="1823162" cy="1210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4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178" b="33411"/>
          <a:stretch/>
        </p:blipFill>
        <p:spPr bwMode="auto">
          <a:xfrm>
            <a:off x="4730376" y="730374"/>
            <a:ext cx="2090928" cy="594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079" r="59457"/>
          <a:stretch/>
        </p:blipFill>
        <p:spPr bwMode="auto">
          <a:xfrm>
            <a:off x="5973583" y="1324433"/>
            <a:ext cx="847722" cy="1243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8" name="Picture 6" descr="Amazon's investment in Deliveroo may be a bad sign to Uber Eats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5203" y="3867180"/>
            <a:ext cx="1937710" cy="873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" descr="All You Can Eat: Just Eat and Takeaway.com finalise merger deal | LittleLaw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336"/>
          <a:stretch/>
        </p:blipFill>
        <p:spPr bwMode="auto">
          <a:xfrm>
            <a:off x="5250994" y="3210803"/>
            <a:ext cx="1006125" cy="791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907" t="17209" r="21686" b="73953"/>
          <a:stretch/>
        </p:blipFill>
        <p:spPr bwMode="auto">
          <a:xfrm>
            <a:off x="2513374" y="2085996"/>
            <a:ext cx="2072536" cy="265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489" t="30417" r="18120" b="25000"/>
          <a:stretch/>
        </p:blipFill>
        <p:spPr bwMode="auto">
          <a:xfrm>
            <a:off x="6942543" y="764933"/>
            <a:ext cx="2090927" cy="957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403" t="27020" r="17978" b="32660"/>
          <a:stretch/>
        </p:blipFill>
        <p:spPr bwMode="auto">
          <a:xfrm>
            <a:off x="6942543" y="1737603"/>
            <a:ext cx="2093781" cy="8596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136150" y="2693752"/>
            <a:ext cx="2275849" cy="2103332"/>
          </a:xfrm>
          <a:prstGeom prst="rect">
            <a:avLst/>
          </a:prstGeom>
          <a:solidFill>
            <a:srgbClr val="82243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b="1" dirty="0" smtClean="0"/>
              <a:t>Delivery trends &amp; developments in 2020</a:t>
            </a:r>
            <a:endParaRPr lang="en-US" b="1" dirty="0"/>
          </a:p>
        </p:txBody>
      </p:sp>
      <p:pic>
        <p:nvPicPr>
          <p:cNvPr id="4102" name="Picture 6" descr="man riding bicycle near road during daytime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02" t="27722" r="22758" b="4525"/>
          <a:stretch/>
        </p:blipFill>
        <p:spPr bwMode="auto">
          <a:xfrm>
            <a:off x="136151" y="141349"/>
            <a:ext cx="2275849" cy="255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 Placeholder 4"/>
          <p:cNvSpPr txBox="1">
            <a:spLocks/>
          </p:cNvSpPr>
          <p:nvPr/>
        </p:nvSpPr>
        <p:spPr>
          <a:xfrm>
            <a:off x="3118107" y="4882731"/>
            <a:ext cx="3290146" cy="237283"/>
          </a:xfrm>
          <a:prstGeom prst="rect">
            <a:avLst/>
          </a:prstGeom>
        </p:spPr>
        <p:txBody>
          <a:bodyPr/>
          <a:lstStyle>
            <a:lvl1pPr marL="341313" indent="-341313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n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575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00" b="1" i="1" dirty="0" smtClean="0">
                <a:solidFill>
                  <a:schemeClr val="bg1"/>
                </a:solidFill>
              </a:rPr>
              <a:t>Source: NPD CREST</a:t>
            </a:r>
            <a:endParaRPr lang="en-GB" sz="9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98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-2984"/>
            <a:ext cx="7740352" cy="4823599"/>
          </a:xfrm>
          <a:prstGeom prst="rect">
            <a:avLst/>
          </a:prstGeom>
          <a:gradFill flip="none" rotWithShape="1">
            <a:gsLst>
              <a:gs pos="38000">
                <a:srgbClr val="E5E5E3"/>
              </a:gs>
              <a:gs pos="0">
                <a:srgbClr val="E5E5E3">
                  <a:alpha val="0"/>
                </a:srgbClr>
              </a:gs>
              <a:gs pos="100000">
                <a:srgbClr val="E6E6E5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 smtClean="0">
                <a:solidFill>
                  <a:srgbClr val="00517D"/>
                </a:solidFill>
              </a:rPr>
              <a:t>September’s performance highlights the two-tier nature of the market</a:t>
            </a:r>
            <a:endParaRPr lang="en-GB" sz="2400" dirty="0">
              <a:solidFill>
                <a:srgbClr val="00517D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CEF1F2B-25F7-408A-A378-CAB379028646}"/>
              </a:ext>
            </a:extLst>
          </p:cNvPr>
          <p:cNvSpPr/>
          <p:nvPr/>
        </p:nvSpPr>
        <p:spPr>
          <a:xfrm>
            <a:off x="340419" y="1897086"/>
            <a:ext cx="1964712" cy="187754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defRPr/>
            </a:pPr>
            <a:r>
              <a:rPr lang="en-US" sz="2800" b="1" dirty="0" smtClean="0">
                <a:solidFill>
                  <a:prstClr val="white"/>
                </a:solidFill>
                <a:latin typeface="Calibri" panose="020F0502020204030204"/>
              </a:rPr>
              <a:t>+38%</a:t>
            </a:r>
            <a:endParaRPr lang="en-US" sz="28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ECEF1F2B-25F7-408A-A378-CAB379028646}"/>
              </a:ext>
            </a:extLst>
          </p:cNvPr>
          <p:cNvSpPr/>
          <p:nvPr/>
        </p:nvSpPr>
        <p:spPr>
          <a:xfrm>
            <a:off x="2528449" y="1897086"/>
            <a:ext cx="1964712" cy="187754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defRPr/>
            </a:pPr>
            <a:r>
              <a:rPr lang="en-US" sz="2800" b="1" dirty="0" smtClean="0">
                <a:solidFill>
                  <a:prstClr val="white"/>
                </a:solidFill>
                <a:latin typeface="Calibri" panose="020F0502020204030204"/>
              </a:rPr>
              <a:t>+27%</a:t>
            </a:r>
            <a:endParaRPr lang="en-US" sz="28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ECEF1F2B-25F7-408A-A378-CAB379028646}"/>
              </a:ext>
            </a:extLst>
          </p:cNvPr>
          <p:cNvSpPr/>
          <p:nvPr/>
        </p:nvSpPr>
        <p:spPr>
          <a:xfrm>
            <a:off x="4716476" y="1897086"/>
            <a:ext cx="1964712" cy="18775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defRPr/>
            </a:pPr>
            <a:r>
              <a:rPr lang="en-US" sz="2800" b="1" dirty="0" smtClean="0">
                <a:solidFill>
                  <a:prstClr val="white"/>
                </a:solidFill>
                <a:latin typeface="Calibri" panose="020F0502020204030204"/>
              </a:rPr>
              <a:t>-29%</a:t>
            </a:r>
            <a:endParaRPr lang="en-US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ECEF1F2B-25F7-408A-A378-CAB379028646}"/>
              </a:ext>
            </a:extLst>
          </p:cNvPr>
          <p:cNvSpPr/>
          <p:nvPr/>
        </p:nvSpPr>
        <p:spPr>
          <a:xfrm>
            <a:off x="6882733" y="1897086"/>
            <a:ext cx="1964712" cy="18775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defRPr/>
            </a:pPr>
            <a:r>
              <a:rPr lang="en-US" sz="2800" b="1" dirty="0" smtClean="0">
                <a:solidFill>
                  <a:prstClr val="white"/>
                </a:solidFill>
              </a:rPr>
              <a:t>-33</a:t>
            </a:r>
            <a:r>
              <a:rPr lang="en-US" sz="2800" b="1" dirty="0">
                <a:solidFill>
                  <a:prstClr val="white"/>
                </a:solidFill>
              </a:rPr>
              <a:t>%</a:t>
            </a:r>
          </a:p>
        </p:txBody>
      </p:sp>
      <p:sp>
        <p:nvSpPr>
          <p:cNvPr id="19" name="Right Arrow 18"/>
          <p:cNvSpPr/>
          <p:nvPr/>
        </p:nvSpPr>
        <p:spPr>
          <a:xfrm rot="16200000">
            <a:off x="1093433" y="1094757"/>
            <a:ext cx="458683" cy="1166255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0" name="Right Arrow 19"/>
          <p:cNvSpPr/>
          <p:nvPr/>
        </p:nvSpPr>
        <p:spPr>
          <a:xfrm rot="16200000">
            <a:off x="3281463" y="1083871"/>
            <a:ext cx="458683" cy="1166255"/>
          </a:xfrm>
          <a:prstGeom prst="rightArrow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1" name="Right Arrow 20"/>
          <p:cNvSpPr/>
          <p:nvPr/>
        </p:nvSpPr>
        <p:spPr>
          <a:xfrm rot="5400000">
            <a:off x="7635747" y="3420844"/>
            <a:ext cx="458683" cy="1166255"/>
          </a:xfrm>
          <a:prstGeom prst="rightArrow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2" name="Right Arrow 21"/>
          <p:cNvSpPr/>
          <p:nvPr/>
        </p:nvSpPr>
        <p:spPr>
          <a:xfrm rot="5400000">
            <a:off x="5469490" y="3418869"/>
            <a:ext cx="458683" cy="1166255"/>
          </a:xfrm>
          <a:prstGeom prst="rightArrow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3" name="TextBox 22"/>
          <p:cNvSpPr txBox="1"/>
          <p:nvPr/>
        </p:nvSpPr>
        <p:spPr>
          <a:xfrm>
            <a:off x="392787" y="3919932"/>
            <a:ext cx="19123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/>
              <a:t>Delivery</a:t>
            </a:r>
            <a:endParaRPr lang="en-GB" sz="14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2546831" y="3923988"/>
            <a:ext cx="19463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/>
              <a:t>Drive Thru</a:t>
            </a:r>
            <a:endParaRPr lang="en-GB" sz="14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4716477" y="1594484"/>
            <a:ext cx="1964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/>
              <a:t>Grab &amp; Go / Other</a:t>
            </a:r>
            <a:endParaRPr lang="en-GB" sz="11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6882733" y="1596345"/>
            <a:ext cx="1964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/>
              <a:t>Eat In</a:t>
            </a:r>
            <a:endParaRPr lang="en-GB" sz="1400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3012862" y="1068324"/>
            <a:ext cx="34072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/>
              <a:t>Year on year change in spend</a:t>
            </a:r>
            <a:endParaRPr lang="en-GB" sz="1600" b="1" dirty="0"/>
          </a:p>
        </p:txBody>
      </p:sp>
      <p:sp>
        <p:nvSpPr>
          <p:cNvPr id="29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</p:spPr>
        <p:txBody>
          <a:bodyPr/>
          <a:lstStyle/>
          <a:p>
            <a:fld id="{35A454EE-6717-4973-901E-6A90AD009CF4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0" name="Text Placeholder 4"/>
          <p:cNvSpPr txBox="1">
            <a:spLocks/>
          </p:cNvSpPr>
          <p:nvPr/>
        </p:nvSpPr>
        <p:spPr>
          <a:xfrm>
            <a:off x="3118107" y="4882731"/>
            <a:ext cx="3290146" cy="237283"/>
          </a:xfrm>
          <a:prstGeom prst="rect">
            <a:avLst/>
          </a:prstGeom>
        </p:spPr>
        <p:txBody>
          <a:bodyPr/>
          <a:lstStyle>
            <a:lvl1pPr marL="341313" indent="-341313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n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575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00" b="1" i="1" dirty="0" smtClean="0">
                <a:solidFill>
                  <a:schemeClr val="bg1"/>
                </a:solidFill>
              </a:rPr>
              <a:t>Source: NPD CREST   September 2020</a:t>
            </a:r>
            <a:endParaRPr lang="en-GB" sz="9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56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0" y="-20538"/>
            <a:ext cx="7740352" cy="4841153"/>
          </a:xfrm>
          <a:prstGeom prst="rect">
            <a:avLst/>
          </a:prstGeom>
          <a:gradFill flip="none" rotWithShape="1">
            <a:gsLst>
              <a:gs pos="38000">
                <a:srgbClr val="E5E5E3"/>
              </a:gs>
              <a:gs pos="0">
                <a:srgbClr val="E5E5E3">
                  <a:alpha val="0"/>
                </a:srgbClr>
              </a:gs>
              <a:gs pos="100000">
                <a:srgbClr val="E6E6E5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>
                <a:solidFill>
                  <a:srgbClr val="00517D"/>
                </a:solidFill>
              </a:rPr>
              <a:t>The number of delivery buyers grew during the first </a:t>
            </a:r>
            <a:r>
              <a:rPr lang="en-GB" sz="2400" dirty="0" smtClean="0">
                <a:solidFill>
                  <a:srgbClr val="00517D"/>
                </a:solidFill>
              </a:rPr>
              <a:t>lockdown, and </a:t>
            </a:r>
            <a:r>
              <a:rPr lang="en-GB" sz="2400" dirty="0">
                <a:solidFill>
                  <a:srgbClr val="00517D"/>
                </a:solidFill>
              </a:rPr>
              <a:t>can be expected to do so again </a:t>
            </a:r>
            <a:r>
              <a:rPr lang="en-GB" sz="2400" dirty="0" smtClean="0">
                <a:solidFill>
                  <a:srgbClr val="00517D"/>
                </a:solidFill>
              </a:rPr>
              <a:t>during the second lockdown</a:t>
            </a:r>
            <a:endParaRPr lang="en-GB" sz="2400" dirty="0">
              <a:solidFill>
                <a:srgbClr val="00517D"/>
              </a:solidFill>
            </a:endParaRPr>
          </a:p>
        </p:txBody>
      </p:sp>
      <p:grpSp>
        <p:nvGrpSpPr>
          <p:cNvPr id="4" name="Group 8">
            <a:extLst>
              <a:ext uri="{FF2B5EF4-FFF2-40B4-BE49-F238E27FC236}">
                <a16:creationId xmlns="" xmlns:a16="http://schemas.microsoft.com/office/drawing/2014/main" id="{C07B66C9-0069-E64A-B932-88BF78E389A2}"/>
              </a:ext>
            </a:extLst>
          </p:cNvPr>
          <p:cNvGrpSpPr/>
          <p:nvPr/>
        </p:nvGrpSpPr>
        <p:grpSpPr>
          <a:xfrm>
            <a:off x="1229197" y="2080044"/>
            <a:ext cx="1206954" cy="1222950"/>
            <a:chOff x="6896968" y="2812696"/>
            <a:chExt cx="749643" cy="749643"/>
          </a:xfrm>
        </p:grpSpPr>
        <p:sp>
          <p:nvSpPr>
            <p:cNvPr id="5" name="Innovation - oval 1">
              <a:extLst>
                <a:ext uri="{FF2B5EF4-FFF2-40B4-BE49-F238E27FC236}">
                  <a16:creationId xmlns="" xmlns:a16="http://schemas.microsoft.com/office/drawing/2014/main" id="{7EF56CCF-7F71-284E-8DC6-58E4B22FFE02}"/>
                </a:ext>
              </a:extLst>
            </p:cNvPr>
            <p:cNvSpPr/>
            <p:nvPr/>
          </p:nvSpPr>
          <p:spPr>
            <a:xfrm>
              <a:off x="6896968" y="2812696"/>
              <a:ext cx="749643" cy="74964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C00000"/>
                </a:solidFill>
              </a:endParaRPr>
            </a:p>
          </p:txBody>
        </p:sp>
        <p:sp>
          <p:nvSpPr>
            <p:cNvPr id="6" name="Freeform 16">
              <a:extLst>
                <a:ext uri="{FF2B5EF4-FFF2-40B4-BE49-F238E27FC236}">
                  <a16:creationId xmlns="" xmlns:a16="http://schemas.microsoft.com/office/drawing/2014/main" id="{3338207E-2451-A340-BB4A-6FDB6D02A4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04493" y="2963575"/>
              <a:ext cx="534592" cy="447885"/>
            </a:xfrm>
            <a:custGeom>
              <a:avLst/>
              <a:gdLst>
                <a:gd name="T0" fmla="*/ 288 w 309"/>
                <a:gd name="T1" fmla="*/ 55 h 259"/>
                <a:gd name="T2" fmla="*/ 288 w 309"/>
                <a:gd name="T3" fmla="*/ 49 h 259"/>
                <a:gd name="T4" fmla="*/ 285 w 309"/>
                <a:gd name="T5" fmla="*/ 43 h 259"/>
                <a:gd name="T6" fmla="*/ 261 w 309"/>
                <a:gd name="T7" fmla="*/ 47 h 259"/>
                <a:gd name="T8" fmla="*/ 262 w 309"/>
                <a:gd name="T9" fmla="*/ 51 h 259"/>
                <a:gd name="T10" fmla="*/ 251 w 309"/>
                <a:gd name="T11" fmla="*/ 60 h 259"/>
                <a:gd name="T12" fmla="*/ 227 w 309"/>
                <a:gd name="T13" fmla="*/ 26 h 259"/>
                <a:gd name="T14" fmla="*/ 216 w 309"/>
                <a:gd name="T15" fmla="*/ 0 h 259"/>
                <a:gd name="T16" fmla="*/ 206 w 309"/>
                <a:gd name="T17" fmla="*/ 26 h 259"/>
                <a:gd name="T18" fmla="*/ 185 w 309"/>
                <a:gd name="T19" fmla="*/ 57 h 259"/>
                <a:gd name="T20" fmla="*/ 141 w 309"/>
                <a:gd name="T21" fmla="*/ 47 h 259"/>
                <a:gd name="T22" fmla="*/ 110 w 309"/>
                <a:gd name="T23" fmla="*/ 44 h 259"/>
                <a:gd name="T24" fmla="*/ 113 w 309"/>
                <a:gd name="T25" fmla="*/ 26 h 259"/>
                <a:gd name="T26" fmla="*/ 88 w 309"/>
                <a:gd name="T27" fmla="*/ 21 h 259"/>
                <a:gd name="T28" fmla="*/ 75 w 309"/>
                <a:gd name="T29" fmla="*/ 53 h 259"/>
                <a:gd name="T30" fmla="*/ 65 w 309"/>
                <a:gd name="T31" fmla="*/ 51 h 259"/>
                <a:gd name="T32" fmla="*/ 65 w 309"/>
                <a:gd name="T33" fmla="*/ 24 h 259"/>
                <a:gd name="T34" fmla="*/ 36 w 309"/>
                <a:gd name="T35" fmla="*/ 46 h 259"/>
                <a:gd name="T36" fmla="*/ 29 w 309"/>
                <a:gd name="T37" fmla="*/ 51 h 259"/>
                <a:gd name="T38" fmla="*/ 4 w 309"/>
                <a:gd name="T39" fmla="*/ 137 h 259"/>
                <a:gd name="T40" fmla="*/ 14 w 309"/>
                <a:gd name="T41" fmla="*/ 135 h 259"/>
                <a:gd name="T42" fmla="*/ 29 w 309"/>
                <a:gd name="T43" fmla="*/ 108 h 259"/>
                <a:gd name="T44" fmla="*/ 32 w 309"/>
                <a:gd name="T45" fmla="*/ 217 h 259"/>
                <a:gd name="T46" fmla="*/ 44 w 309"/>
                <a:gd name="T47" fmla="*/ 237 h 259"/>
                <a:gd name="T48" fmla="*/ 50 w 309"/>
                <a:gd name="T49" fmla="*/ 216 h 259"/>
                <a:gd name="T50" fmla="*/ 65 w 309"/>
                <a:gd name="T51" fmla="*/ 241 h 259"/>
                <a:gd name="T52" fmla="*/ 72 w 309"/>
                <a:gd name="T53" fmla="*/ 139 h 259"/>
                <a:gd name="T54" fmla="*/ 75 w 309"/>
                <a:gd name="T55" fmla="*/ 145 h 259"/>
                <a:gd name="T56" fmla="*/ 77 w 309"/>
                <a:gd name="T57" fmla="*/ 149 h 259"/>
                <a:gd name="T58" fmla="*/ 78 w 309"/>
                <a:gd name="T59" fmla="*/ 242 h 259"/>
                <a:gd name="T60" fmla="*/ 96 w 309"/>
                <a:gd name="T61" fmla="*/ 239 h 259"/>
                <a:gd name="T62" fmla="*/ 115 w 309"/>
                <a:gd name="T63" fmla="*/ 183 h 259"/>
                <a:gd name="T64" fmla="*/ 126 w 309"/>
                <a:gd name="T65" fmla="*/ 257 h 259"/>
                <a:gd name="T66" fmla="*/ 144 w 309"/>
                <a:gd name="T67" fmla="*/ 250 h 259"/>
                <a:gd name="T68" fmla="*/ 155 w 309"/>
                <a:gd name="T69" fmla="*/ 180 h 259"/>
                <a:gd name="T70" fmla="*/ 165 w 309"/>
                <a:gd name="T71" fmla="*/ 239 h 259"/>
                <a:gd name="T72" fmla="*/ 174 w 309"/>
                <a:gd name="T73" fmla="*/ 258 h 259"/>
                <a:gd name="T74" fmla="*/ 188 w 309"/>
                <a:gd name="T75" fmla="*/ 230 h 259"/>
                <a:gd name="T76" fmla="*/ 222 w 309"/>
                <a:gd name="T77" fmla="*/ 183 h 259"/>
                <a:gd name="T78" fmla="*/ 245 w 309"/>
                <a:gd name="T79" fmla="*/ 238 h 259"/>
                <a:gd name="T80" fmla="*/ 264 w 309"/>
                <a:gd name="T81" fmla="*/ 259 h 259"/>
                <a:gd name="T82" fmla="*/ 268 w 309"/>
                <a:gd name="T83" fmla="*/ 233 h 259"/>
                <a:gd name="T84" fmla="*/ 270 w 309"/>
                <a:gd name="T85" fmla="*/ 240 h 259"/>
                <a:gd name="T86" fmla="*/ 281 w 309"/>
                <a:gd name="T87" fmla="*/ 238 h 259"/>
                <a:gd name="T88" fmla="*/ 290 w 309"/>
                <a:gd name="T89" fmla="*/ 194 h 259"/>
                <a:gd name="T90" fmla="*/ 300 w 309"/>
                <a:gd name="T91" fmla="*/ 151 h 259"/>
                <a:gd name="T92" fmla="*/ 308 w 309"/>
                <a:gd name="T93" fmla="*/ 139 h 259"/>
                <a:gd name="T94" fmla="*/ 141 w 309"/>
                <a:gd name="T95" fmla="*/ 98 h 259"/>
                <a:gd name="T96" fmla="*/ 140 w 309"/>
                <a:gd name="T97" fmla="*/ 113 h 259"/>
                <a:gd name="T98" fmla="*/ 191 w 309"/>
                <a:gd name="T99" fmla="*/ 99 h 259"/>
                <a:gd name="T100" fmla="*/ 175 w 309"/>
                <a:gd name="T101" fmla="*/ 80 h 259"/>
                <a:gd name="T102" fmla="*/ 181 w 309"/>
                <a:gd name="T103" fmla="*/ 102 h 259"/>
                <a:gd name="T104" fmla="*/ 178 w 309"/>
                <a:gd name="T105" fmla="*/ 103 h 259"/>
                <a:gd name="T106" fmla="*/ 182 w 309"/>
                <a:gd name="T107" fmla="*/ 180 h 259"/>
                <a:gd name="T108" fmla="*/ 254 w 309"/>
                <a:gd name="T109" fmla="*/ 97 h 259"/>
                <a:gd name="T110" fmla="*/ 246 w 309"/>
                <a:gd name="T111" fmla="*/ 120 h 259"/>
                <a:gd name="T112" fmla="*/ 258 w 309"/>
                <a:gd name="T113" fmla="*/ 195 h 259"/>
                <a:gd name="T114" fmla="*/ 260 w 309"/>
                <a:gd name="T115" fmla="*/ 236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9" h="259">
                  <a:moveTo>
                    <a:pt x="308" y="139"/>
                  </a:moveTo>
                  <a:cubicBezTo>
                    <a:pt x="304" y="117"/>
                    <a:pt x="302" y="95"/>
                    <a:pt x="302" y="93"/>
                  </a:cubicBezTo>
                  <a:cubicBezTo>
                    <a:pt x="302" y="92"/>
                    <a:pt x="301" y="87"/>
                    <a:pt x="301" y="85"/>
                  </a:cubicBezTo>
                  <a:cubicBezTo>
                    <a:pt x="301" y="83"/>
                    <a:pt x="300" y="78"/>
                    <a:pt x="300" y="74"/>
                  </a:cubicBezTo>
                  <a:cubicBezTo>
                    <a:pt x="300" y="70"/>
                    <a:pt x="298" y="61"/>
                    <a:pt x="290" y="56"/>
                  </a:cubicBezTo>
                  <a:cubicBezTo>
                    <a:pt x="289" y="56"/>
                    <a:pt x="287" y="55"/>
                    <a:pt x="286" y="55"/>
                  </a:cubicBezTo>
                  <a:cubicBezTo>
                    <a:pt x="286" y="55"/>
                    <a:pt x="287" y="55"/>
                    <a:pt x="288" y="55"/>
                  </a:cubicBezTo>
                  <a:cubicBezTo>
                    <a:pt x="289" y="55"/>
                    <a:pt x="287" y="54"/>
                    <a:pt x="286" y="53"/>
                  </a:cubicBezTo>
                  <a:cubicBezTo>
                    <a:pt x="285" y="52"/>
                    <a:pt x="284" y="50"/>
                    <a:pt x="285" y="50"/>
                  </a:cubicBezTo>
                  <a:cubicBezTo>
                    <a:pt x="285" y="51"/>
                    <a:pt x="286" y="52"/>
                    <a:pt x="287" y="52"/>
                  </a:cubicBezTo>
                  <a:cubicBezTo>
                    <a:pt x="289" y="53"/>
                    <a:pt x="287" y="51"/>
                    <a:pt x="286" y="51"/>
                  </a:cubicBezTo>
                  <a:cubicBezTo>
                    <a:pt x="286" y="51"/>
                    <a:pt x="285" y="49"/>
                    <a:pt x="284" y="48"/>
                  </a:cubicBezTo>
                  <a:cubicBezTo>
                    <a:pt x="284" y="48"/>
                    <a:pt x="284" y="47"/>
                    <a:pt x="284" y="48"/>
                  </a:cubicBezTo>
                  <a:cubicBezTo>
                    <a:pt x="285" y="48"/>
                    <a:pt x="286" y="50"/>
                    <a:pt x="288" y="49"/>
                  </a:cubicBezTo>
                  <a:cubicBezTo>
                    <a:pt x="289" y="49"/>
                    <a:pt x="288" y="49"/>
                    <a:pt x="288" y="49"/>
                  </a:cubicBezTo>
                  <a:cubicBezTo>
                    <a:pt x="287" y="49"/>
                    <a:pt x="286" y="48"/>
                    <a:pt x="285" y="46"/>
                  </a:cubicBezTo>
                  <a:cubicBezTo>
                    <a:pt x="284" y="44"/>
                    <a:pt x="285" y="45"/>
                    <a:pt x="285" y="45"/>
                  </a:cubicBezTo>
                  <a:cubicBezTo>
                    <a:pt x="285" y="45"/>
                    <a:pt x="285" y="45"/>
                    <a:pt x="286" y="47"/>
                  </a:cubicBezTo>
                  <a:cubicBezTo>
                    <a:pt x="287" y="48"/>
                    <a:pt x="287" y="47"/>
                    <a:pt x="287" y="47"/>
                  </a:cubicBezTo>
                  <a:cubicBezTo>
                    <a:pt x="287" y="46"/>
                    <a:pt x="286" y="46"/>
                    <a:pt x="285" y="44"/>
                  </a:cubicBezTo>
                  <a:cubicBezTo>
                    <a:pt x="285" y="43"/>
                    <a:pt x="285" y="42"/>
                    <a:pt x="285" y="43"/>
                  </a:cubicBezTo>
                  <a:cubicBezTo>
                    <a:pt x="286" y="44"/>
                    <a:pt x="286" y="46"/>
                    <a:pt x="288" y="46"/>
                  </a:cubicBezTo>
                  <a:cubicBezTo>
                    <a:pt x="287" y="46"/>
                    <a:pt x="286" y="43"/>
                    <a:pt x="286" y="43"/>
                  </a:cubicBezTo>
                  <a:cubicBezTo>
                    <a:pt x="286" y="43"/>
                    <a:pt x="287" y="39"/>
                    <a:pt x="287" y="36"/>
                  </a:cubicBezTo>
                  <a:cubicBezTo>
                    <a:pt x="288" y="7"/>
                    <a:pt x="265" y="16"/>
                    <a:pt x="263" y="23"/>
                  </a:cubicBezTo>
                  <a:cubicBezTo>
                    <a:pt x="260" y="29"/>
                    <a:pt x="261" y="34"/>
                    <a:pt x="261" y="36"/>
                  </a:cubicBezTo>
                  <a:cubicBezTo>
                    <a:pt x="261" y="38"/>
                    <a:pt x="262" y="43"/>
                    <a:pt x="262" y="44"/>
                  </a:cubicBezTo>
                  <a:cubicBezTo>
                    <a:pt x="262" y="45"/>
                    <a:pt x="261" y="46"/>
                    <a:pt x="261" y="47"/>
                  </a:cubicBezTo>
                  <a:cubicBezTo>
                    <a:pt x="260" y="48"/>
                    <a:pt x="260" y="48"/>
                    <a:pt x="261" y="48"/>
                  </a:cubicBezTo>
                  <a:cubicBezTo>
                    <a:pt x="261" y="48"/>
                    <a:pt x="262" y="46"/>
                    <a:pt x="262" y="46"/>
                  </a:cubicBezTo>
                  <a:cubicBezTo>
                    <a:pt x="262" y="47"/>
                    <a:pt x="262" y="48"/>
                    <a:pt x="262" y="48"/>
                  </a:cubicBezTo>
                  <a:cubicBezTo>
                    <a:pt x="261" y="49"/>
                    <a:pt x="259" y="50"/>
                    <a:pt x="260" y="50"/>
                  </a:cubicBezTo>
                  <a:cubicBezTo>
                    <a:pt x="260" y="50"/>
                    <a:pt x="261" y="50"/>
                    <a:pt x="261" y="51"/>
                  </a:cubicBezTo>
                  <a:cubicBezTo>
                    <a:pt x="260" y="51"/>
                    <a:pt x="260" y="52"/>
                    <a:pt x="261" y="51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62" y="51"/>
                    <a:pt x="262" y="51"/>
                    <a:pt x="261" y="52"/>
                  </a:cubicBezTo>
                  <a:cubicBezTo>
                    <a:pt x="259" y="53"/>
                    <a:pt x="262" y="52"/>
                    <a:pt x="262" y="52"/>
                  </a:cubicBezTo>
                  <a:cubicBezTo>
                    <a:pt x="261" y="53"/>
                    <a:pt x="261" y="53"/>
                    <a:pt x="260" y="53"/>
                  </a:cubicBezTo>
                  <a:cubicBezTo>
                    <a:pt x="259" y="54"/>
                    <a:pt x="260" y="54"/>
                    <a:pt x="261" y="53"/>
                  </a:cubicBezTo>
                  <a:cubicBezTo>
                    <a:pt x="262" y="53"/>
                    <a:pt x="262" y="54"/>
                    <a:pt x="260" y="55"/>
                  </a:cubicBezTo>
                  <a:cubicBezTo>
                    <a:pt x="258" y="55"/>
                    <a:pt x="255" y="57"/>
                    <a:pt x="251" y="59"/>
                  </a:cubicBezTo>
                  <a:cubicBezTo>
                    <a:pt x="251" y="60"/>
                    <a:pt x="251" y="60"/>
                    <a:pt x="251" y="60"/>
                  </a:cubicBezTo>
                  <a:cubicBezTo>
                    <a:pt x="251" y="59"/>
                    <a:pt x="251" y="58"/>
                    <a:pt x="251" y="56"/>
                  </a:cubicBezTo>
                  <a:cubicBezTo>
                    <a:pt x="251" y="52"/>
                    <a:pt x="248" y="48"/>
                    <a:pt x="247" y="48"/>
                  </a:cubicBezTo>
                  <a:cubicBezTo>
                    <a:pt x="246" y="47"/>
                    <a:pt x="242" y="45"/>
                    <a:pt x="238" y="44"/>
                  </a:cubicBezTo>
                  <a:cubicBezTo>
                    <a:pt x="234" y="43"/>
                    <a:pt x="230" y="42"/>
                    <a:pt x="228" y="41"/>
                  </a:cubicBezTo>
                  <a:cubicBezTo>
                    <a:pt x="227" y="39"/>
                    <a:pt x="227" y="39"/>
                    <a:pt x="226" y="37"/>
                  </a:cubicBezTo>
                  <a:cubicBezTo>
                    <a:pt x="226" y="36"/>
                    <a:pt x="227" y="27"/>
                    <a:pt x="227" y="27"/>
                  </a:cubicBezTo>
                  <a:cubicBezTo>
                    <a:pt x="227" y="27"/>
                    <a:pt x="227" y="26"/>
                    <a:pt x="227" y="26"/>
                  </a:cubicBezTo>
                  <a:cubicBezTo>
                    <a:pt x="228" y="26"/>
                    <a:pt x="229" y="26"/>
                    <a:pt x="230" y="25"/>
                  </a:cubicBezTo>
                  <a:cubicBezTo>
                    <a:pt x="231" y="23"/>
                    <a:pt x="231" y="20"/>
                    <a:pt x="231" y="19"/>
                  </a:cubicBezTo>
                  <a:cubicBezTo>
                    <a:pt x="231" y="18"/>
                    <a:pt x="230" y="18"/>
                    <a:pt x="230" y="18"/>
                  </a:cubicBezTo>
                  <a:cubicBezTo>
                    <a:pt x="230" y="18"/>
                    <a:pt x="229" y="18"/>
                    <a:pt x="229" y="18"/>
                  </a:cubicBezTo>
                  <a:cubicBezTo>
                    <a:pt x="229" y="18"/>
                    <a:pt x="230" y="14"/>
                    <a:pt x="230" y="11"/>
                  </a:cubicBezTo>
                  <a:cubicBezTo>
                    <a:pt x="230" y="8"/>
                    <a:pt x="227" y="5"/>
                    <a:pt x="226" y="3"/>
                  </a:cubicBezTo>
                  <a:cubicBezTo>
                    <a:pt x="224" y="1"/>
                    <a:pt x="219" y="0"/>
                    <a:pt x="216" y="0"/>
                  </a:cubicBezTo>
                  <a:cubicBezTo>
                    <a:pt x="213" y="0"/>
                    <a:pt x="208" y="3"/>
                    <a:pt x="206" y="6"/>
                  </a:cubicBezTo>
                  <a:cubicBezTo>
                    <a:pt x="204" y="10"/>
                    <a:pt x="205" y="15"/>
                    <a:pt x="205" y="16"/>
                  </a:cubicBezTo>
                  <a:cubicBezTo>
                    <a:pt x="205" y="17"/>
                    <a:pt x="206" y="18"/>
                    <a:pt x="206" y="18"/>
                  </a:cubicBezTo>
                  <a:cubicBezTo>
                    <a:pt x="206" y="18"/>
                    <a:pt x="205" y="18"/>
                    <a:pt x="205" y="18"/>
                  </a:cubicBezTo>
                  <a:cubicBezTo>
                    <a:pt x="205" y="18"/>
                    <a:pt x="204" y="19"/>
                    <a:pt x="204" y="20"/>
                  </a:cubicBezTo>
                  <a:cubicBezTo>
                    <a:pt x="204" y="21"/>
                    <a:pt x="205" y="24"/>
                    <a:pt x="205" y="25"/>
                  </a:cubicBezTo>
                  <a:cubicBezTo>
                    <a:pt x="205" y="25"/>
                    <a:pt x="206" y="26"/>
                    <a:pt x="206" y="26"/>
                  </a:cubicBezTo>
                  <a:cubicBezTo>
                    <a:pt x="207" y="26"/>
                    <a:pt x="207" y="25"/>
                    <a:pt x="207" y="25"/>
                  </a:cubicBezTo>
                  <a:cubicBezTo>
                    <a:pt x="207" y="25"/>
                    <a:pt x="208" y="27"/>
                    <a:pt x="208" y="28"/>
                  </a:cubicBezTo>
                  <a:cubicBezTo>
                    <a:pt x="209" y="29"/>
                    <a:pt x="209" y="39"/>
                    <a:pt x="209" y="39"/>
                  </a:cubicBezTo>
                  <a:cubicBezTo>
                    <a:pt x="206" y="41"/>
                    <a:pt x="206" y="41"/>
                    <a:pt x="206" y="41"/>
                  </a:cubicBezTo>
                  <a:cubicBezTo>
                    <a:pt x="206" y="41"/>
                    <a:pt x="202" y="42"/>
                    <a:pt x="199" y="43"/>
                  </a:cubicBezTo>
                  <a:cubicBezTo>
                    <a:pt x="196" y="43"/>
                    <a:pt x="190" y="44"/>
                    <a:pt x="188" y="46"/>
                  </a:cubicBezTo>
                  <a:cubicBezTo>
                    <a:pt x="186" y="48"/>
                    <a:pt x="185" y="54"/>
                    <a:pt x="185" y="57"/>
                  </a:cubicBezTo>
                  <a:cubicBezTo>
                    <a:pt x="185" y="58"/>
                    <a:pt x="184" y="59"/>
                    <a:pt x="184" y="60"/>
                  </a:cubicBezTo>
                  <a:cubicBezTo>
                    <a:pt x="184" y="60"/>
                    <a:pt x="184" y="59"/>
                    <a:pt x="183" y="59"/>
                  </a:cubicBezTo>
                  <a:cubicBezTo>
                    <a:pt x="182" y="56"/>
                    <a:pt x="176" y="53"/>
                    <a:pt x="175" y="50"/>
                  </a:cubicBezTo>
                  <a:cubicBezTo>
                    <a:pt x="174" y="48"/>
                    <a:pt x="174" y="40"/>
                    <a:pt x="174" y="38"/>
                  </a:cubicBezTo>
                  <a:cubicBezTo>
                    <a:pt x="172" y="5"/>
                    <a:pt x="155" y="7"/>
                    <a:pt x="155" y="7"/>
                  </a:cubicBezTo>
                  <a:cubicBezTo>
                    <a:pt x="155" y="7"/>
                    <a:pt x="142" y="3"/>
                    <a:pt x="139" y="37"/>
                  </a:cubicBezTo>
                  <a:cubicBezTo>
                    <a:pt x="139" y="40"/>
                    <a:pt x="139" y="44"/>
                    <a:pt x="141" y="47"/>
                  </a:cubicBezTo>
                  <a:cubicBezTo>
                    <a:pt x="142" y="50"/>
                    <a:pt x="143" y="49"/>
                    <a:pt x="142" y="50"/>
                  </a:cubicBezTo>
                  <a:cubicBezTo>
                    <a:pt x="141" y="51"/>
                    <a:pt x="141" y="52"/>
                    <a:pt x="141" y="52"/>
                  </a:cubicBezTo>
                  <a:cubicBezTo>
                    <a:pt x="135" y="53"/>
                    <a:pt x="135" y="53"/>
                    <a:pt x="135" y="53"/>
                  </a:cubicBezTo>
                  <a:cubicBezTo>
                    <a:pt x="135" y="53"/>
                    <a:pt x="133" y="54"/>
                    <a:pt x="131" y="55"/>
                  </a:cubicBezTo>
                  <a:cubicBezTo>
                    <a:pt x="130" y="54"/>
                    <a:pt x="129" y="53"/>
                    <a:pt x="128" y="53"/>
                  </a:cubicBezTo>
                  <a:cubicBezTo>
                    <a:pt x="125" y="51"/>
                    <a:pt x="118" y="48"/>
                    <a:pt x="115" y="47"/>
                  </a:cubicBezTo>
                  <a:cubicBezTo>
                    <a:pt x="112" y="46"/>
                    <a:pt x="110" y="46"/>
                    <a:pt x="110" y="44"/>
                  </a:cubicBezTo>
                  <a:cubicBezTo>
                    <a:pt x="110" y="43"/>
                    <a:pt x="110" y="41"/>
                    <a:pt x="110" y="41"/>
                  </a:cubicBezTo>
                  <a:cubicBezTo>
                    <a:pt x="110" y="41"/>
                    <a:pt x="110" y="37"/>
                    <a:pt x="111" y="36"/>
                  </a:cubicBezTo>
                  <a:cubicBezTo>
                    <a:pt x="111" y="36"/>
                    <a:pt x="112" y="33"/>
                    <a:pt x="112" y="32"/>
                  </a:cubicBezTo>
                  <a:cubicBezTo>
                    <a:pt x="112" y="31"/>
                    <a:pt x="113" y="32"/>
                    <a:pt x="113" y="31"/>
                  </a:cubicBezTo>
                  <a:cubicBezTo>
                    <a:pt x="113" y="31"/>
                    <a:pt x="113" y="31"/>
                    <a:pt x="113" y="30"/>
                  </a:cubicBezTo>
                  <a:cubicBezTo>
                    <a:pt x="113" y="30"/>
                    <a:pt x="113" y="29"/>
                    <a:pt x="113" y="29"/>
                  </a:cubicBezTo>
                  <a:cubicBezTo>
                    <a:pt x="113" y="28"/>
                    <a:pt x="113" y="26"/>
                    <a:pt x="113" y="26"/>
                  </a:cubicBezTo>
                  <a:cubicBezTo>
                    <a:pt x="113" y="25"/>
                    <a:pt x="113" y="22"/>
                    <a:pt x="113" y="21"/>
                  </a:cubicBezTo>
                  <a:cubicBezTo>
                    <a:pt x="113" y="21"/>
                    <a:pt x="113" y="18"/>
                    <a:pt x="113" y="17"/>
                  </a:cubicBezTo>
                  <a:cubicBezTo>
                    <a:pt x="113" y="17"/>
                    <a:pt x="113" y="13"/>
                    <a:pt x="112" y="11"/>
                  </a:cubicBezTo>
                  <a:cubicBezTo>
                    <a:pt x="111" y="8"/>
                    <a:pt x="109" y="4"/>
                    <a:pt x="105" y="4"/>
                  </a:cubicBezTo>
                  <a:cubicBezTo>
                    <a:pt x="100" y="3"/>
                    <a:pt x="96" y="4"/>
                    <a:pt x="94" y="5"/>
                  </a:cubicBezTo>
                  <a:cubicBezTo>
                    <a:pt x="93" y="6"/>
                    <a:pt x="89" y="10"/>
                    <a:pt x="88" y="12"/>
                  </a:cubicBezTo>
                  <a:cubicBezTo>
                    <a:pt x="88" y="15"/>
                    <a:pt x="88" y="21"/>
                    <a:pt x="88" y="21"/>
                  </a:cubicBezTo>
                  <a:cubicBezTo>
                    <a:pt x="88" y="22"/>
                    <a:pt x="88" y="26"/>
                    <a:pt x="88" y="27"/>
                  </a:cubicBezTo>
                  <a:cubicBezTo>
                    <a:pt x="88" y="28"/>
                    <a:pt x="89" y="30"/>
                    <a:pt x="90" y="30"/>
                  </a:cubicBezTo>
                  <a:cubicBezTo>
                    <a:pt x="92" y="30"/>
                    <a:pt x="91" y="30"/>
                    <a:pt x="91" y="30"/>
                  </a:cubicBezTo>
                  <a:cubicBezTo>
                    <a:pt x="91" y="30"/>
                    <a:pt x="92" y="33"/>
                    <a:pt x="92" y="36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39"/>
                    <a:pt x="93" y="43"/>
                    <a:pt x="91" y="44"/>
                  </a:cubicBezTo>
                  <a:cubicBezTo>
                    <a:pt x="89" y="45"/>
                    <a:pt x="75" y="53"/>
                    <a:pt x="75" y="53"/>
                  </a:cubicBezTo>
                  <a:cubicBezTo>
                    <a:pt x="75" y="53"/>
                    <a:pt x="71" y="55"/>
                    <a:pt x="69" y="58"/>
                  </a:cubicBezTo>
                  <a:cubicBezTo>
                    <a:pt x="67" y="57"/>
                    <a:pt x="62" y="55"/>
                    <a:pt x="62" y="55"/>
                  </a:cubicBezTo>
                  <a:cubicBezTo>
                    <a:pt x="62" y="55"/>
                    <a:pt x="63" y="54"/>
                    <a:pt x="64" y="54"/>
                  </a:cubicBezTo>
                  <a:cubicBezTo>
                    <a:pt x="64" y="54"/>
                    <a:pt x="65" y="54"/>
                    <a:pt x="65" y="54"/>
                  </a:cubicBezTo>
                  <a:cubicBezTo>
                    <a:pt x="65" y="54"/>
                    <a:pt x="63" y="53"/>
                    <a:pt x="63" y="52"/>
                  </a:cubicBezTo>
                  <a:cubicBezTo>
                    <a:pt x="63" y="52"/>
                    <a:pt x="64" y="50"/>
                    <a:pt x="64" y="50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0"/>
                    <a:pt x="64" y="49"/>
                    <a:pt x="64" y="49"/>
                  </a:cubicBezTo>
                  <a:cubicBezTo>
                    <a:pt x="63" y="48"/>
                    <a:pt x="62" y="45"/>
                    <a:pt x="63" y="45"/>
                  </a:cubicBezTo>
                  <a:cubicBezTo>
                    <a:pt x="64" y="45"/>
                    <a:pt x="65" y="44"/>
                    <a:pt x="64" y="44"/>
                  </a:cubicBezTo>
                  <a:cubicBezTo>
                    <a:pt x="64" y="44"/>
                    <a:pt x="64" y="44"/>
                    <a:pt x="63" y="43"/>
                  </a:cubicBezTo>
                  <a:cubicBezTo>
                    <a:pt x="63" y="43"/>
                    <a:pt x="64" y="39"/>
                    <a:pt x="65" y="39"/>
                  </a:cubicBezTo>
                  <a:cubicBezTo>
                    <a:pt x="65" y="38"/>
                    <a:pt x="66" y="34"/>
                    <a:pt x="66" y="34"/>
                  </a:cubicBezTo>
                  <a:cubicBezTo>
                    <a:pt x="66" y="33"/>
                    <a:pt x="66" y="25"/>
                    <a:pt x="65" y="24"/>
                  </a:cubicBezTo>
                  <a:cubicBezTo>
                    <a:pt x="65" y="23"/>
                    <a:pt x="62" y="17"/>
                    <a:pt x="61" y="15"/>
                  </a:cubicBezTo>
                  <a:cubicBezTo>
                    <a:pt x="60" y="13"/>
                    <a:pt x="58" y="12"/>
                    <a:pt x="55" y="11"/>
                  </a:cubicBezTo>
                  <a:cubicBezTo>
                    <a:pt x="53" y="10"/>
                    <a:pt x="49" y="10"/>
                    <a:pt x="45" y="13"/>
                  </a:cubicBezTo>
                  <a:cubicBezTo>
                    <a:pt x="41" y="15"/>
                    <a:pt x="39" y="23"/>
                    <a:pt x="39" y="25"/>
                  </a:cubicBezTo>
                  <a:cubicBezTo>
                    <a:pt x="39" y="27"/>
                    <a:pt x="38" y="38"/>
                    <a:pt x="37" y="40"/>
                  </a:cubicBezTo>
                  <a:cubicBezTo>
                    <a:pt x="36" y="42"/>
                    <a:pt x="35" y="44"/>
                    <a:pt x="35" y="45"/>
                  </a:cubicBezTo>
                  <a:cubicBezTo>
                    <a:pt x="35" y="47"/>
                    <a:pt x="35" y="46"/>
                    <a:pt x="36" y="46"/>
                  </a:cubicBezTo>
                  <a:cubicBezTo>
                    <a:pt x="36" y="46"/>
                    <a:pt x="36" y="45"/>
                    <a:pt x="36" y="45"/>
                  </a:cubicBezTo>
                  <a:cubicBezTo>
                    <a:pt x="36" y="45"/>
                    <a:pt x="36" y="48"/>
                    <a:pt x="36" y="49"/>
                  </a:cubicBezTo>
                  <a:cubicBezTo>
                    <a:pt x="36" y="50"/>
                    <a:pt x="34" y="51"/>
                    <a:pt x="35" y="51"/>
                  </a:cubicBezTo>
                  <a:cubicBezTo>
                    <a:pt x="35" y="51"/>
                    <a:pt x="35" y="50"/>
                    <a:pt x="36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6" y="51"/>
                  </a:cubicBezTo>
                  <a:cubicBezTo>
                    <a:pt x="35" y="51"/>
                    <a:pt x="32" y="51"/>
                    <a:pt x="29" y="51"/>
                  </a:cubicBezTo>
                  <a:cubicBezTo>
                    <a:pt x="26" y="51"/>
                    <a:pt x="24" y="54"/>
                    <a:pt x="24" y="54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1" y="65"/>
                    <a:pt x="19" y="84"/>
                    <a:pt x="18" y="89"/>
                  </a:cubicBezTo>
                  <a:cubicBezTo>
                    <a:pt x="17" y="93"/>
                    <a:pt x="14" y="99"/>
                    <a:pt x="13" y="102"/>
                  </a:cubicBezTo>
                  <a:cubicBezTo>
                    <a:pt x="13" y="105"/>
                    <a:pt x="10" y="124"/>
                    <a:pt x="9" y="127"/>
                  </a:cubicBezTo>
                  <a:cubicBezTo>
                    <a:pt x="9" y="129"/>
                    <a:pt x="4" y="134"/>
                    <a:pt x="4" y="135"/>
                  </a:cubicBezTo>
                  <a:cubicBezTo>
                    <a:pt x="3" y="135"/>
                    <a:pt x="4" y="137"/>
                    <a:pt x="4" y="137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2" y="173"/>
                    <a:pt x="2" y="175"/>
                  </a:cubicBezTo>
                  <a:cubicBezTo>
                    <a:pt x="2" y="176"/>
                    <a:pt x="5" y="177"/>
                    <a:pt x="5" y="177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4" y="138"/>
                    <a:pt x="14" y="138"/>
                    <a:pt x="14" y="138"/>
                  </a:cubicBezTo>
                  <a:cubicBezTo>
                    <a:pt x="14" y="138"/>
                    <a:pt x="13" y="137"/>
                    <a:pt x="14" y="135"/>
                  </a:cubicBezTo>
                  <a:cubicBezTo>
                    <a:pt x="15" y="134"/>
                    <a:pt x="15" y="129"/>
                    <a:pt x="15" y="127"/>
                  </a:cubicBezTo>
                  <a:cubicBezTo>
                    <a:pt x="15" y="124"/>
                    <a:pt x="18" y="116"/>
                    <a:pt x="18" y="115"/>
                  </a:cubicBezTo>
                  <a:cubicBezTo>
                    <a:pt x="18" y="114"/>
                    <a:pt x="24" y="102"/>
                    <a:pt x="25" y="99"/>
                  </a:cubicBezTo>
                  <a:cubicBezTo>
                    <a:pt x="27" y="96"/>
                    <a:pt x="29" y="84"/>
                    <a:pt x="29" y="84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1" y="73"/>
                    <a:pt x="33" y="80"/>
                    <a:pt x="33" y="83"/>
                  </a:cubicBezTo>
                  <a:cubicBezTo>
                    <a:pt x="33" y="86"/>
                    <a:pt x="30" y="103"/>
                    <a:pt x="29" y="108"/>
                  </a:cubicBezTo>
                  <a:cubicBezTo>
                    <a:pt x="27" y="114"/>
                    <a:pt x="25" y="132"/>
                    <a:pt x="25" y="135"/>
                  </a:cubicBezTo>
                  <a:cubicBezTo>
                    <a:pt x="25" y="138"/>
                    <a:pt x="28" y="163"/>
                    <a:pt x="28" y="163"/>
                  </a:cubicBezTo>
                  <a:cubicBezTo>
                    <a:pt x="30" y="189"/>
                    <a:pt x="30" y="189"/>
                    <a:pt x="30" y="189"/>
                  </a:cubicBezTo>
                  <a:cubicBezTo>
                    <a:pt x="30" y="196"/>
                    <a:pt x="30" y="196"/>
                    <a:pt x="30" y="196"/>
                  </a:cubicBezTo>
                  <a:cubicBezTo>
                    <a:pt x="30" y="196"/>
                    <a:pt x="31" y="196"/>
                    <a:pt x="31" y="196"/>
                  </a:cubicBezTo>
                  <a:cubicBezTo>
                    <a:pt x="30" y="196"/>
                    <a:pt x="31" y="203"/>
                    <a:pt x="31" y="205"/>
                  </a:cubicBezTo>
                  <a:cubicBezTo>
                    <a:pt x="31" y="206"/>
                    <a:pt x="32" y="216"/>
                    <a:pt x="32" y="217"/>
                  </a:cubicBezTo>
                  <a:cubicBezTo>
                    <a:pt x="32" y="217"/>
                    <a:pt x="35" y="230"/>
                    <a:pt x="35" y="230"/>
                  </a:cubicBezTo>
                  <a:cubicBezTo>
                    <a:pt x="35" y="230"/>
                    <a:pt x="36" y="236"/>
                    <a:pt x="35" y="241"/>
                  </a:cubicBezTo>
                  <a:cubicBezTo>
                    <a:pt x="34" y="242"/>
                    <a:pt x="34" y="248"/>
                    <a:pt x="33" y="250"/>
                  </a:cubicBezTo>
                  <a:cubicBezTo>
                    <a:pt x="32" y="252"/>
                    <a:pt x="32" y="257"/>
                    <a:pt x="33" y="258"/>
                  </a:cubicBezTo>
                  <a:cubicBezTo>
                    <a:pt x="35" y="259"/>
                    <a:pt x="38" y="259"/>
                    <a:pt x="40" y="258"/>
                  </a:cubicBezTo>
                  <a:cubicBezTo>
                    <a:pt x="41" y="258"/>
                    <a:pt x="42" y="249"/>
                    <a:pt x="42" y="248"/>
                  </a:cubicBezTo>
                  <a:cubicBezTo>
                    <a:pt x="42" y="247"/>
                    <a:pt x="45" y="240"/>
                    <a:pt x="44" y="237"/>
                  </a:cubicBezTo>
                  <a:cubicBezTo>
                    <a:pt x="44" y="236"/>
                    <a:pt x="43" y="229"/>
                    <a:pt x="43" y="227"/>
                  </a:cubicBezTo>
                  <a:cubicBezTo>
                    <a:pt x="43" y="226"/>
                    <a:pt x="44" y="216"/>
                    <a:pt x="45" y="215"/>
                  </a:cubicBezTo>
                  <a:cubicBezTo>
                    <a:pt x="45" y="213"/>
                    <a:pt x="46" y="199"/>
                    <a:pt x="46" y="199"/>
                  </a:cubicBezTo>
                  <a:cubicBezTo>
                    <a:pt x="46" y="198"/>
                    <a:pt x="46" y="197"/>
                    <a:pt x="46" y="197"/>
                  </a:cubicBezTo>
                  <a:cubicBezTo>
                    <a:pt x="50" y="196"/>
                    <a:pt x="50" y="196"/>
                    <a:pt x="50" y="196"/>
                  </a:cubicBezTo>
                  <a:cubicBezTo>
                    <a:pt x="50" y="205"/>
                    <a:pt x="50" y="205"/>
                    <a:pt x="50" y="205"/>
                  </a:cubicBezTo>
                  <a:cubicBezTo>
                    <a:pt x="50" y="216"/>
                    <a:pt x="50" y="216"/>
                    <a:pt x="50" y="216"/>
                  </a:cubicBezTo>
                  <a:cubicBezTo>
                    <a:pt x="50" y="225"/>
                    <a:pt x="50" y="225"/>
                    <a:pt x="50" y="225"/>
                  </a:cubicBezTo>
                  <a:cubicBezTo>
                    <a:pt x="50" y="225"/>
                    <a:pt x="49" y="230"/>
                    <a:pt x="48" y="232"/>
                  </a:cubicBezTo>
                  <a:cubicBezTo>
                    <a:pt x="47" y="234"/>
                    <a:pt x="48" y="235"/>
                    <a:pt x="48" y="235"/>
                  </a:cubicBezTo>
                  <a:cubicBezTo>
                    <a:pt x="48" y="236"/>
                    <a:pt x="52" y="238"/>
                    <a:pt x="53" y="239"/>
                  </a:cubicBezTo>
                  <a:cubicBezTo>
                    <a:pt x="54" y="240"/>
                    <a:pt x="58" y="243"/>
                    <a:pt x="59" y="244"/>
                  </a:cubicBezTo>
                  <a:cubicBezTo>
                    <a:pt x="59" y="244"/>
                    <a:pt x="62" y="245"/>
                    <a:pt x="64" y="245"/>
                  </a:cubicBezTo>
                  <a:cubicBezTo>
                    <a:pt x="65" y="244"/>
                    <a:pt x="65" y="242"/>
                    <a:pt x="65" y="241"/>
                  </a:cubicBezTo>
                  <a:cubicBezTo>
                    <a:pt x="65" y="241"/>
                    <a:pt x="62" y="238"/>
                    <a:pt x="61" y="237"/>
                  </a:cubicBezTo>
                  <a:cubicBezTo>
                    <a:pt x="60" y="236"/>
                    <a:pt x="58" y="231"/>
                    <a:pt x="57" y="228"/>
                  </a:cubicBezTo>
                  <a:cubicBezTo>
                    <a:pt x="56" y="225"/>
                    <a:pt x="60" y="214"/>
                    <a:pt x="60" y="214"/>
                  </a:cubicBezTo>
                  <a:cubicBezTo>
                    <a:pt x="64" y="196"/>
                    <a:pt x="64" y="196"/>
                    <a:pt x="64" y="196"/>
                  </a:cubicBezTo>
                  <a:cubicBezTo>
                    <a:pt x="64" y="196"/>
                    <a:pt x="70" y="195"/>
                    <a:pt x="70" y="194"/>
                  </a:cubicBezTo>
                  <a:cubicBezTo>
                    <a:pt x="70" y="194"/>
                    <a:pt x="71" y="155"/>
                    <a:pt x="71" y="155"/>
                  </a:cubicBezTo>
                  <a:cubicBezTo>
                    <a:pt x="72" y="139"/>
                    <a:pt x="72" y="139"/>
                    <a:pt x="72" y="139"/>
                  </a:cubicBezTo>
                  <a:cubicBezTo>
                    <a:pt x="72" y="139"/>
                    <a:pt x="72" y="128"/>
                    <a:pt x="72" y="127"/>
                  </a:cubicBezTo>
                  <a:cubicBezTo>
                    <a:pt x="72" y="126"/>
                    <a:pt x="72" y="121"/>
                    <a:pt x="72" y="119"/>
                  </a:cubicBezTo>
                  <a:cubicBezTo>
                    <a:pt x="72" y="119"/>
                    <a:pt x="72" y="119"/>
                    <a:pt x="72" y="120"/>
                  </a:cubicBezTo>
                  <a:cubicBezTo>
                    <a:pt x="72" y="121"/>
                    <a:pt x="73" y="122"/>
                    <a:pt x="73" y="122"/>
                  </a:cubicBezTo>
                  <a:cubicBezTo>
                    <a:pt x="73" y="122"/>
                    <a:pt x="75" y="130"/>
                    <a:pt x="75" y="133"/>
                  </a:cubicBezTo>
                  <a:cubicBezTo>
                    <a:pt x="75" y="135"/>
                    <a:pt x="76" y="140"/>
                    <a:pt x="76" y="140"/>
                  </a:cubicBezTo>
                  <a:cubicBezTo>
                    <a:pt x="76" y="140"/>
                    <a:pt x="76" y="145"/>
                    <a:pt x="75" y="145"/>
                  </a:cubicBezTo>
                  <a:cubicBezTo>
                    <a:pt x="75" y="145"/>
                    <a:pt x="74" y="146"/>
                    <a:pt x="75" y="146"/>
                  </a:cubicBezTo>
                  <a:cubicBezTo>
                    <a:pt x="75" y="147"/>
                    <a:pt x="75" y="147"/>
                    <a:pt x="74" y="147"/>
                  </a:cubicBezTo>
                  <a:cubicBezTo>
                    <a:pt x="74" y="147"/>
                    <a:pt x="74" y="147"/>
                    <a:pt x="74" y="148"/>
                  </a:cubicBezTo>
                  <a:cubicBezTo>
                    <a:pt x="74" y="148"/>
                    <a:pt x="74" y="148"/>
                    <a:pt x="74" y="148"/>
                  </a:cubicBezTo>
                  <a:cubicBezTo>
                    <a:pt x="74" y="148"/>
                    <a:pt x="74" y="149"/>
                    <a:pt x="74" y="149"/>
                  </a:cubicBezTo>
                  <a:cubicBezTo>
                    <a:pt x="74" y="149"/>
                    <a:pt x="75" y="149"/>
                    <a:pt x="75" y="149"/>
                  </a:cubicBezTo>
                  <a:cubicBezTo>
                    <a:pt x="75" y="149"/>
                    <a:pt x="77" y="149"/>
                    <a:pt x="77" y="149"/>
                  </a:cubicBezTo>
                  <a:cubicBezTo>
                    <a:pt x="77" y="149"/>
                    <a:pt x="76" y="150"/>
                    <a:pt x="76" y="151"/>
                  </a:cubicBezTo>
                  <a:cubicBezTo>
                    <a:pt x="76" y="151"/>
                    <a:pt x="76" y="151"/>
                    <a:pt x="77" y="151"/>
                  </a:cubicBezTo>
                  <a:cubicBezTo>
                    <a:pt x="76" y="156"/>
                    <a:pt x="75" y="164"/>
                    <a:pt x="76" y="174"/>
                  </a:cubicBezTo>
                  <a:cubicBezTo>
                    <a:pt x="77" y="194"/>
                    <a:pt x="78" y="219"/>
                    <a:pt x="78" y="222"/>
                  </a:cubicBezTo>
                  <a:cubicBezTo>
                    <a:pt x="77" y="225"/>
                    <a:pt x="79" y="229"/>
                    <a:pt x="79" y="229"/>
                  </a:cubicBezTo>
                  <a:cubicBezTo>
                    <a:pt x="79" y="230"/>
                    <a:pt x="77" y="234"/>
                    <a:pt x="76" y="236"/>
                  </a:cubicBezTo>
                  <a:cubicBezTo>
                    <a:pt x="76" y="237"/>
                    <a:pt x="78" y="240"/>
                    <a:pt x="78" y="242"/>
                  </a:cubicBezTo>
                  <a:cubicBezTo>
                    <a:pt x="79" y="244"/>
                    <a:pt x="79" y="251"/>
                    <a:pt x="79" y="252"/>
                  </a:cubicBezTo>
                  <a:cubicBezTo>
                    <a:pt x="79" y="252"/>
                    <a:pt x="81" y="256"/>
                    <a:pt x="83" y="258"/>
                  </a:cubicBezTo>
                  <a:cubicBezTo>
                    <a:pt x="86" y="259"/>
                    <a:pt x="96" y="259"/>
                    <a:pt x="96" y="257"/>
                  </a:cubicBezTo>
                  <a:cubicBezTo>
                    <a:pt x="96" y="256"/>
                    <a:pt x="97" y="253"/>
                    <a:pt x="95" y="250"/>
                  </a:cubicBezTo>
                  <a:cubicBezTo>
                    <a:pt x="94" y="247"/>
                    <a:pt x="94" y="244"/>
                    <a:pt x="94" y="244"/>
                  </a:cubicBezTo>
                  <a:cubicBezTo>
                    <a:pt x="96" y="242"/>
                    <a:pt x="96" y="242"/>
                    <a:pt x="96" y="242"/>
                  </a:cubicBezTo>
                  <a:cubicBezTo>
                    <a:pt x="96" y="242"/>
                    <a:pt x="97" y="242"/>
                    <a:pt x="96" y="239"/>
                  </a:cubicBezTo>
                  <a:cubicBezTo>
                    <a:pt x="95" y="236"/>
                    <a:pt x="96" y="235"/>
                    <a:pt x="96" y="233"/>
                  </a:cubicBezTo>
                  <a:cubicBezTo>
                    <a:pt x="97" y="231"/>
                    <a:pt x="98" y="229"/>
                    <a:pt x="97" y="226"/>
                  </a:cubicBezTo>
                  <a:cubicBezTo>
                    <a:pt x="96" y="223"/>
                    <a:pt x="96" y="208"/>
                    <a:pt x="96" y="208"/>
                  </a:cubicBezTo>
                  <a:cubicBezTo>
                    <a:pt x="96" y="208"/>
                    <a:pt x="96" y="196"/>
                    <a:pt x="98" y="186"/>
                  </a:cubicBezTo>
                  <a:cubicBezTo>
                    <a:pt x="100" y="177"/>
                    <a:pt x="106" y="161"/>
                    <a:pt x="106" y="160"/>
                  </a:cubicBezTo>
                  <a:cubicBezTo>
                    <a:pt x="107" y="159"/>
                    <a:pt x="107" y="157"/>
                    <a:pt x="109" y="161"/>
                  </a:cubicBezTo>
                  <a:cubicBezTo>
                    <a:pt x="111" y="165"/>
                    <a:pt x="115" y="183"/>
                    <a:pt x="115" y="183"/>
                  </a:cubicBezTo>
                  <a:cubicBezTo>
                    <a:pt x="115" y="183"/>
                    <a:pt x="118" y="199"/>
                    <a:pt x="118" y="202"/>
                  </a:cubicBezTo>
                  <a:cubicBezTo>
                    <a:pt x="118" y="205"/>
                    <a:pt x="123" y="227"/>
                    <a:pt x="124" y="227"/>
                  </a:cubicBezTo>
                  <a:cubicBezTo>
                    <a:pt x="124" y="228"/>
                    <a:pt x="125" y="228"/>
                    <a:pt x="125" y="228"/>
                  </a:cubicBezTo>
                  <a:cubicBezTo>
                    <a:pt x="122" y="237"/>
                    <a:pt x="121" y="244"/>
                    <a:pt x="121" y="244"/>
                  </a:cubicBezTo>
                  <a:cubicBezTo>
                    <a:pt x="121" y="244"/>
                    <a:pt x="122" y="244"/>
                    <a:pt x="124" y="245"/>
                  </a:cubicBezTo>
                  <a:cubicBezTo>
                    <a:pt x="124" y="245"/>
                    <a:pt x="123" y="252"/>
                    <a:pt x="123" y="253"/>
                  </a:cubicBezTo>
                  <a:cubicBezTo>
                    <a:pt x="123" y="254"/>
                    <a:pt x="124" y="255"/>
                    <a:pt x="126" y="257"/>
                  </a:cubicBezTo>
                  <a:cubicBezTo>
                    <a:pt x="128" y="258"/>
                    <a:pt x="132" y="259"/>
                    <a:pt x="134" y="259"/>
                  </a:cubicBezTo>
                  <a:cubicBezTo>
                    <a:pt x="135" y="258"/>
                    <a:pt x="135" y="257"/>
                    <a:pt x="135" y="256"/>
                  </a:cubicBezTo>
                  <a:cubicBezTo>
                    <a:pt x="135" y="255"/>
                    <a:pt x="135" y="247"/>
                    <a:pt x="135" y="247"/>
                  </a:cubicBezTo>
                  <a:cubicBezTo>
                    <a:pt x="135" y="246"/>
                    <a:pt x="135" y="246"/>
                    <a:pt x="135" y="246"/>
                  </a:cubicBezTo>
                  <a:cubicBezTo>
                    <a:pt x="136" y="246"/>
                    <a:pt x="136" y="246"/>
                    <a:pt x="136" y="246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39" y="248"/>
                    <a:pt x="143" y="250"/>
                    <a:pt x="144" y="250"/>
                  </a:cubicBezTo>
                  <a:cubicBezTo>
                    <a:pt x="146" y="251"/>
                    <a:pt x="151" y="251"/>
                    <a:pt x="152" y="250"/>
                  </a:cubicBezTo>
                  <a:cubicBezTo>
                    <a:pt x="153" y="248"/>
                    <a:pt x="153" y="247"/>
                    <a:pt x="151" y="244"/>
                  </a:cubicBezTo>
                  <a:cubicBezTo>
                    <a:pt x="148" y="241"/>
                    <a:pt x="145" y="238"/>
                    <a:pt x="143" y="235"/>
                  </a:cubicBezTo>
                  <a:cubicBezTo>
                    <a:pt x="142" y="234"/>
                    <a:pt x="142" y="232"/>
                    <a:pt x="141" y="230"/>
                  </a:cubicBezTo>
                  <a:cubicBezTo>
                    <a:pt x="141" y="229"/>
                    <a:pt x="141" y="229"/>
                    <a:pt x="142" y="228"/>
                  </a:cubicBezTo>
                  <a:cubicBezTo>
                    <a:pt x="142" y="224"/>
                    <a:pt x="146" y="212"/>
                    <a:pt x="147" y="209"/>
                  </a:cubicBezTo>
                  <a:cubicBezTo>
                    <a:pt x="148" y="205"/>
                    <a:pt x="154" y="184"/>
                    <a:pt x="155" y="180"/>
                  </a:cubicBezTo>
                  <a:cubicBezTo>
                    <a:pt x="156" y="175"/>
                    <a:pt x="160" y="150"/>
                    <a:pt x="161" y="146"/>
                  </a:cubicBezTo>
                  <a:cubicBezTo>
                    <a:pt x="161" y="143"/>
                    <a:pt x="162" y="142"/>
                    <a:pt x="162" y="141"/>
                  </a:cubicBezTo>
                  <a:cubicBezTo>
                    <a:pt x="162" y="141"/>
                    <a:pt x="163" y="140"/>
                    <a:pt x="163" y="141"/>
                  </a:cubicBezTo>
                  <a:cubicBezTo>
                    <a:pt x="163" y="142"/>
                    <a:pt x="163" y="142"/>
                    <a:pt x="164" y="150"/>
                  </a:cubicBezTo>
                  <a:cubicBezTo>
                    <a:pt x="164" y="158"/>
                    <a:pt x="166" y="180"/>
                    <a:pt x="166" y="183"/>
                  </a:cubicBezTo>
                  <a:cubicBezTo>
                    <a:pt x="166" y="186"/>
                    <a:pt x="165" y="217"/>
                    <a:pt x="165" y="220"/>
                  </a:cubicBezTo>
                  <a:cubicBezTo>
                    <a:pt x="165" y="222"/>
                    <a:pt x="165" y="237"/>
                    <a:pt x="165" y="239"/>
                  </a:cubicBezTo>
                  <a:cubicBezTo>
                    <a:pt x="165" y="242"/>
                    <a:pt x="164" y="246"/>
                    <a:pt x="164" y="247"/>
                  </a:cubicBezTo>
                  <a:cubicBezTo>
                    <a:pt x="164" y="247"/>
                    <a:pt x="165" y="247"/>
                    <a:pt x="165" y="247"/>
                  </a:cubicBezTo>
                  <a:cubicBezTo>
                    <a:pt x="162" y="249"/>
                    <a:pt x="160" y="254"/>
                    <a:pt x="160" y="255"/>
                  </a:cubicBezTo>
                  <a:cubicBezTo>
                    <a:pt x="160" y="256"/>
                    <a:pt x="161" y="256"/>
                    <a:pt x="163" y="257"/>
                  </a:cubicBezTo>
                  <a:cubicBezTo>
                    <a:pt x="164" y="257"/>
                    <a:pt x="165" y="257"/>
                    <a:pt x="167" y="257"/>
                  </a:cubicBezTo>
                  <a:cubicBezTo>
                    <a:pt x="167" y="257"/>
                    <a:pt x="167" y="258"/>
                    <a:pt x="167" y="258"/>
                  </a:cubicBezTo>
                  <a:cubicBezTo>
                    <a:pt x="167" y="259"/>
                    <a:pt x="172" y="259"/>
                    <a:pt x="174" y="258"/>
                  </a:cubicBezTo>
                  <a:cubicBezTo>
                    <a:pt x="177" y="257"/>
                    <a:pt x="178" y="256"/>
                    <a:pt x="178" y="255"/>
                  </a:cubicBezTo>
                  <a:cubicBezTo>
                    <a:pt x="178" y="255"/>
                    <a:pt x="178" y="253"/>
                    <a:pt x="178" y="252"/>
                  </a:cubicBezTo>
                  <a:cubicBezTo>
                    <a:pt x="179" y="251"/>
                    <a:pt x="180" y="250"/>
                    <a:pt x="180" y="250"/>
                  </a:cubicBezTo>
                  <a:cubicBezTo>
                    <a:pt x="181" y="249"/>
                    <a:pt x="186" y="247"/>
                    <a:pt x="188" y="246"/>
                  </a:cubicBezTo>
                  <a:cubicBezTo>
                    <a:pt x="190" y="246"/>
                    <a:pt x="189" y="240"/>
                    <a:pt x="189" y="238"/>
                  </a:cubicBezTo>
                  <a:cubicBezTo>
                    <a:pt x="188" y="235"/>
                    <a:pt x="187" y="233"/>
                    <a:pt x="187" y="233"/>
                  </a:cubicBezTo>
                  <a:cubicBezTo>
                    <a:pt x="187" y="233"/>
                    <a:pt x="188" y="232"/>
                    <a:pt x="188" y="230"/>
                  </a:cubicBezTo>
                  <a:cubicBezTo>
                    <a:pt x="189" y="228"/>
                    <a:pt x="194" y="210"/>
                    <a:pt x="196" y="206"/>
                  </a:cubicBezTo>
                  <a:cubicBezTo>
                    <a:pt x="198" y="202"/>
                    <a:pt x="199" y="189"/>
                    <a:pt x="199" y="189"/>
                  </a:cubicBezTo>
                  <a:cubicBezTo>
                    <a:pt x="199" y="189"/>
                    <a:pt x="206" y="187"/>
                    <a:pt x="207" y="186"/>
                  </a:cubicBezTo>
                  <a:cubicBezTo>
                    <a:pt x="209" y="185"/>
                    <a:pt x="209" y="185"/>
                    <a:pt x="209" y="183"/>
                  </a:cubicBezTo>
                  <a:cubicBezTo>
                    <a:pt x="209" y="181"/>
                    <a:pt x="213" y="162"/>
                    <a:pt x="214" y="159"/>
                  </a:cubicBezTo>
                  <a:cubicBezTo>
                    <a:pt x="215" y="156"/>
                    <a:pt x="216" y="156"/>
                    <a:pt x="217" y="157"/>
                  </a:cubicBezTo>
                  <a:cubicBezTo>
                    <a:pt x="218" y="158"/>
                    <a:pt x="222" y="183"/>
                    <a:pt x="222" y="183"/>
                  </a:cubicBezTo>
                  <a:cubicBezTo>
                    <a:pt x="222" y="183"/>
                    <a:pt x="222" y="186"/>
                    <a:pt x="222" y="186"/>
                  </a:cubicBezTo>
                  <a:cubicBezTo>
                    <a:pt x="223" y="186"/>
                    <a:pt x="227" y="187"/>
                    <a:pt x="229" y="187"/>
                  </a:cubicBezTo>
                  <a:cubicBezTo>
                    <a:pt x="231" y="188"/>
                    <a:pt x="235" y="187"/>
                    <a:pt x="235" y="187"/>
                  </a:cubicBezTo>
                  <a:cubicBezTo>
                    <a:pt x="235" y="188"/>
                    <a:pt x="236" y="198"/>
                    <a:pt x="237" y="201"/>
                  </a:cubicBezTo>
                  <a:cubicBezTo>
                    <a:pt x="237" y="203"/>
                    <a:pt x="241" y="212"/>
                    <a:pt x="241" y="213"/>
                  </a:cubicBezTo>
                  <a:cubicBezTo>
                    <a:pt x="242" y="215"/>
                    <a:pt x="247" y="233"/>
                    <a:pt x="247" y="235"/>
                  </a:cubicBezTo>
                  <a:cubicBezTo>
                    <a:pt x="247" y="236"/>
                    <a:pt x="246" y="236"/>
                    <a:pt x="245" y="238"/>
                  </a:cubicBezTo>
                  <a:cubicBezTo>
                    <a:pt x="245" y="239"/>
                    <a:pt x="245" y="241"/>
                    <a:pt x="244" y="243"/>
                  </a:cubicBezTo>
                  <a:cubicBezTo>
                    <a:pt x="244" y="245"/>
                    <a:pt x="244" y="247"/>
                    <a:pt x="245" y="248"/>
                  </a:cubicBezTo>
                  <a:cubicBezTo>
                    <a:pt x="245" y="249"/>
                    <a:pt x="249" y="250"/>
                    <a:pt x="251" y="251"/>
                  </a:cubicBezTo>
                  <a:cubicBezTo>
                    <a:pt x="252" y="251"/>
                    <a:pt x="253" y="252"/>
                    <a:pt x="253" y="253"/>
                  </a:cubicBezTo>
                  <a:cubicBezTo>
                    <a:pt x="253" y="254"/>
                    <a:pt x="253" y="255"/>
                    <a:pt x="254" y="256"/>
                  </a:cubicBezTo>
                  <a:cubicBezTo>
                    <a:pt x="254" y="256"/>
                    <a:pt x="256" y="257"/>
                    <a:pt x="259" y="257"/>
                  </a:cubicBezTo>
                  <a:cubicBezTo>
                    <a:pt x="260" y="258"/>
                    <a:pt x="262" y="258"/>
                    <a:pt x="264" y="259"/>
                  </a:cubicBezTo>
                  <a:cubicBezTo>
                    <a:pt x="266" y="259"/>
                    <a:pt x="270" y="259"/>
                    <a:pt x="271" y="258"/>
                  </a:cubicBezTo>
                  <a:cubicBezTo>
                    <a:pt x="272" y="257"/>
                    <a:pt x="273" y="256"/>
                    <a:pt x="272" y="254"/>
                  </a:cubicBezTo>
                  <a:cubicBezTo>
                    <a:pt x="272" y="253"/>
                    <a:pt x="269" y="250"/>
                    <a:pt x="266" y="247"/>
                  </a:cubicBezTo>
                  <a:cubicBezTo>
                    <a:pt x="266" y="246"/>
                    <a:pt x="266" y="245"/>
                    <a:pt x="266" y="245"/>
                  </a:cubicBezTo>
                  <a:cubicBezTo>
                    <a:pt x="266" y="244"/>
                    <a:pt x="268" y="244"/>
                    <a:pt x="268" y="241"/>
                  </a:cubicBezTo>
                  <a:cubicBezTo>
                    <a:pt x="269" y="239"/>
                    <a:pt x="268" y="237"/>
                    <a:pt x="268" y="236"/>
                  </a:cubicBezTo>
                  <a:cubicBezTo>
                    <a:pt x="268" y="234"/>
                    <a:pt x="268" y="235"/>
                    <a:pt x="268" y="233"/>
                  </a:cubicBezTo>
                  <a:cubicBezTo>
                    <a:pt x="268" y="232"/>
                    <a:pt x="268" y="231"/>
                    <a:pt x="268" y="229"/>
                  </a:cubicBezTo>
                  <a:cubicBezTo>
                    <a:pt x="268" y="228"/>
                    <a:pt x="270" y="218"/>
                    <a:pt x="270" y="218"/>
                  </a:cubicBezTo>
                  <a:cubicBezTo>
                    <a:pt x="270" y="218"/>
                    <a:pt x="270" y="217"/>
                    <a:pt x="272" y="217"/>
                  </a:cubicBezTo>
                  <a:cubicBezTo>
                    <a:pt x="273" y="216"/>
                    <a:pt x="275" y="211"/>
                    <a:pt x="275" y="212"/>
                  </a:cubicBezTo>
                  <a:cubicBezTo>
                    <a:pt x="275" y="213"/>
                    <a:pt x="273" y="232"/>
                    <a:pt x="273" y="232"/>
                  </a:cubicBezTo>
                  <a:cubicBezTo>
                    <a:pt x="273" y="232"/>
                    <a:pt x="273" y="232"/>
                    <a:pt x="272" y="233"/>
                  </a:cubicBezTo>
                  <a:cubicBezTo>
                    <a:pt x="272" y="233"/>
                    <a:pt x="270" y="239"/>
                    <a:pt x="270" y="240"/>
                  </a:cubicBezTo>
                  <a:cubicBezTo>
                    <a:pt x="270" y="242"/>
                    <a:pt x="270" y="242"/>
                    <a:pt x="272" y="245"/>
                  </a:cubicBezTo>
                  <a:cubicBezTo>
                    <a:pt x="275" y="247"/>
                    <a:pt x="276" y="246"/>
                    <a:pt x="277" y="248"/>
                  </a:cubicBezTo>
                  <a:cubicBezTo>
                    <a:pt x="278" y="249"/>
                    <a:pt x="278" y="250"/>
                    <a:pt x="280" y="253"/>
                  </a:cubicBezTo>
                  <a:cubicBezTo>
                    <a:pt x="281" y="257"/>
                    <a:pt x="283" y="258"/>
                    <a:pt x="284" y="259"/>
                  </a:cubicBezTo>
                  <a:cubicBezTo>
                    <a:pt x="286" y="259"/>
                    <a:pt x="292" y="258"/>
                    <a:pt x="292" y="255"/>
                  </a:cubicBezTo>
                  <a:cubicBezTo>
                    <a:pt x="292" y="252"/>
                    <a:pt x="290" y="249"/>
                    <a:pt x="288" y="247"/>
                  </a:cubicBezTo>
                  <a:cubicBezTo>
                    <a:pt x="287" y="245"/>
                    <a:pt x="283" y="241"/>
                    <a:pt x="281" y="238"/>
                  </a:cubicBezTo>
                  <a:cubicBezTo>
                    <a:pt x="280" y="235"/>
                    <a:pt x="281" y="229"/>
                    <a:pt x="282" y="226"/>
                  </a:cubicBezTo>
                  <a:cubicBezTo>
                    <a:pt x="283" y="223"/>
                    <a:pt x="286" y="211"/>
                    <a:pt x="286" y="211"/>
                  </a:cubicBezTo>
                  <a:cubicBezTo>
                    <a:pt x="286" y="211"/>
                    <a:pt x="286" y="211"/>
                    <a:pt x="288" y="211"/>
                  </a:cubicBezTo>
                  <a:cubicBezTo>
                    <a:pt x="289" y="211"/>
                    <a:pt x="289" y="209"/>
                    <a:pt x="289" y="209"/>
                  </a:cubicBezTo>
                  <a:cubicBezTo>
                    <a:pt x="289" y="209"/>
                    <a:pt x="291" y="203"/>
                    <a:pt x="292" y="200"/>
                  </a:cubicBezTo>
                  <a:cubicBezTo>
                    <a:pt x="293" y="196"/>
                    <a:pt x="292" y="197"/>
                    <a:pt x="291" y="196"/>
                  </a:cubicBezTo>
                  <a:cubicBezTo>
                    <a:pt x="290" y="195"/>
                    <a:pt x="289" y="195"/>
                    <a:pt x="290" y="194"/>
                  </a:cubicBezTo>
                  <a:cubicBezTo>
                    <a:pt x="290" y="194"/>
                    <a:pt x="291" y="183"/>
                    <a:pt x="292" y="181"/>
                  </a:cubicBezTo>
                  <a:cubicBezTo>
                    <a:pt x="292" y="179"/>
                    <a:pt x="294" y="165"/>
                    <a:pt x="295" y="164"/>
                  </a:cubicBezTo>
                  <a:cubicBezTo>
                    <a:pt x="295" y="163"/>
                    <a:pt x="298" y="148"/>
                    <a:pt x="298" y="149"/>
                  </a:cubicBezTo>
                  <a:cubicBezTo>
                    <a:pt x="298" y="151"/>
                    <a:pt x="299" y="151"/>
                    <a:pt x="300" y="150"/>
                  </a:cubicBezTo>
                  <a:cubicBezTo>
                    <a:pt x="301" y="150"/>
                    <a:pt x="301" y="148"/>
                    <a:pt x="301" y="146"/>
                  </a:cubicBezTo>
                  <a:cubicBezTo>
                    <a:pt x="301" y="144"/>
                    <a:pt x="302" y="145"/>
                    <a:pt x="302" y="146"/>
                  </a:cubicBezTo>
                  <a:cubicBezTo>
                    <a:pt x="302" y="148"/>
                    <a:pt x="301" y="151"/>
                    <a:pt x="300" y="151"/>
                  </a:cubicBezTo>
                  <a:cubicBezTo>
                    <a:pt x="299" y="152"/>
                    <a:pt x="298" y="152"/>
                    <a:pt x="298" y="153"/>
                  </a:cubicBezTo>
                  <a:cubicBezTo>
                    <a:pt x="298" y="154"/>
                    <a:pt x="299" y="155"/>
                    <a:pt x="300" y="155"/>
                  </a:cubicBezTo>
                  <a:cubicBezTo>
                    <a:pt x="301" y="155"/>
                    <a:pt x="302" y="154"/>
                    <a:pt x="301" y="154"/>
                  </a:cubicBezTo>
                  <a:cubicBezTo>
                    <a:pt x="301" y="154"/>
                    <a:pt x="301" y="154"/>
                    <a:pt x="302" y="154"/>
                  </a:cubicBezTo>
                  <a:cubicBezTo>
                    <a:pt x="302" y="154"/>
                    <a:pt x="306" y="152"/>
                    <a:pt x="307" y="151"/>
                  </a:cubicBezTo>
                  <a:cubicBezTo>
                    <a:pt x="308" y="150"/>
                    <a:pt x="308" y="148"/>
                    <a:pt x="308" y="146"/>
                  </a:cubicBezTo>
                  <a:cubicBezTo>
                    <a:pt x="309" y="144"/>
                    <a:pt x="309" y="142"/>
                    <a:pt x="308" y="139"/>
                  </a:cubicBezTo>
                  <a:close/>
                  <a:moveTo>
                    <a:pt x="81" y="132"/>
                  </a:moveTo>
                  <a:cubicBezTo>
                    <a:pt x="80" y="130"/>
                    <a:pt x="80" y="129"/>
                    <a:pt x="80" y="129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81" y="129"/>
                    <a:pt x="81" y="129"/>
                    <a:pt x="81" y="129"/>
                  </a:cubicBezTo>
                  <a:cubicBezTo>
                    <a:pt x="81" y="129"/>
                    <a:pt x="81" y="130"/>
                    <a:pt x="81" y="132"/>
                  </a:cubicBezTo>
                  <a:close/>
                  <a:moveTo>
                    <a:pt x="140" y="94"/>
                  </a:moveTo>
                  <a:cubicBezTo>
                    <a:pt x="141" y="95"/>
                    <a:pt x="141" y="97"/>
                    <a:pt x="141" y="98"/>
                  </a:cubicBezTo>
                  <a:cubicBezTo>
                    <a:pt x="141" y="99"/>
                    <a:pt x="141" y="99"/>
                    <a:pt x="141" y="100"/>
                  </a:cubicBezTo>
                  <a:cubicBezTo>
                    <a:pt x="141" y="98"/>
                    <a:pt x="140" y="96"/>
                    <a:pt x="140" y="94"/>
                  </a:cubicBezTo>
                  <a:close/>
                  <a:moveTo>
                    <a:pt x="136" y="173"/>
                  </a:moveTo>
                  <a:cubicBezTo>
                    <a:pt x="135" y="158"/>
                    <a:pt x="132" y="136"/>
                    <a:pt x="133" y="132"/>
                  </a:cubicBezTo>
                  <a:cubicBezTo>
                    <a:pt x="134" y="130"/>
                    <a:pt x="138" y="119"/>
                    <a:pt x="140" y="112"/>
                  </a:cubicBezTo>
                  <a:cubicBezTo>
                    <a:pt x="140" y="112"/>
                    <a:pt x="140" y="113"/>
                    <a:pt x="140" y="113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39" y="129"/>
                    <a:pt x="139" y="129"/>
                    <a:pt x="138" y="145"/>
                  </a:cubicBezTo>
                  <a:cubicBezTo>
                    <a:pt x="136" y="160"/>
                    <a:pt x="138" y="179"/>
                    <a:pt x="137" y="183"/>
                  </a:cubicBezTo>
                  <a:cubicBezTo>
                    <a:pt x="137" y="183"/>
                    <a:pt x="137" y="184"/>
                    <a:pt x="136" y="186"/>
                  </a:cubicBezTo>
                  <a:cubicBezTo>
                    <a:pt x="136" y="182"/>
                    <a:pt x="136" y="177"/>
                    <a:pt x="136" y="173"/>
                  </a:cubicBezTo>
                  <a:close/>
                  <a:moveTo>
                    <a:pt x="192" y="80"/>
                  </a:moveTo>
                  <a:cubicBezTo>
                    <a:pt x="192" y="80"/>
                    <a:pt x="193" y="82"/>
                    <a:pt x="193" y="84"/>
                  </a:cubicBezTo>
                  <a:cubicBezTo>
                    <a:pt x="193" y="84"/>
                    <a:pt x="192" y="92"/>
                    <a:pt x="191" y="99"/>
                  </a:cubicBezTo>
                  <a:cubicBezTo>
                    <a:pt x="191" y="97"/>
                    <a:pt x="190" y="96"/>
                    <a:pt x="190" y="95"/>
                  </a:cubicBezTo>
                  <a:cubicBezTo>
                    <a:pt x="190" y="94"/>
                    <a:pt x="189" y="89"/>
                    <a:pt x="188" y="84"/>
                  </a:cubicBezTo>
                  <a:cubicBezTo>
                    <a:pt x="188" y="83"/>
                    <a:pt x="187" y="81"/>
                    <a:pt x="187" y="79"/>
                  </a:cubicBezTo>
                  <a:cubicBezTo>
                    <a:pt x="189" y="80"/>
                    <a:pt x="192" y="80"/>
                    <a:pt x="192" y="80"/>
                  </a:cubicBezTo>
                  <a:close/>
                  <a:moveTo>
                    <a:pt x="175" y="80"/>
                  </a:moveTo>
                  <a:cubicBezTo>
                    <a:pt x="175" y="81"/>
                    <a:pt x="175" y="81"/>
                    <a:pt x="174" y="82"/>
                  </a:cubicBezTo>
                  <a:cubicBezTo>
                    <a:pt x="175" y="81"/>
                    <a:pt x="175" y="80"/>
                    <a:pt x="175" y="80"/>
                  </a:cubicBezTo>
                  <a:cubicBezTo>
                    <a:pt x="174" y="76"/>
                    <a:pt x="174" y="76"/>
                    <a:pt x="174" y="76"/>
                  </a:cubicBezTo>
                  <a:cubicBezTo>
                    <a:pt x="175" y="78"/>
                    <a:pt x="175" y="79"/>
                    <a:pt x="175" y="80"/>
                  </a:cubicBezTo>
                  <a:close/>
                  <a:moveTo>
                    <a:pt x="174" y="88"/>
                  </a:moveTo>
                  <a:cubicBezTo>
                    <a:pt x="174" y="86"/>
                    <a:pt x="174" y="84"/>
                    <a:pt x="174" y="83"/>
                  </a:cubicBezTo>
                  <a:cubicBezTo>
                    <a:pt x="175" y="83"/>
                    <a:pt x="177" y="82"/>
                    <a:pt x="178" y="79"/>
                  </a:cubicBezTo>
                  <a:cubicBezTo>
                    <a:pt x="179" y="84"/>
                    <a:pt x="179" y="88"/>
                    <a:pt x="179" y="89"/>
                  </a:cubicBezTo>
                  <a:cubicBezTo>
                    <a:pt x="179" y="91"/>
                    <a:pt x="179" y="96"/>
                    <a:pt x="181" y="102"/>
                  </a:cubicBezTo>
                  <a:cubicBezTo>
                    <a:pt x="182" y="109"/>
                    <a:pt x="185" y="120"/>
                    <a:pt x="186" y="123"/>
                  </a:cubicBezTo>
                  <a:cubicBezTo>
                    <a:pt x="186" y="124"/>
                    <a:pt x="186" y="125"/>
                    <a:pt x="187" y="125"/>
                  </a:cubicBezTo>
                  <a:cubicBezTo>
                    <a:pt x="186" y="127"/>
                    <a:pt x="186" y="129"/>
                    <a:pt x="185" y="130"/>
                  </a:cubicBezTo>
                  <a:cubicBezTo>
                    <a:pt x="185" y="130"/>
                    <a:pt x="185" y="131"/>
                    <a:pt x="185" y="131"/>
                  </a:cubicBezTo>
                  <a:cubicBezTo>
                    <a:pt x="184" y="124"/>
                    <a:pt x="184" y="118"/>
                    <a:pt x="183" y="114"/>
                  </a:cubicBezTo>
                  <a:cubicBezTo>
                    <a:pt x="182" y="112"/>
                    <a:pt x="182" y="110"/>
                    <a:pt x="181" y="110"/>
                  </a:cubicBezTo>
                  <a:cubicBezTo>
                    <a:pt x="181" y="110"/>
                    <a:pt x="178" y="103"/>
                    <a:pt x="178" y="103"/>
                  </a:cubicBezTo>
                  <a:cubicBezTo>
                    <a:pt x="179" y="103"/>
                    <a:pt x="179" y="102"/>
                    <a:pt x="179" y="102"/>
                  </a:cubicBezTo>
                  <a:cubicBezTo>
                    <a:pt x="179" y="102"/>
                    <a:pt x="175" y="99"/>
                    <a:pt x="175" y="97"/>
                  </a:cubicBezTo>
                  <a:cubicBezTo>
                    <a:pt x="174" y="95"/>
                    <a:pt x="173" y="91"/>
                    <a:pt x="174" y="88"/>
                  </a:cubicBezTo>
                  <a:close/>
                  <a:moveTo>
                    <a:pt x="182" y="186"/>
                  </a:moveTo>
                  <a:cubicBezTo>
                    <a:pt x="182" y="186"/>
                    <a:pt x="182" y="186"/>
                    <a:pt x="182" y="187"/>
                  </a:cubicBezTo>
                  <a:cubicBezTo>
                    <a:pt x="182" y="185"/>
                    <a:pt x="182" y="183"/>
                    <a:pt x="182" y="183"/>
                  </a:cubicBezTo>
                  <a:cubicBezTo>
                    <a:pt x="182" y="183"/>
                    <a:pt x="182" y="181"/>
                    <a:pt x="182" y="180"/>
                  </a:cubicBezTo>
                  <a:cubicBezTo>
                    <a:pt x="183" y="182"/>
                    <a:pt x="183" y="183"/>
                    <a:pt x="183" y="183"/>
                  </a:cubicBezTo>
                  <a:cubicBezTo>
                    <a:pt x="183" y="183"/>
                    <a:pt x="183" y="184"/>
                    <a:pt x="182" y="186"/>
                  </a:cubicBezTo>
                  <a:close/>
                  <a:moveTo>
                    <a:pt x="254" y="97"/>
                  </a:moveTo>
                  <a:cubicBezTo>
                    <a:pt x="254" y="95"/>
                    <a:pt x="254" y="91"/>
                    <a:pt x="254" y="92"/>
                  </a:cubicBezTo>
                  <a:cubicBezTo>
                    <a:pt x="254" y="93"/>
                    <a:pt x="256" y="101"/>
                    <a:pt x="256" y="104"/>
                  </a:cubicBezTo>
                  <a:cubicBezTo>
                    <a:pt x="256" y="105"/>
                    <a:pt x="256" y="107"/>
                    <a:pt x="255" y="109"/>
                  </a:cubicBezTo>
                  <a:cubicBezTo>
                    <a:pt x="255" y="107"/>
                    <a:pt x="253" y="106"/>
                    <a:pt x="254" y="97"/>
                  </a:cubicBezTo>
                  <a:close/>
                  <a:moveTo>
                    <a:pt x="245" y="86"/>
                  </a:moveTo>
                  <a:cubicBezTo>
                    <a:pt x="245" y="88"/>
                    <a:pt x="244" y="91"/>
                    <a:pt x="244" y="94"/>
                  </a:cubicBezTo>
                  <a:cubicBezTo>
                    <a:pt x="244" y="90"/>
                    <a:pt x="243" y="86"/>
                    <a:pt x="243" y="86"/>
                  </a:cubicBezTo>
                  <a:cubicBezTo>
                    <a:pt x="243" y="86"/>
                    <a:pt x="244" y="86"/>
                    <a:pt x="245" y="86"/>
                  </a:cubicBezTo>
                  <a:close/>
                  <a:moveTo>
                    <a:pt x="251" y="184"/>
                  </a:moveTo>
                  <a:cubicBezTo>
                    <a:pt x="252" y="183"/>
                    <a:pt x="254" y="179"/>
                    <a:pt x="253" y="174"/>
                  </a:cubicBezTo>
                  <a:cubicBezTo>
                    <a:pt x="252" y="168"/>
                    <a:pt x="246" y="124"/>
                    <a:pt x="246" y="120"/>
                  </a:cubicBezTo>
                  <a:cubicBezTo>
                    <a:pt x="246" y="119"/>
                    <a:pt x="246" y="117"/>
                    <a:pt x="246" y="114"/>
                  </a:cubicBezTo>
                  <a:cubicBezTo>
                    <a:pt x="248" y="121"/>
                    <a:pt x="252" y="123"/>
                    <a:pt x="255" y="125"/>
                  </a:cubicBezTo>
                  <a:cubicBezTo>
                    <a:pt x="255" y="129"/>
                    <a:pt x="255" y="132"/>
                    <a:pt x="255" y="135"/>
                  </a:cubicBezTo>
                  <a:cubicBezTo>
                    <a:pt x="256" y="140"/>
                    <a:pt x="257" y="158"/>
                    <a:pt x="258" y="160"/>
                  </a:cubicBezTo>
                  <a:cubicBezTo>
                    <a:pt x="258" y="162"/>
                    <a:pt x="259" y="179"/>
                    <a:pt x="259" y="180"/>
                  </a:cubicBezTo>
                  <a:cubicBezTo>
                    <a:pt x="259" y="182"/>
                    <a:pt x="260" y="189"/>
                    <a:pt x="260" y="189"/>
                  </a:cubicBezTo>
                  <a:cubicBezTo>
                    <a:pt x="259" y="190"/>
                    <a:pt x="259" y="194"/>
                    <a:pt x="258" y="195"/>
                  </a:cubicBezTo>
                  <a:cubicBezTo>
                    <a:pt x="257" y="196"/>
                    <a:pt x="255" y="198"/>
                    <a:pt x="255" y="200"/>
                  </a:cubicBezTo>
                  <a:cubicBezTo>
                    <a:pt x="255" y="202"/>
                    <a:pt x="256" y="203"/>
                    <a:pt x="256" y="205"/>
                  </a:cubicBezTo>
                  <a:cubicBezTo>
                    <a:pt x="257" y="206"/>
                    <a:pt x="256" y="209"/>
                    <a:pt x="256" y="211"/>
                  </a:cubicBezTo>
                  <a:cubicBezTo>
                    <a:pt x="257" y="213"/>
                    <a:pt x="259" y="214"/>
                    <a:pt x="259" y="215"/>
                  </a:cubicBezTo>
                  <a:cubicBezTo>
                    <a:pt x="260" y="215"/>
                    <a:pt x="261" y="227"/>
                    <a:pt x="261" y="229"/>
                  </a:cubicBezTo>
                  <a:cubicBezTo>
                    <a:pt x="261" y="230"/>
                    <a:pt x="261" y="231"/>
                    <a:pt x="261" y="233"/>
                  </a:cubicBezTo>
                  <a:cubicBezTo>
                    <a:pt x="261" y="234"/>
                    <a:pt x="260" y="236"/>
                    <a:pt x="260" y="236"/>
                  </a:cubicBezTo>
                  <a:cubicBezTo>
                    <a:pt x="260" y="237"/>
                    <a:pt x="259" y="237"/>
                    <a:pt x="259" y="238"/>
                  </a:cubicBezTo>
                  <a:cubicBezTo>
                    <a:pt x="259" y="238"/>
                    <a:pt x="259" y="237"/>
                    <a:pt x="258" y="237"/>
                  </a:cubicBezTo>
                  <a:cubicBezTo>
                    <a:pt x="258" y="237"/>
                    <a:pt x="257" y="230"/>
                    <a:pt x="256" y="227"/>
                  </a:cubicBezTo>
                  <a:cubicBezTo>
                    <a:pt x="256" y="224"/>
                    <a:pt x="254" y="202"/>
                    <a:pt x="254" y="198"/>
                  </a:cubicBezTo>
                  <a:cubicBezTo>
                    <a:pt x="253" y="193"/>
                    <a:pt x="250" y="184"/>
                    <a:pt x="251" y="18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7" name="Group 1">
            <a:extLst>
              <a:ext uri="{FF2B5EF4-FFF2-40B4-BE49-F238E27FC236}">
                <a16:creationId xmlns="" xmlns:a16="http://schemas.microsoft.com/office/drawing/2014/main" id="{EAD25E9B-8CB1-D240-BB14-2BC995A01A43}"/>
              </a:ext>
            </a:extLst>
          </p:cNvPr>
          <p:cNvGrpSpPr/>
          <p:nvPr/>
        </p:nvGrpSpPr>
        <p:grpSpPr>
          <a:xfrm>
            <a:off x="3353596" y="2118370"/>
            <a:ext cx="1234440" cy="1170181"/>
            <a:chOff x="454728" y="997530"/>
            <a:chExt cx="749643" cy="749643"/>
          </a:xfrm>
        </p:grpSpPr>
        <p:sp>
          <p:nvSpPr>
            <p:cNvPr id="8" name="Finance 2">
              <a:extLst>
                <a:ext uri="{FF2B5EF4-FFF2-40B4-BE49-F238E27FC236}">
                  <a16:creationId xmlns="" xmlns:a16="http://schemas.microsoft.com/office/drawing/2014/main" id="{F4FE671D-4682-C247-A1A7-2C4B010D06EC}"/>
                </a:ext>
              </a:extLst>
            </p:cNvPr>
            <p:cNvSpPr/>
            <p:nvPr/>
          </p:nvSpPr>
          <p:spPr>
            <a:xfrm>
              <a:off x="454728" y="997530"/>
              <a:ext cx="749643" cy="74964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C00000"/>
                </a:solidFill>
              </a:endParaRPr>
            </a:p>
          </p:txBody>
        </p:sp>
        <p:grpSp>
          <p:nvGrpSpPr>
            <p:cNvPr id="9" name="Group 79">
              <a:extLst>
                <a:ext uri="{FF2B5EF4-FFF2-40B4-BE49-F238E27FC236}">
                  <a16:creationId xmlns="" xmlns:a16="http://schemas.microsoft.com/office/drawing/2014/main" id="{06485FCB-4CB1-1047-9C1B-C9BA9279D1BF}"/>
                </a:ext>
              </a:extLst>
            </p:cNvPr>
            <p:cNvGrpSpPr/>
            <p:nvPr/>
          </p:nvGrpSpPr>
          <p:grpSpPr>
            <a:xfrm>
              <a:off x="604846" y="1114525"/>
              <a:ext cx="459463" cy="516593"/>
              <a:chOff x="2995612" y="1030287"/>
              <a:chExt cx="600075" cy="674688"/>
            </a:xfrm>
            <a:solidFill>
              <a:schemeClr val="bg1"/>
            </a:solidFill>
          </p:grpSpPr>
          <p:sp>
            <p:nvSpPr>
              <p:cNvPr id="10" name="Freeform 69">
                <a:extLst>
                  <a:ext uri="{FF2B5EF4-FFF2-40B4-BE49-F238E27FC236}">
                    <a16:creationId xmlns="" xmlns:a16="http://schemas.microsoft.com/office/drawing/2014/main" id="{E8568634-4CB9-024D-B587-BBDEA9AFB1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5612" y="1030287"/>
                <a:ext cx="460375" cy="412750"/>
              </a:xfrm>
              <a:custGeom>
                <a:avLst/>
                <a:gdLst>
                  <a:gd name="T0" fmla="*/ 263 w 482"/>
                  <a:gd name="T1" fmla="*/ 204 h 431"/>
                  <a:gd name="T2" fmla="*/ 289 w 482"/>
                  <a:gd name="T3" fmla="*/ 142 h 431"/>
                  <a:gd name="T4" fmla="*/ 160 w 482"/>
                  <a:gd name="T5" fmla="*/ 196 h 431"/>
                  <a:gd name="T6" fmla="*/ 111 w 482"/>
                  <a:gd name="T7" fmla="*/ 402 h 431"/>
                  <a:gd name="T8" fmla="*/ 43 w 482"/>
                  <a:gd name="T9" fmla="*/ 431 h 431"/>
                  <a:gd name="T10" fmla="*/ 111 w 482"/>
                  <a:gd name="T11" fmla="*/ 141 h 431"/>
                  <a:gd name="T12" fmla="*/ 319 w 482"/>
                  <a:gd name="T13" fmla="*/ 68 h 431"/>
                  <a:gd name="T14" fmla="*/ 347 w 482"/>
                  <a:gd name="T15" fmla="*/ 0 h 431"/>
                  <a:gd name="T16" fmla="*/ 482 w 482"/>
                  <a:gd name="T17" fmla="*/ 175 h 431"/>
                  <a:gd name="T18" fmla="*/ 263 w 482"/>
                  <a:gd name="T19" fmla="*/ 204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2" h="431">
                    <a:moveTo>
                      <a:pt x="263" y="204"/>
                    </a:moveTo>
                    <a:cubicBezTo>
                      <a:pt x="289" y="142"/>
                      <a:pt x="289" y="142"/>
                      <a:pt x="289" y="142"/>
                    </a:cubicBezTo>
                    <a:cubicBezTo>
                      <a:pt x="241" y="145"/>
                      <a:pt x="195" y="164"/>
                      <a:pt x="160" y="196"/>
                    </a:cubicBezTo>
                    <a:cubicBezTo>
                      <a:pt x="100" y="249"/>
                      <a:pt x="81" y="330"/>
                      <a:pt x="111" y="402"/>
                    </a:cubicBezTo>
                    <a:cubicBezTo>
                      <a:pt x="43" y="431"/>
                      <a:pt x="43" y="431"/>
                      <a:pt x="43" y="431"/>
                    </a:cubicBezTo>
                    <a:cubicBezTo>
                      <a:pt x="0" y="330"/>
                      <a:pt x="27" y="216"/>
                      <a:pt x="111" y="141"/>
                    </a:cubicBezTo>
                    <a:cubicBezTo>
                      <a:pt x="167" y="90"/>
                      <a:pt x="242" y="64"/>
                      <a:pt x="319" y="68"/>
                    </a:cubicBezTo>
                    <a:cubicBezTo>
                      <a:pt x="347" y="0"/>
                      <a:pt x="347" y="0"/>
                      <a:pt x="347" y="0"/>
                    </a:cubicBezTo>
                    <a:cubicBezTo>
                      <a:pt x="482" y="175"/>
                      <a:pt x="482" y="175"/>
                      <a:pt x="482" y="175"/>
                    </a:cubicBezTo>
                    <a:lnTo>
                      <a:pt x="263" y="2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1" name="Freeform 70">
                <a:extLst>
                  <a:ext uri="{FF2B5EF4-FFF2-40B4-BE49-F238E27FC236}">
                    <a16:creationId xmlns="" xmlns:a16="http://schemas.microsoft.com/office/drawing/2014/main" id="{2CDED464-9C14-884D-9235-83553CF4B4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8962" y="1276350"/>
                <a:ext cx="466725" cy="428625"/>
              </a:xfrm>
              <a:custGeom>
                <a:avLst/>
                <a:gdLst>
                  <a:gd name="T0" fmla="*/ 371 w 489"/>
                  <a:gd name="T1" fmla="*/ 313 h 449"/>
                  <a:gd name="T2" fmla="*/ 181 w 489"/>
                  <a:gd name="T3" fmla="*/ 382 h 449"/>
                  <a:gd name="T4" fmla="*/ 161 w 489"/>
                  <a:gd name="T5" fmla="*/ 382 h 449"/>
                  <a:gd name="T6" fmla="*/ 132 w 489"/>
                  <a:gd name="T7" fmla="*/ 449 h 449"/>
                  <a:gd name="T8" fmla="*/ 0 w 489"/>
                  <a:gd name="T9" fmla="*/ 272 h 449"/>
                  <a:gd name="T10" fmla="*/ 220 w 489"/>
                  <a:gd name="T11" fmla="*/ 247 h 449"/>
                  <a:gd name="T12" fmla="*/ 193 w 489"/>
                  <a:gd name="T13" fmla="*/ 308 h 449"/>
                  <a:gd name="T14" fmla="*/ 323 w 489"/>
                  <a:gd name="T15" fmla="*/ 257 h 449"/>
                  <a:gd name="T16" fmla="*/ 368 w 489"/>
                  <a:gd name="T17" fmla="*/ 34 h 449"/>
                  <a:gd name="T18" fmla="*/ 433 w 489"/>
                  <a:gd name="T19" fmla="*/ 0 h 449"/>
                  <a:gd name="T20" fmla="*/ 371 w 489"/>
                  <a:gd name="T21" fmla="*/ 313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9" h="449">
                    <a:moveTo>
                      <a:pt x="371" y="313"/>
                    </a:moveTo>
                    <a:cubicBezTo>
                      <a:pt x="318" y="358"/>
                      <a:pt x="251" y="382"/>
                      <a:pt x="181" y="382"/>
                    </a:cubicBezTo>
                    <a:cubicBezTo>
                      <a:pt x="174" y="382"/>
                      <a:pt x="168" y="382"/>
                      <a:pt x="161" y="382"/>
                    </a:cubicBezTo>
                    <a:cubicBezTo>
                      <a:pt x="132" y="449"/>
                      <a:pt x="132" y="449"/>
                      <a:pt x="132" y="449"/>
                    </a:cubicBezTo>
                    <a:cubicBezTo>
                      <a:pt x="0" y="272"/>
                      <a:pt x="0" y="272"/>
                      <a:pt x="0" y="272"/>
                    </a:cubicBezTo>
                    <a:cubicBezTo>
                      <a:pt x="220" y="247"/>
                      <a:pt x="220" y="247"/>
                      <a:pt x="220" y="247"/>
                    </a:cubicBezTo>
                    <a:cubicBezTo>
                      <a:pt x="193" y="308"/>
                      <a:pt x="193" y="308"/>
                      <a:pt x="193" y="308"/>
                    </a:cubicBezTo>
                    <a:cubicBezTo>
                      <a:pt x="241" y="305"/>
                      <a:pt x="287" y="287"/>
                      <a:pt x="323" y="257"/>
                    </a:cubicBezTo>
                    <a:cubicBezTo>
                      <a:pt x="390" y="199"/>
                      <a:pt x="408" y="110"/>
                      <a:pt x="368" y="34"/>
                    </a:cubicBezTo>
                    <a:cubicBezTo>
                      <a:pt x="433" y="0"/>
                      <a:pt x="433" y="0"/>
                      <a:pt x="433" y="0"/>
                    </a:cubicBezTo>
                    <a:cubicBezTo>
                      <a:pt x="489" y="105"/>
                      <a:pt x="463" y="234"/>
                      <a:pt x="371" y="3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C00000"/>
                  </a:solidFill>
                </a:endParaRPr>
              </a:p>
            </p:txBody>
          </p:sp>
        </p:grp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xmlns="" id="{EED5682E-D361-4EA0-941C-F1ACC9FCB8DD}"/>
              </a:ext>
            </a:extLst>
          </p:cNvPr>
          <p:cNvSpPr txBox="1">
            <a:spLocks/>
          </p:cNvSpPr>
          <p:nvPr/>
        </p:nvSpPr>
        <p:spPr>
          <a:xfrm>
            <a:off x="1321054" y="1387787"/>
            <a:ext cx="1023238" cy="502920"/>
          </a:xfrm>
          <a:prstGeom prst="rect">
            <a:avLst/>
          </a:prstGeom>
        </p:spPr>
        <p:txBody>
          <a:bodyPr vert="horz" lIns="91440" tIns="91440" rIns="91440" bIns="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60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400" b="0" dirty="0" smtClean="0"/>
              <a:t>Buyers</a:t>
            </a:r>
            <a:endParaRPr lang="en-US" sz="1400" b="0" dirty="0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xmlns="" id="{EED5682E-D361-4EA0-941C-F1ACC9FCB8DD}"/>
              </a:ext>
            </a:extLst>
          </p:cNvPr>
          <p:cNvSpPr txBox="1">
            <a:spLocks/>
          </p:cNvSpPr>
          <p:nvPr/>
        </p:nvSpPr>
        <p:spPr>
          <a:xfrm>
            <a:off x="3116821" y="1387787"/>
            <a:ext cx="1707990" cy="502920"/>
          </a:xfrm>
          <a:prstGeom prst="rect">
            <a:avLst/>
          </a:prstGeom>
        </p:spPr>
        <p:txBody>
          <a:bodyPr vert="horz" lIns="91440" tIns="91440" rIns="91440" bIns="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60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400" b="0" dirty="0" smtClean="0"/>
              <a:t>Frequency:</a:t>
            </a:r>
            <a:br>
              <a:rPr lang="en-US" sz="1400" b="0" dirty="0" smtClean="0"/>
            </a:br>
            <a:endParaRPr lang="en-US" sz="100" b="0" dirty="0" smtClean="0"/>
          </a:p>
          <a:p>
            <a:pPr algn="ctr"/>
            <a:r>
              <a:rPr lang="en-US" sz="1100" b="0" dirty="0" smtClean="0"/>
              <a:t>Visits Per Buyer</a:t>
            </a:r>
            <a:endParaRPr lang="en-US" sz="1100" b="0" dirty="0"/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xmlns="" id="{EED5682E-D361-4EA0-941C-F1ACC9FCB8DD}"/>
              </a:ext>
            </a:extLst>
          </p:cNvPr>
          <p:cNvSpPr txBox="1">
            <a:spLocks/>
          </p:cNvSpPr>
          <p:nvPr/>
        </p:nvSpPr>
        <p:spPr>
          <a:xfrm>
            <a:off x="1353181" y="3198316"/>
            <a:ext cx="1115096" cy="502920"/>
          </a:xfrm>
          <a:prstGeom prst="rect">
            <a:avLst/>
          </a:prstGeom>
        </p:spPr>
        <p:txBody>
          <a:bodyPr vert="horz" lIns="91440" tIns="91440" rIns="91440" bIns="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60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dirty="0" smtClean="0"/>
              <a:t>25.8mn</a:t>
            </a:r>
            <a:endParaRPr lang="en-US" sz="1800" dirty="0"/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xmlns="" id="{EED5682E-D361-4EA0-941C-F1ACC9FCB8DD}"/>
              </a:ext>
            </a:extLst>
          </p:cNvPr>
          <p:cNvSpPr txBox="1">
            <a:spLocks/>
          </p:cNvSpPr>
          <p:nvPr/>
        </p:nvSpPr>
        <p:spPr>
          <a:xfrm>
            <a:off x="3500378" y="3198316"/>
            <a:ext cx="1115096" cy="502920"/>
          </a:xfrm>
          <a:prstGeom prst="rect">
            <a:avLst/>
          </a:prstGeom>
        </p:spPr>
        <p:txBody>
          <a:bodyPr vert="horz" lIns="91440" tIns="91440" rIns="91440" bIns="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60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dirty="0" smtClean="0"/>
              <a:t>7.0</a:t>
            </a:r>
            <a:endParaRPr lang="en-US" sz="1800" dirty="0"/>
          </a:p>
        </p:txBody>
      </p:sp>
      <p:sp>
        <p:nvSpPr>
          <p:cNvPr id="16" name="Up Arrow 15"/>
          <p:cNvSpPr/>
          <p:nvPr/>
        </p:nvSpPr>
        <p:spPr>
          <a:xfrm>
            <a:off x="1229197" y="3701236"/>
            <a:ext cx="1325236" cy="822960"/>
          </a:xfrm>
          <a:prstGeom prst="upArrow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r>
              <a:rPr lang="en-GB" sz="1400" b="1" dirty="0" smtClean="0">
                <a:solidFill>
                  <a:schemeClr val="bg1"/>
                </a:solidFill>
              </a:rPr>
              <a:t>+25%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Up Arrow 16"/>
          <p:cNvSpPr/>
          <p:nvPr/>
        </p:nvSpPr>
        <p:spPr>
          <a:xfrm>
            <a:off x="3362650" y="3701236"/>
            <a:ext cx="1325236" cy="822960"/>
          </a:xfrm>
          <a:prstGeom prst="upArrow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r>
              <a:rPr lang="en-GB" sz="1400" b="1" dirty="0" smtClean="0">
                <a:solidFill>
                  <a:schemeClr val="bg1"/>
                </a:solidFill>
              </a:rPr>
              <a:t>+2%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xmlns="" id="{EED5682E-D361-4EA0-941C-F1ACC9FCB8DD}"/>
              </a:ext>
            </a:extLst>
          </p:cNvPr>
          <p:cNvSpPr txBox="1">
            <a:spLocks/>
          </p:cNvSpPr>
          <p:nvPr/>
        </p:nvSpPr>
        <p:spPr>
          <a:xfrm>
            <a:off x="48259" y="883839"/>
            <a:ext cx="6137123" cy="502920"/>
          </a:xfrm>
          <a:prstGeom prst="rect">
            <a:avLst/>
          </a:prstGeom>
        </p:spPr>
        <p:txBody>
          <a:bodyPr vert="horz" lIns="91440" tIns="91440" rIns="91440" bIns="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60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dirty="0" smtClean="0"/>
              <a:t>Delivery buyer metrics and % </a:t>
            </a:r>
            <a:r>
              <a:rPr lang="en-US" sz="1800" dirty="0"/>
              <a:t>c</a:t>
            </a:r>
            <a:r>
              <a:rPr lang="en-US" sz="1800" dirty="0" smtClean="0"/>
              <a:t>hange</a:t>
            </a:r>
            <a:br>
              <a:rPr lang="en-US" sz="1800" dirty="0" smtClean="0"/>
            </a:br>
            <a:r>
              <a:rPr lang="en-US" sz="1400" dirty="0" smtClean="0"/>
              <a:t>May/June </a:t>
            </a:r>
            <a:r>
              <a:rPr lang="en-US" sz="1400" dirty="0"/>
              <a:t>2020 vs. February/March </a:t>
            </a:r>
            <a:r>
              <a:rPr lang="en-US" sz="1400" dirty="0" smtClean="0"/>
              <a:t>2020</a:t>
            </a:r>
            <a:endParaRPr lang="en-US" sz="1400" dirty="0"/>
          </a:p>
        </p:txBody>
      </p:sp>
      <p:pic>
        <p:nvPicPr>
          <p:cNvPr id="5122" name="Picture 2" descr="brown paper bag on gray concrete floor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32" r="15109"/>
          <a:stretch/>
        </p:blipFill>
        <p:spPr bwMode="auto">
          <a:xfrm>
            <a:off x="5613621" y="998932"/>
            <a:ext cx="3077155" cy="359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Placeholder 4"/>
          <p:cNvSpPr txBox="1">
            <a:spLocks/>
          </p:cNvSpPr>
          <p:nvPr/>
        </p:nvSpPr>
        <p:spPr>
          <a:xfrm>
            <a:off x="3118107" y="4882731"/>
            <a:ext cx="3290146" cy="237283"/>
          </a:xfrm>
          <a:prstGeom prst="rect">
            <a:avLst/>
          </a:prstGeom>
        </p:spPr>
        <p:txBody>
          <a:bodyPr/>
          <a:lstStyle>
            <a:lvl1pPr marL="341313" indent="-341313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n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575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00" b="1" i="1" dirty="0" smtClean="0">
                <a:solidFill>
                  <a:schemeClr val="bg1"/>
                </a:solidFill>
              </a:rPr>
              <a:t>Source: NPD </a:t>
            </a:r>
            <a:r>
              <a:rPr lang="en-GB" sz="900" b="1" i="1" dirty="0" err="1" smtClean="0">
                <a:solidFill>
                  <a:schemeClr val="bg1"/>
                </a:solidFill>
              </a:rPr>
              <a:t>SnapMyEats</a:t>
            </a:r>
            <a:endParaRPr lang="en-GB" sz="9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892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350"/>
          <a:stretch/>
        </p:blipFill>
        <p:spPr>
          <a:xfrm flipH="1">
            <a:off x="2123728" y="-20538"/>
            <a:ext cx="7236296" cy="4826624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0" y="-20538"/>
            <a:ext cx="7740352" cy="4841153"/>
          </a:xfrm>
          <a:prstGeom prst="rect">
            <a:avLst/>
          </a:prstGeom>
          <a:gradFill flip="none" rotWithShape="1">
            <a:gsLst>
              <a:gs pos="38000">
                <a:srgbClr val="E5E5E3"/>
              </a:gs>
              <a:gs pos="0">
                <a:srgbClr val="E5E5E3">
                  <a:alpha val="0"/>
                </a:srgbClr>
              </a:gs>
              <a:gs pos="100000">
                <a:srgbClr val="E6E6E5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816704" cy="368917"/>
          </a:xfrm>
        </p:spPr>
        <p:txBody>
          <a:bodyPr/>
          <a:lstStyle/>
          <a:p>
            <a:r>
              <a:rPr lang="it-IT" sz="1800" dirty="0" smtClean="0"/>
              <a:t>Many consumers that used delivery services for the first time during lockdown plan to continue to do so</a:t>
            </a:r>
            <a:endParaRPr lang="en-US" sz="1800" dirty="0"/>
          </a:p>
        </p:txBody>
      </p:sp>
      <p:sp>
        <p:nvSpPr>
          <p:cNvPr id="7" name="Titol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800" dirty="0" smtClean="0"/>
              <a:t>Delivery Usage</a:t>
            </a:r>
            <a:endParaRPr lang="en-US" sz="2800" dirty="0"/>
          </a:p>
        </p:txBody>
      </p:sp>
      <p:graphicFrame>
        <p:nvGraphicFramePr>
          <p:cNvPr id="12" name="Diagramm 11"/>
          <p:cNvGraphicFramePr/>
          <p:nvPr>
            <p:extLst>
              <p:ext uri="{D42A27DB-BD31-4B8C-83A1-F6EECF244321}">
                <p14:modId xmlns:p14="http://schemas.microsoft.com/office/powerpoint/2010/main" val="3407575069"/>
              </p:ext>
            </p:extLst>
          </p:nvPr>
        </p:nvGraphicFramePr>
        <p:xfrm>
          <a:off x="107504" y="1635646"/>
          <a:ext cx="4896544" cy="2814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CasellaDiTesto 14"/>
          <p:cNvSpPr txBox="1"/>
          <p:nvPr/>
        </p:nvSpPr>
        <p:spPr>
          <a:xfrm>
            <a:off x="539552" y="1491630"/>
            <a:ext cx="41044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/>
              <a:t>% of </a:t>
            </a:r>
            <a:r>
              <a:rPr lang="it-IT" sz="1400" b="1" dirty="0" err="1" smtClean="0"/>
              <a:t>Population</a:t>
            </a:r>
            <a:r>
              <a:rPr lang="it-IT" sz="1400" b="1" dirty="0" smtClean="0"/>
              <a:t> </a:t>
            </a:r>
            <a:r>
              <a:rPr lang="it-IT" sz="1400" b="1" dirty="0" err="1" smtClean="0"/>
              <a:t>using</a:t>
            </a:r>
            <a:r>
              <a:rPr lang="it-IT" sz="1400" b="1" dirty="0" smtClean="0"/>
              <a:t> </a:t>
            </a:r>
            <a:r>
              <a:rPr lang="it-IT" sz="1400" b="1" dirty="0" err="1" smtClean="0"/>
              <a:t>Restaurant</a:t>
            </a:r>
            <a:r>
              <a:rPr lang="it-IT" sz="1400" b="1" dirty="0" smtClean="0"/>
              <a:t> Delivery Services</a:t>
            </a:r>
            <a:endParaRPr lang="en-US" sz="1400" b="1" dirty="0" smtClean="0"/>
          </a:p>
        </p:txBody>
      </p:sp>
      <p:sp>
        <p:nvSpPr>
          <p:cNvPr id="10" name="Text Placeholder 4"/>
          <p:cNvSpPr txBox="1">
            <a:spLocks/>
          </p:cNvSpPr>
          <p:nvPr/>
        </p:nvSpPr>
        <p:spPr>
          <a:xfrm>
            <a:off x="3316255" y="4882731"/>
            <a:ext cx="4851241" cy="237283"/>
          </a:xfrm>
          <a:prstGeom prst="rect">
            <a:avLst/>
          </a:prstGeom>
        </p:spPr>
        <p:txBody>
          <a:bodyPr/>
          <a:lstStyle>
            <a:lvl1pPr marL="341313" indent="-341313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n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575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900" b="1" i="1" dirty="0">
                <a:solidFill>
                  <a:schemeClr val="bg1"/>
                </a:solidFill>
              </a:rPr>
              <a:t>Source: The NPD Group/COVID-19 Foodservice Sentiment Study, Europe March/May 2020</a:t>
            </a:r>
          </a:p>
        </p:txBody>
      </p:sp>
    </p:spTree>
    <p:extLst>
      <p:ext uri="{BB962C8B-B14F-4D97-AF65-F5344CB8AC3E}">
        <p14:creationId xmlns:p14="http://schemas.microsoft.com/office/powerpoint/2010/main" val="3474651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man riding bicycle in road during daytim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56"/>
          <a:stretch/>
        </p:blipFill>
        <p:spPr bwMode="auto">
          <a:xfrm>
            <a:off x="4043039" y="-20539"/>
            <a:ext cx="5100961" cy="4841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0" y="-20538"/>
            <a:ext cx="7740352" cy="4841153"/>
          </a:xfrm>
          <a:prstGeom prst="rect">
            <a:avLst/>
          </a:prstGeom>
          <a:gradFill flip="none" rotWithShape="1">
            <a:gsLst>
              <a:gs pos="38000">
                <a:srgbClr val="E5E5E3"/>
              </a:gs>
              <a:gs pos="0">
                <a:srgbClr val="E5E5E3">
                  <a:alpha val="0"/>
                </a:srgbClr>
              </a:gs>
              <a:gs pos="100000">
                <a:srgbClr val="E6E6E5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3"/>
          </p:nvPr>
        </p:nvSpPr>
        <p:spPr>
          <a:xfrm>
            <a:off x="411480" y="803341"/>
            <a:ext cx="5201529" cy="368917"/>
          </a:xfrm>
        </p:spPr>
        <p:txBody>
          <a:bodyPr/>
          <a:lstStyle/>
          <a:p>
            <a:r>
              <a:rPr lang="it-IT" sz="1800" dirty="0" smtClean="0"/>
              <a:t>For 27% of consumers, a key reason for ordering delivery is to support their local restaurant</a:t>
            </a:r>
            <a:endParaRPr lang="en-US" sz="1800" dirty="0"/>
          </a:p>
        </p:txBody>
      </p:sp>
      <p:sp>
        <p:nvSpPr>
          <p:cNvPr id="7" name="Titol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800" dirty="0" smtClean="0"/>
              <a:t>Impact of Covid on delivery choices</a:t>
            </a:r>
            <a:endParaRPr lang="en-US" sz="2800" dirty="0"/>
          </a:p>
        </p:txBody>
      </p:sp>
      <p:sp>
        <p:nvSpPr>
          <p:cNvPr id="13" name="CasellaDiTesto 14"/>
          <p:cNvSpPr txBox="1"/>
          <p:nvPr/>
        </p:nvSpPr>
        <p:spPr>
          <a:xfrm>
            <a:off x="539552" y="1491630"/>
            <a:ext cx="41044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/>
              <a:t>% of delivery visits</a:t>
            </a:r>
            <a:endParaRPr lang="en-US" sz="1400" b="1" dirty="0" smtClean="0"/>
          </a:p>
        </p:txBody>
      </p:sp>
      <p:sp>
        <p:nvSpPr>
          <p:cNvPr id="11" name="Text Placeholder 4"/>
          <p:cNvSpPr txBox="1">
            <a:spLocks/>
          </p:cNvSpPr>
          <p:nvPr/>
        </p:nvSpPr>
        <p:spPr>
          <a:xfrm>
            <a:off x="3118107" y="4882731"/>
            <a:ext cx="3290146" cy="237283"/>
          </a:xfrm>
          <a:prstGeom prst="rect">
            <a:avLst/>
          </a:prstGeom>
        </p:spPr>
        <p:txBody>
          <a:bodyPr/>
          <a:lstStyle>
            <a:lvl1pPr marL="341313" indent="-341313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n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575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00" b="1" i="1" dirty="0" smtClean="0">
                <a:solidFill>
                  <a:schemeClr val="bg1"/>
                </a:solidFill>
              </a:rPr>
              <a:t>Source: NPD CREST   September 2020</a:t>
            </a:r>
            <a:endParaRPr lang="en-GB" sz="900" b="1" i="1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0677" y="4337848"/>
            <a:ext cx="39023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i="1" dirty="0" smtClean="0"/>
              <a:t>What other reasons, if any, influenced your decision to choose this restaurant/outlet? Delivery visits</a:t>
            </a:r>
            <a:endParaRPr lang="en-US" sz="1200" i="1" dirty="0" smtClean="0"/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256285037"/>
              </p:ext>
            </p:extLst>
          </p:nvPr>
        </p:nvGraphicFramePr>
        <p:xfrm>
          <a:off x="0" y="1799407"/>
          <a:ext cx="5064369" cy="24246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18788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/>
          <p:cNvSpPr/>
          <p:nvPr/>
        </p:nvSpPr>
        <p:spPr>
          <a:xfrm>
            <a:off x="0" y="-20538"/>
            <a:ext cx="7740352" cy="4841153"/>
          </a:xfrm>
          <a:prstGeom prst="rect">
            <a:avLst/>
          </a:prstGeom>
          <a:gradFill flip="none" rotWithShape="1">
            <a:gsLst>
              <a:gs pos="38000">
                <a:srgbClr val="E5E5E3"/>
              </a:gs>
              <a:gs pos="0">
                <a:srgbClr val="E5E5E3">
                  <a:alpha val="0"/>
                </a:srgbClr>
              </a:gs>
              <a:gs pos="100000">
                <a:srgbClr val="E6E6E5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 anchor="b"/>
          <a:lstStyle/>
          <a:p>
            <a:r>
              <a:rPr lang="en-GB" sz="1400" dirty="0">
                <a:solidFill>
                  <a:schemeClr val="tx1"/>
                </a:solidFill>
              </a:rPr>
              <a:t>% of total visits by ordering chann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57809" y="300090"/>
            <a:ext cx="8611262" cy="457200"/>
          </a:xfrm>
        </p:spPr>
        <p:txBody>
          <a:bodyPr/>
          <a:lstStyle/>
          <a:p>
            <a:r>
              <a:rPr lang="de-DE" sz="2400" dirty="0" smtClean="0">
                <a:solidFill>
                  <a:schemeClr val="bg2"/>
                </a:solidFill>
              </a:rPr>
              <a:t>In 2020 Delivery has grown significantly in key channels, up to 20% of QSR visits, and is not expected to return fully to pre-Covid levels</a:t>
            </a:r>
            <a:endParaRPr lang="en-GB" sz="2400" dirty="0">
              <a:solidFill>
                <a:schemeClr val="bg2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431111" y="1703880"/>
            <a:ext cx="6180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chemeClr val="bg1"/>
                </a:solidFill>
              </a:rPr>
              <a:t>100</a:t>
            </a:r>
            <a:endParaRPr lang="en-GB" b="1" dirty="0">
              <a:solidFill>
                <a:schemeClr val="bg1"/>
              </a:solidFill>
            </a:endParaRPr>
          </a:p>
        </p:txBody>
      </p:sp>
      <p:grpSp>
        <p:nvGrpSpPr>
          <p:cNvPr id="114" name="Group 113"/>
          <p:cNvGrpSpPr/>
          <p:nvPr/>
        </p:nvGrpSpPr>
        <p:grpSpPr>
          <a:xfrm>
            <a:off x="1727858" y="3414779"/>
            <a:ext cx="1243197" cy="1353898"/>
            <a:chOff x="6978857" y="1799171"/>
            <a:chExt cx="1528456" cy="1927844"/>
          </a:xfrm>
        </p:grpSpPr>
        <p:sp>
          <p:nvSpPr>
            <p:cNvPr id="31" name="TextBox 30"/>
            <p:cNvSpPr txBox="1"/>
            <p:nvPr/>
          </p:nvSpPr>
          <p:spPr>
            <a:xfrm>
              <a:off x="7434052" y="3345527"/>
              <a:ext cx="618066" cy="3814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b="1" dirty="0" smtClean="0"/>
                <a:t>QSR</a:t>
              </a:r>
              <a:endParaRPr lang="en-GB" sz="1400" b="1" dirty="0"/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xmlns="" id="{45FBF066-7479-0641-B840-7A5E0A815D0E}"/>
                </a:ext>
              </a:extLst>
            </p:cNvPr>
            <p:cNvGrpSpPr/>
            <p:nvPr/>
          </p:nvGrpSpPr>
          <p:grpSpPr>
            <a:xfrm>
              <a:off x="6978857" y="1799171"/>
              <a:ext cx="1528456" cy="1555396"/>
              <a:chOff x="6552780" y="997530"/>
              <a:chExt cx="749643" cy="749643"/>
            </a:xfrm>
          </p:grpSpPr>
          <p:sp>
            <p:nvSpPr>
              <p:cNvPr id="29" name="Trends - oval 1">
                <a:extLst>
                  <a:ext uri="{FF2B5EF4-FFF2-40B4-BE49-F238E27FC236}">
                    <a16:creationId xmlns:a16="http://schemas.microsoft.com/office/drawing/2014/main" xmlns="" id="{4F208155-E3CF-A947-AE4A-7819482DDCA7}"/>
                  </a:ext>
                </a:extLst>
              </p:cNvPr>
              <p:cNvSpPr/>
              <p:nvPr/>
            </p:nvSpPr>
            <p:spPr>
              <a:xfrm>
                <a:off x="6552780" y="997530"/>
                <a:ext cx="749643" cy="749643"/>
              </a:xfrm>
              <a:prstGeom prst="ellipse">
                <a:avLst/>
              </a:prstGeom>
              <a:solidFill>
                <a:srgbClr val="00517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xmlns="" id="{CB73F279-77D9-354A-9486-2F84D0AC9A89}"/>
                  </a:ext>
                </a:extLst>
              </p:cNvPr>
              <p:cNvGrpSpPr/>
              <p:nvPr/>
            </p:nvGrpSpPr>
            <p:grpSpPr>
              <a:xfrm>
                <a:off x="6709404" y="1076506"/>
                <a:ext cx="415774" cy="550964"/>
                <a:chOff x="9882187" y="-860631"/>
                <a:chExt cx="637323" cy="844547"/>
              </a:xfrm>
              <a:solidFill>
                <a:schemeClr val="bg1"/>
              </a:solidFill>
            </p:grpSpPr>
            <p:sp>
              <p:nvSpPr>
                <p:cNvPr id="33" name="Freeform 136">
                  <a:extLst>
                    <a:ext uri="{FF2B5EF4-FFF2-40B4-BE49-F238E27FC236}">
                      <a16:creationId xmlns:a16="http://schemas.microsoft.com/office/drawing/2014/main" xmlns="" id="{C7162442-6BF7-8940-8140-5EADFA5D80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52797" y="-860631"/>
                  <a:ext cx="366713" cy="304799"/>
                </a:xfrm>
                <a:custGeom>
                  <a:avLst/>
                  <a:gdLst>
                    <a:gd name="T0" fmla="*/ 384 w 384"/>
                    <a:gd name="T1" fmla="*/ 319 h 319"/>
                    <a:gd name="T2" fmla="*/ 192 w 384"/>
                    <a:gd name="T3" fmla="*/ 319 h 319"/>
                    <a:gd name="T4" fmla="*/ 0 w 384"/>
                    <a:gd name="T5" fmla="*/ 319 h 319"/>
                    <a:gd name="T6" fmla="*/ 11 w 384"/>
                    <a:gd name="T7" fmla="*/ 304 h 319"/>
                    <a:gd name="T8" fmla="*/ 11 w 384"/>
                    <a:gd name="T9" fmla="*/ 289 h 319"/>
                    <a:gd name="T10" fmla="*/ 22 w 384"/>
                    <a:gd name="T11" fmla="*/ 289 h 319"/>
                    <a:gd name="T12" fmla="*/ 28 w 384"/>
                    <a:gd name="T13" fmla="*/ 242 h 319"/>
                    <a:gd name="T14" fmla="*/ 183 w 384"/>
                    <a:gd name="T15" fmla="*/ 242 h 319"/>
                    <a:gd name="T16" fmla="*/ 213 w 384"/>
                    <a:gd name="T17" fmla="*/ 99 h 319"/>
                    <a:gd name="T18" fmla="*/ 248 w 384"/>
                    <a:gd name="T19" fmla="*/ 51 h 319"/>
                    <a:gd name="T20" fmla="*/ 363 w 384"/>
                    <a:gd name="T21" fmla="*/ 0 h 319"/>
                    <a:gd name="T22" fmla="*/ 384 w 384"/>
                    <a:gd name="T23" fmla="*/ 40 h 319"/>
                    <a:gd name="T24" fmla="*/ 264 w 384"/>
                    <a:gd name="T25" fmla="*/ 92 h 319"/>
                    <a:gd name="T26" fmla="*/ 255 w 384"/>
                    <a:gd name="T27" fmla="*/ 106 h 319"/>
                    <a:gd name="T28" fmla="*/ 254 w 384"/>
                    <a:gd name="T29" fmla="*/ 108 h 319"/>
                    <a:gd name="T30" fmla="*/ 225 w 384"/>
                    <a:gd name="T31" fmla="*/ 242 h 319"/>
                    <a:gd name="T32" fmla="*/ 356 w 384"/>
                    <a:gd name="T33" fmla="*/ 242 h 319"/>
                    <a:gd name="T34" fmla="*/ 361 w 384"/>
                    <a:gd name="T35" fmla="*/ 289 h 319"/>
                    <a:gd name="T36" fmla="*/ 373 w 384"/>
                    <a:gd name="T37" fmla="*/ 289 h 319"/>
                    <a:gd name="T38" fmla="*/ 373 w 384"/>
                    <a:gd name="T39" fmla="*/ 304 h 319"/>
                    <a:gd name="T40" fmla="*/ 384 w 384"/>
                    <a:gd name="T41" fmla="*/ 319 h 3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84" h="319">
                      <a:moveTo>
                        <a:pt x="384" y="319"/>
                      </a:moveTo>
                      <a:cubicBezTo>
                        <a:pt x="192" y="319"/>
                        <a:pt x="192" y="319"/>
                        <a:pt x="192" y="319"/>
                      </a:cubicBezTo>
                      <a:cubicBezTo>
                        <a:pt x="192" y="319"/>
                        <a:pt x="192" y="319"/>
                        <a:pt x="0" y="319"/>
                      </a:cubicBezTo>
                      <a:cubicBezTo>
                        <a:pt x="0" y="319"/>
                        <a:pt x="11" y="314"/>
                        <a:pt x="11" y="304"/>
                      </a:cubicBezTo>
                      <a:cubicBezTo>
                        <a:pt x="11" y="304"/>
                        <a:pt x="5" y="289"/>
                        <a:pt x="11" y="289"/>
                      </a:cubicBezTo>
                      <a:cubicBezTo>
                        <a:pt x="11" y="289"/>
                        <a:pt x="16" y="289"/>
                        <a:pt x="22" y="289"/>
                      </a:cubicBezTo>
                      <a:cubicBezTo>
                        <a:pt x="22" y="289"/>
                        <a:pt x="22" y="289"/>
                        <a:pt x="28" y="242"/>
                      </a:cubicBezTo>
                      <a:cubicBezTo>
                        <a:pt x="28" y="242"/>
                        <a:pt x="28" y="242"/>
                        <a:pt x="183" y="242"/>
                      </a:cubicBezTo>
                      <a:cubicBezTo>
                        <a:pt x="213" y="99"/>
                        <a:pt x="213" y="99"/>
                        <a:pt x="213" y="99"/>
                      </a:cubicBezTo>
                      <a:cubicBezTo>
                        <a:pt x="213" y="78"/>
                        <a:pt x="234" y="58"/>
                        <a:pt x="248" y="51"/>
                      </a:cubicBezTo>
                      <a:cubicBezTo>
                        <a:pt x="363" y="0"/>
                        <a:pt x="363" y="0"/>
                        <a:pt x="363" y="0"/>
                      </a:cubicBezTo>
                      <a:cubicBezTo>
                        <a:pt x="384" y="40"/>
                        <a:pt x="384" y="40"/>
                        <a:pt x="384" y="40"/>
                      </a:cubicBezTo>
                      <a:cubicBezTo>
                        <a:pt x="264" y="92"/>
                        <a:pt x="264" y="92"/>
                        <a:pt x="264" y="92"/>
                      </a:cubicBezTo>
                      <a:cubicBezTo>
                        <a:pt x="262" y="92"/>
                        <a:pt x="255" y="100"/>
                        <a:pt x="255" y="106"/>
                      </a:cubicBezTo>
                      <a:cubicBezTo>
                        <a:pt x="254" y="108"/>
                        <a:pt x="254" y="108"/>
                        <a:pt x="254" y="108"/>
                      </a:cubicBezTo>
                      <a:cubicBezTo>
                        <a:pt x="225" y="242"/>
                        <a:pt x="225" y="242"/>
                        <a:pt x="225" y="242"/>
                      </a:cubicBezTo>
                      <a:cubicBezTo>
                        <a:pt x="356" y="242"/>
                        <a:pt x="356" y="242"/>
                        <a:pt x="356" y="242"/>
                      </a:cubicBezTo>
                      <a:cubicBezTo>
                        <a:pt x="356" y="242"/>
                        <a:pt x="356" y="242"/>
                        <a:pt x="361" y="289"/>
                      </a:cubicBezTo>
                      <a:cubicBezTo>
                        <a:pt x="367" y="289"/>
                        <a:pt x="373" y="289"/>
                        <a:pt x="373" y="289"/>
                      </a:cubicBezTo>
                      <a:cubicBezTo>
                        <a:pt x="378" y="289"/>
                        <a:pt x="373" y="304"/>
                        <a:pt x="373" y="304"/>
                      </a:cubicBezTo>
                      <a:cubicBezTo>
                        <a:pt x="373" y="314"/>
                        <a:pt x="384" y="319"/>
                        <a:pt x="384" y="3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" name="Freeform 137">
                  <a:extLst>
                    <a:ext uri="{FF2B5EF4-FFF2-40B4-BE49-F238E27FC236}">
                      <a16:creationId xmlns:a16="http://schemas.microsoft.com/office/drawing/2014/main" xmlns="" id="{D5B2D196-CE22-C94D-B6B9-38DBEDF419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76614" y="-530434"/>
                  <a:ext cx="317500" cy="514350"/>
                </a:xfrm>
                <a:custGeom>
                  <a:avLst/>
                  <a:gdLst>
                    <a:gd name="T0" fmla="*/ 200 w 200"/>
                    <a:gd name="T1" fmla="*/ 0 h 324"/>
                    <a:gd name="T2" fmla="*/ 171 w 200"/>
                    <a:gd name="T3" fmla="*/ 324 h 324"/>
                    <a:gd name="T4" fmla="*/ 30 w 200"/>
                    <a:gd name="T5" fmla="*/ 324 h 324"/>
                    <a:gd name="T6" fmla="*/ 10 w 200"/>
                    <a:gd name="T7" fmla="*/ 110 h 324"/>
                    <a:gd name="T8" fmla="*/ 5 w 200"/>
                    <a:gd name="T9" fmla="*/ 54 h 324"/>
                    <a:gd name="T10" fmla="*/ 5 w 200"/>
                    <a:gd name="T11" fmla="*/ 54 h 324"/>
                    <a:gd name="T12" fmla="*/ 0 w 200"/>
                    <a:gd name="T13" fmla="*/ 0 h 324"/>
                    <a:gd name="T14" fmla="*/ 200 w 200"/>
                    <a:gd name="T15" fmla="*/ 0 h 3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0" h="324">
                      <a:moveTo>
                        <a:pt x="200" y="0"/>
                      </a:moveTo>
                      <a:lnTo>
                        <a:pt x="171" y="324"/>
                      </a:lnTo>
                      <a:lnTo>
                        <a:pt x="30" y="324"/>
                      </a:lnTo>
                      <a:lnTo>
                        <a:pt x="10" y="110"/>
                      </a:lnTo>
                      <a:lnTo>
                        <a:pt x="5" y="54"/>
                      </a:lnTo>
                      <a:lnTo>
                        <a:pt x="5" y="54"/>
                      </a:lnTo>
                      <a:lnTo>
                        <a:pt x="0" y="0"/>
                      </a:lnTo>
                      <a:lnTo>
                        <a:pt x="20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" name="Freeform 138">
                  <a:extLst>
                    <a:ext uri="{FF2B5EF4-FFF2-40B4-BE49-F238E27FC236}">
                      <a16:creationId xmlns:a16="http://schemas.microsoft.com/office/drawing/2014/main" xmlns="" id="{8E356260-EDEF-AA4A-9CD5-456CF19472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60000" y="-428625"/>
                  <a:ext cx="7938" cy="88900"/>
                </a:xfrm>
                <a:custGeom>
                  <a:avLst/>
                  <a:gdLst>
                    <a:gd name="T0" fmla="*/ 5 w 5"/>
                    <a:gd name="T1" fmla="*/ 56 h 56"/>
                    <a:gd name="T2" fmla="*/ 0 w 5"/>
                    <a:gd name="T3" fmla="*/ 0 h 56"/>
                    <a:gd name="T4" fmla="*/ 0 w 5"/>
                    <a:gd name="T5" fmla="*/ 0 h 56"/>
                    <a:gd name="T6" fmla="*/ 5 w 5"/>
                    <a:gd name="T7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56">
                      <a:moveTo>
                        <a:pt x="5" y="56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5" y="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" name="Freeform 139">
                  <a:extLst>
                    <a:ext uri="{FF2B5EF4-FFF2-40B4-BE49-F238E27FC236}">
                      <a16:creationId xmlns:a16="http://schemas.microsoft.com/office/drawing/2014/main" xmlns="" id="{9F9E7815-9912-FC44-A293-0003F0F14C7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906739" y="-382797"/>
                  <a:ext cx="266700" cy="122238"/>
                </a:xfrm>
                <a:custGeom>
                  <a:avLst/>
                  <a:gdLst>
                    <a:gd name="T0" fmla="*/ 270 w 278"/>
                    <a:gd name="T1" fmla="*/ 75 h 128"/>
                    <a:gd name="T2" fmla="*/ 267 w 278"/>
                    <a:gd name="T3" fmla="*/ 5 h 128"/>
                    <a:gd name="T4" fmla="*/ 0 w 278"/>
                    <a:gd name="T5" fmla="*/ 123 h 128"/>
                    <a:gd name="T6" fmla="*/ 278 w 278"/>
                    <a:gd name="T7" fmla="*/ 128 h 128"/>
                    <a:gd name="T8" fmla="*/ 53 w 278"/>
                    <a:gd name="T9" fmla="*/ 117 h 128"/>
                    <a:gd name="T10" fmla="*/ 29 w 278"/>
                    <a:gd name="T11" fmla="*/ 107 h 128"/>
                    <a:gd name="T12" fmla="*/ 53 w 278"/>
                    <a:gd name="T13" fmla="*/ 117 h 128"/>
                    <a:gd name="T14" fmla="*/ 76 w 278"/>
                    <a:gd name="T15" fmla="*/ 58 h 128"/>
                    <a:gd name="T16" fmla="*/ 82 w 278"/>
                    <a:gd name="T17" fmla="*/ 48 h 128"/>
                    <a:gd name="T18" fmla="*/ 118 w 278"/>
                    <a:gd name="T19" fmla="*/ 123 h 128"/>
                    <a:gd name="T20" fmla="*/ 118 w 278"/>
                    <a:gd name="T21" fmla="*/ 96 h 128"/>
                    <a:gd name="T22" fmla="*/ 118 w 278"/>
                    <a:gd name="T23" fmla="*/ 123 h 128"/>
                    <a:gd name="T24" fmla="*/ 112 w 278"/>
                    <a:gd name="T25" fmla="*/ 75 h 128"/>
                    <a:gd name="T26" fmla="*/ 153 w 278"/>
                    <a:gd name="T27" fmla="*/ 75 h 128"/>
                    <a:gd name="T28" fmla="*/ 135 w 278"/>
                    <a:gd name="T29" fmla="*/ 53 h 128"/>
                    <a:gd name="T30" fmla="*/ 147 w 278"/>
                    <a:gd name="T31" fmla="*/ 53 h 128"/>
                    <a:gd name="T32" fmla="*/ 135 w 278"/>
                    <a:gd name="T33" fmla="*/ 53 h 128"/>
                    <a:gd name="T34" fmla="*/ 135 w 278"/>
                    <a:gd name="T35" fmla="*/ 27 h 128"/>
                    <a:gd name="T36" fmla="*/ 165 w 278"/>
                    <a:gd name="T37" fmla="*/ 27 h 128"/>
                    <a:gd name="T38" fmla="*/ 194 w 278"/>
                    <a:gd name="T39" fmla="*/ 101 h 128"/>
                    <a:gd name="T40" fmla="*/ 194 w 278"/>
                    <a:gd name="T41" fmla="*/ 85 h 128"/>
                    <a:gd name="T42" fmla="*/ 194 w 278"/>
                    <a:gd name="T43" fmla="*/ 101 h 128"/>
                    <a:gd name="T44" fmla="*/ 188 w 278"/>
                    <a:gd name="T45" fmla="*/ 43 h 128"/>
                    <a:gd name="T46" fmla="*/ 212 w 278"/>
                    <a:gd name="T47" fmla="*/ 37 h 128"/>
                    <a:gd name="T48" fmla="*/ 229 w 278"/>
                    <a:gd name="T49" fmla="*/ 85 h 128"/>
                    <a:gd name="T50" fmla="*/ 235 w 278"/>
                    <a:gd name="T51" fmla="*/ 58 h 128"/>
                    <a:gd name="T52" fmla="*/ 229 w 278"/>
                    <a:gd name="T53" fmla="*/ 85 h 128"/>
                    <a:gd name="T54" fmla="*/ 235 w 278"/>
                    <a:gd name="T55" fmla="*/ 32 h 128"/>
                    <a:gd name="T56" fmla="*/ 247 w 278"/>
                    <a:gd name="T57" fmla="*/ 32 h 128"/>
                    <a:gd name="T58" fmla="*/ 259 w 278"/>
                    <a:gd name="T59" fmla="*/ 96 h 128"/>
                    <a:gd name="T60" fmla="*/ 253 w 278"/>
                    <a:gd name="T61" fmla="*/ 91 h 128"/>
                    <a:gd name="T62" fmla="*/ 259 w 278"/>
                    <a:gd name="T63" fmla="*/ 96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78" h="128">
                      <a:moveTo>
                        <a:pt x="273" y="75"/>
                      </a:moveTo>
                      <a:cubicBezTo>
                        <a:pt x="270" y="75"/>
                        <a:pt x="270" y="75"/>
                        <a:pt x="270" y="75"/>
                      </a:cubicBezTo>
                      <a:cubicBezTo>
                        <a:pt x="270" y="71"/>
                        <a:pt x="270" y="67"/>
                        <a:pt x="272" y="64"/>
                      </a:cubicBezTo>
                      <a:cubicBezTo>
                        <a:pt x="267" y="5"/>
                        <a:pt x="267" y="5"/>
                        <a:pt x="267" y="5"/>
                      </a:cubicBezTo>
                      <a:cubicBezTo>
                        <a:pt x="251" y="4"/>
                        <a:pt x="240" y="0"/>
                        <a:pt x="223" y="0"/>
                      </a:cubicBezTo>
                      <a:cubicBezTo>
                        <a:pt x="100" y="0"/>
                        <a:pt x="0" y="53"/>
                        <a:pt x="0" y="123"/>
                      </a:cubicBezTo>
                      <a:cubicBezTo>
                        <a:pt x="0" y="123"/>
                        <a:pt x="0" y="128"/>
                        <a:pt x="6" y="128"/>
                      </a:cubicBezTo>
                      <a:cubicBezTo>
                        <a:pt x="278" y="128"/>
                        <a:pt x="278" y="128"/>
                        <a:pt x="278" y="128"/>
                      </a:cubicBezTo>
                      <a:lnTo>
                        <a:pt x="273" y="75"/>
                      </a:lnTo>
                      <a:close/>
                      <a:moveTo>
                        <a:pt x="53" y="117"/>
                      </a:moveTo>
                      <a:cubicBezTo>
                        <a:pt x="53" y="117"/>
                        <a:pt x="47" y="117"/>
                        <a:pt x="41" y="117"/>
                      </a:cubicBezTo>
                      <a:cubicBezTo>
                        <a:pt x="35" y="117"/>
                        <a:pt x="29" y="112"/>
                        <a:pt x="29" y="107"/>
                      </a:cubicBezTo>
                      <a:cubicBezTo>
                        <a:pt x="35" y="101"/>
                        <a:pt x="41" y="101"/>
                        <a:pt x="47" y="107"/>
                      </a:cubicBezTo>
                      <a:cubicBezTo>
                        <a:pt x="53" y="107"/>
                        <a:pt x="59" y="112"/>
                        <a:pt x="53" y="117"/>
                      </a:cubicBezTo>
                      <a:close/>
                      <a:moveTo>
                        <a:pt x="88" y="58"/>
                      </a:moveTo>
                      <a:cubicBezTo>
                        <a:pt x="88" y="58"/>
                        <a:pt x="82" y="58"/>
                        <a:pt x="76" y="58"/>
                      </a:cubicBezTo>
                      <a:cubicBezTo>
                        <a:pt x="71" y="58"/>
                        <a:pt x="71" y="53"/>
                        <a:pt x="71" y="48"/>
                      </a:cubicBezTo>
                      <a:cubicBezTo>
                        <a:pt x="71" y="48"/>
                        <a:pt x="76" y="48"/>
                        <a:pt x="82" y="48"/>
                      </a:cubicBezTo>
                      <a:cubicBezTo>
                        <a:pt x="88" y="53"/>
                        <a:pt x="94" y="53"/>
                        <a:pt x="88" y="58"/>
                      </a:cubicBezTo>
                      <a:close/>
                      <a:moveTo>
                        <a:pt x="118" y="123"/>
                      </a:moveTo>
                      <a:cubicBezTo>
                        <a:pt x="112" y="123"/>
                        <a:pt x="112" y="117"/>
                        <a:pt x="112" y="107"/>
                      </a:cubicBezTo>
                      <a:cubicBezTo>
                        <a:pt x="112" y="101"/>
                        <a:pt x="118" y="96"/>
                        <a:pt x="118" y="96"/>
                      </a:cubicBezTo>
                      <a:cubicBezTo>
                        <a:pt x="123" y="96"/>
                        <a:pt x="123" y="101"/>
                        <a:pt x="123" y="107"/>
                      </a:cubicBezTo>
                      <a:cubicBezTo>
                        <a:pt x="123" y="117"/>
                        <a:pt x="123" y="123"/>
                        <a:pt x="118" y="123"/>
                      </a:cubicBezTo>
                      <a:close/>
                      <a:moveTo>
                        <a:pt x="135" y="85"/>
                      </a:moveTo>
                      <a:cubicBezTo>
                        <a:pt x="123" y="80"/>
                        <a:pt x="112" y="80"/>
                        <a:pt x="112" y="75"/>
                      </a:cubicBezTo>
                      <a:cubicBezTo>
                        <a:pt x="112" y="75"/>
                        <a:pt x="123" y="69"/>
                        <a:pt x="135" y="69"/>
                      </a:cubicBezTo>
                      <a:cubicBezTo>
                        <a:pt x="141" y="64"/>
                        <a:pt x="153" y="69"/>
                        <a:pt x="153" y="75"/>
                      </a:cubicBezTo>
                      <a:cubicBezTo>
                        <a:pt x="153" y="80"/>
                        <a:pt x="141" y="85"/>
                        <a:pt x="135" y="85"/>
                      </a:cubicBezTo>
                      <a:close/>
                      <a:moveTo>
                        <a:pt x="135" y="53"/>
                      </a:moveTo>
                      <a:cubicBezTo>
                        <a:pt x="135" y="48"/>
                        <a:pt x="141" y="43"/>
                        <a:pt x="141" y="43"/>
                      </a:cubicBezTo>
                      <a:cubicBezTo>
                        <a:pt x="141" y="43"/>
                        <a:pt x="141" y="48"/>
                        <a:pt x="147" y="53"/>
                      </a:cubicBezTo>
                      <a:cubicBezTo>
                        <a:pt x="147" y="58"/>
                        <a:pt x="141" y="64"/>
                        <a:pt x="141" y="64"/>
                      </a:cubicBezTo>
                      <a:cubicBezTo>
                        <a:pt x="135" y="58"/>
                        <a:pt x="135" y="58"/>
                        <a:pt x="135" y="53"/>
                      </a:cubicBezTo>
                      <a:close/>
                      <a:moveTo>
                        <a:pt x="153" y="32"/>
                      </a:moveTo>
                      <a:cubicBezTo>
                        <a:pt x="141" y="32"/>
                        <a:pt x="135" y="27"/>
                        <a:pt x="135" y="27"/>
                      </a:cubicBezTo>
                      <a:cubicBezTo>
                        <a:pt x="135" y="21"/>
                        <a:pt x="141" y="21"/>
                        <a:pt x="153" y="21"/>
                      </a:cubicBezTo>
                      <a:cubicBezTo>
                        <a:pt x="159" y="16"/>
                        <a:pt x="165" y="21"/>
                        <a:pt x="165" y="27"/>
                      </a:cubicBezTo>
                      <a:cubicBezTo>
                        <a:pt x="165" y="32"/>
                        <a:pt x="159" y="32"/>
                        <a:pt x="153" y="32"/>
                      </a:cubicBezTo>
                      <a:close/>
                      <a:moveTo>
                        <a:pt x="194" y="101"/>
                      </a:moveTo>
                      <a:cubicBezTo>
                        <a:pt x="188" y="101"/>
                        <a:pt x="182" y="101"/>
                        <a:pt x="182" y="96"/>
                      </a:cubicBezTo>
                      <a:cubicBezTo>
                        <a:pt x="182" y="91"/>
                        <a:pt x="188" y="85"/>
                        <a:pt x="194" y="85"/>
                      </a:cubicBezTo>
                      <a:cubicBezTo>
                        <a:pt x="200" y="91"/>
                        <a:pt x="212" y="91"/>
                        <a:pt x="212" y="91"/>
                      </a:cubicBezTo>
                      <a:cubicBezTo>
                        <a:pt x="212" y="96"/>
                        <a:pt x="206" y="96"/>
                        <a:pt x="194" y="101"/>
                      </a:cubicBezTo>
                      <a:close/>
                      <a:moveTo>
                        <a:pt x="200" y="43"/>
                      </a:moveTo>
                      <a:cubicBezTo>
                        <a:pt x="194" y="48"/>
                        <a:pt x="188" y="43"/>
                        <a:pt x="188" y="43"/>
                      </a:cubicBezTo>
                      <a:cubicBezTo>
                        <a:pt x="188" y="37"/>
                        <a:pt x="194" y="37"/>
                        <a:pt x="200" y="37"/>
                      </a:cubicBezTo>
                      <a:cubicBezTo>
                        <a:pt x="206" y="37"/>
                        <a:pt x="212" y="37"/>
                        <a:pt x="212" y="37"/>
                      </a:cubicBezTo>
                      <a:cubicBezTo>
                        <a:pt x="212" y="43"/>
                        <a:pt x="206" y="43"/>
                        <a:pt x="200" y="43"/>
                      </a:cubicBezTo>
                      <a:close/>
                      <a:moveTo>
                        <a:pt x="229" y="85"/>
                      </a:moveTo>
                      <a:cubicBezTo>
                        <a:pt x="229" y="85"/>
                        <a:pt x="229" y="80"/>
                        <a:pt x="229" y="69"/>
                      </a:cubicBezTo>
                      <a:cubicBezTo>
                        <a:pt x="229" y="64"/>
                        <a:pt x="235" y="58"/>
                        <a:pt x="235" y="58"/>
                      </a:cubicBezTo>
                      <a:cubicBezTo>
                        <a:pt x="241" y="58"/>
                        <a:pt x="241" y="64"/>
                        <a:pt x="241" y="75"/>
                      </a:cubicBezTo>
                      <a:cubicBezTo>
                        <a:pt x="235" y="80"/>
                        <a:pt x="235" y="85"/>
                        <a:pt x="229" y="85"/>
                      </a:cubicBezTo>
                      <a:close/>
                      <a:moveTo>
                        <a:pt x="241" y="43"/>
                      </a:moveTo>
                      <a:cubicBezTo>
                        <a:pt x="235" y="43"/>
                        <a:pt x="235" y="37"/>
                        <a:pt x="235" y="32"/>
                      </a:cubicBezTo>
                      <a:cubicBezTo>
                        <a:pt x="235" y="21"/>
                        <a:pt x="241" y="21"/>
                        <a:pt x="247" y="21"/>
                      </a:cubicBezTo>
                      <a:cubicBezTo>
                        <a:pt x="253" y="21"/>
                        <a:pt x="253" y="27"/>
                        <a:pt x="247" y="32"/>
                      </a:cubicBezTo>
                      <a:cubicBezTo>
                        <a:pt x="247" y="43"/>
                        <a:pt x="241" y="48"/>
                        <a:pt x="241" y="43"/>
                      </a:cubicBezTo>
                      <a:close/>
                      <a:moveTo>
                        <a:pt x="259" y="96"/>
                      </a:moveTo>
                      <a:cubicBezTo>
                        <a:pt x="253" y="101"/>
                        <a:pt x="253" y="101"/>
                        <a:pt x="247" y="101"/>
                      </a:cubicBezTo>
                      <a:cubicBezTo>
                        <a:pt x="247" y="96"/>
                        <a:pt x="247" y="91"/>
                        <a:pt x="253" y="91"/>
                      </a:cubicBezTo>
                      <a:cubicBezTo>
                        <a:pt x="259" y="85"/>
                        <a:pt x="264" y="85"/>
                        <a:pt x="264" y="85"/>
                      </a:cubicBezTo>
                      <a:cubicBezTo>
                        <a:pt x="264" y="91"/>
                        <a:pt x="264" y="91"/>
                        <a:pt x="259" y="9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" name="Freeform 140">
                  <a:extLst>
                    <a:ext uri="{FF2B5EF4-FFF2-40B4-BE49-F238E27FC236}">
                      <a16:creationId xmlns:a16="http://schemas.microsoft.com/office/drawing/2014/main" xmlns="" id="{B3356C81-1EFF-5A45-8C01-F08CFC7C9B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06739" y="-90697"/>
                  <a:ext cx="287338" cy="74613"/>
                </a:xfrm>
                <a:custGeom>
                  <a:avLst/>
                  <a:gdLst>
                    <a:gd name="T0" fmla="*/ 300 w 300"/>
                    <a:gd name="T1" fmla="*/ 74 h 77"/>
                    <a:gd name="T2" fmla="*/ 225 w 300"/>
                    <a:gd name="T3" fmla="*/ 77 h 77"/>
                    <a:gd name="T4" fmla="*/ 0 w 300"/>
                    <a:gd name="T5" fmla="*/ 26 h 77"/>
                    <a:gd name="T6" fmla="*/ 0 w 300"/>
                    <a:gd name="T7" fmla="*/ 13 h 77"/>
                    <a:gd name="T8" fmla="*/ 12 w 300"/>
                    <a:gd name="T9" fmla="*/ 0 h 77"/>
                    <a:gd name="T10" fmla="*/ 294 w 300"/>
                    <a:gd name="T11" fmla="*/ 0 h 77"/>
                    <a:gd name="T12" fmla="*/ 296 w 300"/>
                    <a:gd name="T13" fmla="*/ 26 h 77"/>
                    <a:gd name="T14" fmla="*/ 300 w 300"/>
                    <a:gd name="T15" fmla="*/ 74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00" h="77">
                      <a:moveTo>
                        <a:pt x="300" y="74"/>
                      </a:moveTo>
                      <a:cubicBezTo>
                        <a:pt x="278" y="77"/>
                        <a:pt x="252" y="77"/>
                        <a:pt x="225" y="77"/>
                      </a:cubicBezTo>
                      <a:cubicBezTo>
                        <a:pt x="107" y="77"/>
                        <a:pt x="12" y="59"/>
                        <a:pt x="0" y="26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7"/>
                        <a:pt x="0" y="0"/>
                        <a:pt x="12" y="0"/>
                      </a:cubicBezTo>
                      <a:cubicBezTo>
                        <a:pt x="12" y="0"/>
                        <a:pt x="12" y="0"/>
                        <a:pt x="294" y="0"/>
                      </a:cubicBezTo>
                      <a:cubicBezTo>
                        <a:pt x="296" y="26"/>
                        <a:pt x="296" y="26"/>
                        <a:pt x="296" y="26"/>
                      </a:cubicBezTo>
                      <a:lnTo>
                        <a:pt x="300" y="7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" name="Freeform 141">
                  <a:extLst>
                    <a:ext uri="{FF2B5EF4-FFF2-40B4-BE49-F238E27FC236}">
                      <a16:creationId xmlns:a16="http://schemas.microsoft.com/office/drawing/2014/main" xmlns="" id="{5FDDF16C-A0A7-C44B-A5D9-DBC3C13092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06739" y="-187535"/>
                  <a:ext cx="277813" cy="73025"/>
                </a:xfrm>
                <a:custGeom>
                  <a:avLst/>
                  <a:gdLst>
                    <a:gd name="T0" fmla="*/ 291 w 291"/>
                    <a:gd name="T1" fmla="*/ 64 h 77"/>
                    <a:gd name="T2" fmla="*/ 284 w 291"/>
                    <a:gd name="T3" fmla="*/ 63 h 77"/>
                    <a:gd name="T4" fmla="*/ 253 w 291"/>
                    <a:gd name="T5" fmla="*/ 67 h 77"/>
                    <a:gd name="T6" fmla="*/ 229 w 291"/>
                    <a:gd name="T7" fmla="*/ 63 h 77"/>
                    <a:gd name="T8" fmla="*/ 205 w 291"/>
                    <a:gd name="T9" fmla="*/ 77 h 77"/>
                    <a:gd name="T10" fmla="*/ 175 w 291"/>
                    <a:gd name="T11" fmla="*/ 63 h 77"/>
                    <a:gd name="T12" fmla="*/ 151 w 291"/>
                    <a:gd name="T13" fmla="*/ 72 h 77"/>
                    <a:gd name="T14" fmla="*/ 121 w 291"/>
                    <a:gd name="T15" fmla="*/ 63 h 77"/>
                    <a:gd name="T16" fmla="*/ 97 w 291"/>
                    <a:gd name="T17" fmla="*/ 72 h 77"/>
                    <a:gd name="T18" fmla="*/ 73 w 291"/>
                    <a:gd name="T19" fmla="*/ 72 h 77"/>
                    <a:gd name="T20" fmla="*/ 42 w 291"/>
                    <a:gd name="T21" fmla="*/ 67 h 77"/>
                    <a:gd name="T22" fmla="*/ 18 w 291"/>
                    <a:gd name="T23" fmla="*/ 67 h 77"/>
                    <a:gd name="T24" fmla="*/ 0 w 291"/>
                    <a:gd name="T25" fmla="*/ 53 h 77"/>
                    <a:gd name="T26" fmla="*/ 0 w 291"/>
                    <a:gd name="T27" fmla="*/ 49 h 77"/>
                    <a:gd name="T28" fmla="*/ 18 w 291"/>
                    <a:gd name="T29" fmla="*/ 25 h 77"/>
                    <a:gd name="T30" fmla="*/ 13 w 291"/>
                    <a:gd name="T31" fmla="*/ 25 h 77"/>
                    <a:gd name="T32" fmla="*/ 0 w 291"/>
                    <a:gd name="T33" fmla="*/ 13 h 77"/>
                    <a:gd name="T34" fmla="*/ 13 w 291"/>
                    <a:gd name="T35" fmla="*/ 0 h 77"/>
                    <a:gd name="T36" fmla="*/ 285 w 291"/>
                    <a:gd name="T37" fmla="*/ 0 h 77"/>
                    <a:gd name="T38" fmla="*/ 286 w 291"/>
                    <a:gd name="T39" fmla="*/ 11 h 77"/>
                    <a:gd name="T40" fmla="*/ 287 w 291"/>
                    <a:gd name="T41" fmla="*/ 25 h 77"/>
                    <a:gd name="T42" fmla="*/ 288 w 291"/>
                    <a:gd name="T43" fmla="*/ 30 h 77"/>
                    <a:gd name="T44" fmla="*/ 288 w 291"/>
                    <a:gd name="T45" fmla="*/ 38 h 77"/>
                    <a:gd name="T46" fmla="*/ 291 w 291"/>
                    <a:gd name="T47" fmla="*/ 64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91" h="77">
                      <a:moveTo>
                        <a:pt x="291" y="64"/>
                      </a:moveTo>
                      <a:cubicBezTo>
                        <a:pt x="289" y="63"/>
                        <a:pt x="286" y="63"/>
                        <a:pt x="284" y="63"/>
                      </a:cubicBezTo>
                      <a:cubicBezTo>
                        <a:pt x="272" y="63"/>
                        <a:pt x="272" y="67"/>
                        <a:pt x="253" y="67"/>
                      </a:cubicBezTo>
                      <a:cubicBezTo>
                        <a:pt x="241" y="67"/>
                        <a:pt x="241" y="63"/>
                        <a:pt x="229" y="63"/>
                      </a:cubicBezTo>
                      <a:cubicBezTo>
                        <a:pt x="217" y="63"/>
                        <a:pt x="217" y="77"/>
                        <a:pt x="205" y="77"/>
                      </a:cubicBezTo>
                      <a:cubicBezTo>
                        <a:pt x="187" y="77"/>
                        <a:pt x="187" y="63"/>
                        <a:pt x="175" y="63"/>
                      </a:cubicBezTo>
                      <a:cubicBezTo>
                        <a:pt x="163" y="63"/>
                        <a:pt x="163" y="72"/>
                        <a:pt x="151" y="72"/>
                      </a:cubicBezTo>
                      <a:cubicBezTo>
                        <a:pt x="139" y="72"/>
                        <a:pt x="139" y="63"/>
                        <a:pt x="121" y="63"/>
                      </a:cubicBezTo>
                      <a:cubicBezTo>
                        <a:pt x="109" y="63"/>
                        <a:pt x="109" y="72"/>
                        <a:pt x="97" y="72"/>
                      </a:cubicBezTo>
                      <a:cubicBezTo>
                        <a:pt x="85" y="72"/>
                        <a:pt x="85" y="72"/>
                        <a:pt x="73" y="72"/>
                      </a:cubicBezTo>
                      <a:cubicBezTo>
                        <a:pt x="54" y="72"/>
                        <a:pt x="54" y="67"/>
                        <a:pt x="42" y="67"/>
                      </a:cubicBezTo>
                      <a:cubicBezTo>
                        <a:pt x="30" y="67"/>
                        <a:pt x="30" y="67"/>
                        <a:pt x="18" y="67"/>
                      </a:cubicBezTo>
                      <a:cubicBezTo>
                        <a:pt x="12" y="67"/>
                        <a:pt x="0" y="67"/>
                        <a:pt x="0" y="53"/>
                      </a:cubicBezTo>
                      <a:cubicBezTo>
                        <a:pt x="0" y="53"/>
                        <a:pt x="0" y="53"/>
                        <a:pt x="0" y="49"/>
                      </a:cubicBezTo>
                      <a:cubicBezTo>
                        <a:pt x="0" y="39"/>
                        <a:pt x="12" y="25"/>
                        <a:pt x="18" y="25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0" y="25"/>
                        <a:pt x="0" y="19"/>
                        <a:pt x="0" y="13"/>
                      </a:cubicBezTo>
                      <a:cubicBezTo>
                        <a:pt x="0" y="6"/>
                        <a:pt x="0" y="0"/>
                        <a:pt x="13" y="0"/>
                      </a:cubicBezTo>
                      <a:cubicBezTo>
                        <a:pt x="13" y="0"/>
                        <a:pt x="13" y="0"/>
                        <a:pt x="285" y="0"/>
                      </a:cubicBezTo>
                      <a:cubicBezTo>
                        <a:pt x="286" y="11"/>
                        <a:pt x="286" y="11"/>
                        <a:pt x="286" y="11"/>
                      </a:cubicBezTo>
                      <a:cubicBezTo>
                        <a:pt x="287" y="25"/>
                        <a:pt x="287" y="25"/>
                        <a:pt x="287" y="25"/>
                      </a:cubicBezTo>
                      <a:cubicBezTo>
                        <a:pt x="288" y="30"/>
                        <a:pt x="288" y="30"/>
                        <a:pt x="288" y="30"/>
                      </a:cubicBezTo>
                      <a:cubicBezTo>
                        <a:pt x="288" y="38"/>
                        <a:pt x="288" y="38"/>
                        <a:pt x="288" y="38"/>
                      </a:cubicBezTo>
                      <a:lnTo>
                        <a:pt x="291" y="6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" name="Freeform 142">
                  <a:extLst>
                    <a:ext uri="{FF2B5EF4-FFF2-40B4-BE49-F238E27FC236}">
                      <a16:creationId xmlns:a16="http://schemas.microsoft.com/office/drawing/2014/main" xmlns="" id="{46EA385C-59F7-7B46-8969-C800666581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882187" y="-220663"/>
                  <a:ext cx="269875" cy="23813"/>
                </a:xfrm>
                <a:custGeom>
                  <a:avLst/>
                  <a:gdLst>
                    <a:gd name="T0" fmla="*/ 282 w 282"/>
                    <a:gd name="T1" fmla="*/ 20 h 25"/>
                    <a:gd name="T2" fmla="*/ 271 w 282"/>
                    <a:gd name="T3" fmla="*/ 20 h 25"/>
                    <a:gd name="T4" fmla="*/ 242 w 282"/>
                    <a:gd name="T5" fmla="*/ 25 h 25"/>
                    <a:gd name="T6" fmla="*/ 219 w 282"/>
                    <a:gd name="T7" fmla="*/ 20 h 25"/>
                    <a:gd name="T8" fmla="*/ 190 w 282"/>
                    <a:gd name="T9" fmla="*/ 20 h 25"/>
                    <a:gd name="T10" fmla="*/ 167 w 282"/>
                    <a:gd name="T11" fmla="*/ 20 h 25"/>
                    <a:gd name="T12" fmla="*/ 144 w 282"/>
                    <a:gd name="T13" fmla="*/ 25 h 25"/>
                    <a:gd name="T14" fmla="*/ 115 w 282"/>
                    <a:gd name="T15" fmla="*/ 25 h 25"/>
                    <a:gd name="T16" fmla="*/ 92 w 282"/>
                    <a:gd name="T17" fmla="*/ 25 h 25"/>
                    <a:gd name="T18" fmla="*/ 63 w 282"/>
                    <a:gd name="T19" fmla="*/ 25 h 25"/>
                    <a:gd name="T20" fmla="*/ 40 w 282"/>
                    <a:gd name="T21" fmla="*/ 25 h 25"/>
                    <a:gd name="T22" fmla="*/ 17 w 282"/>
                    <a:gd name="T23" fmla="*/ 20 h 25"/>
                    <a:gd name="T24" fmla="*/ 0 w 282"/>
                    <a:gd name="T25" fmla="*/ 15 h 25"/>
                    <a:gd name="T26" fmla="*/ 17 w 282"/>
                    <a:gd name="T27" fmla="*/ 0 h 25"/>
                    <a:gd name="T28" fmla="*/ 40 w 282"/>
                    <a:gd name="T29" fmla="*/ 5 h 25"/>
                    <a:gd name="T30" fmla="*/ 63 w 282"/>
                    <a:gd name="T31" fmla="*/ 5 h 25"/>
                    <a:gd name="T32" fmla="*/ 92 w 282"/>
                    <a:gd name="T33" fmla="*/ 5 h 25"/>
                    <a:gd name="T34" fmla="*/ 115 w 282"/>
                    <a:gd name="T35" fmla="*/ 0 h 25"/>
                    <a:gd name="T36" fmla="*/ 144 w 282"/>
                    <a:gd name="T37" fmla="*/ 5 h 25"/>
                    <a:gd name="T38" fmla="*/ 167 w 282"/>
                    <a:gd name="T39" fmla="*/ 5 h 25"/>
                    <a:gd name="T40" fmla="*/ 190 w 282"/>
                    <a:gd name="T41" fmla="*/ 5 h 25"/>
                    <a:gd name="T42" fmla="*/ 219 w 282"/>
                    <a:gd name="T43" fmla="*/ 5 h 25"/>
                    <a:gd name="T44" fmla="*/ 242 w 282"/>
                    <a:gd name="T45" fmla="*/ 0 h 25"/>
                    <a:gd name="T46" fmla="*/ 265 w 282"/>
                    <a:gd name="T47" fmla="*/ 5 h 25"/>
                    <a:gd name="T48" fmla="*/ 281 w 282"/>
                    <a:gd name="T49" fmla="*/ 5 h 25"/>
                    <a:gd name="T50" fmla="*/ 282 w 282"/>
                    <a:gd name="T51" fmla="*/ 2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82" h="25">
                      <a:moveTo>
                        <a:pt x="282" y="20"/>
                      </a:moveTo>
                      <a:cubicBezTo>
                        <a:pt x="276" y="20"/>
                        <a:pt x="276" y="20"/>
                        <a:pt x="271" y="20"/>
                      </a:cubicBezTo>
                      <a:cubicBezTo>
                        <a:pt x="253" y="20"/>
                        <a:pt x="253" y="25"/>
                        <a:pt x="242" y="25"/>
                      </a:cubicBezTo>
                      <a:cubicBezTo>
                        <a:pt x="230" y="25"/>
                        <a:pt x="230" y="20"/>
                        <a:pt x="219" y="20"/>
                      </a:cubicBezTo>
                      <a:cubicBezTo>
                        <a:pt x="207" y="20"/>
                        <a:pt x="207" y="20"/>
                        <a:pt x="190" y="20"/>
                      </a:cubicBezTo>
                      <a:cubicBezTo>
                        <a:pt x="179" y="20"/>
                        <a:pt x="179" y="20"/>
                        <a:pt x="167" y="20"/>
                      </a:cubicBezTo>
                      <a:cubicBezTo>
                        <a:pt x="156" y="20"/>
                        <a:pt x="156" y="25"/>
                        <a:pt x="144" y="25"/>
                      </a:cubicBezTo>
                      <a:cubicBezTo>
                        <a:pt x="127" y="25"/>
                        <a:pt x="127" y="25"/>
                        <a:pt x="115" y="25"/>
                      </a:cubicBezTo>
                      <a:cubicBezTo>
                        <a:pt x="104" y="25"/>
                        <a:pt x="104" y="25"/>
                        <a:pt x="92" y="25"/>
                      </a:cubicBezTo>
                      <a:cubicBezTo>
                        <a:pt x="81" y="25"/>
                        <a:pt x="81" y="25"/>
                        <a:pt x="63" y="25"/>
                      </a:cubicBezTo>
                      <a:cubicBezTo>
                        <a:pt x="52" y="25"/>
                        <a:pt x="52" y="25"/>
                        <a:pt x="40" y="25"/>
                      </a:cubicBezTo>
                      <a:cubicBezTo>
                        <a:pt x="29" y="25"/>
                        <a:pt x="29" y="20"/>
                        <a:pt x="17" y="20"/>
                      </a:cubicBezTo>
                      <a:cubicBezTo>
                        <a:pt x="6" y="20"/>
                        <a:pt x="0" y="20"/>
                        <a:pt x="0" y="15"/>
                      </a:cubicBezTo>
                      <a:cubicBezTo>
                        <a:pt x="0" y="5"/>
                        <a:pt x="6" y="0"/>
                        <a:pt x="17" y="0"/>
                      </a:cubicBezTo>
                      <a:cubicBezTo>
                        <a:pt x="29" y="0"/>
                        <a:pt x="29" y="5"/>
                        <a:pt x="40" y="5"/>
                      </a:cubicBezTo>
                      <a:cubicBezTo>
                        <a:pt x="52" y="5"/>
                        <a:pt x="52" y="5"/>
                        <a:pt x="63" y="5"/>
                      </a:cubicBezTo>
                      <a:cubicBezTo>
                        <a:pt x="81" y="5"/>
                        <a:pt x="81" y="5"/>
                        <a:pt x="92" y="5"/>
                      </a:cubicBezTo>
                      <a:cubicBezTo>
                        <a:pt x="104" y="5"/>
                        <a:pt x="104" y="0"/>
                        <a:pt x="115" y="0"/>
                      </a:cubicBezTo>
                      <a:cubicBezTo>
                        <a:pt x="127" y="0"/>
                        <a:pt x="127" y="5"/>
                        <a:pt x="144" y="5"/>
                      </a:cubicBezTo>
                      <a:cubicBezTo>
                        <a:pt x="156" y="5"/>
                        <a:pt x="156" y="5"/>
                        <a:pt x="167" y="5"/>
                      </a:cubicBezTo>
                      <a:cubicBezTo>
                        <a:pt x="179" y="5"/>
                        <a:pt x="179" y="5"/>
                        <a:pt x="190" y="5"/>
                      </a:cubicBezTo>
                      <a:cubicBezTo>
                        <a:pt x="201" y="5"/>
                        <a:pt x="201" y="5"/>
                        <a:pt x="219" y="5"/>
                      </a:cubicBezTo>
                      <a:cubicBezTo>
                        <a:pt x="230" y="5"/>
                        <a:pt x="230" y="0"/>
                        <a:pt x="242" y="0"/>
                      </a:cubicBezTo>
                      <a:cubicBezTo>
                        <a:pt x="253" y="0"/>
                        <a:pt x="253" y="5"/>
                        <a:pt x="265" y="5"/>
                      </a:cubicBezTo>
                      <a:cubicBezTo>
                        <a:pt x="281" y="5"/>
                        <a:pt x="281" y="5"/>
                        <a:pt x="281" y="5"/>
                      </a:cubicBezTo>
                      <a:lnTo>
                        <a:pt x="282" y="2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" name="Freeform 143">
                  <a:extLst>
                    <a:ext uri="{FF2B5EF4-FFF2-40B4-BE49-F238E27FC236}">
                      <a16:creationId xmlns:a16="http://schemas.microsoft.com/office/drawing/2014/main" xmlns="" id="{66D4F907-5802-A943-92CC-6FF29D966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50475" y="-215900"/>
                  <a:ext cx="1588" cy="14288"/>
                </a:xfrm>
                <a:custGeom>
                  <a:avLst/>
                  <a:gdLst>
                    <a:gd name="T0" fmla="*/ 1 w 1"/>
                    <a:gd name="T1" fmla="*/ 0 h 15"/>
                    <a:gd name="T2" fmla="*/ 1 w 1"/>
                    <a:gd name="T3" fmla="*/ 15 h 15"/>
                    <a:gd name="T4" fmla="*/ 0 w 1"/>
                    <a:gd name="T5" fmla="*/ 0 h 15"/>
                    <a:gd name="T6" fmla="*/ 1 w 1"/>
                    <a:gd name="T7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5">
                      <a:moveTo>
                        <a:pt x="1" y="0"/>
                      </a:moveTo>
                      <a:cubicBezTo>
                        <a:pt x="1" y="0"/>
                        <a:pt x="1" y="0"/>
                        <a:pt x="1" y="15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" name="Freeform 144">
                  <a:extLst>
                    <a:ext uri="{FF2B5EF4-FFF2-40B4-BE49-F238E27FC236}">
                      <a16:creationId xmlns:a16="http://schemas.microsoft.com/office/drawing/2014/main" xmlns="" id="{CE64AC9F-1EBD-9648-AC40-EF1868D6FF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50475" y="-215900"/>
                  <a:ext cx="1588" cy="14288"/>
                </a:xfrm>
                <a:custGeom>
                  <a:avLst/>
                  <a:gdLst>
                    <a:gd name="T0" fmla="*/ 0 w 1"/>
                    <a:gd name="T1" fmla="*/ 0 h 15"/>
                    <a:gd name="T2" fmla="*/ 1 w 1"/>
                    <a:gd name="T3" fmla="*/ 0 h 15"/>
                    <a:gd name="T4" fmla="*/ 1 w 1"/>
                    <a:gd name="T5" fmla="*/ 15 h 15"/>
                    <a:gd name="T6" fmla="*/ 0 w 1"/>
                    <a:gd name="T7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5">
                      <a:moveTo>
                        <a:pt x="0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15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" name="Freeform 145">
                  <a:extLst>
                    <a:ext uri="{FF2B5EF4-FFF2-40B4-BE49-F238E27FC236}">
                      <a16:creationId xmlns:a16="http://schemas.microsoft.com/office/drawing/2014/main" xmlns="" id="{572AB1E8-5E88-9F4E-A814-0CB9FF2214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60000" y="-428625"/>
                  <a:ext cx="7938" cy="88900"/>
                </a:xfrm>
                <a:custGeom>
                  <a:avLst/>
                  <a:gdLst>
                    <a:gd name="T0" fmla="*/ 5 w 5"/>
                    <a:gd name="T1" fmla="*/ 56 h 56"/>
                    <a:gd name="T2" fmla="*/ 0 w 5"/>
                    <a:gd name="T3" fmla="*/ 0 h 56"/>
                    <a:gd name="T4" fmla="*/ 0 w 5"/>
                    <a:gd name="T5" fmla="*/ 0 h 56"/>
                    <a:gd name="T6" fmla="*/ 5 w 5"/>
                    <a:gd name="T7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56">
                      <a:moveTo>
                        <a:pt x="5" y="56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5" y="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4" name="Group 23"/>
          <p:cNvGrpSpPr/>
          <p:nvPr/>
        </p:nvGrpSpPr>
        <p:grpSpPr>
          <a:xfrm>
            <a:off x="7085903" y="3429040"/>
            <a:ext cx="1187488" cy="1288057"/>
            <a:chOff x="5378570" y="1920855"/>
            <a:chExt cx="1526036" cy="1918408"/>
          </a:xfrm>
        </p:grpSpPr>
        <p:grpSp>
          <p:nvGrpSpPr>
            <p:cNvPr id="6" name="Group 5"/>
            <p:cNvGrpSpPr/>
            <p:nvPr/>
          </p:nvGrpSpPr>
          <p:grpSpPr>
            <a:xfrm>
              <a:off x="5378570" y="1920855"/>
              <a:ext cx="1526036" cy="1555396"/>
              <a:chOff x="5378570" y="1920855"/>
              <a:chExt cx="1526036" cy="1555396"/>
            </a:xfrm>
          </p:grpSpPr>
          <p:sp>
            <p:nvSpPr>
              <p:cNvPr id="100" name="Mobile Payments - oval"/>
              <p:cNvSpPr/>
              <p:nvPr/>
            </p:nvSpPr>
            <p:spPr>
              <a:xfrm>
                <a:off x="5378570" y="1920855"/>
                <a:ext cx="1526036" cy="155539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2050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61322" y="2162745"/>
                <a:ext cx="760532" cy="11094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1" name="TextBox 110"/>
            <p:cNvSpPr txBox="1"/>
            <p:nvPr/>
          </p:nvSpPr>
          <p:spPr>
            <a:xfrm>
              <a:off x="5487624" y="3453425"/>
              <a:ext cx="1329699" cy="3858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b="1" dirty="0" smtClean="0"/>
                <a:t>Pubs</a:t>
              </a:r>
              <a:endParaRPr lang="en-GB" sz="1400" b="1" dirty="0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4370898" y="3455438"/>
            <a:ext cx="1210336" cy="1304622"/>
            <a:chOff x="7057006" y="1867573"/>
            <a:chExt cx="1526036" cy="1952634"/>
          </a:xfrm>
        </p:grpSpPr>
        <p:sp>
          <p:nvSpPr>
            <p:cNvPr id="102" name="Mobile Payments - oval"/>
            <p:cNvSpPr/>
            <p:nvPr/>
          </p:nvSpPr>
          <p:spPr>
            <a:xfrm>
              <a:off x="7057006" y="1867573"/>
              <a:ext cx="1526036" cy="155539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xmlns="" id="{4A68438A-DF08-E548-BA2B-DAA1C4C78AF6}"/>
                </a:ext>
              </a:extLst>
            </p:cNvPr>
            <p:cNvGrpSpPr/>
            <p:nvPr/>
          </p:nvGrpSpPr>
          <p:grpSpPr>
            <a:xfrm>
              <a:off x="7132972" y="2073213"/>
              <a:ext cx="1374104" cy="1218875"/>
              <a:chOff x="4602059" y="2436826"/>
              <a:chExt cx="749643" cy="695635"/>
            </a:xfrm>
          </p:grpSpPr>
          <p:sp>
            <p:nvSpPr>
              <p:cNvPr id="105" name="Retailer - oval 1"/>
              <p:cNvSpPr/>
              <p:nvPr/>
            </p:nvSpPr>
            <p:spPr>
              <a:xfrm>
                <a:off x="4602059" y="2436826"/>
                <a:ext cx="749643" cy="695635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xmlns="" id="{1691EF78-1A2B-2C4B-8267-58701BA2FE6F}"/>
                  </a:ext>
                </a:extLst>
              </p:cNvPr>
              <p:cNvGrpSpPr/>
              <p:nvPr/>
            </p:nvGrpSpPr>
            <p:grpSpPr>
              <a:xfrm>
                <a:off x="4862959" y="2467548"/>
                <a:ext cx="266192" cy="564894"/>
                <a:chOff x="10999787" y="127000"/>
                <a:chExt cx="415926" cy="882650"/>
              </a:xfrm>
              <a:solidFill>
                <a:schemeClr val="bg1"/>
              </a:solidFill>
            </p:grpSpPr>
            <p:sp>
              <p:nvSpPr>
                <p:cNvPr id="107" name="Freeform 115">
                  <a:extLst>
                    <a:ext uri="{FF2B5EF4-FFF2-40B4-BE49-F238E27FC236}">
                      <a16:creationId xmlns:a16="http://schemas.microsoft.com/office/drawing/2014/main" xmlns="" id="{6FE1EDF3-D872-F84D-9B38-5D49D78368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99787" y="201612"/>
                  <a:ext cx="98425" cy="808038"/>
                </a:xfrm>
                <a:custGeom>
                  <a:avLst/>
                  <a:gdLst>
                    <a:gd name="T0" fmla="*/ 19 w 103"/>
                    <a:gd name="T1" fmla="*/ 0 h 846"/>
                    <a:gd name="T2" fmla="*/ 16 w 103"/>
                    <a:gd name="T3" fmla="*/ 0 h 846"/>
                    <a:gd name="T4" fmla="*/ 6 w 103"/>
                    <a:gd name="T5" fmla="*/ 98 h 846"/>
                    <a:gd name="T6" fmla="*/ 1 w 103"/>
                    <a:gd name="T7" fmla="*/ 188 h 846"/>
                    <a:gd name="T8" fmla="*/ 3 w 103"/>
                    <a:gd name="T9" fmla="*/ 234 h 846"/>
                    <a:gd name="T10" fmla="*/ 12 w 103"/>
                    <a:gd name="T11" fmla="*/ 263 h 846"/>
                    <a:gd name="T12" fmla="*/ 33 w 103"/>
                    <a:gd name="T13" fmla="*/ 302 h 846"/>
                    <a:gd name="T14" fmla="*/ 42 w 103"/>
                    <a:gd name="T15" fmla="*/ 378 h 846"/>
                    <a:gd name="T16" fmla="*/ 39 w 103"/>
                    <a:gd name="T17" fmla="*/ 473 h 846"/>
                    <a:gd name="T18" fmla="*/ 31 w 103"/>
                    <a:gd name="T19" fmla="*/ 575 h 846"/>
                    <a:gd name="T20" fmla="*/ 17 w 103"/>
                    <a:gd name="T21" fmla="*/ 727 h 846"/>
                    <a:gd name="T22" fmla="*/ 15 w 103"/>
                    <a:gd name="T23" fmla="*/ 774 h 846"/>
                    <a:gd name="T24" fmla="*/ 22 w 103"/>
                    <a:gd name="T25" fmla="*/ 816 h 846"/>
                    <a:gd name="T26" fmla="*/ 32 w 103"/>
                    <a:gd name="T27" fmla="*/ 834 h 846"/>
                    <a:gd name="T28" fmla="*/ 69 w 103"/>
                    <a:gd name="T29" fmla="*/ 834 h 846"/>
                    <a:gd name="T30" fmla="*/ 80 w 103"/>
                    <a:gd name="T31" fmla="*/ 816 h 846"/>
                    <a:gd name="T32" fmla="*/ 86 w 103"/>
                    <a:gd name="T33" fmla="*/ 774 h 846"/>
                    <a:gd name="T34" fmla="*/ 85 w 103"/>
                    <a:gd name="T35" fmla="*/ 727 h 846"/>
                    <a:gd name="T36" fmla="*/ 72 w 103"/>
                    <a:gd name="T37" fmla="*/ 575 h 846"/>
                    <a:gd name="T38" fmla="*/ 64 w 103"/>
                    <a:gd name="T39" fmla="*/ 473 h 846"/>
                    <a:gd name="T40" fmla="*/ 62 w 103"/>
                    <a:gd name="T41" fmla="*/ 378 h 846"/>
                    <a:gd name="T42" fmla="*/ 70 w 103"/>
                    <a:gd name="T43" fmla="*/ 302 h 846"/>
                    <a:gd name="T44" fmla="*/ 91 w 103"/>
                    <a:gd name="T45" fmla="*/ 264 h 846"/>
                    <a:gd name="T46" fmla="*/ 101 w 103"/>
                    <a:gd name="T47" fmla="*/ 234 h 846"/>
                    <a:gd name="T48" fmla="*/ 103 w 103"/>
                    <a:gd name="T49" fmla="*/ 189 h 846"/>
                    <a:gd name="T50" fmla="*/ 98 w 103"/>
                    <a:gd name="T51" fmla="*/ 98 h 846"/>
                    <a:gd name="T52" fmla="*/ 89 w 103"/>
                    <a:gd name="T53" fmla="*/ 0 h 846"/>
                    <a:gd name="T54" fmla="*/ 86 w 103"/>
                    <a:gd name="T55" fmla="*/ 0 h 846"/>
                    <a:gd name="T56" fmla="*/ 83 w 103"/>
                    <a:gd name="T57" fmla="*/ 27 h 846"/>
                    <a:gd name="T58" fmla="*/ 84 w 103"/>
                    <a:gd name="T59" fmla="*/ 183 h 846"/>
                    <a:gd name="T60" fmla="*/ 83 w 103"/>
                    <a:gd name="T61" fmla="*/ 197 h 846"/>
                    <a:gd name="T62" fmla="*/ 78 w 103"/>
                    <a:gd name="T63" fmla="*/ 199 h 846"/>
                    <a:gd name="T64" fmla="*/ 75 w 103"/>
                    <a:gd name="T65" fmla="*/ 192 h 846"/>
                    <a:gd name="T66" fmla="*/ 71 w 103"/>
                    <a:gd name="T67" fmla="*/ 43 h 846"/>
                    <a:gd name="T68" fmla="*/ 70 w 103"/>
                    <a:gd name="T69" fmla="*/ 17 h 846"/>
                    <a:gd name="T70" fmla="*/ 68 w 103"/>
                    <a:gd name="T71" fmla="*/ 0 h 846"/>
                    <a:gd name="T72" fmla="*/ 65 w 103"/>
                    <a:gd name="T73" fmla="*/ 0 h 846"/>
                    <a:gd name="T74" fmla="*/ 64 w 103"/>
                    <a:gd name="T75" fmla="*/ 2 h 846"/>
                    <a:gd name="T76" fmla="*/ 60 w 103"/>
                    <a:gd name="T77" fmla="*/ 44 h 846"/>
                    <a:gd name="T78" fmla="*/ 56 w 103"/>
                    <a:gd name="T79" fmla="*/ 193 h 846"/>
                    <a:gd name="T80" fmla="*/ 55 w 103"/>
                    <a:gd name="T81" fmla="*/ 199 h 846"/>
                    <a:gd name="T82" fmla="*/ 52 w 103"/>
                    <a:gd name="T83" fmla="*/ 199 h 846"/>
                    <a:gd name="T84" fmla="*/ 52 w 103"/>
                    <a:gd name="T85" fmla="*/ 199 h 846"/>
                    <a:gd name="T86" fmla="*/ 49 w 103"/>
                    <a:gd name="T87" fmla="*/ 199 h 846"/>
                    <a:gd name="T88" fmla="*/ 47 w 103"/>
                    <a:gd name="T89" fmla="*/ 193 h 846"/>
                    <a:gd name="T90" fmla="*/ 44 w 103"/>
                    <a:gd name="T91" fmla="*/ 43 h 846"/>
                    <a:gd name="T92" fmla="*/ 40 w 103"/>
                    <a:gd name="T93" fmla="*/ 2 h 846"/>
                    <a:gd name="T94" fmla="*/ 40 w 103"/>
                    <a:gd name="T95" fmla="*/ 0 h 846"/>
                    <a:gd name="T96" fmla="*/ 37 w 103"/>
                    <a:gd name="T97" fmla="*/ 0 h 846"/>
                    <a:gd name="T98" fmla="*/ 35 w 103"/>
                    <a:gd name="T99" fmla="*/ 17 h 846"/>
                    <a:gd name="T100" fmla="*/ 33 w 103"/>
                    <a:gd name="T101" fmla="*/ 43 h 846"/>
                    <a:gd name="T102" fmla="*/ 29 w 103"/>
                    <a:gd name="T103" fmla="*/ 192 h 846"/>
                    <a:gd name="T104" fmla="*/ 26 w 103"/>
                    <a:gd name="T105" fmla="*/ 199 h 846"/>
                    <a:gd name="T106" fmla="*/ 20 w 103"/>
                    <a:gd name="T107" fmla="*/ 196 h 846"/>
                    <a:gd name="T108" fmla="*/ 20 w 103"/>
                    <a:gd name="T109" fmla="*/ 183 h 846"/>
                    <a:gd name="T110" fmla="*/ 21 w 103"/>
                    <a:gd name="T111" fmla="*/ 27 h 846"/>
                    <a:gd name="T112" fmla="*/ 19 w 103"/>
                    <a:gd name="T113" fmla="*/ 0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03" h="846">
                      <a:moveTo>
                        <a:pt x="19" y="0"/>
                      </a:move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6" y="0"/>
                        <a:pt x="10" y="57"/>
                        <a:pt x="6" y="98"/>
                      </a:cubicBezTo>
                      <a:cubicBezTo>
                        <a:pt x="3" y="138"/>
                        <a:pt x="1" y="173"/>
                        <a:pt x="1" y="188"/>
                      </a:cubicBezTo>
                      <a:cubicBezTo>
                        <a:pt x="0" y="204"/>
                        <a:pt x="1" y="225"/>
                        <a:pt x="3" y="234"/>
                      </a:cubicBezTo>
                      <a:cubicBezTo>
                        <a:pt x="4" y="242"/>
                        <a:pt x="8" y="254"/>
                        <a:pt x="12" y="263"/>
                      </a:cubicBezTo>
                      <a:cubicBezTo>
                        <a:pt x="17" y="273"/>
                        <a:pt x="30" y="295"/>
                        <a:pt x="33" y="302"/>
                      </a:cubicBezTo>
                      <a:cubicBezTo>
                        <a:pt x="39" y="324"/>
                        <a:pt x="43" y="355"/>
                        <a:pt x="42" y="378"/>
                      </a:cubicBezTo>
                      <a:cubicBezTo>
                        <a:pt x="42" y="388"/>
                        <a:pt x="40" y="461"/>
                        <a:pt x="39" y="473"/>
                      </a:cubicBezTo>
                      <a:cubicBezTo>
                        <a:pt x="38" y="485"/>
                        <a:pt x="33" y="560"/>
                        <a:pt x="31" y="575"/>
                      </a:cubicBezTo>
                      <a:cubicBezTo>
                        <a:pt x="29" y="591"/>
                        <a:pt x="18" y="712"/>
                        <a:pt x="17" y="727"/>
                      </a:cubicBezTo>
                      <a:cubicBezTo>
                        <a:pt x="16" y="742"/>
                        <a:pt x="15" y="763"/>
                        <a:pt x="15" y="774"/>
                      </a:cubicBezTo>
                      <a:cubicBezTo>
                        <a:pt x="15" y="785"/>
                        <a:pt x="17" y="806"/>
                        <a:pt x="22" y="816"/>
                      </a:cubicBezTo>
                      <a:cubicBezTo>
                        <a:pt x="26" y="825"/>
                        <a:pt x="29" y="831"/>
                        <a:pt x="32" y="834"/>
                      </a:cubicBezTo>
                      <a:cubicBezTo>
                        <a:pt x="42" y="846"/>
                        <a:pt x="59" y="845"/>
                        <a:pt x="69" y="834"/>
                      </a:cubicBezTo>
                      <a:cubicBezTo>
                        <a:pt x="72" y="830"/>
                        <a:pt x="75" y="825"/>
                        <a:pt x="80" y="816"/>
                      </a:cubicBezTo>
                      <a:cubicBezTo>
                        <a:pt x="84" y="806"/>
                        <a:pt x="86" y="785"/>
                        <a:pt x="86" y="774"/>
                      </a:cubicBezTo>
                      <a:cubicBezTo>
                        <a:pt x="87" y="763"/>
                        <a:pt x="86" y="742"/>
                        <a:pt x="85" y="727"/>
                      </a:cubicBezTo>
                      <a:cubicBezTo>
                        <a:pt x="84" y="712"/>
                        <a:pt x="73" y="590"/>
                        <a:pt x="72" y="575"/>
                      </a:cubicBezTo>
                      <a:cubicBezTo>
                        <a:pt x="70" y="559"/>
                        <a:pt x="65" y="485"/>
                        <a:pt x="64" y="473"/>
                      </a:cubicBezTo>
                      <a:cubicBezTo>
                        <a:pt x="63" y="461"/>
                        <a:pt x="62" y="388"/>
                        <a:pt x="62" y="378"/>
                      </a:cubicBezTo>
                      <a:cubicBezTo>
                        <a:pt x="61" y="354"/>
                        <a:pt x="64" y="325"/>
                        <a:pt x="70" y="302"/>
                      </a:cubicBezTo>
                      <a:cubicBezTo>
                        <a:pt x="73" y="295"/>
                        <a:pt x="86" y="273"/>
                        <a:pt x="91" y="264"/>
                      </a:cubicBezTo>
                      <a:cubicBezTo>
                        <a:pt x="96" y="255"/>
                        <a:pt x="99" y="242"/>
                        <a:pt x="101" y="234"/>
                      </a:cubicBezTo>
                      <a:cubicBezTo>
                        <a:pt x="103" y="226"/>
                        <a:pt x="103" y="204"/>
                        <a:pt x="103" y="189"/>
                      </a:cubicBezTo>
                      <a:cubicBezTo>
                        <a:pt x="103" y="173"/>
                        <a:pt x="101" y="139"/>
                        <a:pt x="98" y="98"/>
                      </a:cubicBezTo>
                      <a:cubicBezTo>
                        <a:pt x="94" y="57"/>
                        <a:pt x="89" y="0"/>
                        <a:pt x="89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4" y="13"/>
                        <a:pt x="84" y="12"/>
                        <a:pt x="83" y="27"/>
                      </a:cubicBezTo>
                      <a:cubicBezTo>
                        <a:pt x="83" y="41"/>
                        <a:pt x="84" y="179"/>
                        <a:pt x="84" y="183"/>
                      </a:cubicBezTo>
                      <a:cubicBezTo>
                        <a:pt x="84" y="187"/>
                        <a:pt x="84" y="195"/>
                        <a:pt x="83" y="197"/>
                      </a:cubicBezTo>
                      <a:cubicBezTo>
                        <a:pt x="83" y="198"/>
                        <a:pt x="81" y="200"/>
                        <a:pt x="78" y="199"/>
                      </a:cubicBezTo>
                      <a:cubicBezTo>
                        <a:pt x="75" y="198"/>
                        <a:pt x="75" y="196"/>
                        <a:pt x="75" y="192"/>
                      </a:cubicBezTo>
                      <a:cubicBezTo>
                        <a:pt x="74" y="188"/>
                        <a:pt x="71" y="48"/>
                        <a:pt x="71" y="43"/>
                      </a:cubicBezTo>
                      <a:cubicBezTo>
                        <a:pt x="71" y="38"/>
                        <a:pt x="70" y="25"/>
                        <a:pt x="70" y="17"/>
                      </a:cubicBezTo>
                      <a:cubicBezTo>
                        <a:pt x="69" y="10"/>
                        <a:pt x="68" y="0"/>
                        <a:pt x="68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5" y="0"/>
                        <a:pt x="65" y="0"/>
                        <a:pt x="64" y="2"/>
                      </a:cubicBezTo>
                      <a:cubicBezTo>
                        <a:pt x="63" y="5"/>
                        <a:pt x="61" y="32"/>
                        <a:pt x="60" y="44"/>
                      </a:cubicBezTo>
                      <a:cubicBezTo>
                        <a:pt x="60" y="56"/>
                        <a:pt x="57" y="190"/>
                        <a:pt x="56" y="193"/>
                      </a:cubicBezTo>
                      <a:cubicBezTo>
                        <a:pt x="56" y="196"/>
                        <a:pt x="56" y="198"/>
                        <a:pt x="55" y="199"/>
                      </a:cubicBezTo>
                      <a:cubicBezTo>
                        <a:pt x="54" y="199"/>
                        <a:pt x="53" y="199"/>
                        <a:pt x="52" y="199"/>
                      </a:cubicBezTo>
                      <a:cubicBezTo>
                        <a:pt x="52" y="199"/>
                        <a:pt x="52" y="199"/>
                        <a:pt x="52" y="199"/>
                      </a:cubicBezTo>
                      <a:cubicBezTo>
                        <a:pt x="52" y="199"/>
                        <a:pt x="50" y="199"/>
                        <a:pt x="49" y="199"/>
                      </a:cubicBezTo>
                      <a:cubicBezTo>
                        <a:pt x="48" y="198"/>
                        <a:pt x="47" y="196"/>
                        <a:pt x="47" y="193"/>
                      </a:cubicBezTo>
                      <a:cubicBezTo>
                        <a:pt x="47" y="190"/>
                        <a:pt x="44" y="56"/>
                        <a:pt x="44" y="43"/>
                      </a:cubicBezTo>
                      <a:cubicBezTo>
                        <a:pt x="43" y="32"/>
                        <a:pt x="41" y="5"/>
                        <a:pt x="40" y="2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7" y="0"/>
                        <a:pt x="36" y="9"/>
                        <a:pt x="35" y="17"/>
                      </a:cubicBezTo>
                      <a:cubicBezTo>
                        <a:pt x="34" y="25"/>
                        <a:pt x="33" y="38"/>
                        <a:pt x="33" y="43"/>
                      </a:cubicBezTo>
                      <a:cubicBezTo>
                        <a:pt x="33" y="48"/>
                        <a:pt x="29" y="188"/>
                        <a:pt x="29" y="192"/>
                      </a:cubicBezTo>
                      <a:cubicBezTo>
                        <a:pt x="29" y="195"/>
                        <a:pt x="29" y="198"/>
                        <a:pt x="26" y="199"/>
                      </a:cubicBezTo>
                      <a:cubicBezTo>
                        <a:pt x="22" y="200"/>
                        <a:pt x="20" y="198"/>
                        <a:pt x="20" y="196"/>
                      </a:cubicBezTo>
                      <a:cubicBezTo>
                        <a:pt x="20" y="195"/>
                        <a:pt x="20" y="187"/>
                        <a:pt x="20" y="183"/>
                      </a:cubicBezTo>
                      <a:cubicBezTo>
                        <a:pt x="20" y="179"/>
                        <a:pt x="21" y="41"/>
                        <a:pt x="21" y="27"/>
                      </a:cubicBezTo>
                      <a:cubicBezTo>
                        <a:pt x="20" y="12"/>
                        <a:pt x="20" y="13"/>
                        <a:pt x="1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" name="Freeform 116">
                  <a:extLst>
                    <a:ext uri="{FF2B5EF4-FFF2-40B4-BE49-F238E27FC236}">
                      <a16:creationId xmlns:a16="http://schemas.microsoft.com/office/drawing/2014/main" xmlns="" id="{F323F32E-9A52-5343-A90A-C6B0722A72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68075" y="201612"/>
                  <a:ext cx="147638" cy="808038"/>
                </a:xfrm>
                <a:custGeom>
                  <a:avLst/>
                  <a:gdLst>
                    <a:gd name="T0" fmla="*/ 65 w 154"/>
                    <a:gd name="T1" fmla="*/ 473 h 846"/>
                    <a:gd name="T2" fmla="*/ 57 w 154"/>
                    <a:gd name="T3" fmla="*/ 576 h 846"/>
                    <a:gd name="T4" fmla="*/ 44 w 154"/>
                    <a:gd name="T5" fmla="*/ 727 h 846"/>
                    <a:gd name="T6" fmla="*/ 42 w 154"/>
                    <a:gd name="T7" fmla="*/ 774 h 846"/>
                    <a:gd name="T8" fmla="*/ 49 w 154"/>
                    <a:gd name="T9" fmla="*/ 816 h 846"/>
                    <a:gd name="T10" fmla="*/ 58 w 154"/>
                    <a:gd name="T11" fmla="*/ 834 h 846"/>
                    <a:gd name="T12" fmla="*/ 94 w 154"/>
                    <a:gd name="T13" fmla="*/ 833 h 846"/>
                    <a:gd name="T14" fmla="*/ 104 w 154"/>
                    <a:gd name="T15" fmla="*/ 815 h 846"/>
                    <a:gd name="T16" fmla="*/ 111 w 154"/>
                    <a:gd name="T17" fmla="*/ 774 h 846"/>
                    <a:gd name="T18" fmla="*/ 109 w 154"/>
                    <a:gd name="T19" fmla="*/ 727 h 846"/>
                    <a:gd name="T20" fmla="*/ 97 w 154"/>
                    <a:gd name="T21" fmla="*/ 575 h 846"/>
                    <a:gd name="T22" fmla="*/ 89 w 154"/>
                    <a:gd name="T23" fmla="*/ 473 h 846"/>
                    <a:gd name="T24" fmla="*/ 86 w 154"/>
                    <a:gd name="T25" fmla="*/ 331 h 846"/>
                    <a:gd name="T26" fmla="*/ 91 w 154"/>
                    <a:gd name="T27" fmla="*/ 307 h 846"/>
                    <a:gd name="T28" fmla="*/ 115 w 154"/>
                    <a:gd name="T29" fmla="*/ 278 h 846"/>
                    <a:gd name="T30" fmla="*/ 153 w 154"/>
                    <a:gd name="T31" fmla="*/ 167 h 846"/>
                    <a:gd name="T32" fmla="*/ 86 w 154"/>
                    <a:gd name="T33" fmla="*/ 1 h 846"/>
                    <a:gd name="T34" fmla="*/ 68 w 154"/>
                    <a:gd name="T35" fmla="*/ 1 h 846"/>
                    <a:gd name="T36" fmla="*/ 2 w 154"/>
                    <a:gd name="T37" fmla="*/ 167 h 846"/>
                    <a:gd name="T38" fmla="*/ 41 w 154"/>
                    <a:gd name="T39" fmla="*/ 279 h 846"/>
                    <a:gd name="T40" fmla="*/ 64 w 154"/>
                    <a:gd name="T41" fmla="*/ 307 h 846"/>
                    <a:gd name="T42" fmla="*/ 70 w 154"/>
                    <a:gd name="T43" fmla="*/ 330 h 846"/>
                    <a:gd name="T44" fmla="*/ 65 w 154"/>
                    <a:gd name="T45" fmla="*/ 473 h 8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54" h="846">
                      <a:moveTo>
                        <a:pt x="65" y="473"/>
                      </a:moveTo>
                      <a:cubicBezTo>
                        <a:pt x="65" y="485"/>
                        <a:pt x="59" y="560"/>
                        <a:pt x="57" y="576"/>
                      </a:cubicBezTo>
                      <a:cubicBezTo>
                        <a:pt x="56" y="590"/>
                        <a:pt x="45" y="712"/>
                        <a:pt x="44" y="727"/>
                      </a:cubicBezTo>
                      <a:cubicBezTo>
                        <a:pt x="43" y="742"/>
                        <a:pt x="42" y="763"/>
                        <a:pt x="42" y="774"/>
                      </a:cubicBezTo>
                      <a:cubicBezTo>
                        <a:pt x="42" y="785"/>
                        <a:pt x="44" y="806"/>
                        <a:pt x="49" y="816"/>
                      </a:cubicBezTo>
                      <a:cubicBezTo>
                        <a:pt x="52" y="825"/>
                        <a:pt x="55" y="830"/>
                        <a:pt x="58" y="834"/>
                      </a:cubicBezTo>
                      <a:cubicBezTo>
                        <a:pt x="68" y="846"/>
                        <a:pt x="85" y="845"/>
                        <a:pt x="94" y="833"/>
                      </a:cubicBezTo>
                      <a:cubicBezTo>
                        <a:pt x="97" y="830"/>
                        <a:pt x="100" y="825"/>
                        <a:pt x="104" y="815"/>
                      </a:cubicBezTo>
                      <a:cubicBezTo>
                        <a:pt x="109" y="806"/>
                        <a:pt x="111" y="785"/>
                        <a:pt x="111" y="774"/>
                      </a:cubicBezTo>
                      <a:cubicBezTo>
                        <a:pt x="112" y="763"/>
                        <a:pt x="111" y="742"/>
                        <a:pt x="109" y="727"/>
                      </a:cubicBezTo>
                      <a:cubicBezTo>
                        <a:pt x="109" y="712"/>
                        <a:pt x="99" y="590"/>
                        <a:pt x="97" y="575"/>
                      </a:cubicBezTo>
                      <a:cubicBezTo>
                        <a:pt x="95" y="560"/>
                        <a:pt x="90" y="485"/>
                        <a:pt x="89" y="473"/>
                      </a:cubicBezTo>
                      <a:cubicBezTo>
                        <a:pt x="86" y="426"/>
                        <a:pt x="87" y="378"/>
                        <a:pt x="86" y="331"/>
                      </a:cubicBezTo>
                      <a:cubicBezTo>
                        <a:pt x="86" y="324"/>
                        <a:pt x="88" y="314"/>
                        <a:pt x="91" y="307"/>
                      </a:cubicBezTo>
                      <a:cubicBezTo>
                        <a:pt x="98" y="294"/>
                        <a:pt x="105" y="288"/>
                        <a:pt x="115" y="278"/>
                      </a:cubicBezTo>
                      <a:cubicBezTo>
                        <a:pt x="145" y="249"/>
                        <a:pt x="153" y="210"/>
                        <a:pt x="153" y="167"/>
                      </a:cubicBezTo>
                      <a:cubicBezTo>
                        <a:pt x="154" y="118"/>
                        <a:pt x="142" y="13"/>
                        <a:pt x="86" y="1"/>
                      </a:cubicBezTo>
                      <a:cubicBezTo>
                        <a:pt x="80" y="0"/>
                        <a:pt x="74" y="0"/>
                        <a:pt x="68" y="1"/>
                      </a:cubicBezTo>
                      <a:cubicBezTo>
                        <a:pt x="13" y="13"/>
                        <a:pt x="0" y="119"/>
                        <a:pt x="2" y="167"/>
                      </a:cubicBezTo>
                      <a:cubicBezTo>
                        <a:pt x="3" y="210"/>
                        <a:pt x="11" y="249"/>
                        <a:pt x="41" y="279"/>
                      </a:cubicBezTo>
                      <a:cubicBezTo>
                        <a:pt x="50" y="288"/>
                        <a:pt x="58" y="294"/>
                        <a:pt x="64" y="307"/>
                      </a:cubicBezTo>
                      <a:cubicBezTo>
                        <a:pt x="68" y="313"/>
                        <a:pt x="69" y="323"/>
                        <a:pt x="70" y="330"/>
                      </a:cubicBezTo>
                      <a:cubicBezTo>
                        <a:pt x="68" y="378"/>
                        <a:pt x="68" y="426"/>
                        <a:pt x="65" y="47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" name="Freeform 117">
                  <a:extLst>
                    <a:ext uri="{FF2B5EF4-FFF2-40B4-BE49-F238E27FC236}">
                      <a16:creationId xmlns:a16="http://schemas.microsoft.com/office/drawing/2014/main" xmlns="" id="{12726CE5-B383-4C46-B496-C789B39006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145837" y="127000"/>
                  <a:ext cx="74613" cy="882650"/>
                </a:xfrm>
                <a:custGeom>
                  <a:avLst/>
                  <a:gdLst>
                    <a:gd name="T0" fmla="*/ 23 w 77"/>
                    <a:gd name="T1" fmla="*/ 655 h 923"/>
                    <a:gd name="T2" fmla="*/ 10 w 77"/>
                    <a:gd name="T3" fmla="*/ 805 h 923"/>
                    <a:gd name="T4" fmla="*/ 8 w 77"/>
                    <a:gd name="T5" fmla="*/ 852 h 923"/>
                    <a:gd name="T6" fmla="*/ 14 w 77"/>
                    <a:gd name="T7" fmla="*/ 893 h 923"/>
                    <a:gd name="T8" fmla="*/ 24 w 77"/>
                    <a:gd name="T9" fmla="*/ 911 h 923"/>
                    <a:gd name="T10" fmla="*/ 60 w 77"/>
                    <a:gd name="T11" fmla="*/ 911 h 923"/>
                    <a:gd name="T12" fmla="*/ 70 w 77"/>
                    <a:gd name="T13" fmla="*/ 893 h 923"/>
                    <a:gd name="T14" fmla="*/ 77 w 77"/>
                    <a:gd name="T15" fmla="*/ 852 h 923"/>
                    <a:gd name="T16" fmla="*/ 75 w 77"/>
                    <a:gd name="T17" fmla="*/ 805 h 923"/>
                    <a:gd name="T18" fmla="*/ 63 w 77"/>
                    <a:gd name="T19" fmla="*/ 654 h 923"/>
                    <a:gd name="T20" fmla="*/ 64 w 77"/>
                    <a:gd name="T21" fmla="*/ 449 h 923"/>
                    <a:gd name="T22" fmla="*/ 65 w 77"/>
                    <a:gd name="T23" fmla="*/ 140 h 923"/>
                    <a:gd name="T24" fmla="*/ 69 w 77"/>
                    <a:gd name="T25" fmla="*/ 19 h 923"/>
                    <a:gd name="T26" fmla="*/ 67 w 77"/>
                    <a:gd name="T27" fmla="*/ 3 h 923"/>
                    <a:gd name="T28" fmla="*/ 55 w 77"/>
                    <a:gd name="T29" fmla="*/ 3 h 923"/>
                    <a:gd name="T30" fmla="*/ 29 w 77"/>
                    <a:gd name="T31" fmla="*/ 55 h 923"/>
                    <a:gd name="T32" fmla="*/ 2 w 77"/>
                    <a:gd name="T33" fmla="*/ 283 h 923"/>
                    <a:gd name="T34" fmla="*/ 2 w 77"/>
                    <a:gd name="T35" fmla="*/ 381 h 923"/>
                    <a:gd name="T36" fmla="*/ 7 w 77"/>
                    <a:gd name="T37" fmla="*/ 413 h 923"/>
                    <a:gd name="T38" fmla="*/ 13 w 77"/>
                    <a:gd name="T39" fmla="*/ 421 h 923"/>
                    <a:gd name="T40" fmla="*/ 32 w 77"/>
                    <a:gd name="T41" fmla="*/ 476 h 923"/>
                    <a:gd name="T42" fmla="*/ 23 w 77"/>
                    <a:gd name="T43" fmla="*/ 655 h 9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77" h="923">
                      <a:moveTo>
                        <a:pt x="23" y="655"/>
                      </a:moveTo>
                      <a:cubicBezTo>
                        <a:pt x="22" y="670"/>
                        <a:pt x="11" y="791"/>
                        <a:pt x="10" y="805"/>
                      </a:cubicBezTo>
                      <a:cubicBezTo>
                        <a:pt x="9" y="820"/>
                        <a:pt x="8" y="841"/>
                        <a:pt x="8" y="852"/>
                      </a:cubicBezTo>
                      <a:cubicBezTo>
                        <a:pt x="8" y="863"/>
                        <a:pt x="10" y="884"/>
                        <a:pt x="14" y="893"/>
                      </a:cubicBezTo>
                      <a:cubicBezTo>
                        <a:pt x="19" y="903"/>
                        <a:pt x="21" y="908"/>
                        <a:pt x="24" y="911"/>
                      </a:cubicBezTo>
                      <a:cubicBezTo>
                        <a:pt x="34" y="923"/>
                        <a:pt x="50" y="922"/>
                        <a:pt x="60" y="911"/>
                      </a:cubicBezTo>
                      <a:cubicBezTo>
                        <a:pt x="63" y="907"/>
                        <a:pt x="66" y="902"/>
                        <a:pt x="70" y="893"/>
                      </a:cubicBezTo>
                      <a:cubicBezTo>
                        <a:pt x="74" y="883"/>
                        <a:pt x="76" y="862"/>
                        <a:pt x="77" y="852"/>
                      </a:cubicBezTo>
                      <a:cubicBezTo>
                        <a:pt x="77" y="841"/>
                        <a:pt x="76" y="820"/>
                        <a:pt x="75" y="805"/>
                      </a:cubicBezTo>
                      <a:cubicBezTo>
                        <a:pt x="74" y="791"/>
                        <a:pt x="63" y="670"/>
                        <a:pt x="63" y="654"/>
                      </a:cubicBezTo>
                      <a:cubicBezTo>
                        <a:pt x="59" y="589"/>
                        <a:pt x="52" y="484"/>
                        <a:pt x="64" y="449"/>
                      </a:cubicBezTo>
                      <a:cubicBezTo>
                        <a:pt x="64" y="449"/>
                        <a:pt x="63" y="187"/>
                        <a:pt x="65" y="140"/>
                      </a:cubicBezTo>
                      <a:cubicBezTo>
                        <a:pt x="65" y="95"/>
                        <a:pt x="69" y="39"/>
                        <a:pt x="69" y="19"/>
                      </a:cubicBezTo>
                      <a:cubicBezTo>
                        <a:pt x="69" y="8"/>
                        <a:pt x="69" y="6"/>
                        <a:pt x="67" y="3"/>
                      </a:cubicBezTo>
                      <a:cubicBezTo>
                        <a:pt x="65" y="0"/>
                        <a:pt x="59" y="0"/>
                        <a:pt x="55" y="3"/>
                      </a:cubicBezTo>
                      <a:cubicBezTo>
                        <a:pt x="42" y="15"/>
                        <a:pt x="34" y="37"/>
                        <a:pt x="29" y="55"/>
                      </a:cubicBezTo>
                      <a:cubicBezTo>
                        <a:pt x="9" y="127"/>
                        <a:pt x="5" y="207"/>
                        <a:pt x="2" y="283"/>
                      </a:cubicBezTo>
                      <a:cubicBezTo>
                        <a:pt x="2" y="299"/>
                        <a:pt x="0" y="361"/>
                        <a:pt x="2" y="381"/>
                      </a:cubicBezTo>
                      <a:cubicBezTo>
                        <a:pt x="4" y="401"/>
                        <a:pt x="6" y="410"/>
                        <a:pt x="7" y="413"/>
                      </a:cubicBezTo>
                      <a:cubicBezTo>
                        <a:pt x="9" y="417"/>
                        <a:pt x="10" y="419"/>
                        <a:pt x="13" y="421"/>
                      </a:cubicBezTo>
                      <a:cubicBezTo>
                        <a:pt x="24" y="434"/>
                        <a:pt x="30" y="460"/>
                        <a:pt x="32" y="476"/>
                      </a:cubicBezTo>
                      <a:cubicBezTo>
                        <a:pt x="38" y="533"/>
                        <a:pt x="30" y="598"/>
                        <a:pt x="23" y="6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sp>
          <p:nvSpPr>
            <p:cNvPr id="112" name="TextBox 111"/>
            <p:cNvSpPr txBox="1"/>
            <p:nvPr/>
          </p:nvSpPr>
          <p:spPr>
            <a:xfrm>
              <a:off x="7205220" y="3420768"/>
              <a:ext cx="1329699" cy="399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b="1" dirty="0" smtClean="0"/>
                <a:t>Full Service</a:t>
              </a:r>
              <a:endParaRPr lang="en-GB" sz="1400" b="1" dirty="0"/>
            </a:p>
          </p:txBody>
        </p:sp>
      </p:grpSp>
      <p:sp>
        <p:nvSpPr>
          <p:cNvPr id="55" name="Text Placeholder 4"/>
          <p:cNvSpPr txBox="1">
            <a:spLocks/>
          </p:cNvSpPr>
          <p:nvPr/>
        </p:nvSpPr>
        <p:spPr>
          <a:xfrm>
            <a:off x="3118107" y="4882731"/>
            <a:ext cx="3290146" cy="237283"/>
          </a:xfrm>
          <a:prstGeom prst="rect">
            <a:avLst/>
          </a:prstGeom>
        </p:spPr>
        <p:txBody>
          <a:bodyPr/>
          <a:lstStyle>
            <a:lvl1pPr marL="341313" indent="-341313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n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575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00" b="1" i="1" dirty="0" smtClean="0">
                <a:solidFill>
                  <a:schemeClr val="bg1"/>
                </a:solidFill>
              </a:rPr>
              <a:t>Source: NPD CREST   YTD September 2020</a:t>
            </a:r>
            <a:endParaRPr lang="en-GB" sz="900" b="1" i="1" dirty="0">
              <a:solidFill>
                <a:schemeClr val="bg1"/>
              </a:solidFill>
            </a:endParaRPr>
          </a:p>
        </p:txBody>
      </p:sp>
      <p:graphicFrame>
        <p:nvGraphicFramePr>
          <p:cNvPr id="3" name="Chart 2"/>
          <p:cNvGraphicFramePr/>
          <p:nvPr>
            <p:extLst>
              <p:ext uri="{D42A27DB-BD31-4B8C-83A1-F6EECF244321}">
                <p14:modId xmlns:p14="http://schemas.microsoft.com/office/powerpoint/2010/main" val="236530346"/>
              </p:ext>
            </p:extLst>
          </p:nvPr>
        </p:nvGraphicFramePr>
        <p:xfrm>
          <a:off x="1083942" y="1139483"/>
          <a:ext cx="2455841" cy="2168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7" name="Chart 56"/>
          <p:cNvGraphicFramePr/>
          <p:nvPr>
            <p:extLst>
              <p:ext uri="{D42A27DB-BD31-4B8C-83A1-F6EECF244321}">
                <p14:modId xmlns:p14="http://schemas.microsoft.com/office/powerpoint/2010/main" val="4137970601"/>
              </p:ext>
            </p:extLst>
          </p:nvPr>
        </p:nvGraphicFramePr>
        <p:xfrm>
          <a:off x="3821831" y="1161792"/>
          <a:ext cx="2249009" cy="21460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8" name="Chart 57"/>
          <p:cNvGraphicFramePr/>
          <p:nvPr>
            <p:extLst>
              <p:ext uri="{D42A27DB-BD31-4B8C-83A1-F6EECF244321}">
                <p14:modId xmlns:p14="http://schemas.microsoft.com/office/powerpoint/2010/main" val="2736200774"/>
              </p:ext>
            </p:extLst>
          </p:nvPr>
        </p:nvGraphicFramePr>
        <p:xfrm>
          <a:off x="6468347" y="1125416"/>
          <a:ext cx="2249009" cy="21505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84" t="37222" r="79400" b="47535"/>
          <a:stretch/>
        </p:blipFill>
        <p:spPr bwMode="auto">
          <a:xfrm>
            <a:off x="0" y="1563795"/>
            <a:ext cx="1120928" cy="1018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809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0538"/>
            <a:ext cx="7740352" cy="4841153"/>
          </a:xfrm>
          <a:prstGeom prst="rect">
            <a:avLst/>
          </a:prstGeom>
          <a:gradFill flip="none" rotWithShape="1">
            <a:gsLst>
              <a:gs pos="38000">
                <a:srgbClr val="E5E5E3"/>
              </a:gs>
              <a:gs pos="0">
                <a:srgbClr val="E5E5E3">
                  <a:alpha val="0"/>
                </a:srgbClr>
              </a:gs>
              <a:gs pos="100000">
                <a:srgbClr val="E6E6E5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3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 smtClean="0">
                <a:solidFill>
                  <a:schemeClr val="bg2"/>
                </a:solidFill>
              </a:rPr>
              <a:t>Lunch has increased in importance during </a:t>
            </a:r>
            <a:r>
              <a:rPr lang="en-GB" sz="2400" dirty="0" err="1" smtClean="0">
                <a:solidFill>
                  <a:schemeClr val="bg2"/>
                </a:solidFill>
              </a:rPr>
              <a:t>Covid</a:t>
            </a:r>
            <a:r>
              <a:rPr lang="en-GB" sz="2400" dirty="0" smtClean="0">
                <a:solidFill>
                  <a:schemeClr val="bg2"/>
                </a:solidFill>
              </a:rPr>
              <a:t>, but dinner continues to be the main daypart for deliveries</a:t>
            </a:r>
            <a:endParaRPr lang="en-US" sz="2400" dirty="0">
              <a:solidFill>
                <a:schemeClr val="bg2"/>
              </a:solidFill>
            </a:endParaRPr>
          </a:p>
        </p:txBody>
      </p:sp>
      <p:graphicFrame>
        <p:nvGraphicFramePr>
          <p:cNvPr id="8" name="Char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6079203"/>
              </p:ext>
            </p:extLst>
          </p:nvPr>
        </p:nvGraphicFramePr>
        <p:xfrm>
          <a:off x="-800578" y="1063733"/>
          <a:ext cx="6155139" cy="3195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7277059"/>
              </p:ext>
            </p:extLst>
          </p:nvPr>
        </p:nvGraphicFramePr>
        <p:xfrm>
          <a:off x="4901214" y="1063733"/>
          <a:ext cx="3534771" cy="3195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481256" y="3889612"/>
            <a:ext cx="2169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/>
              <a:t>Pre-</a:t>
            </a:r>
            <a:r>
              <a:rPr lang="en-GB" b="1" dirty="0" err="1" smtClean="0"/>
              <a:t>Covid</a:t>
            </a:r>
            <a:endParaRPr lang="en-GB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5854890" y="3889612"/>
            <a:ext cx="2169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Post-</a:t>
            </a:r>
            <a:r>
              <a:rPr lang="en-GB" b="1" dirty="0" err="1"/>
              <a:t>Covid</a:t>
            </a:r>
            <a:endParaRPr lang="en-GB" b="1" dirty="0"/>
          </a:p>
        </p:txBody>
      </p:sp>
      <p:sp>
        <p:nvSpPr>
          <p:cNvPr id="5" name="TextBox 4"/>
          <p:cNvSpPr txBox="1"/>
          <p:nvPr/>
        </p:nvSpPr>
        <p:spPr>
          <a:xfrm>
            <a:off x="8024884" y="2245478"/>
            <a:ext cx="98263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/>
              <a:t>95</a:t>
            </a:r>
          </a:p>
          <a:p>
            <a:pPr algn="ctr"/>
            <a:endParaRPr lang="en-GB" sz="1400" b="1" dirty="0"/>
          </a:p>
          <a:p>
            <a:pPr algn="ctr"/>
            <a:r>
              <a:rPr lang="en-GB" sz="1400" b="1" dirty="0"/>
              <a:t>114</a:t>
            </a:r>
          </a:p>
          <a:p>
            <a:pPr algn="ctr"/>
            <a:endParaRPr lang="en-GB" sz="1400" b="1" dirty="0"/>
          </a:p>
          <a:p>
            <a:pPr algn="ctr"/>
            <a:r>
              <a:rPr lang="en-GB" sz="1400" b="1" dirty="0"/>
              <a:t>103</a:t>
            </a:r>
          </a:p>
          <a:p>
            <a:pPr algn="ctr"/>
            <a:endParaRPr lang="en-GB" sz="1400" b="1" dirty="0"/>
          </a:p>
          <a:p>
            <a:pPr algn="ctr"/>
            <a:r>
              <a:rPr lang="en-GB" sz="1400" b="1" dirty="0"/>
              <a:t>79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024884" y="1585500"/>
            <a:ext cx="9826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/>
              <a:t>Index </a:t>
            </a:r>
            <a:br>
              <a:rPr lang="en-GB" sz="1400" b="1" dirty="0"/>
            </a:br>
            <a:r>
              <a:rPr lang="en-GB" sz="1400" b="1" dirty="0"/>
              <a:t>vs. Pre</a:t>
            </a:r>
          </a:p>
        </p:txBody>
      </p:sp>
      <p:sp>
        <p:nvSpPr>
          <p:cNvPr id="16" name="Text Placeholder 4"/>
          <p:cNvSpPr txBox="1">
            <a:spLocks/>
          </p:cNvSpPr>
          <p:nvPr/>
        </p:nvSpPr>
        <p:spPr>
          <a:xfrm>
            <a:off x="3118107" y="4882731"/>
            <a:ext cx="3290146" cy="237283"/>
          </a:xfrm>
          <a:prstGeom prst="rect">
            <a:avLst/>
          </a:prstGeom>
        </p:spPr>
        <p:txBody>
          <a:bodyPr/>
          <a:lstStyle>
            <a:lvl1pPr marL="341313" indent="-341313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n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575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00" b="1" i="1" dirty="0" smtClean="0">
                <a:solidFill>
                  <a:schemeClr val="bg1"/>
                </a:solidFill>
              </a:rPr>
              <a:t>Source: NPD CREST   YTD September 2020</a:t>
            </a:r>
            <a:endParaRPr lang="en-GB" sz="9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176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-20538"/>
            <a:ext cx="7740352" cy="4841153"/>
          </a:xfrm>
          <a:prstGeom prst="rect">
            <a:avLst/>
          </a:prstGeom>
          <a:gradFill flip="none" rotWithShape="1">
            <a:gsLst>
              <a:gs pos="38000">
                <a:srgbClr val="E5E5E3"/>
              </a:gs>
              <a:gs pos="0">
                <a:srgbClr val="E5E5E3">
                  <a:alpha val="0"/>
                </a:srgbClr>
              </a:gs>
              <a:gs pos="100000">
                <a:srgbClr val="E6E6E5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3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 smtClean="0">
                <a:solidFill>
                  <a:schemeClr val="bg2"/>
                </a:solidFill>
              </a:rPr>
              <a:t>Family delivery occasions have grown significantly, and now account for half of all deliveries</a:t>
            </a:r>
            <a:endParaRPr lang="en-US" sz="2400" dirty="0">
              <a:solidFill>
                <a:schemeClr val="bg2"/>
              </a:solidFill>
            </a:endParaRPr>
          </a:p>
        </p:txBody>
      </p:sp>
      <p:graphicFrame>
        <p:nvGraphicFramePr>
          <p:cNvPr id="8" name="Char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8578068"/>
              </p:ext>
            </p:extLst>
          </p:nvPr>
        </p:nvGraphicFramePr>
        <p:xfrm>
          <a:off x="-800578" y="1063733"/>
          <a:ext cx="6155139" cy="3195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8267618"/>
              </p:ext>
            </p:extLst>
          </p:nvPr>
        </p:nvGraphicFramePr>
        <p:xfrm>
          <a:off x="4901214" y="1063733"/>
          <a:ext cx="3534771" cy="3195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024884" y="2093078"/>
            <a:ext cx="98263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/>
              <a:t>131</a:t>
            </a:r>
          </a:p>
          <a:p>
            <a:pPr algn="ctr"/>
            <a:endParaRPr lang="en-GB" sz="400" dirty="0" smtClean="0"/>
          </a:p>
          <a:p>
            <a:pPr algn="ctr"/>
            <a:r>
              <a:rPr lang="en-GB" sz="1600" dirty="0" smtClean="0"/>
              <a:t>67</a:t>
            </a:r>
          </a:p>
          <a:p>
            <a:pPr algn="ctr"/>
            <a:endParaRPr lang="en-GB" sz="400" dirty="0" smtClean="0"/>
          </a:p>
          <a:p>
            <a:pPr algn="ctr"/>
            <a:r>
              <a:rPr lang="en-GB" sz="1600" dirty="0" smtClean="0"/>
              <a:t>83</a:t>
            </a:r>
          </a:p>
          <a:p>
            <a:pPr algn="ctr"/>
            <a:endParaRPr lang="en-GB" sz="400" dirty="0" smtClean="0"/>
          </a:p>
          <a:p>
            <a:pPr algn="ctr"/>
            <a:r>
              <a:rPr lang="en-GB" sz="1600" dirty="0" smtClean="0"/>
              <a:t>66</a:t>
            </a:r>
          </a:p>
          <a:p>
            <a:pPr algn="ctr"/>
            <a:endParaRPr lang="en-GB" sz="400" dirty="0"/>
          </a:p>
          <a:p>
            <a:pPr algn="ctr"/>
            <a:r>
              <a:rPr lang="en-GB" sz="1600" b="1" dirty="0" smtClean="0"/>
              <a:t>118</a:t>
            </a:r>
            <a:endParaRPr lang="en-GB" sz="16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8024884" y="1585500"/>
            <a:ext cx="9826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/>
              <a:t>Index </a:t>
            </a:r>
            <a:br>
              <a:rPr lang="en-GB" sz="1400" b="1" dirty="0" smtClean="0"/>
            </a:br>
            <a:r>
              <a:rPr lang="en-GB" sz="1400" b="1" dirty="0" smtClean="0"/>
              <a:t>vs. Pre</a:t>
            </a:r>
            <a:endParaRPr lang="en-GB" sz="14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1481256" y="3889612"/>
            <a:ext cx="2169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/>
              <a:t>Pre-</a:t>
            </a:r>
            <a:r>
              <a:rPr lang="en-GB" b="1" dirty="0" err="1" smtClean="0"/>
              <a:t>Covid</a:t>
            </a:r>
            <a:endParaRPr lang="en-GB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5854890" y="3889612"/>
            <a:ext cx="2169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/>
              <a:t>Post-</a:t>
            </a:r>
            <a:r>
              <a:rPr lang="en-GB" b="1" dirty="0" err="1" smtClean="0"/>
              <a:t>Covid</a:t>
            </a:r>
            <a:endParaRPr lang="en-GB" b="1" dirty="0"/>
          </a:p>
        </p:txBody>
      </p:sp>
      <p:sp>
        <p:nvSpPr>
          <p:cNvPr id="17" name="Text Placeholder 4"/>
          <p:cNvSpPr txBox="1">
            <a:spLocks/>
          </p:cNvSpPr>
          <p:nvPr/>
        </p:nvSpPr>
        <p:spPr>
          <a:xfrm>
            <a:off x="3118107" y="4882731"/>
            <a:ext cx="3290146" cy="237283"/>
          </a:xfrm>
          <a:prstGeom prst="rect">
            <a:avLst/>
          </a:prstGeom>
        </p:spPr>
        <p:txBody>
          <a:bodyPr/>
          <a:lstStyle>
            <a:lvl1pPr marL="341313" indent="-341313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n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575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00" b="1" i="1" dirty="0" smtClean="0">
                <a:solidFill>
                  <a:schemeClr val="bg1"/>
                </a:solidFill>
              </a:rPr>
              <a:t>Source: NPD CREST   YTD September 2020</a:t>
            </a:r>
            <a:endParaRPr lang="en-GB" sz="9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08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7224" y="287391"/>
            <a:ext cx="8458745" cy="457200"/>
          </a:xfrm>
        </p:spPr>
        <p:txBody>
          <a:bodyPr/>
          <a:lstStyle/>
          <a:p>
            <a:r>
              <a:rPr lang="en-GB" sz="2400" dirty="0" smtClean="0"/>
              <a:t>During </a:t>
            </a:r>
            <a:r>
              <a:rPr lang="en-GB" sz="2400" dirty="0" err="1" smtClean="0"/>
              <a:t>Covid</a:t>
            </a:r>
            <a:r>
              <a:rPr lang="en-GB" sz="2400" dirty="0" smtClean="0"/>
              <a:t>, most top delivery food items have increased in popularity, with pizza further cementing its No.1 position</a:t>
            </a:r>
            <a:endParaRPr lang="en-US" sz="2400" dirty="0"/>
          </a:p>
        </p:txBody>
      </p:sp>
      <p:sp>
        <p:nvSpPr>
          <p:cNvPr id="23" name="TextBox 22"/>
          <p:cNvSpPr txBox="1"/>
          <p:nvPr/>
        </p:nvSpPr>
        <p:spPr>
          <a:xfrm>
            <a:off x="1924050" y="856275"/>
            <a:ext cx="5038806" cy="500135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400" b="1" dirty="0"/>
              <a:t>Top </a:t>
            </a:r>
            <a:r>
              <a:rPr lang="en-GB" sz="1400" b="1" dirty="0" smtClean="0"/>
              <a:t>10 Food items </a:t>
            </a:r>
            <a:r>
              <a:rPr lang="en-GB" sz="1400" b="1" dirty="0"/>
              <a:t>ordered for </a:t>
            </a:r>
            <a:r>
              <a:rPr lang="en-GB" sz="1400" b="1" dirty="0" smtClean="0"/>
              <a:t>Delivery, Incidence </a:t>
            </a:r>
            <a:r>
              <a:rPr lang="en-GB" sz="1400" b="1" dirty="0"/>
              <a:t>(Visit </a:t>
            </a:r>
            <a:r>
              <a:rPr lang="en-GB" sz="1400" b="1" dirty="0" smtClean="0"/>
              <a:t>%), </a:t>
            </a:r>
          </a:p>
          <a:p>
            <a:pPr algn="ctr"/>
            <a:r>
              <a:rPr lang="en-GB" sz="1400" b="1" dirty="0" smtClean="0"/>
              <a:t>YTD Sep 20 vs YTD Sep 19</a:t>
            </a:r>
            <a:endParaRPr lang="en-GB" sz="1400" b="1" dirty="0"/>
          </a:p>
        </p:txBody>
      </p:sp>
      <p:pic>
        <p:nvPicPr>
          <p:cNvPr id="31" name="Picture 2" descr="Image result for pizza in box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434" t="20653" r="20660" b="7467"/>
          <a:stretch/>
        </p:blipFill>
        <p:spPr bwMode="auto">
          <a:xfrm>
            <a:off x="463548" y="1294696"/>
            <a:ext cx="984251" cy="984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383170" y="2361771"/>
            <a:ext cx="1145006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 smtClean="0"/>
              <a:t>1. Pizza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26.2%, </a:t>
            </a:r>
            <a:r>
              <a:rPr lang="en-GB" sz="1100" b="1" dirty="0" smtClean="0">
                <a:solidFill>
                  <a:srgbClr val="00B050"/>
                </a:solidFill>
              </a:rPr>
              <a:t>+0.9ppt</a:t>
            </a:r>
            <a:endParaRPr lang="en-GB" sz="1100" b="1" dirty="0">
              <a:solidFill>
                <a:srgbClr val="00B05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2180220" y="2361771"/>
            <a:ext cx="1145006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 smtClean="0"/>
              <a:t>2. Chips/Fries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17.9%, </a:t>
            </a:r>
            <a:r>
              <a:rPr lang="en-GB" sz="1100" b="1" dirty="0" smtClean="0">
                <a:solidFill>
                  <a:srgbClr val="00B050"/>
                </a:solidFill>
              </a:rPr>
              <a:t>+2.6ppt</a:t>
            </a:r>
            <a:endParaRPr lang="en-GB" sz="1100" b="1" dirty="0">
              <a:solidFill>
                <a:srgbClr val="00B05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4071599" y="2361771"/>
            <a:ext cx="1145006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 smtClean="0"/>
              <a:t>3. Chinese dish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13.8%, </a:t>
            </a:r>
            <a:r>
              <a:rPr lang="en-GB" sz="1100" b="1" dirty="0" smtClean="0">
                <a:solidFill>
                  <a:srgbClr val="00B050"/>
                </a:solidFill>
              </a:rPr>
              <a:t>+2.0ppt</a:t>
            </a:r>
            <a:endParaRPr lang="en-GB" sz="1100" b="1" dirty="0">
              <a:solidFill>
                <a:srgbClr val="00B05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5898226" y="2361771"/>
            <a:ext cx="1145006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/>
              <a:t>4</a:t>
            </a:r>
            <a:r>
              <a:rPr lang="en-GB" sz="1100" b="1" dirty="0" smtClean="0"/>
              <a:t>. Beef burger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8.8%, </a:t>
            </a:r>
            <a:r>
              <a:rPr lang="en-GB" sz="1100" b="1" dirty="0" smtClean="0">
                <a:solidFill>
                  <a:srgbClr val="00B050"/>
                </a:solidFill>
              </a:rPr>
              <a:t>+2.3ppt</a:t>
            </a:r>
            <a:endParaRPr lang="en-GB" sz="1100" b="1" dirty="0">
              <a:solidFill>
                <a:srgbClr val="00B05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7803226" y="2361771"/>
            <a:ext cx="1145006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 smtClean="0"/>
              <a:t>5. Sandwich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8.4%, </a:t>
            </a:r>
            <a:r>
              <a:rPr lang="en-GB" sz="1100" b="1" dirty="0" smtClean="0">
                <a:solidFill>
                  <a:srgbClr val="FF0000"/>
                </a:solidFill>
              </a:rPr>
              <a:t>-2.3ppt</a:t>
            </a:r>
            <a:endParaRPr lang="en-GB" sz="1100" b="1" dirty="0">
              <a:solidFill>
                <a:srgbClr val="FF000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323850" y="3983438"/>
            <a:ext cx="1250950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/>
              <a:t>6</a:t>
            </a:r>
            <a:r>
              <a:rPr lang="en-GB" sz="1100" b="1" dirty="0" smtClean="0"/>
              <a:t>. Savoury bakery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7.2%, </a:t>
            </a:r>
            <a:r>
              <a:rPr lang="en-GB" sz="1100" b="1" dirty="0">
                <a:solidFill>
                  <a:srgbClr val="FF0000"/>
                </a:solidFill>
              </a:rPr>
              <a:t>-</a:t>
            </a:r>
            <a:r>
              <a:rPr lang="en-GB" sz="1100" b="1" dirty="0" smtClean="0">
                <a:solidFill>
                  <a:srgbClr val="FF0000"/>
                </a:solidFill>
              </a:rPr>
              <a:t>0.3ppt</a:t>
            </a:r>
            <a:endParaRPr lang="en-GB" sz="1100" b="1" dirty="0">
              <a:solidFill>
                <a:srgbClr val="FF000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44" name="TextBox 43"/>
          <p:cNvSpPr txBox="1"/>
          <p:nvPr/>
        </p:nvSpPr>
        <p:spPr>
          <a:xfrm>
            <a:off x="2180221" y="3983438"/>
            <a:ext cx="1145006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 smtClean="0"/>
              <a:t>7. Indian dish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6.6%, </a:t>
            </a:r>
            <a:r>
              <a:rPr lang="en-GB" sz="1100" b="1" dirty="0" smtClean="0">
                <a:solidFill>
                  <a:srgbClr val="00B050"/>
                </a:solidFill>
              </a:rPr>
              <a:t>+0.2ppt</a:t>
            </a:r>
            <a:endParaRPr lang="en-GB" sz="1100" b="1" dirty="0">
              <a:solidFill>
                <a:srgbClr val="00B05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46" name="TextBox 45"/>
          <p:cNvSpPr txBox="1"/>
          <p:nvPr/>
        </p:nvSpPr>
        <p:spPr>
          <a:xfrm>
            <a:off x="4071600" y="3983438"/>
            <a:ext cx="1145006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 smtClean="0"/>
              <a:t>8. Fish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5.0%, </a:t>
            </a:r>
            <a:r>
              <a:rPr lang="en-GB" sz="1100" b="1" dirty="0" smtClean="0">
                <a:solidFill>
                  <a:srgbClr val="FF0000"/>
                </a:solidFill>
              </a:rPr>
              <a:t>-1.5ppt</a:t>
            </a:r>
            <a:endParaRPr lang="en-GB" sz="1100" b="1" dirty="0">
              <a:solidFill>
                <a:srgbClr val="FF000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48" name="TextBox 47"/>
          <p:cNvSpPr txBox="1"/>
          <p:nvPr/>
        </p:nvSpPr>
        <p:spPr>
          <a:xfrm>
            <a:off x="5765800" y="3983438"/>
            <a:ext cx="1416050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/>
              <a:t>9</a:t>
            </a:r>
            <a:r>
              <a:rPr lang="en-GB" sz="1100" b="1" dirty="0" smtClean="0"/>
              <a:t>. Chicken burger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4.7%, </a:t>
            </a:r>
            <a:r>
              <a:rPr lang="en-GB" sz="1100" b="1" dirty="0" smtClean="0">
                <a:solidFill>
                  <a:srgbClr val="00B050"/>
                </a:solidFill>
              </a:rPr>
              <a:t>+1.1ppt</a:t>
            </a:r>
            <a:endParaRPr lang="en-GB" sz="1100" b="1" dirty="0">
              <a:solidFill>
                <a:srgbClr val="00B05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50" name="TextBox 49"/>
          <p:cNvSpPr txBox="1"/>
          <p:nvPr/>
        </p:nvSpPr>
        <p:spPr>
          <a:xfrm>
            <a:off x="7727950" y="3983438"/>
            <a:ext cx="1270000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 smtClean="0"/>
              <a:t>10. Wedges/Skins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/>
              <a:t>3</a:t>
            </a:r>
            <a:r>
              <a:rPr lang="en-GB" sz="1100" b="1" dirty="0" smtClean="0"/>
              <a:t>.2%, </a:t>
            </a:r>
            <a:r>
              <a:rPr lang="en-GB" sz="1100" b="1" dirty="0" smtClean="0">
                <a:solidFill>
                  <a:srgbClr val="00B050"/>
                </a:solidFill>
              </a:rPr>
              <a:t>+0.6ppt</a:t>
            </a:r>
            <a:endParaRPr lang="en-GB" sz="1100" b="1" dirty="0">
              <a:solidFill>
                <a:srgbClr val="00B050"/>
              </a:solidFill>
            </a:endParaRPr>
          </a:p>
          <a:p>
            <a:pPr algn="ctr"/>
            <a:endParaRPr lang="en-GB" sz="800" b="1" dirty="0"/>
          </a:p>
        </p:txBody>
      </p:sp>
      <p:pic>
        <p:nvPicPr>
          <p:cNvPr id="51" name="Picture 2" descr="Image result for chips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99818">
                        <a14:foregroundMark x1="17153" y1="72078" x2="45438" y2="89935"/>
                        <a14:foregroundMark x1="15602" y1="71591" x2="27646" y2="99675"/>
                        <a14:foregroundMark x1="56843" y1="84416" x2="73723" y2="72727"/>
                        <a14:foregroundMark x1="57482" y1="93019" x2="66058" y2="86039"/>
                        <a14:foregroundMark x1="75274" y1="74026" x2="90785" y2="48539"/>
                        <a14:foregroundMark x1="94526" y1="68831" x2="72354" y2="41234"/>
                        <a14:foregroundMark x1="85949" y1="38474" x2="74179" y2="10390"/>
                        <a14:foregroundMark x1="84215" y1="26786" x2="81843" y2="14286"/>
                        <a14:foregroundMark x1="11223" y1="54058" x2="7299" y2="45455"/>
                        <a14:foregroundMark x1="7482" y1="46591" x2="730" y2="35714"/>
                        <a14:backgroundMark x1="3558" y1="16558" x2="30931" y2="9903"/>
                        <a14:backgroundMark x1="3376" y1="30195" x2="16697" y2="25162"/>
                        <a14:backgroundMark x1="21077" y1="18506" x2="10310" y2="31006"/>
                        <a14:backgroundMark x1="85310" y1="5357" x2="79836" y2="211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9785" r="13192" b="6850"/>
          <a:stretch/>
        </p:blipFill>
        <p:spPr bwMode="auto">
          <a:xfrm>
            <a:off x="2120899" y="1460346"/>
            <a:ext cx="1204327" cy="81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" descr="Image result for chinese takeaway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794" t="4454" r="18724" b="5100"/>
          <a:stretch/>
        </p:blipFill>
        <p:spPr bwMode="auto">
          <a:xfrm>
            <a:off x="4151978" y="1294696"/>
            <a:ext cx="989677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8" descr="Image result for burger takeaway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29243" y="1533612"/>
            <a:ext cx="809707" cy="809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Subway Launches New Club Sandwich Lineup | QSR magazin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3226" y="1607192"/>
            <a:ext cx="1136428" cy="662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Pieminister on Twitter: &quot;Stuck at home with pie cravings? We've got your  back. Get hot pie &amp; mash delivered straight to your door 😋  https://t.co/5NEX8dW4UD #piesathome #goodtimeswithpie #piesalldayeveryday  #takeaway #piefix https://t.co/FtvFAkUR3P ...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29" r="20991"/>
          <a:stretch/>
        </p:blipFill>
        <p:spPr bwMode="auto">
          <a:xfrm>
            <a:off x="542922" y="3131037"/>
            <a:ext cx="920751" cy="809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How to reheat your leftover takeaway curry - and avoid being posioned -  Mirror Onlin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6749" y="3234246"/>
            <a:ext cx="1071949" cy="602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 descr="Are these the best fish &amp; chip shops in the UK? | delicious. magazine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1465" y="3057435"/>
            <a:ext cx="765274" cy="956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8" name="Picture 10" descr="Buffalo Chicken Burger with Blue Cheese Ranch Recipe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0507" y="3107995"/>
            <a:ext cx="766636" cy="766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0" name="Picture 12" descr="Baked Spicy Garlic Potato Wedges | Roti n Rice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5488" y="3234246"/>
            <a:ext cx="800481" cy="640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ext Placeholder 4"/>
          <p:cNvSpPr txBox="1">
            <a:spLocks/>
          </p:cNvSpPr>
          <p:nvPr/>
        </p:nvSpPr>
        <p:spPr>
          <a:xfrm>
            <a:off x="3118107" y="4882731"/>
            <a:ext cx="3290146" cy="237283"/>
          </a:xfrm>
          <a:prstGeom prst="rect">
            <a:avLst/>
          </a:prstGeom>
        </p:spPr>
        <p:txBody>
          <a:bodyPr/>
          <a:lstStyle>
            <a:lvl1pPr marL="341313" indent="-341313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n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575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00" b="1" i="1" dirty="0" smtClean="0">
                <a:solidFill>
                  <a:schemeClr val="bg1"/>
                </a:solidFill>
              </a:rPr>
              <a:t>Source: NPD CREST   YTD September 2020</a:t>
            </a:r>
            <a:endParaRPr lang="en-GB" sz="900" b="1" i="1" dirty="0">
              <a:solidFill>
                <a:schemeClr val="bg1"/>
              </a:solidFill>
            </a:endParaRPr>
          </a:p>
        </p:txBody>
      </p:sp>
      <p:sp>
        <p:nvSpPr>
          <p:cNvPr id="25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</p:spPr>
        <p:txBody>
          <a:bodyPr/>
          <a:lstStyle/>
          <a:p>
            <a:fld id="{35A454EE-6717-4973-901E-6A90AD009CF4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608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7224" y="287391"/>
            <a:ext cx="8458745" cy="457200"/>
          </a:xfrm>
        </p:spPr>
        <p:txBody>
          <a:bodyPr/>
          <a:lstStyle/>
          <a:p>
            <a:r>
              <a:rPr lang="en-GB" sz="2400" dirty="0" smtClean="0"/>
              <a:t>Soft drinks have become even more popular for deliveries in 2020</a:t>
            </a:r>
            <a:endParaRPr lang="en-US" sz="2400" dirty="0"/>
          </a:p>
        </p:txBody>
      </p:sp>
      <p:sp>
        <p:nvSpPr>
          <p:cNvPr id="23" name="TextBox 22"/>
          <p:cNvSpPr txBox="1"/>
          <p:nvPr/>
        </p:nvSpPr>
        <p:spPr>
          <a:xfrm>
            <a:off x="1924050" y="794561"/>
            <a:ext cx="5038806" cy="500135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400" b="1" dirty="0"/>
              <a:t>Top </a:t>
            </a:r>
            <a:r>
              <a:rPr lang="en-GB" sz="1400" b="1" dirty="0" smtClean="0"/>
              <a:t>10 Drink items </a:t>
            </a:r>
            <a:r>
              <a:rPr lang="en-GB" sz="1400" b="1" dirty="0"/>
              <a:t>ordered for </a:t>
            </a:r>
            <a:r>
              <a:rPr lang="en-GB" sz="1400" b="1" dirty="0" smtClean="0"/>
              <a:t>Delivery, Incidence </a:t>
            </a:r>
            <a:r>
              <a:rPr lang="en-GB" sz="1400" b="1" dirty="0"/>
              <a:t>(Visit </a:t>
            </a:r>
            <a:r>
              <a:rPr lang="en-GB" sz="1400" b="1" dirty="0" smtClean="0"/>
              <a:t>%), </a:t>
            </a:r>
          </a:p>
          <a:p>
            <a:pPr algn="ctr"/>
            <a:r>
              <a:rPr lang="en-GB" sz="1400" b="1" dirty="0" smtClean="0"/>
              <a:t>YTD Sep 20 vs YTD Sep 19</a:t>
            </a:r>
            <a:endParaRPr lang="en-GB" sz="14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383170" y="2278946"/>
            <a:ext cx="1145006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 smtClean="0"/>
              <a:t>1. Regular Cola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14.3%, </a:t>
            </a:r>
            <a:r>
              <a:rPr lang="en-GB" sz="1100" b="1" dirty="0" smtClean="0">
                <a:solidFill>
                  <a:srgbClr val="00B050"/>
                </a:solidFill>
              </a:rPr>
              <a:t>+2.0ppt</a:t>
            </a:r>
            <a:endParaRPr lang="en-GB" sz="1100" b="1" dirty="0">
              <a:solidFill>
                <a:srgbClr val="00B05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1983545" y="2278946"/>
            <a:ext cx="1498209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 smtClean="0"/>
              <a:t>2. Diet/Low Cal Cola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10.9%, </a:t>
            </a:r>
            <a:r>
              <a:rPr lang="en-GB" sz="1100" b="1" dirty="0" smtClean="0">
                <a:solidFill>
                  <a:srgbClr val="00B050"/>
                </a:solidFill>
              </a:rPr>
              <a:t>+1.2ppt</a:t>
            </a:r>
            <a:endParaRPr lang="en-GB" sz="1100" b="1" dirty="0">
              <a:solidFill>
                <a:srgbClr val="00B05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4071599" y="2278946"/>
            <a:ext cx="1145006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 smtClean="0"/>
              <a:t>3. Juice Drinks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6.2%, </a:t>
            </a:r>
            <a:r>
              <a:rPr lang="en-GB" sz="1100" b="1" dirty="0" smtClean="0">
                <a:solidFill>
                  <a:srgbClr val="00B050"/>
                </a:solidFill>
              </a:rPr>
              <a:t>+1.0ppt</a:t>
            </a:r>
            <a:endParaRPr lang="en-GB" sz="1100" b="1" dirty="0">
              <a:solidFill>
                <a:srgbClr val="00B05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5898226" y="2278946"/>
            <a:ext cx="1145006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/>
              <a:t>4</a:t>
            </a:r>
            <a:r>
              <a:rPr lang="en-GB" sz="1100" b="1" dirty="0" smtClean="0"/>
              <a:t>. Bottled Water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5.9%, </a:t>
            </a:r>
            <a:r>
              <a:rPr lang="en-GB" sz="1100" b="1" dirty="0" smtClean="0">
                <a:solidFill>
                  <a:srgbClr val="FF0000"/>
                </a:solidFill>
              </a:rPr>
              <a:t>-4.7ppt</a:t>
            </a:r>
            <a:endParaRPr lang="en-GB" sz="1100" b="1" dirty="0">
              <a:solidFill>
                <a:srgbClr val="FF000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7803226" y="2278946"/>
            <a:ext cx="1145006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 smtClean="0"/>
              <a:t>5. Flavoured CSD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5.1%, </a:t>
            </a:r>
            <a:r>
              <a:rPr lang="en-GB" sz="1100" b="1" dirty="0" smtClean="0">
                <a:solidFill>
                  <a:srgbClr val="FF0000"/>
                </a:solidFill>
              </a:rPr>
              <a:t>-1.2ppt</a:t>
            </a:r>
            <a:endParaRPr lang="en-GB" sz="1100" b="1" dirty="0">
              <a:solidFill>
                <a:srgbClr val="FF000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323850" y="3900613"/>
            <a:ext cx="1250950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/>
              <a:t>6</a:t>
            </a:r>
            <a:r>
              <a:rPr lang="en-GB" sz="1100" b="1" dirty="0" smtClean="0"/>
              <a:t>. Coffee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3.3%, </a:t>
            </a:r>
            <a:r>
              <a:rPr lang="en-GB" sz="1100" b="1" dirty="0">
                <a:solidFill>
                  <a:srgbClr val="FF0000"/>
                </a:solidFill>
              </a:rPr>
              <a:t>-</a:t>
            </a:r>
            <a:r>
              <a:rPr lang="en-GB" sz="1100" b="1" dirty="0" smtClean="0">
                <a:solidFill>
                  <a:srgbClr val="FF0000"/>
                </a:solidFill>
              </a:rPr>
              <a:t>0.5ppt</a:t>
            </a:r>
            <a:endParaRPr lang="en-GB" sz="1100" b="1" dirty="0">
              <a:solidFill>
                <a:srgbClr val="FF000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44" name="TextBox 43"/>
          <p:cNvSpPr txBox="1"/>
          <p:nvPr/>
        </p:nvSpPr>
        <p:spPr>
          <a:xfrm>
            <a:off x="2180221" y="3900613"/>
            <a:ext cx="1145006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 smtClean="0"/>
              <a:t>7. Wine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2.4%, </a:t>
            </a:r>
            <a:r>
              <a:rPr lang="en-GB" sz="1100" b="1" dirty="0" smtClean="0">
                <a:solidFill>
                  <a:srgbClr val="00B050"/>
                </a:solidFill>
              </a:rPr>
              <a:t>+0.7ppt</a:t>
            </a:r>
            <a:endParaRPr lang="en-GB" sz="1100" b="1" dirty="0">
              <a:solidFill>
                <a:srgbClr val="00B05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46" name="TextBox 45"/>
          <p:cNvSpPr txBox="1"/>
          <p:nvPr/>
        </p:nvSpPr>
        <p:spPr>
          <a:xfrm>
            <a:off x="4071600" y="3900613"/>
            <a:ext cx="1145006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 smtClean="0"/>
              <a:t>8. Beer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2.2%, </a:t>
            </a:r>
            <a:r>
              <a:rPr lang="en-GB" sz="1100" b="1" dirty="0" smtClean="0">
                <a:solidFill>
                  <a:srgbClr val="00B050"/>
                </a:solidFill>
              </a:rPr>
              <a:t>+0.8ppt</a:t>
            </a:r>
            <a:endParaRPr lang="en-GB" sz="1100" b="1" dirty="0">
              <a:solidFill>
                <a:srgbClr val="00B05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48" name="TextBox 47"/>
          <p:cNvSpPr txBox="1"/>
          <p:nvPr/>
        </p:nvSpPr>
        <p:spPr>
          <a:xfrm>
            <a:off x="5765800" y="3900613"/>
            <a:ext cx="1416050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/>
              <a:t>9</a:t>
            </a:r>
            <a:r>
              <a:rPr lang="en-GB" sz="1100" b="1" dirty="0" smtClean="0"/>
              <a:t>. Dairy Drinks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1.4%, </a:t>
            </a:r>
            <a:r>
              <a:rPr lang="en-GB" sz="1100" b="1" dirty="0" smtClean="0">
                <a:solidFill>
                  <a:srgbClr val="00B050"/>
                </a:solidFill>
              </a:rPr>
              <a:t>+0.3ppt</a:t>
            </a:r>
            <a:endParaRPr lang="en-GB" sz="1100" b="1" dirty="0">
              <a:solidFill>
                <a:srgbClr val="00B05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50" name="TextBox 49"/>
          <p:cNvSpPr txBox="1"/>
          <p:nvPr/>
        </p:nvSpPr>
        <p:spPr>
          <a:xfrm>
            <a:off x="7727950" y="3900613"/>
            <a:ext cx="1270000" cy="65402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GB" sz="1100" b="1" dirty="0" smtClean="0"/>
              <a:t>10. Tea</a:t>
            </a:r>
            <a:endParaRPr lang="en-GB" sz="1100" b="1" dirty="0"/>
          </a:p>
          <a:p>
            <a:pPr algn="ctr"/>
            <a:endParaRPr lang="en-GB" sz="800" b="1" dirty="0"/>
          </a:p>
          <a:p>
            <a:pPr algn="ctr"/>
            <a:r>
              <a:rPr lang="en-GB" sz="1100" b="1" dirty="0" smtClean="0"/>
              <a:t>1.4%, </a:t>
            </a:r>
            <a:r>
              <a:rPr lang="en-GB" sz="1100" b="1" dirty="0" smtClean="0">
                <a:solidFill>
                  <a:srgbClr val="00B050"/>
                </a:solidFill>
              </a:rPr>
              <a:t>+0.2ppt</a:t>
            </a:r>
            <a:endParaRPr lang="en-GB" sz="1100" b="1" dirty="0">
              <a:solidFill>
                <a:srgbClr val="00B050"/>
              </a:solidFill>
            </a:endParaRPr>
          </a:p>
          <a:p>
            <a:pPr algn="ctr"/>
            <a:endParaRPr lang="en-GB" sz="800" b="1" dirty="0"/>
          </a:p>
        </p:txBody>
      </p:sp>
      <p:sp>
        <p:nvSpPr>
          <p:cNvPr id="54" name="Text Placeholder 4"/>
          <p:cNvSpPr txBox="1">
            <a:spLocks/>
          </p:cNvSpPr>
          <p:nvPr/>
        </p:nvSpPr>
        <p:spPr>
          <a:xfrm>
            <a:off x="3118107" y="4882731"/>
            <a:ext cx="3290146" cy="237283"/>
          </a:xfrm>
          <a:prstGeom prst="rect">
            <a:avLst/>
          </a:prstGeom>
        </p:spPr>
        <p:txBody>
          <a:bodyPr/>
          <a:lstStyle>
            <a:lvl1pPr marL="341313" indent="-341313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n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575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00" b="1" i="1" dirty="0" smtClean="0">
                <a:solidFill>
                  <a:schemeClr val="bg1"/>
                </a:solidFill>
              </a:rPr>
              <a:t>Source: NPD CREST   YTD September 2020</a:t>
            </a:r>
            <a:endParaRPr lang="en-GB" sz="900" b="1" i="1" dirty="0">
              <a:solidFill>
                <a:schemeClr val="bg1"/>
              </a:solidFill>
            </a:endParaRPr>
          </a:p>
        </p:txBody>
      </p:sp>
      <p:pic>
        <p:nvPicPr>
          <p:cNvPr id="12290" name="Picture 2" descr="Coca-Cola Original Classic Coke Regular Soft Drinks 500ml Bottle (Pack 24)  100182 - Hunt Office UK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19" r="32515"/>
          <a:stretch/>
        </p:blipFill>
        <p:spPr bwMode="auto">
          <a:xfrm>
            <a:off x="762943" y="1160564"/>
            <a:ext cx="385459" cy="1118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https://encrypted-tbn0.gstatic.com/images?q=tbn%3AANd9GcSbT1o73uW9pTLoDwM7LIwg6q617iVDmP4BKEcoSnxwLvijs5l5mXdjBG-wDCU83NOaw63fwa25&amp;usqp=CAc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0599" y="1294696"/>
            <a:ext cx="984250" cy="984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4" name="Picture 6" descr="Oasis Summer Fruits Juice Drinks 500ml Case of 12: Amazon.co.uk: Grocery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078" y="1284076"/>
            <a:ext cx="964047" cy="964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6" name="Picture 8" descr="https://encrypted-tbn0.gstatic.com/images?q=tbn%3AANd9GcSMGlvbC7K2JY0A-aW_xmEoevJxDob0xACv2s0kpPcVLWgd8BuUDpFfj94e_nGl_pdYSLG95zY&amp;usqp=CAc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1612" y="1279082"/>
            <a:ext cx="999863" cy="999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s://encrypted-tbn0.gstatic.com/images?q=tbn%3AANd9GcRfX8BRskKohghLwiPld-nrciaJ9tpmQzL4E8DLqmVDjy_AgRAkvIX1zClXelVwCpnLNbeWvvBC&amp;usqp=CAc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1279082"/>
            <a:ext cx="933450" cy="933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12" descr="This is your new recyclable &amp; eco-friendly coffee mug » See our collection  | Reusable plastic, for many years ✓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302" name="Picture 14" descr="Drinking Coffee May Help with Weight Loss | PEOPLE.com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424" y="3042413"/>
            <a:ext cx="800414" cy="800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04" name="Picture 16" descr="https://encrypted-tbn0.gstatic.com/images?q=tbn%3AANd9GcQS3YEK-fZTqxrPxHtlW0lVVxhnRHJqqhxh5GQbBOrS3EM0REChqtNGM13BXSt7WJ_HUROh&amp;usqp=CAc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8899" y="2818889"/>
            <a:ext cx="247650" cy="1023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06" name="Picture 18" descr="https://encrypted-tbn0.gstatic.com/images?q=tbn%3AANd9GcR3WeVusSVRih4DXD_rfm_G5bVMZawy1DHVmbjGydQHMQR6de5MZNqk41yCaQjV_fXQcWgUh9GL&amp;usqp=CAc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7353" y="2932970"/>
            <a:ext cx="967644" cy="967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08" name="Picture 20" descr="View Our Latest News and Menu Items - Mellows; Essex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8" r="5535"/>
          <a:stretch/>
        </p:blipFill>
        <p:spPr bwMode="auto">
          <a:xfrm>
            <a:off x="6153462" y="3011347"/>
            <a:ext cx="640725" cy="807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10" name="Picture 22" descr="Bamboo mug To-Go - Tea Time by Wimmel Napkins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3320" y="3036179"/>
            <a:ext cx="859260" cy="859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</p:spPr>
        <p:txBody>
          <a:bodyPr/>
          <a:lstStyle/>
          <a:p>
            <a:fld id="{35A454EE-6717-4973-901E-6A90AD009CF4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6662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smtClean="0"/>
              <a:t>Key points</a:t>
            </a:r>
            <a:endParaRPr lang="en-US" sz="28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54443" y="896514"/>
            <a:ext cx="5555258" cy="2815378"/>
          </a:xfrm>
        </p:spPr>
        <p:txBody>
          <a:bodyPr/>
          <a:lstStyle/>
          <a:p>
            <a:r>
              <a:rPr lang="en-GB" sz="1800" b="1" dirty="0" smtClean="0">
                <a:solidFill>
                  <a:schemeClr val="bg1"/>
                </a:solidFill>
              </a:rPr>
              <a:t>Delivery visits are up +15% so far in 2020, and are expected to continue to grow during lockdown 2.0</a:t>
            </a:r>
          </a:p>
          <a:p>
            <a:endParaRPr lang="en-GB" sz="1800" b="1" dirty="0" smtClean="0">
              <a:solidFill>
                <a:schemeClr val="bg1"/>
              </a:solidFill>
            </a:endParaRPr>
          </a:p>
          <a:p>
            <a:r>
              <a:rPr lang="en-GB" sz="1800" b="1" dirty="0" smtClean="0">
                <a:solidFill>
                  <a:schemeClr val="bg1"/>
                </a:solidFill>
              </a:rPr>
              <a:t>The first lockdown brought in new delivery users, and this can be expected to happen again in lockdown 2.0</a:t>
            </a:r>
          </a:p>
          <a:p>
            <a:endParaRPr lang="en-GB" sz="1800" b="1" dirty="0" smtClean="0">
              <a:solidFill>
                <a:schemeClr val="bg1"/>
              </a:solidFill>
            </a:endParaRPr>
          </a:p>
          <a:p>
            <a:r>
              <a:rPr lang="en-GB" sz="1800" b="1" dirty="0" smtClean="0">
                <a:solidFill>
                  <a:schemeClr val="bg1"/>
                </a:solidFill>
              </a:rPr>
              <a:t>Most top delivery food &amp; beverage items have further increased in popularity during </a:t>
            </a:r>
            <a:r>
              <a:rPr lang="en-GB" sz="1800" b="1" dirty="0" err="1" smtClean="0">
                <a:solidFill>
                  <a:schemeClr val="bg1"/>
                </a:solidFill>
              </a:rPr>
              <a:t>Covid</a:t>
            </a:r>
            <a:r>
              <a:rPr lang="en-GB" sz="1800" b="1" dirty="0" smtClean="0">
                <a:solidFill>
                  <a:schemeClr val="bg1"/>
                </a:solidFill>
              </a:rPr>
              <a:t>, with pizza, chips and Chinese rounding out the top three</a:t>
            </a:r>
          </a:p>
          <a:p>
            <a:endParaRPr lang="en-GB" sz="1800" b="1" dirty="0">
              <a:solidFill>
                <a:schemeClr val="bg1"/>
              </a:solidFill>
            </a:endParaRPr>
          </a:p>
          <a:p>
            <a:r>
              <a:rPr lang="en-GB" sz="1800" b="1" dirty="0" smtClean="0">
                <a:solidFill>
                  <a:schemeClr val="bg1"/>
                </a:solidFill>
              </a:rPr>
              <a:t>Vegan/vegetarian, more partnerships and new platforms are among delivery trends to watch in 2021</a:t>
            </a:r>
          </a:p>
          <a:p>
            <a:endParaRPr lang="en-US" sz="1800" b="1" dirty="0"/>
          </a:p>
        </p:txBody>
      </p:sp>
      <p:pic>
        <p:nvPicPr>
          <p:cNvPr id="3074" name="Picture 2" descr="To Deliver or Not to Deliver? Providing Top-Notch Restaurant Delivery  Service — Foodable Network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46" r="8032"/>
          <a:stretch/>
        </p:blipFill>
        <p:spPr bwMode="auto">
          <a:xfrm>
            <a:off x="5882640" y="-1"/>
            <a:ext cx="3261360" cy="4818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053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-20538"/>
            <a:ext cx="7740352" cy="4841153"/>
          </a:xfrm>
          <a:prstGeom prst="rect">
            <a:avLst/>
          </a:prstGeom>
          <a:gradFill flip="none" rotWithShape="1">
            <a:gsLst>
              <a:gs pos="38000">
                <a:srgbClr val="E5E5E3"/>
              </a:gs>
              <a:gs pos="0">
                <a:srgbClr val="E5E5E3">
                  <a:alpha val="0"/>
                </a:srgbClr>
              </a:gs>
              <a:gs pos="100000">
                <a:srgbClr val="E6E6E5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62" name="Text Placeholder 4"/>
          <p:cNvSpPr txBox="1">
            <a:spLocks/>
          </p:cNvSpPr>
          <p:nvPr/>
        </p:nvSpPr>
        <p:spPr>
          <a:xfrm>
            <a:off x="3118107" y="4882731"/>
            <a:ext cx="3290146" cy="237283"/>
          </a:xfrm>
          <a:prstGeom prst="rect">
            <a:avLst/>
          </a:prstGeom>
        </p:spPr>
        <p:txBody>
          <a:bodyPr/>
          <a:lstStyle>
            <a:lvl1pPr marL="341313" indent="-341313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n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575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00" b="1" i="1" dirty="0" smtClean="0">
                <a:solidFill>
                  <a:schemeClr val="bg1"/>
                </a:solidFill>
              </a:rPr>
              <a:t>Source: NPD CREST</a:t>
            </a:r>
            <a:endParaRPr lang="en-GB" sz="900" b="1" i="1" dirty="0">
              <a:solidFill>
                <a:schemeClr val="bg1"/>
              </a:solidFill>
            </a:endParaRPr>
          </a:p>
        </p:txBody>
      </p:sp>
      <p:pic>
        <p:nvPicPr>
          <p:cNvPr id="13314" name="Picture 2" descr="silhouette of quadcopter drone hovering near the city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44057" b="13895"/>
          <a:stretch/>
        </p:blipFill>
        <p:spPr bwMode="auto">
          <a:xfrm>
            <a:off x="444962" y="276881"/>
            <a:ext cx="2275850" cy="2627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444962" y="2271972"/>
            <a:ext cx="2275849" cy="1067215"/>
          </a:xfrm>
          <a:prstGeom prst="rect">
            <a:avLst/>
          </a:prstGeom>
          <a:solidFill>
            <a:srgbClr val="82243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b="1" dirty="0" smtClean="0"/>
              <a:t>What’s next for delivery?</a:t>
            </a:r>
            <a:endParaRPr lang="en-US" b="1" dirty="0"/>
          </a:p>
        </p:txBody>
      </p:sp>
      <p:pic>
        <p:nvPicPr>
          <p:cNvPr id="13316" name="Picture 4" descr="silver spoon on black ceramic bowl with vegetables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00" r="5472"/>
          <a:stretch/>
        </p:blipFill>
        <p:spPr bwMode="auto">
          <a:xfrm>
            <a:off x="2830370" y="276881"/>
            <a:ext cx="2090927" cy="3442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: Rounded Corners 32">
            <a:extLst>
              <a:ext uri="{FF2B5EF4-FFF2-40B4-BE49-F238E27FC236}">
                <a16:creationId xmlns="" xmlns:a16="http://schemas.microsoft.com/office/drawing/2014/main" id="{4FAFA89D-5C8D-4D0F-80E2-1FEDEE0FD2C1}"/>
              </a:ext>
            </a:extLst>
          </p:cNvPr>
          <p:cNvSpPr/>
          <p:nvPr/>
        </p:nvSpPr>
        <p:spPr>
          <a:xfrm>
            <a:off x="2830370" y="3827181"/>
            <a:ext cx="2090927" cy="755671"/>
          </a:xfrm>
          <a:prstGeom prst="roundRect">
            <a:avLst>
              <a:gd name="adj" fmla="val 10324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21917" tIns="60958" rIns="121917" bIns="60958" rtlCol="0" anchor="ctr">
            <a:noAutofit/>
          </a:bodyPr>
          <a:lstStyle/>
          <a:p>
            <a:pPr algn="ctr" defTabSz="609585">
              <a:lnSpc>
                <a:spcPts val="2000"/>
              </a:lnSpc>
              <a:defRPr/>
            </a:pPr>
            <a:r>
              <a:rPr lang="en-US" sz="1200" b="1" dirty="0" smtClean="0">
                <a:solidFill>
                  <a:prstClr val="white"/>
                </a:solidFill>
              </a:rPr>
              <a:t>Vegan &amp; vegetarian delivery orders are seeing significant growth year-on-year</a:t>
            </a:r>
            <a:endParaRPr lang="en-US" sz="1200" b="1" dirty="0">
              <a:solidFill>
                <a:prstClr val="white"/>
              </a:solidFill>
            </a:endParaRPr>
          </a:p>
        </p:txBody>
      </p:sp>
      <p:pic>
        <p:nvPicPr>
          <p:cNvPr id="13318" name="Picture 6" descr="Sainsbury'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256" y="276118"/>
            <a:ext cx="3566159" cy="2377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: Rounded Corners 32">
            <a:extLst>
              <a:ext uri="{FF2B5EF4-FFF2-40B4-BE49-F238E27FC236}">
                <a16:creationId xmlns="" xmlns:a16="http://schemas.microsoft.com/office/drawing/2014/main" id="{4FAFA89D-5C8D-4D0F-80E2-1FEDEE0FD2C1}"/>
              </a:ext>
            </a:extLst>
          </p:cNvPr>
          <p:cNvSpPr/>
          <p:nvPr/>
        </p:nvSpPr>
        <p:spPr>
          <a:xfrm>
            <a:off x="5050256" y="2706098"/>
            <a:ext cx="3566159" cy="555885"/>
          </a:xfrm>
          <a:prstGeom prst="roundRect">
            <a:avLst>
              <a:gd name="adj" fmla="val 10324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21917" tIns="60958" rIns="121917" bIns="60958" rtlCol="0" anchor="ctr">
            <a:noAutofit/>
          </a:bodyPr>
          <a:lstStyle/>
          <a:p>
            <a:pPr algn="ctr" defTabSz="609585">
              <a:lnSpc>
                <a:spcPts val="2000"/>
              </a:lnSpc>
              <a:defRPr/>
            </a:pPr>
            <a:r>
              <a:rPr lang="en-US" sz="1200" b="1" dirty="0" smtClean="0">
                <a:solidFill>
                  <a:prstClr val="white"/>
                </a:solidFill>
              </a:rPr>
              <a:t>Further partnerships: Sainsbury’s has teamed up with </a:t>
            </a:r>
            <a:r>
              <a:rPr lang="en-US" sz="1200" b="1" dirty="0" err="1" smtClean="0">
                <a:solidFill>
                  <a:prstClr val="white"/>
                </a:solidFill>
              </a:rPr>
              <a:t>Deliveroo</a:t>
            </a:r>
            <a:r>
              <a:rPr lang="en-US" sz="1200" b="1" dirty="0" smtClean="0">
                <a:solidFill>
                  <a:prstClr val="white"/>
                </a:solidFill>
              </a:rPr>
              <a:t> and Uber Eats to offer rapid delivery</a:t>
            </a:r>
            <a:endParaRPr lang="en-US" sz="1200" b="1" dirty="0">
              <a:solidFill>
                <a:prstClr val="white"/>
              </a:solidFill>
            </a:endParaRPr>
          </a:p>
        </p:txBody>
      </p:sp>
      <p:pic>
        <p:nvPicPr>
          <p:cNvPr id="13319" name="Picture 7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373" t="32037" r="14845" b="13148"/>
          <a:stretch/>
        </p:blipFill>
        <p:spPr bwMode="auto">
          <a:xfrm>
            <a:off x="5050256" y="3290685"/>
            <a:ext cx="2365627" cy="1414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204662" y="4255090"/>
            <a:ext cx="800100" cy="287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 smtClean="0"/>
              <a:t>Slerp</a:t>
            </a:r>
            <a:endParaRPr lang="en-US" sz="1200" b="1" dirty="0" smtClean="0"/>
          </a:p>
        </p:txBody>
      </p:sp>
      <p:sp>
        <p:nvSpPr>
          <p:cNvPr id="36" name="Rectangle: Rounded Corners 32">
            <a:extLst>
              <a:ext uri="{FF2B5EF4-FFF2-40B4-BE49-F238E27FC236}">
                <a16:creationId xmlns="" xmlns:a16="http://schemas.microsoft.com/office/drawing/2014/main" id="{4FAFA89D-5C8D-4D0F-80E2-1FEDEE0FD2C1}"/>
              </a:ext>
            </a:extLst>
          </p:cNvPr>
          <p:cNvSpPr/>
          <p:nvPr/>
        </p:nvSpPr>
        <p:spPr>
          <a:xfrm>
            <a:off x="7503361" y="3444290"/>
            <a:ext cx="1212850" cy="1260992"/>
          </a:xfrm>
          <a:prstGeom prst="roundRect">
            <a:avLst>
              <a:gd name="adj" fmla="val 10324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21917" tIns="60958" rIns="121917" bIns="60958" rtlCol="0" anchor="ctr">
            <a:noAutofit/>
          </a:bodyPr>
          <a:lstStyle/>
          <a:p>
            <a:pPr algn="ctr" defTabSz="609585">
              <a:lnSpc>
                <a:spcPts val="2000"/>
              </a:lnSpc>
              <a:defRPr/>
            </a:pPr>
            <a:r>
              <a:rPr lang="en-US" sz="1200" b="1" dirty="0" smtClean="0">
                <a:solidFill>
                  <a:prstClr val="white"/>
                </a:solidFill>
              </a:rPr>
              <a:t>New platforms entering the delivery market</a:t>
            </a:r>
            <a:endParaRPr lang="en-US" sz="1200" b="1" dirty="0">
              <a:solidFill>
                <a:prstClr val="white"/>
              </a:solidFill>
            </a:endParaRPr>
          </a:p>
        </p:txBody>
      </p:sp>
      <p:sp>
        <p:nvSpPr>
          <p:cNvPr id="37" name="Rectangle: Rounded Corners 32">
            <a:extLst>
              <a:ext uri="{FF2B5EF4-FFF2-40B4-BE49-F238E27FC236}">
                <a16:creationId xmlns="" xmlns:a16="http://schemas.microsoft.com/office/drawing/2014/main" id="{4FAFA89D-5C8D-4D0F-80E2-1FEDEE0FD2C1}"/>
              </a:ext>
            </a:extLst>
          </p:cNvPr>
          <p:cNvSpPr/>
          <p:nvPr/>
        </p:nvSpPr>
        <p:spPr>
          <a:xfrm>
            <a:off x="444962" y="3593757"/>
            <a:ext cx="2275849" cy="903930"/>
          </a:xfrm>
          <a:prstGeom prst="roundRect">
            <a:avLst>
              <a:gd name="adj" fmla="val 10324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21917" tIns="60958" rIns="121917" bIns="60958" rtlCol="0" anchor="ctr">
            <a:noAutofit/>
          </a:bodyPr>
          <a:lstStyle/>
          <a:p>
            <a:pPr algn="ctr" defTabSz="609585">
              <a:lnSpc>
                <a:spcPts val="2000"/>
              </a:lnSpc>
              <a:defRPr/>
            </a:pPr>
            <a:r>
              <a:rPr lang="en-US" sz="1600" b="1" dirty="0" smtClean="0">
                <a:solidFill>
                  <a:prstClr val="white"/>
                </a:solidFill>
              </a:rPr>
              <a:t>Overall growth of +15% in delivery visits expected in 2020</a:t>
            </a:r>
            <a:endParaRPr lang="en-US" sz="16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62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2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smtClean="0"/>
              <a:t>Key points</a:t>
            </a:r>
            <a:endParaRPr lang="en-US" sz="280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54443" y="896514"/>
            <a:ext cx="5555258" cy="2815378"/>
          </a:xfrm>
        </p:spPr>
        <p:txBody>
          <a:bodyPr/>
          <a:lstStyle/>
          <a:p>
            <a:r>
              <a:rPr lang="en-GB" sz="1800" b="1" dirty="0" smtClean="0">
                <a:solidFill>
                  <a:schemeClr val="bg1"/>
                </a:solidFill>
              </a:rPr>
              <a:t>Delivery visits are up +15% so far in 2020, and are expected to continue to grow during lockdown 2.0</a:t>
            </a:r>
          </a:p>
          <a:p>
            <a:endParaRPr lang="en-GB" sz="1800" b="1" dirty="0" smtClean="0">
              <a:solidFill>
                <a:schemeClr val="bg1"/>
              </a:solidFill>
            </a:endParaRPr>
          </a:p>
          <a:p>
            <a:r>
              <a:rPr lang="en-GB" sz="1800" b="1" dirty="0" smtClean="0">
                <a:solidFill>
                  <a:schemeClr val="bg1"/>
                </a:solidFill>
              </a:rPr>
              <a:t>The first lockdown brought in new delivery users, and this can be expected to happen again in lockdown 2.0</a:t>
            </a:r>
          </a:p>
          <a:p>
            <a:endParaRPr lang="en-GB" sz="1800" b="1" dirty="0" smtClean="0">
              <a:solidFill>
                <a:schemeClr val="bg1"/>
              </a:solidFill>
            </a:endParaRPr>
          </a:p>
          <a:p>
            <a:r>
              <a:rPr lang="en-GB" sz="1800" b="1" dirty="0" smtClean="0">
                <a:solidFill>
                  <a:schemeClr val="bg1"/>
                </a:solidFill>
              </a:rPr>
              <a:t>Most top delivery food &amp; beverage items have further increased in popularity during </a:t>
            </a:r>
            <a:r>
              <a:rPr lang="en-GB" sz="1800" b="1" dirty="0" err="1" smtClean="0">
                <a:solidFill>
                  <a:schemeClr val="bg1"/>
                </a:solidFill>
              </a:rPr>
              <a:t>Covid</a:t>
            </a:r>
            <a:r>
              <a:rPr lang="en-GB" sz="1800" b="1" dirty="0" smtClean="0">
                <a:solidFill>
                  <a:schemeClr val="bg1"/>
                </a:solidFill>
              </a:rPr>
              <a:t>, with pizza, chips and Chinese rounding out the top three</a:t>
            </a:r>
          </a:p>
          <a:p>
            <a:endParaRPr lang="en-GB" sz="1800" b="1" dirty="0">
              <a:solidFill>
                <a:schemeClr val="bg1"/>
              </a:solidFill>
            </a:endParaRPr>
          </a:p>
          <a:p>
            <a:r>
              <a:rPr lang="en-GB" sz="1800" b="1" dirty="0" smtClean="0">
                <a:solidFill>
                  <a:schemeClr val="bg1"/>
                </a:solidFill>
              </a:rPr>
              <a:t>Vegan/vegetarian, more partnerships and new platforms are among delivery trends to watch in 2021</a:t>
            </a:r>
          </a:p>
          <a:p>
            <a:endParaRPr lang="en-US" sz="1800" b="1" dirty="0"/>
          </a:p>
        </p:txBody>
      </p:sp>
      <p:pic>
        <p:nvPicPr>
          <p:cNvPr id="3074" name="Picture 2" descr="To Deliver or Not to Deliver? Providing Top-Notch Restaurant Delivery  Service — Foodable Network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46" r="8032"/>
          <a:stretch/>
        </p:blipFill>
        <p:spPr bwMode="auto">
          <a:xfrm>
            <a:off x="5882640" y="-1"/>
            <a:ext cx="3261360" cy="4818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1566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What next? 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4228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50" y="1005840"/>
            <a:ext cx="3902710" cy="2401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96851" y="178240"/>
            <a:ext cx="908834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smtClean="0">
                <a:solidFill>
                  <a:schemeClr val="bg1"/>
                </a:solidFill>
              </a:rPr>
              <a:t>What’s next for eating and drinking out in the UK? </a:t>
            </a:r>
            <a:r>
              <a:rPr lang="en-GB" sz="2000" dirty="0" smtClean="0">
                <a:solidFill>
                  <a:schemeClr val="bg1"/>
                </a:solidFill>
              </a:rPr>
              <a:t>– NPD’s Foodservice experts can help you navigate the recovery, plan ahead, and anticipate opportunities   </a:t>
            </a:r>
            <a:endParaRPr lang="en-US" sz="2000" dirty="0" smtClean="0">
              <a:solidFill>
                <a:schemeClr val="bg1"/>
              </a:solidFill>
            </a:endParaRP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1479" y="2896079"/>
            <a:ext cx="4526281" cy="1664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244340" y="1023881"/>
            <a:ext cx="451866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The NPD Foodservice team is able to help you and your business in several ways. </a:t>
            </a:r>
            <a:r>
              <a:rPr lang="en-GB" sz="1200" b="1" dirty="0" smtClean="0">
                <a:solidFill>
                  <a:schemeClr val="bg1"/>
                </a:solidFill>
              </a:rPr>
              <a:t>As well as market tracking and opportunity sizing, NPD has created a </a:t>
            </a:r>
            <a:r>
              <a:rPr lang="en-US" sz="1200" b="1" dirty="0" smtClean="0">
                <a:solidFill>
                  <a:schemeClr val="bg1"/>
                </a:solidFill>
              </a:rPr>
              <a:t>forward-looking </a:t>
            </a:r>
            <a:r>
              <a:rPr lang="en-US" sz="1200" b="1" dirty="0">
                <a:solidFill>
                  <a:schemeClr val="bg1"/>
                </a:solidFill>
              </a:rPr>
              <a:t>package of foodservice insights </a:t>
            </a:r>
            <a:r>
              <a:rPr lang="en-US" sz="1200" b="1" dirty="0" smtClean="0">
                <a:solidFill>
                  <a:schemeClr val="bg1"/>
                </a:solidFill>
              </a:rPr>
              <a:t>that anticipates </a:t>
            </a:r>
            <a:r>
              <a:rPr lang="en-US" sz="1200" b="1" dirty="0">
                <a:solidFill>
                  <a:schemeClr val="bg1"/>
                </a:solidFill>
              </a:rPr>
              <a:t>the impact of COVID-19 on </a:t>
            </a:r>
            <a:r>
              <a:rPr lang="en-US" sz="1200" b="1" dirty="0" smtClean="0">
                <a:solidFill>
                  <a:schemeClr val="bg1"/>
                </a:solidFill>
              </a:rPr>
              <a:t>consumer behaviour </a:t>
            </a:r>
            <a:r>
              <a:rPr lang="en-US" sz="1200" b="1" dirty="0">
                <a:solidFill>
                  <a:schemeClr val="bg1"/>
                </a:solidFill>
              </a:rPr>
              <a:t>in the U.K. and beyond</a:t>
            </a:r>
            <a:r>
              <a:rPr lang="en-US" sz="1200" dirty="0">
                <a:solidFill>
                  <a:schemeClr val="bg1"/>
                </a:solidFill>
              </a:rPr>
              <a:t>. </a:t>
            </a:r>
            <a:endParaRPr lang="en-US" sz="1200" dirty="0" smtClean="0">
              <a:solidFill>
                <a:schemeClr val="bg1"/>
              </a:solidFill>
            </a:endParaRPr>
          </a:p>
          <a:p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 smtClean="0">
                <a:solidFill>
                  <a:schemeClr val="bg1"/>
                </a:solidFill>
              </a:rPr>
              <a:t>It </a:t>
            </a:r>
            <a:r>
              <a:rPr lang="en-US" sz="1200" dirty="0">
                <a:solidFill>
                  <a:schemeClr val="bg1"/>
                </a:solidFill>
              </a:rPr>
              <a:t>provides the strategic support you need to inform critical </a:t>
            </a:r>
            <a:r>
              <a:rPr lang="en-US" sz="1200" dirty="0" smtClean="0">
                <a:solidFill>
                  <a:schemeClr val="bg1"/>
                </a:solidFill>
              </a:rPr>
              <a:t>business decisions</a:t>
            </a:r>
            <a:r>
              <a:rPr lang="en-US" sz="1200" dirty="0">
                <a:solidFill>
                  <a:schemeClr val="bg1"/>
                </a:solidFill>
              </a:rPr>
              <a:t>, adapt your strategy, and be prepared for the opportunities and challenges that will arise as </a:t>
            </a:r>
            <a:r>
              <a:rPr lang="en-US" sz="1200" dirty="0" smtClean="0">
                <a:solidFill>
                  <a:schemeClr val="bg1"/>
                </a:solidFill>
              </a:rPr>
              <a:t>the </a:t>
            </a:r>
            <a:r>
              <a:rPr lang="en-GB" sz="1200" dirty="0" smtClean="0">
                <a:solidFill>
                  <a:schemeClr val="bg1"/>
                </a:solidFill>
              </a:rPr>
              <a:t>market </a:t>
            </a:r>
            <a:r>
              <a:rPr lang="en-GB" sz="1200" dirty="0">
                <a:solidFill>
                  <a:schemeClr val="bg1"/>
                </a:solidFill>
              </a:rPr>
              <a:t>recovers.</a:t>
            </a:r>
            <a:endParaRPr lang="en-GB" sz="1200" dirty="0" smtClean="0">
              <a:solidFill>
                <a:schemeClr val="bg1"/>
              </a:solidFill>
            </a:endParaRPr>
          </a:p>
        </p:txBody>
      </p:sp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51" y="2987951"/>
            <a:ext cx="3902710" cy="1566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0902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C2E61B10-F604-4C97-8174-3156613842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227"/>
            <a:ext cx="9144000" cy="4802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55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13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6" name="Picture Placeholder 5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399" y="923265"/>
            <a:ext cx="5181601" cy="3541605"/>
          </a:xfrm>
        </p:spPr>
      </p:pic>
      <p:sp>
        <p:nvSpPr>
          <p:cNvPr id="14" name="Rectangle 13"/>
          <p:cNvSpPr/>
          <p:nvPr/>
        </p:nvSpPr>
        <p:spPr>
          <a:xfrm>
            <a:off x="0" y="3429015"/>
            <a:ext cx="4601096" cy="984906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65637" y="3752191"/>
            <a:ext cx="40150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 smtClean="0">
                <a:solidFill>
                  <a:schemeClr val="bg1"/>
                </a:solidFill>
              </a:rPr>
              <a:t>3 – </a:t>
            </a:r>
            <a:r>
              <a:rPr lang="en-US" b="1" dirty="0" smtClean="0">
                <a:solidFill>
                  <a:schemeClr val="bg1"/>
                </a:solidFill>
              </a:rPr>
              <a:t>What next?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236220" y="349327"/>
            <a:ext cx="8321040" cy="4572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2400" dirty="0" smtClean="0"/>
              <a:t>Agenda</a:t>
            </a:r>
            <a:endParaRPr lang="en-US" sz="2400" dirty="0"/>
          </a:p>
        </p:txBody>
      </p:sp>
      <p:sp>
        <p:nvSpPr>
          <p:cNvPr id="25" name="Rectangle 24"/>
          <p:cNvSpPr/>
          <p:nvPr/>
        </p:nvSpPr>
        <p:spPr>
          <a:xfrm>
            <a:off x="0" y="2133608"/>
            <a:ext cx="4601096" cy="984906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-1" y="923664"/>
            <a:ext cx="5571068" cy="984906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 flipH="1">
            <a:off x="3490401" y="796660"/>
            <a:ext cx="2258026" cy="3839686"/>
          </a:xfrm>
          <a:prstGeom prst="line">
            <a:avLst/>
          </a:prstGeom>
          <a:ln w="698500" cmpd="sng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H="1">
            <a:off x="4157062" y="923664"/>
            <a:ext cx="2031237" cy="3631403"/>
          </a:xfrm>
          <a:prstGeom prst="line">
            <a:avLst/>
          </a:prstGeom>
          <a:ln w="508000" cmpd="sng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65637" y="2456784"/>
            <a:ext cx="47253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2 </a:t>
            </a:r>
            <a:r>
              <a:rPr lang="en-GB" b="1" dirty="0" smtClean="0">
                <a:solidFill>
                  <a:schemeClr val="bg1"/>
                </a:solidFill>
              </a:rPr>
              <a:t>– </a:t>
            </a:r>
            <a:r>
              <a:rPr lang="en-US" b="1" dirty="0" smtClean="0">
                <a:solidFill>
                  <a:schemeClr val="bg1"/>
                </a:solidFill>
              </a:rPr>
              <a:t>The Delivery market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5637" y="1231451"/>
            <a:ext cx="23365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1 – </a:t>
            </a:r>
            <a:r>
              <a:rPr lang="en-GB" b="1" dirty="0" smtClean="0">
                <a:solidFill>
                  <a:schemeClr val="bg1"/>
                </a:solidFill>
              </a:rPr>
              <a:t>Where we are now</a:t>
            </a:r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112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0" y="-2984"/>
            <a:ext cx="7740352" cy="4823599"/>
          </a:xfrm>
          <a:prstGeom prst="rect">
            <a:avLst/>
          </a:prstGeom>
          <a:gradFill flip="none" rotWithShape="1">
            <a:gsLst>
              <a:gs pos="38000">
                <a:srgbClr val="E5E5E3"/>
              </a:gs>
              <a:gs pos="0">
                <a:srgbClr val="E5E5E3">
                  <a:alpha val="0"/>
                </a:srgbClr>
              </a:gs>
              <a:gs pos="100000">
                <a:srgbClr val="E6E6E5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7AACF9E-D00C-9F42-B339-953D75963321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699" y="273127"/>
            <a:ext cx="8637270" cy="457200"/>
          </a:xfrm>
        </p:spPr>
        <p:txBody>
          <a:bodyPr/>
          <a:lstStyle/>
          <a:p>
            <a:r>
              <a:rPr lang="en-US" sz="2400" dirty="0" smtClean="0"/>
              <a:t>With a second lockdown upon us, we are currently moving backwards in the recovery. Delivery will benefit from this</a:t>
            </a:r>
            <a:endParaRPr lang="en-US" sz="2400" dirty="0"/>
          </a:p>
        </p:txBody>
      </p:sp>
      <p:sp>
        <p:nvSpPr>
          <p:cNvPr id="32" name="Rectangle: Rounded Corners 31">
            <a:extLst>
              <a:ext uri="{FF2B5EF4-FFF2-40B4-BE49-F238E27FC236}">
                <a16:creationId xmlns="" xmlns:a16="http://schemas.microsoft.com/office/drawing/2014/main" id="{C5A69632-EB0C-4C70-8AD8-DB9A1F6D4E28}"/>
              </a:ext>
            </a:extLst>
          </p:cNvPr>
          <p:cNvSpPr/>
          <p:nvPr/>
        </p:nvSpPr>
        <p:spPr>
          <a:xfrm>
            <a:off x="424699" y="1553935"/>
            <a:ext cx="1568195" cy="600615"/>
          </a:xfrm>
          <a:prstGeom prst="roundRect">
            <a:avLst>
              <a:gd name="adj" fmla="val 11117"/>
            </a:avLst>
          </a:prstGeom>
          <a:solidFill>
            <a:srgbClr val="00517D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457200">
              <a:lnSpc>
                <a:spcPts val="1500"/>
              </a:lnSpc>
              <a:defRPr/>
            </a:pPr>
            <a:r>
              <a:rPr lang="en-US" sz="1400" b="1" dirty="0" smtClean="0">
                <a:solidFill>
                  <a:prstClr val="white"/>
                </a:solidFill>
              </a:rPr>
              <a:t>Old Normal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="" xmlns:a16="http://schemas.microsoft.com/office/drawing/2014/main" id="{4FAFA89D-5C8D-4D0F-80E2-1FEDEE0FD2C1}"/>
              </a:ext>
            </a:extLst>
          </p:cNvPr>
          <p:cNvSpPr/>
          <p:nvPr/>
        </p:nvSpPr>
        <p:spPr>
          <a:xfrm>
            <a:off x="2100160" y="1553935"/>
            <a:ext cx="1568195" cy="600615"/>
          </a:xfrm>
          <a:prstGeom prst="roundRect">
            <a:avLst>
              <a:gd name="adj" fmla="val 10324"/>
            </a:avLst>
          </a:prstGeom>
          <a:solidFill>
            <a:srgbClr val="82C34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457200">
              <a:lnSpc>
                <a:spcPts val="1500"/>
              </a:lnSpc>
              <a:defRPr/>
            </a:pPr>
            <a:r>
              <a:rPr lang="en-US" sz="1400" b="1" dirty="0" smtClean="0">
                <a:solidFill>
                  <a:prstClr val="white"/>
                </a:solidFill>
              </a:rPr>
              <a:t>Restrictions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="" xmlns:a16="http://schemas.microsoft.com/office/drawing/2014/main" id="{2D7366FB-0074-4C02-B0F9-24A078F94F76}"/>
              </a:ext>
            </a:extLst>
          </p:cNvPr>
          <p:cNvSpPr/>
          <p:nvPr/>
        </p:nvSpPr>
        <p:spPr>
          <a:xfrm>
            <a:off x="3775621" y="1553935"/>
            <a:ext cx="1568195" cy="600615"/>
          </a:xfrm>
          <a:prstGeom prst="roundRect">
            <a:avLst>
              <a:gd name="adj" fmla="val 11117"/>
            </a:avLst>
          </a:prstGeom>
          <a:solidFill>
            <a:srgbClr val="565A5C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457200">
              <a:lnSpc>
                <a:spcPts val="1500"/>
              </a:lnSpc>
              <a:defRPr/>
            </a:pPr>
            <a:r>
              <a:rPr lang="en-US" sz="1400" b="1" dirty="0" smtClean="0">
                <a:solidFill>
                  <a:prstClr val="white"/>
                </a:solidFill>
              </a:rPr>
              <a:t>Baseline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="" xmlns:a16="http://schemas.microsoft.com/office/drawing/2014/main" id="{5B3F4D76-B65D-4D95-9CBC-57ADCD02DC0D}"/>
              </a:ext>
            </a:extLst>
          </p:cNvPr>
          <p:cNvSpPr/>
          <p:nvPr/>
        </p:nvSpPr>
        <p:spPr>
          <a:xfrm>
            <a:off x="5451082" y="1553935"/>
            <a:ext cx="1568195" cy="600615"/>
          </a:xfrm>
          <a:prstGeom prst="roundRect">
            <a:avLst>
              <a:gd name="adj" fmla="val 10324"/>
            </a:avLst>
          </a:prstGeom>
          <a:solidFill>
            <a:srgbClr val="0078BE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457200">
              <a:lnSpc>
                <a:spcPts val="1500"/>
              </a:lnSpc>
              <a:defRPr/>
            </a:pPr>
            <a:r>
              <a:rPr lang="en-US" sz="1400" b="1" dirty="0" smtClean="0">
                <a:solidFill>
                  <a:prstClr val="white"/>
                </a:solidFill>
              </a:rPr>
              <a:t>Recovery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="" xmlns:a16="http://schemas.microsoft.com/office/drawing/2014/main" id="{92637CEE-CB64-4A73-B975-6ECA3E72C536}"/>
              </a:ext>
            </a:extLst>
          </p:cNvPr>
          <p:cNvSpPr/>
          <p:nvPr/>
        </p:nvSpPr>
        <p:spPr>
          <a:xfrm>
            <a:off x="7126543" y="1553935"/>
            <a:ext cx="1568195" cy="600615"/>
          </a:xfrm>
          <a:prstGeom prst="roundRect">
            <a:avLst>
              <a:gd name="adj" fmla="val 11675"/>
            </a:avLst>
          </a:prstGeom>
          <a:solidFill>
            <a:srgbClr val="8E908F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457200">
              <a:lnSpc>
                <a:spcPts val="1500"/>
              </a:lnSpc>
              <a:defRPr/>
            </a:pPr>
            <a:r>
              <a:rPr lang="en-US" sz="1400" b="1" dirty="0" smtClean="0">
                <a:solidFill>
                  <a:prstClr val="white"/>
                </a:solidFill>
              </a:rPr>
              <a:t>New Normal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6DA91429-A18C-4851-A3CF-02154ED7A33A}"/>
              </a:ext>
            </a:extLst>
          </p:cNvPr>
          <p:cNvSpPr/>
          <p:nvPr/>
        </p:nvSpPr>
        <p:spPr>
          <a:xfrm>
            <a:off x="425450" y="2260489"/>
            <a:ext cx="1568195" cy="16213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ctr" defTabSz="457200">
              <a:defRPr/>
            </a:pPr>
            <a:r>
              <a:rPr lang="en-US" sz="1200" dirty="0" smtClean="0">
                <a:solidFill>
                  <a:prstClr val="black"/>
                </a:solidFill>
              </a:rPr>
              <a:t>The foodservice </a:t>
            </a:r>
            <a:r>
              <a:rPr lang="en-US" sz="1200" dirty="0">
                <a:solidFill>
                  <a:prstClr val="black"/>
                </a:solidFill>
              </a:rPr>
              <a:t>w</a:t>
            </a:r>
            <a:r>
              <a:rPr lang="en-US" sz="1200" dirty="0" smtClean="0">
                <a:solidFill>
                  <a:prstClr val="black"/>
                </a:solidFill>
              </a:rPr>
              <a:t>orld as we know it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142171A8-C227-4E3B-96A5-5A1EE450BEFA}"/>
              </a:ext>
            </a:extLst>
          </p:cNvPr>
          <p:cNvSpPr/>
          <p:nvPr/>
        </p:nvSpPr>
        <p:spPr>
          <a:xfrm>
            <a:off x="2100723" y="2260489"/>
            <a:ext cx="1568195" cy="16213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ctr" defTabSz="457200">
              <a:defRPr/>
            </a:pPr>
            <a:r>
              <a:rPr lang="en-US" sz="1200" dirty="0" smtClean="0">
                <a:solidFill>
                  <a:prstClr val="black"/>
                </a:solidFill>
              </a:rPr>
              <a:t>Stores are closed and we are starting to approach the peak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="" xmlns:a16="http://schemas.microsoft.com/office/drawing/2014/main" id="{529B5521-8CAC-4127-ADED-4FED6FC944CA}"/>
              </a:ext>
            </a:extLst>
          </p:cNvPr>
          <p:cNvSpPr/>
          <p:nvPr/>
        </p:nvSpPr>
        <p:spPr>
          <a:xfrm>
            <a:off x="3775996" y="2260489"/>
            <a:ext cx="1568195" cy="16213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ctr" defTabSz="457200">
              <a:defRPr/>
            </a:pPr>
            <a:r>
              <a:rPr lang="en-US" sz="1200" dirty="0" smtClean="0">
                <a:solidFill>
                  <a:prstClr val="black"/>
                </a:solidFill>
              </a:rPr>
              <a:t>We are operating on the baseline and the market is contracted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="" xmlns:a16="http://schemas.microsoft.com/office/drawing/2014/main" id="{1550988A-981B-41A4-83EB-5D82D9780D39}"/>
              </a:ext>
            </a:extLst>
          </p:cNvPr>
          <p:cNvSpPr/>
          <p:nvPr/>
        </p:nvSpPr>
        <p:spPr>
          <a:xfrm>
            <a:off x="5451269" y="2260489"/>
            <a:ext cx="1568195" cy="16213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ctr" defTabSz="457200">
              <a:defRPr/>
            </a:pPr>
            <a:r>
              <a:rPr lang="en-US" sz="1200" dirty="0" smtClean="0">
                <a:solidFill>
                  <a:prstClr val="black"/>
                </a:solidFill>
              </a:rPr>
              <a:t>Restrictions begin to be released and consumers return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DA926BB6-2EA8-4CFD-998A-8EEA04767D21}"/>
              </a:ext>
            </a:extLst>
          </p:cNvPr>
          <p:cNvSpPr/>
          <p:nvPr/>
        </p:nvSpPr>
        <p:spPr>
          <a:xfrm>
            <a:off x="7126543" y="2260489"/>
            <a:ext cx="1568195" cy="16213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ctr" defTabSz="457200">
              <a:defRPr/>
            </a:pPr>
            <a:r>
              <a:rPr lang="en-US" sz="1200" dirty="0" smtClean="0">
                <a:solidFill>
                  <a:prstClr val="black"/>
                </a:solidFill>
              </a:rPr>
              <a:t>Most restrictions are released and most</a:t>
            </a:r>
            <a:br>
              <a:rPr lang="en-US" sz="1200" dirty="0" smtClean="0">
                <a:solidFill>
                  <a:prstClr val="black"/>
                </a:solidFill>
              </a:rPr>
            </a:br>
            <a:r>
              <a:rPr lang="en-US" sz="1200" dirty="0" smtClean="0">
                <a:solidFill>
                  <a:prstClr val="black"/>
                </a:solidFill>
              </a:rPr>
              <a:t>businesses are back</a:t>
            </a:r>
            <a:endParaRPr lang="en-US" sz="1200" dirty="0">
              <a:solidFill>
                <a:prstClr val="black"/>
              </a:solidFill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="" xmlns:a16="http://schemas.microsoft.com/office/drawing/2014/main" id="{7B151EDD-7B37-4005-AA28-5FCF5E60C99A}"/>
              </a:ext>
            </a:extLst>
          </p:cNvPr>
          <p:cNvCxnSpPr/>
          <p:nvPr/>
        </p:nvCxnSpPr>
        <p:spPr>
          <a:xfrm>
            <a:off x="2046527" y="1553935"/>
            <a:ext cx="0" cy="2568509"/>
          </a:xfrm>
          <a:prstGeom prst="line">
            <a:avLst/>
          </a:prstGeom>
          <a:ln w="9525" cmpd="sng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="" xmlns:a16="http://schemas.microsoft.com/office/drawing/2014/main" id="{2F544E89-7313-4225-8398-C574820055CF}"/>
              </a:ext>
            </a:extLst>
          </p:cNvPr>
          <p:cNvCxnSpPr/>
          <p:nvPr/>
        </p:nvCxnSpPr>
        <p:spPr>
          <a:xfrm>
            <a:off x="3721988" y="1553935"/>
            <a:ext cx="0" cy="2568509"/>
          </a:xfrm>
          <a:prstGeom prst="line">
            <a:avLst/>
          </a:prstGeom>
          <a:ln w="9525" cmpd="sng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="" xmlns:a16="http://schemas.microsoft.com/office/drawing/2014/main" id="{F67F74A5-44A4-4D0D-98CE-C18E2C327A4F}"/>
              </a:ext>
            </a:extLst>
          </p:cNvPr>
          <p:cNvCxnSpPr/>
          <p:nvPr/>
        </p:nvCxnSpPr>
        <p:spPr>
          <a:xfrm>
            <a:off x="5397449" y="1553935"/>
            <a:ext cx="0" cy="2568509"/>
          </a:xfrm>
          <a:prstGeom prst="line">
            <a:avLst/>
          </a:prstGeom>
          <a:ln w="9525" cmpd="sng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="" xmlns:a16="http://schemas.microsoft.com/office/drawing/2014/main" id="{BEAA06B3-05B8-4054-A7C5-88E85986888E}"/>
              </a:ext>
            </a:extLst>
          </p:cNvPr>
          <p:cNvCxnSpPr/>
          <p:nvPr/>
        </p:nvCxnSpPr>
        <p:spPr>
          <a:xfrm>
            <a:off x="7072910" y="1553935"/>
            <a:ext cx="0" cy="2568509"/>
          </a:xfrm>
          <a:prstGeom prst="line">
            <a:avLst/>
          </a:prstGeom>
          <a:ln w="9525" cmpd="sng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9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0439" y="3270634"/>
            <a:ext cx="1368000" cy="900000"/>
          </a:xfrm>
          <a:prstGeom prst="rect">
            <a:avLst/>
          </a:prstGeom>
        </p:spPr>
      </p:pic>
      <p:pic>
        <p:nvPicPr>
          <p:cNvPr id="21" name="Picture 20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787"/>
          <a:stretch/>
        </p:blipFill>
        <p:spPr>
          <a:xfrm>
            <a:off x="5582380" y="3270635"/>
            <a:ext cx="1368000" cy="900000"/>
          </a:xfrm>
          <a:prstGeom prst="rect">
            <a:avLst/>
          </a:prstGeom>
        </p:spPr>
      </p:pic>
      <p:pic>
        <p:nvPicPr>
          <p:cNvPr id="22" name="Picture 21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1385" y="3255197"/>
            <a:ext cx="1368000" cy="900000"/>
          </a:xfrm>
          <a:prstGeom prst="rect">
            <a:avLst/>
          </a:prstGeom>
        </p:spPr>
      </p:pic>
      <p:pic>
        <p:nvPicPr>
          <p:cNvPr id="3" name="Picture 2"/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8962" y="3253974"/>
            <a:ext cx="1368000" cy="900000"/>
          </a:xfrm>
          <a:prstGeom prst="rect">
            <a:avLst/>
          </a:prstGeom>
        </p:spPr>
      </p:pic>
      <p:pic>
        <p:nvPicPr>
          <p:cNvPr id="25" name="Picture 5"/>
          <p:cNvPicPr>
            <a:picLocks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70"/>
          <a:stretch/>
        </p:blipFill>
        <p:spPr bwMode="auto">
          <a:xfrm>
            <a:off x="552644" y="3269647"/>
            <a:ext cx="1368000" cy="9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9" name="Straight Arrow Connector 48"/>
          <p:cNvCxnSpPr/>
          <p:nvPr/>
        </p:nvCxnSpPr>
        <p:spPr>
          <a:xfrm flipH="1">
            <a:off x="2960150" y="1287234"/>
            <a:ext cx="4897975" cy="0"/>
          </a:xfrm>
          <a:prstGeom prst="straightConnector1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V="1">
            <a:off x="7966920" y="1272267"/>
            <a:ext cx="0" cy="300308"/>
          </a:xfrm>
          <a:prstGeom prst="straightConnector1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endCxn id="33" idx="0"/>
          </p:cNvCxnSpPr>
          <p:nvPr/>
        </p:nvCxnSpPr>
        <p:spPr>
          <a:xfrm flipH="1">
            <a:off x="2884258" y="1272267"/>
            <a:ext cx="2976" cy="281668"/>
          </a:xfrm>
          <a:prstGeom prst="straightConnector1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4559718" y="1019175"/>
            <a:ext cx="16754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 smtClean="0"/>
              <a:t>Second wave</a:t>
            </a:r>
            <a:endParaRPr lang="en-GB" sz="1200" b="1" dirty="0"/>
          </a:p>
        </p:txBody>
      </p:sp>
      <p:sp>
        <p:nvSpPr>
          <p:cNvPr id="28" name="Text Placeholder 4"/>
          <p:cNvSpPr txBox="1">
            <a:spLocks/>
          </p:cNvSpPr>
          <p:nvPr/>
        </p:nvSpPr>
        <p:spPr>
          <a:xfrm>
            <a:off x="3118107" y="4882731"/>
            <a:ext cx="3290146" cy="237283"/>
          </a:xfrm>
          <a:prstGeom prst="rect">
            <a:avLst/>
          </a:prstGeom>
        </p:spPr>
        <p:txBody>
          <a:bodyPr/>
          <a:lstStyle>
            <a:lvl1pPr marL="341313" indent="-341313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n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575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00" b="1" i="1" dirty="0" smtClean="0">
                <a:solidFill>
                  <a:schemeClr val="bg1"/>
                </a:solidFill>
              </a:rPr>
              <a:t>Source: NPD CREST</a:t>
            </a:r>
            <a:endParaRPr lang="en-GB" sz="9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487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984"/>
            <a:ext cx="7740352" cy="4823599"/>
          </a:xfrm>
          <a:prstGeom prst="rect">
            <a:avLst/>
          </a:prstGeom>
          <a:gradFill flip="none" rotWithShape="1">
            <a:gsLst>
              <a:gs pos="38000">
                <a:srgbClr val="E5E5E3"/>
              </a:gs>
              <a:gs pos="0">
                <a:srgbClr val="E5E5E3">
                  <a:alpha val="0"/>
                </a:srgbClr>
              </a:gs>
              <a:gs pos="100000">
                <a:srgbClr val="E6E6E5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1480" y="349327"/>
            <a:ext cx="8484870" cy="457200"/>
          </a:xfrm>
        </p:spPr>
        <p:txBody>
          <a:bodyPr/>
          <a:lstStyle/>
          <a:p>
            <a:r>
              <a:rPr lang="en-US" sz="2400" dirty="0" smtClean="0">
                <a:solidFill>
                  <a:srgbClr val="00517D"/>
                </a:solidFill>
              </a:rPr>
              <a:t>So far this year, foodservice spend is down -38% vs. 2019</a:t>
            </a:r>
            <a:endParaRPr lang="de-DE" sz="2400" dirty="0"/>
          </a:p>
        </p:txBody>
      </p:sp>
      <p:graphicFrame>
        <p:nvGraphicFramePr>
          <p:cNvPr id="14" name="Char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6954800"/>
              </p:ext>
            </p:extLst>
          </p:nvPr>
        </p:nvGraphicFramePr>
        <p:xfrm>
          <a:off x="323528" y="1348961"/>
          <a:ext cx="5724847" cy="3094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35496" y="4515966"/>
            <a:ext cx="4060825" cy="261938"/>
          </a:xfrm>
        </p:spPr>
        <p:txBody>
          <a:bodyPr/>
          <a:lstStyle/>
          <a:p>
            <a:pPr algn="l"/>
            <a:r>
              <a:rPr lang="de-DE" dirty="0" smtClean="0"/>
              <a:t>Monthly Consumer Spend Trend PCYA</a:t>
            </a:r>
            <a:endParaRPr lang="de-DE" dirty="0"/>
          </a:p>
        </p:txBody>
      </p:sp>
      <p:sp>
        <p:nvSpPr>
          <p:cNvPr id="4" name="Oval 3"/>
          <p:cNvSpPr/>
          <p:nvPr/>
        </p:nvSpPr>
        <p:spPr>
          <a:xfrm>
            <a:off x="6543675" y="914400"/>
            <a:ext cx="1771650" cy="169545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b="1" dirty="0" smtClean="0"/>
              <a:t>£15.8bn</a:t>
            </a:r>
          </a:p>
          <a:p>
            <a:pPr algn="ctr"/>
            <a:r>
              <a:rPr lang="en-GB" sz="1600" b="1" dirty="0" smtClean="0"/>
              <a:t>Less spend vs. last year</a:t>
            </a:r>
          </a:p>
          <a:p>
            <a:pPr algn="ctr"/>
            <a:r>
              <a:rPr lang="en-GB" sz="1600" b="1" dirty="0" smtClean="0"/>
              <a:t>(Jan to Sep)</a:t>
            </a:r>
            <a:endParaRPr lang="en-GB" sz="1600" b="1" dirty="0"/>
          </a:p>
        </p:txBody>
      </p:sp>
      <p:sp>
        <p:nvSpPr>
          <p:cNvPr id="12" name="Oval 11"/>
          <p:cNvSpPr/>
          <p:nvPr/>
        </p:nvSpPr>
        <p:spPr>
          <a:xfrm>
            <a:off x="6543675" y="2762250"/>
            <a:ext cx="1771650" cy="169545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b="1" dirty="0" smtClean="0"/>
              <a:t>3.6bn</a:t>
            </a:r>
          </a:p>
          <a:p>
            <a:pPr algn="ctr"/>
            <a:r>
              <a:rPr lang="en-GB" sz="1600" b="1" dirty="0" smtClean="0"/>
              <a:t>Fewer visits vs. last year</a:t>
            </a:r>
          </a:p>
          <a:p>
            <a:pPr algn="ctr"/>
            <a:r>
              <a:rPr lang="en-GB" sz="1600" b="1" dirty="0" smtClean="0"/>
              <a:t>(Jan to Sep)</a:t>
            </a:r>
            <a:endParaRPr lang="en-GB" sz="1600" b="1" dirty="0"/>
          </a:p>
        </p:txBody>
      </p:sp>
      <p:sp>
        <p:nvSpPr>
          <p:cNvPr id="13" name="Text Placeholder 4"/>
          <p:cNvSpPr txBox="1">
            <a:spLocks/>
          </p:cNvSpPr>
          <p:nvPr/>
        </p:nvSpPr>
        <p:spPr>
          <a:xfrm>
            <a:off x="3118107" y="4882731"/>
            <a:ext cx="3290146" cy="237283"/>
          </a:xfrm>
          <a:prstGeom prst="rect">
            <a:avLst/>
          </a:prstGeom>
        </p:spPr>
        <p:txBody>
          <a:bodyPr/>
          <a:lstStyle>
            <a:lvl1pPr marL="341313" indent="-341313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n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575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00" b="1" i="1" dirty="0" smtClean="0">
                <a:solidFill>
                  <a:schemeClr val="bg1"/>
                </a:solidFill>
              </a:rPr>
              <a:t>Source: NPD CREST</a:t>
            </a:r>
            <a:endParaRPr lang="en-GB" sz="9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476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-2984"/>
            <a:ext cx="7740352" cy="4823599"/>
          </a:xfrm>
          <a:prstGeom prst="rect">
            <a:avLst/>
          </a:prstGeom>
          <a:gradFill flip="none" rotWithShape="1">
            <a:gsLst>
              <a:gs pos="38000">
                <a:srgbClr val="E5E5E3"/>
              </a:gs>
              <a:gs pos="0">
                <a:srgbClr val="E5E5E3">
                  <a:alpha val="0"/>
                </a:srgbClr>
              </a:gs>
              <a:gs pos="100000">
                <a:srgbClr val="E6E6E5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>
                <a:solidFill>
                  <a:prstClr val="white"/>
                </a:solidFill>
              </a:rPr>
              <a:pPr/>
              <a:t>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>
                <a:solidFill>
                  <a:srgbClr val="00517D"/>
                </a:solidFill>
              </a:rPr>
              <a:t>Some market segments have fared better than others</a:t>
            </a:r>
            <a:endParaRPr lang="de-DE" sz="2400" dirty="0"/>
          </a:p>
        </p:txBody>
      </p:sp>
      <p:sp>
        <p:nvSpPr>
          <p:cNvPr id="19" name="Text Placeholder 5"/>
          <p:cNvSpPr txBox="1">
            <a:spLocks/>
          </p:cNvSpPr>
          <p:nvPr/>
        </p:nvSpPr>
        <p:spPr>
          <a:xfrm>
            <a:off x="417714" y="807198"/>
            <a:ext cx="8474766" cy="541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accent3"/>
              </a:buClr>
              <a:buSzPct val="100000"/>
              <a:buFontTx/>
              <a:buNone/>
              <a:defRPr b="1" baseline="0">
                <a:solidFill>
                  <a:srgbClr val="0078BE"/>
                </a:solidFill>
              </a:defRPr>
            </a:lvl1pPr>
            <a:lvl2pPr marL="457178" inden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Tx/>
              <a:buNone/>
              <a:defRPr sz="2200">
                <a:solidFill>
                  <a:srgbClr val="00A1DE"/>
                </a:solidFill>
              </a:defRPr>
            </a:lvl2pPr>
            <a:lvl3pPr marL="914355" inden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Tx/>
              <a:buNone/>
              <a:tabLst/>
              <a:defRPr sz="2200">
                <a:solidFill>
                  <a:srgbClr val="00A1DE"/>
                </a:solidFill>
              </a:defRPr>
            </a:lvl3pPr>
            <a:lvl4pPr marL="1371532" inden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2200">
                <a:solidFill>
                  <a:srgbClr val="00A1DE"/>
                </a:solidFill>
              </a:defRPr>
            </a:lvl4pPr>
            <a:lvl5pPr marL="1828709" indent="0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Tx/>
              <a:buNone/>
              <a:defRPr sz="2200">
                <a:solidFill>
                  <a:srgbClr val="00A1DE"/>
                </a:solidFill>
              </a:defRPr>
            </a:lvl5pPr>
            <a:lvl6pPr marL="2514537" indent="-228594">
              <a:spcBef>
                <a:spcPct val="20000"/>
              </a:spcBef>
              <a:buFont typeface="Arial"/>
              <a:buChar char="•"/>
              <a:defRPr sz="2000"/>
            </a:lvl6pPr>
            <a:lvl7pPr marL="2971726" indent="-228594">
              <a:spcBef>
                <a:spcPct val="20000"/>
              </a:spcBef>
              <a:buFont typeface="Arial"/>
              <a:buChar char="•"/>
              <a:defRPr sz="2000"/>
            </a:lvl7pPr>
            <a:lvl8pPr marL="3428915" indent="-228594">
              <a:spcBef>
                <a:spcPct val="20000"/>
              </a:spcBef>
              <a:buFont typeface="Arial"/>
              <a:buChar char="•"/>
              <a:defRPr sz="2000"/>
            </a:lvl8pPr>
            <a:lvl9pPr marL="3886103" indent="-228594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dirty="0" smtClean="0"/>
              <a:t>Workplace remains very weak, while QSR has proven to be the most resilient, thanks to its ability to offer delivery, drive thru and takeaway services effectively </a:t>
            </a:r>
            <a:endParaRPr lang="de-DE" sz="1600" dirty="0"/>
          </a:p>
        </p:txBody>
      </p:sp>
      <p:graphicFrame>
        <p:nvGraphicFramePr>
          <p:cNvPr id="14" name="Char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5100553"/>
              </p:ext>
            </p:extLst>
          </p:nvPr>
        </p:nvGraphicFramePr>
        <p:xfrm>
          <a:off x="323528" y="1348961"/>
          <a:ext cx="8410186" cy="3094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35496" y="4515966"/>
            <a:ext cx="4060825" cy="261938"/>
          </a:xfrm>
        </p:spPr>
        <p:txBody>
          <a:bodyPr/>
          <a:lstStyle/>
          <a:p>
            <a:pPr algn="l"/>
            <a:r>
              <a:rPr lang="de-DE" dirty="0" smtClean="0"/>
              <a:t>Monthly Consumer Spend Trend PCYA</a:t>
            </a:r>
            <a:endParaRPr lang="de-DE" dirty="0"/>
          </a:p>
        </p:txBody>
      </p:sp>
      <p:sp>
        <p:nvSpPr>
          <p:cNvPr id="11" name="Text Placeholder 4"/>
          <p:cNvSpPr txBox="1">
            <a:spLocks/>
          </p:cNvSpPr>
          <p:nvPr/>
        </p:nvSpPr>
        <p:spPr>
          <a:xfrm>
            <a:off x="3118107" y="4882731"/>
            <a:ext cx="3290146" cy="237283"/>
          </a:xfrm>
          <a:prstGeom prst="rect">
            <a:avLst/>
          </a:prstGeom>
        </p:spPr>
        <p:txBody>
          <a:bodyPr/>
          <a:lstStyle>
            <a:lvl1pPr marL="341313" indent="-341313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n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575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00" b="1" i="1" dirty="0" smtClean="0">
                <a:solidFill>
                  <a:schemeClr val="bg1"/>
                </a:solidFill>
              </a:rPr>
              <a:t>Source: NPD CREST</a:t>
            </a:r>
            <a:endParaRPr lang="en-GB" sz="9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251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Rectangle 125"/>
          <p:cNvSpPr/>
          <p:nvPr/>
        </p:nvSpPr>
        <p:spPr>
          <a:xfrm>
            <a:off x="0" y="-2984"/>
            <a:ext cx="7740352" cy="4823599"/>
          </a:xfrm>
          <a:prstGeom prst="rect">
            <a:avLst/>
          </a:prstGeom>
          <a:gradFill flip="none" rotWithShape="1">
            <a:gsLst>
              <a:gs pos="38000">
                <a:srgbClr val="E5E5E3"/>
              </a:gs>
              <a:gs pos="0">
                <a:srgbClr val="E5E5E3">
                  <a:alpha val="0"/>
                </a:srgbClr>
              </a:gs>
              <a:gs pos="100000">
                <a:srgbClr val="E6E6E5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3906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400"/>
            <a:endParaRPr lang="en-GB" sz="28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grpSp>
        <p:nvGrpSpPr>
          <p:cNvPr id="173" name="Group 22"/>
          <p:cNvGrpSpPr>
            <a:grpSpLocks noChangeAspect="1"/>
          </p:cNvGrpSpPr>
          <p:nvPr/>
        </p:nvGrpSpPr>
        <p:grpSpPr>
          <a:xfrm>
            <a:off x="7043881" y="1550124"/>
            <a:ext cx="2100119" cy="3195933"/>
            <a:chOff x="1617663" y="865188"/>
            <a:chExt cx="4237037" cy="5475288"/>
          </a:xfrm>
        </p:grpSpPr>
        <p:sp>
          <p:nvSpPr>
            <p:cNvPr id="174" name="Freeform 5"/>
            <p:cNvSpPr>
              <a:spLocks noEditPoints="1"/>
            </p:cNvSpPr>
            <p:nvPr/>
          </p:nvSpPr>
          <p:spPr bwMode="auto">
            <a:xfrm>
              <a:off x="4343400" y="4310063"/>
              <a:ext cx="1511300" cy="1004888"/>
            </a:xfrm>
            <a:custGeom>
              <a:avLst/>
              <a:gdLst>
                <a:gd name="T0" fmla="*/ 527 w 952"/>
                <a:gd name="T1" fmla="*/ 500 h 633"/>
                <a:gd name="T2" fmla="*/ 894 w 952"/>
                <a:gd name="T3" fmla="*/ 212 h 633"/>
                <a:gd name="T4" fmla="*/ 832 w 952"/>
                <a:gd name="T5" fmla="*/ 199 h 633"/>
                <a:gd name="T6" fmla="*/ 752 w 952"/>
                <a:gd name="T7" fmla="*/ 173 h 633"/>
                <a:gd name="T8" fmla="*/ 699 w 952"/>
                <a:gd name="T9" fmla="*/ 137 h 633"/>
                <a:gd name="T10" fmla="*/ 659 w 952"/>
                <a:gd name="T11" fmla="*/ 102 h 633"/>
                <a:gd name="T12" fmla="*/ 633 w 952"/>
                <a:gd name="T13" fmla="*/ 62 h 633"/>
                <a:gd name="T14" fmla="*/ 620 w 952"/>
                <a:gd name="T15" fmla="*/ 9 h 633"/>
                <a:gd name="T16" fmla="*/ 540 w 952"/>
                <a:gd name="T17" fmla="*/ 4 h 633"/>
                <a:gd name="T18" fmla="*/ 465 w 952"/>
                <a:gd name="T19" fmla="*/ 31 h 633"/>
                <a:gd name="T20" fmla="*/ 447 w 952"/>
                <a:gd name="T21" fmla="*/ 53 h 633"/>
                <a:gd name="T22" fmla="*/ 447 w 952"/>
                <a:gd name="T23" fmla="*/ 80 h 633"/>
                <a:gd name="T24" fmla="*/ 412 w 952"/>
                <a:gd name="T25" fmla="*/ 80 h 633"/>
                <a:gd name="T26" fmla="*/ 363 w 952"/>
                <a:gd name="T27" fmla="*/ 66 h 633"/>
                <a:gd name="T28" fmla="*/ 319 w 952"/>
                <a:gd name="T29" fmla="*/ 62 h 633"/>
                <a:gd name="T30" fmla="*/ 270 w 952"/>
                <a:gd name="T31" fmla="*/ 62 h 633"/>
                <a:gd name="T32" fmla="*/ 93 w 952"/>
                <a:gd name="T33" fmla="*/ 66 h 633"/>
                <a:gd name="T34" fmla="*/ 93 w 952"/>
                <a:gd name="T35" fmla="*/ 115 h 633"/>
                <a:gd name="T36" fmla="*/ 97 w 952"/>
                <a:gd name="T37" fmla="*/ 164 h 633"/>
                <a:gd name="T38" fmla="*/ 31 w 952"/>
                <a:gd name="T39" fmla="*/ 257 h 633"/>
                <a:gd name="T40" fmla="*/ 13 w 952"/>
                <a:gd name="T41" fmla="*/ 288 h 633"/>
                <a:gd name="T42" fmla="*/ 9 w 952"/>
                <a:gd name="T43" fmla="*/ 332 h 633"/>
                <a:gd name="T44" fmla="*/ 40 w 952"/>
                <a:gd name="T45" fmla="*/ 358 h 633"/>
                <a:gd name="T46" fmla="*/ 97 w 952"/>
                <a:gd name="T47" fmla="*/ 363 h 633"/>
                <a:gd name="T48" fmla="*/ 204 w 952"/>
                <a:gd name="T49" fmla="*/ 363 h 633"/>
                <a:gd name="T50" fmla="*/ 248 w 952"/>
                <a:gd name="T51" fmla="*/ 327 h 633"/>
                <a:gd name="T52" fmla="*/ 305 w 952"/>
                <a:gd name="T53" fmla="*/ 332 h 633"/>
                <a:gd name="T54" fmla="*/ 336 w 952"/>
                <a:gd name="T55" fmla="*/ 350 h 633"/>
                <a:gd name="T56" fmla="*/ 372 w 952"/>
                <a:gd name="T57" fmla="*/ 381 h 633"/>
                <a:gd name="T58" fmla="*/ 394 w 952"/>
                <a:gd name="T59" fmla="*/ 416 h 633"/>
                <a:gd name="T60" fmla="*/ 407 w 952"/>
                <a:gd name="T61" fmla="*/ 451 h 633"/>
                <a:gd name="T62" fmla="*/ 407 w 952"/>
                <a:gd name="T63" fmla="*/ 487 h 633"/>
                <a:gd name="T64" fmla="*/ 376 w 952"/>
                <a:gd name="T65" fmla="*/ 478 h 633"/>
                <a:gd name="T66" fmla="*/ 345 w 952"/>
                <a:gd name="T67" fmla="*/ 518 h 633"/>
                <a:gd name="T68" fmla="*/ 319 w 952"/>
                <a:gd name="T69" fmla="*/ 553 h 633"/>
                <a:gd name="T70" fmla="*/ 367 w 952"/>
                <a:gd name="T71" fmla="*/ 558 h 633"/>
                <a:gd name="T72" fmla="*/ 403 w 952"/>
                <a:gd name="T73" fmla="*/ 558 h 633"/>
                <a:gd name="T74" fmla="*/ 394 w 952"/>
                <a:gd name="T75" fmla="*/ 531 h 633"/>
                <a:gd name="T76" fmla="*/ 407 w 952"/>
                <a:gd name="T77" fmla="*/ 531 h 633"/>
                <a:gd name="T78" fmla="*/ 429 w 952"/>
                <a:gd name="T79" fmla="*/ 522 h 633"/>
                <a:gd name="T80" fmla="*/ 474 w 952"/>
                <a:gd name="T81" fmla="*/ 465 h 633"/>
                <a:gd name="T82" fmla="*/ 491 w 952"/>
                <a:gd name="T83" fmla="*/ 465 h 633"/>
                <a:gd name="T84" fmla="*/ 513 w 952"/>
                <a:gd name="T85" fmla="*/ 429 h 633"/>
                <a:gd name="T86" fmla="*/ 518 w 952"/>
                <a:gd name="T87" fmla="*/ 456 h 633"/>
                <a:gd name="T88" fmla="*/ 522 w 952"/>
                <a:gd name="T89" fmla="*/ 474 h 633"/>
                <a:gd name="T90" fmla="*/ 513 w 952"/>
                <a:gd name="T91" fmla="*/ 491 h 633"/>
                <a:gd name="T92" fmla="*/ 580 w 952"/>
                <a:gd name="T93" fmla="*/ 505 h 633"/>
                <a:gd name="T94" fmla="*/ 606 w 952"/>
                <a:gd name="T95" fmla="*/ 513 h 633"/>
                <a:gd name="T96" fmla="*/ 580 w 952"/>
                <a:gd name="T97" fmla="*/ 531 h 633"/>
                <a:gd name="T98" fmla="*/ 575 w 952"/>
                <a:gd name="T99" fmla="*/ 567 h 633"/>
                <a:gd name="T100" fmla="*/ 597 w 952"/>
                <a:gd name="T101" fmla="*/ 615 h 633"/>
                <a:gd name="T102" fmla="*/ 637 w 952"/>
                <a:gd name="T103" fmla="*/ 624 h 633"/>
                <a:gd name="T104" fmla="*/ 686 w 952"/>
                <a:gd name="T105" fmla="*/ 593 h 633"/>
                <a:gd name="T106" fmla="*/ 744 w 952"/>
                <a:gd name="T107" fmla="*/ 584 h 633"/>
                <a:gd name="T108" fmla="*/ 748 w 952"/>
                <a:gd name="T109" fmla="*/ 553 h 633"/>
                <a:gd name="T110" fmla="*/ 668 w 952"/>
                <a:gd name="T111" fmla="*/ 509 h 633"/>
                <a:gd name="T112" fmla="*/ 695 w 952"/>
                <a:gd name="T113" fmla="*/ 487 h 633"/>
                <a:gd name="T114" fmla="*/ 744 w 952"/>
                <a:gd name="T115" fmla="*/ 465 h 633"/>
                <a:gd name="T116" fmla="*/ 775 w 952"/>
                <a:gd name="T117" fmla="*/ 456 h 633"/>
                <a:gd name="T118" fmla="*/ 850 w 952"/>
                <a:gd name="T119" fmla="*/ 420 h 633"/>
                <a:gd name="T120" fmla="*/ 916 w 952"/>
                <a:gd name="T121" fmla="*/ 372 h 633"/>
                <a:gd name="T122" fmla="*/ 934 w 952"/>
                <a:gd name="T123" fmla="*/ 323 h 633"/>
                <a:gd name="T124" fmla="*/ 925 w 952"/>
                <a:gd name="T125" fmla="*/ 283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2" h="633">
                  <a:moveTo>
                    <a:pt x="412" y="536"/>
                  </a:moveTo>
                  <a:lnTo>
                    <a:pt x="407" y="536"/>
                  </a:lnTo>
                  <a:lnTo>
                    <a:pt x="407" y="540"/>
                  </a:lnTo>
                  <a:lnTo>
                    <a:pt x="407" y="540"/>
                  </a:lnTo>
                  <a:lnTo>
                    <a:pt x="407" y="540"/>
                  </a:lnTo>
                  <a:lnTo>
                    <a:pt x="407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4"/>
                  </a:lnTo>
                  <a:lnTo>
                    <a:pt x="398" y="544"/>
                  </a:lnTo>
                  <a:lnTo>
                    <a:pt x="403" y="544"/>
                  </a:lnTo>
                  <a:lnTo>
                    <a:pt x="412" y="540"/>
                  </a:lnTo>
                  <a:lnTo>
                    <a:pt x="420" y="527"/>
                  </a:lnTo>
                  <a:lnTo>
                    <a:pt x="420" y="531"/>
                  </a:lnTo>
                  <a:lnTo>
                    <a:pt x="412" y="536"/>
                  </a:lnTo>
                  <a:close/>
                  <a:moveTo>
                    <a:pt x="575" y="513"/>
                  </a:moveTo>
                  <a:lnTo>
                    <a:pt x="575" y="509"/>
                  </a:lnTo>
                  <a:lnTo>
                    <a:pt x="571" y="509"/>
                  </a:lnTo>
                  <a:lnTo>
                    <a:pt x="571" y="509"/>
                  </a:lnTo>
                  <a:lnTo>
                    <a:pt x="571" y="509"/>
                  </a:lnTo>
                  <a:lnTo>
                    <a:pt x="571" y="509"/>
                  </a:lnTo>
                  <a:lnTo>
                    <a:pt x="567" y="509"/>
                  </a:lnTo>
                  <a:lnTo>
                    <a:pt x="567" y="509"/>
                  </a:lnTo>
                  <a:lnTo>
                    <a:pt x="567" y="509"/>
                  </a:lnTo>
                  <a:lnTo>
                    <a:pt x="562" y="509"/>
                  </a:lnTo>
                  <a:lnTo>
                    <a:pt x="553" y="509"/>
                  </a:lnTo>
                  <a:lnTo>
                    <a:pt x="553" y="509"/>
                  </a:lnTo>
                  <a:lnTo>
                    <a:pt x="553" y="509"/>
                  </a:lnTo>
                  <a:lnTo>
                    <a:pt x="553" y="509"/>
                  </a:lnTo>
                  <a:lnTo>
                    <a:pt x="575" y="513"/>
                  </a:lnTo>
                  <a:lnTo>
                    <a:pt x="575" y="513"/>
                  </a:lnTo>
                  <a:close/>
                  <a:moveTo>
                    <a:pt x="522" y="500"/>
                  </a:moveTo>
                  <a:lnTo>
                    <a:pt x="518" y="500"/>
                  </a:lnTo>
                  <a:lnTo>
                    <a:pt x="500" y="496"/>
                  </a:lnTo>
                  <a:lnTo>
                    <a:pt x="496" y="491"/>
                  </a:lnTo>
                  <a:lnTo>
                    <a:pt x="496" y="491"/>
                  </a:lnTo>
                  <a:lnTo>
                    <a:pt x="496" y="487"/>
                  </a:lnTo>
                  <a:lnTo>
                    <a:pt x="496" y="487"/>
                  </a:lnTo>
                  <a:lnTo>
                    <a:pt x="496" y="487"/>
                  </a:lnTo>
                  <a:lnTo>
                    <a:pt x="496" y="487"/>
                  </a:lnTo>
                  <a:lnTo>
                    <a:pt x="496" y="487"/>
                  </a:lnTo>
                  <a:lnTo>
                    <a:pt x="496" y="491"/>
                  </a:lnTo>
                  <a:lnTo>
                    <a:pt x="496" y="491"/>
                  </a:lnTo>
                  <a:lnTo>
                    <a:pt x="496" y="496"/>
                  </a:lnTo>
                  <a:lnTo>
                    <a:pt x="505" y="496"/>
                  </a:lnTo>
                  <a:lnTo>
                    <a:pt x="527" y="500"/>
                  </a:lnTo>
                  <a:lnTo>
                    <a:pt x="527" y="500"/>
                  </a:lnTo>
                  <a:lnTo>
                    <a:pt x="527" y="500"/>
                  </a:lnTo>
                  <a:lnTo>
                    <a:pt x="527" y="500"/>
                  </a:lnTo>
                  <a:lnTo>
                    <a:pt x="522" y="500"/>
                  </a:lnTo>
                  <a:close/>
                  <a:moveTo>
                    <a:pt x="947" y="252"/>
                  </a:moveTo>
                  <a:lnTo>
                    <a:pt x="947" y="248"/>
                  </a:lnTo>
                  <a:lnTo>
                    <a:pt x="943" y="248"/>
                  </a:lnTo>
                  <a:lnTo>
                    <a:pt x="943" y="243"/>
                  </a:lnTo>
                  <a:lnTo>
                    <a:pt x="943" y="239"/>
                  </a:lnTo>
                  <a:lnTo>
                    <a:pt x="943" y="239"/>
                  </a:lnTo>
                  <a:lnTo>
                    <a:pt x="947" y="239"/>
                  </a:lnTo>
                  <a:lnTo>
                    <a:pt x="947" y="235"/>
                  </a:lnTo>
                  <a:lnTo>
                    <a:pt x="947" y="235"/>
                  </a:lnTo>
                  <a:lnTo>
                    <a:pt x="947" y="235"/>
                  </a:lnTo>
                  <a:lnTo>
                    <a:pt x="947" y="235"/>
                  </a:lnTo>
                  <a:lnTo>
                    <a:pt x="947" y="235"/>
                  </a:lnTo>
                  <a:lnTo>
                    <a:pt x="943" y="230"/>
                  </a:lnTo>
                  <a:lnTo>
                    <a:pt x="943" y="230"/>
                  </a:lnTo>
                  <a:lnTo>
                    <a:pt x="938" y="230"/>
                  </a:lnTo>
                  <a:lnTo>
                    <a:pt x="938" y="235"/>
                  </a:lnTo>
                  <a:lnTo>
                    <a:pt x="934" y="235"/>
                  </a:lnTo>
                  <a:lnTo>
                    <a:pt x="934" y="235"/>
                  </a:lnTo>
                  <a:lnTo>
                    <a:pt x="934" y="235"/>
                  </a:lnTo>
                  <a:lnTo>
                    <a:pt x="929" y="235"/>
                  </a:lnTo>
                  <a:lnTo>
                    <a:pt x="929" y="235"/>
                  </a:lnTo>
                  <a:lnTo>
                    <a:pt x="925" y="235"/>
                  </a:lnTo>
                  <a:lnTo>
                    <a:pt x="925" y="230"/>
                  </a:lnTo>
                  <a:lnTo>
                    <a:pt x="925" y="230"/>
                  </a:lnTo>
                  <a:lnTo>
                    <a:pt x="921" y="230"/>
                  </a:lnTo>
                  <a:lnTo>
                    <a:pt x="921" y="226"/>
                  </a:lnTo>
                  <a:lnTo>
                    <a:pt x="921" y="226"/>
                  </a:lnTo>
                  <a:lnTo>
                    <a:pt x="921" y="221"/>
                  </a:lnTo>
                  <a:lnTo>
                    <a:pt x="916" y="221"/>
                  </a:lnTo>
                  <a:lnTo>
                    <a:pt x="916" y="221"/>
                  </a:lnTo>
                  <a:lnTo>
                    <a:pt x="916" y="221"/>
                  </a:lnTo>
                  <a:lnTo>
                    <a:pt x="912" y="221"/>
                  </a:lnTo>
                  <a:lnTo>
                    <a:pt x="912" y="221"/>
                  </a:lnTo>
                  <a:lnTo>
                    <a:pt x="907" y="221"/>
                  </a:lnTo>
                  <a:lnTo>
                    <a:pt x="907" y="221"/>
                  </a:lnTo>
                  <a:lnTo>
                    <a:pt x="903" y="221"/>
                  </a:lnTo>
                  <a:lnTo>
                    <a:pt x="903" y="221"/>
                  </a:lnTo>
                  <a:lnTo>
                    <a:pt x="903" y="217"/>
                  </a:lnTo>
                  <a:lnTo>
                    <a:pt x="898" y="212"/>
                  </a:lnTo>
                  <a:lnTo>
                    <a:pt x="898" y="212"/>
                  </a:lnTo>
                  <a:lnTo>
                    <a:pt x="898" y="208"/>
                  </a:lnTo>
                  <a:lnTo>
                    <a:pt x="894" y="208"/>
                  </a:lnTo>
                  <a:lnTo>
                    <a:pt x="894" y="212"/>
                  </a:lnTo>
                  <a:lnTo>
                    <a:pt x="894" y="212"/>
                  </a:lnTo>
                  <a:lnTo>
                    <a:pt x="890" y="212"/>
                  </a:lnTo>
                  <a:lnTo>
                    <a:pt x="890" y="217"/>
                  </a:lnTo>
                  <a:lnTo>
                    <a:pt x="885" y="217"/>
                  </a:lnTo>
                  <a:lnTo>
                    <a:pt x="885" y="212"/>
                  </a:lnTo>
                  <a:lnTo>
                    <a:pt x="881" y="212"/>
                  </a:lnTo>
                  <a:lnTo>
                    <a:pt x="881" y="208"/>
                  </a:lnTo>
                  <a:lnTo>
                    <a:pt x="876" y="208"/>
                  </a:lnTo>
                  <a:lnTo>
                    <a:pt x="872" y="208"/>
                  </a:lnTo>
                  <a:lnTo>
                    <a:pt x="872" y="204"/>
                  </a:lnTo>
                  <a:lnTo>
                    <a:pt x="872" y="204"/>
                  </a:lnTo>
                  <a:lnTo>
                    <a:pt x="872" y="204"/>
                  </a:lnTo>
                  <a:lnTo>
                    <a:pt x="872" y="204"/>
                  </a:lnTo>
                  <a:lnTo>
                    <a:pt x="872" y="204"/>
                  </a:lnTo>
                  <a:lnTo>
                    <a:pt x="872" y="204"/>
                  </a:lnTo>
                  <a:lnTo>
                    <a:pt x="867" y="204"/>
                  </a:lnTo>
                  <a:lnTo>
                    <a:pt x="867" y="204"/>
                  </a:lnTo>
                  <a:lnTo>
                    <a:pt x="867" y="204"/>
                  </a:lnTo>
                  <a:lnTo>
                    <a:pt x="867" y="204"/>
                  </a:lnTo>
                  <a:lnTo>
                    <a:pt x="863" y="204"/>
                  </a:lnTo>
                  <a:lnTo>
                    <a:pt x="859" y="204"/>
                  </a:lnTo>
                  <a:lnTo>
                    <a:pt x="859" y="204"/>
                  </a:lnTo>
                  <a:lnTo>
                    <a:pt x="859" y="204"/>
                  </a:lnTo>
                  <a:lnTo>
                    <a:pt x="854" y="199"/>
                  </a:lnTo>
                  <a:lnTo>
                    <a:pt x="854" y="199"/>
                  </a:lnTo>
                  <a:lnTo>
                    <a:pt x="854" y="199"/>
                  </a:lnTo>
                  <a:lnTo>
                    <a:pt x="854" y="195"/>
                  </a:lnTo>
                  <a:lnTo>
                    <a:pt x="850" y="195"/>
                  </a:lnTo>
                  <a:lnTo>
                    <a:pt x="850" y="195"/>
                  </a:lnTo>
                  <a:lnTo>
                    <a:pt x="850" y="195"/>
                  </a:lnTo>
                  <a:lnTo>
                    <a:pt x="845" y="195"/>
                  </a:lnTo>
                  <a:lnTo>
                    <a:pt x="845" y="195"/>
                  </a:lnTo>
                  <a:lnTo>
                    <a:pt x="845" y="195"/>
                  </a:lnTo>
                  <a:lnTo>
                    <a:pt x="845" y="199"/>
                  </a:lnTo>
                  <a:lnTo>
                    <a:pt x="845" y="204"/>
                  </a:lnTo>
                  <a:lnTo>
                    <a:pt x="841" y="204"/>
                  </a:lnTo>
                  <a:lnTo>
                    <a:pt x="841" y="204"/>
                  </a:lnTo>
                  <a:lnTo>
                    <a:pt x="841" y="204"/>
                  </a:lnTo>
                  <a:lnTo>
                    <a:pt x="841" y="204"/>
                  </a:lnTo>
                  <a:lnTo>
                    <a:pt x="841" y="204"/>
                  </a:lnTo>
                  <a:lnTo>
                    <a:pt x="836" y="208"/>
                  </a:lnTo>
                  <a:lnTo>
                    <a:pt x="836" y="208"/>
                  </a:lnTo>
                  <a:lnTo>
                    <a:pt x="836" y="208"/>
                  </a:lnTo>
                  <a:lnTo>
                    <a:pt x="836" y="204"/>
                  </a:lnTo>
                  <a:lnTo>
                    <a:pt x="836" y="204"/>
                  </a:lnTo>
                  <a:lnTo>
                    <a:pt x="836" y="204"/>
                  </a:lnTo>
                  <a:lnTo>
                    <a:pt x="832" y="199"/>
                  </a:lnTo>
                  <a:lnTo>
                    <a:pt x="832" y="199"/>
                  </a:lnTo>
                  <a:lnTo>
                    <a:pt x="828" y="199"/>
                  </a:lnTo>
                  <a:lnTo>
                    <a:pt x="828" y="195"/>
                  </a:lnTo>
                  <a:lnTo>
                    <a:pt x="823" y="195"/>
                  </a:lnTo>
                  <a:lnTo>
                    <a:pt x="823" y="195"/>
                  </a:lnTo>
                  <a:lnTo>
                    <a:pt x="819" y="186"/>
                  </a:lnTo>
                  <a:lnTo>
                    <a:pt x="814" y="181"/>
                  </a:lnTo>
                  <a:lnTo>
                    <a:pt x="814" y="181"/>
                  </a:lnTo>
                  <a:lnTo>
                    <a:pt x="814" y="181"/>
                  </a:lnTo>
                  <a:lnTo>
                    <a:pt x="814" y="181"/>
                  </a:lnTo>
                  <a:lnTo>
                    <a:pt x="814" y="177"/>
                  </a:lnTo>
                  <a:lnTo>
                    <a:pt x="814" y="177"/>
                  </a:lnTo>
                  <a:lnTo>
                    <a:pt x="814" y="173"/>
                  </a:lnTo>
                  <a:lnTo>
                    <a:pt x="810" y="173"/>
                  </a:lnTo>
                  <a:lnTo>
                    <a:pt x="810" y="168"/>
                  </a:lnTo>
                  <a:lnTo>
                    <a:pt x="806" y="168"/>
                  </a:lnTo>
                  <a:lnTo>
                    <a:pt x="806" y="164"/>
                  </a:lnTo>
                  <a:lnTo>
                    <a:pt x="806" y="164"/>
                  </a:lnTo>
                  <a:lnTo>
                    <a:pt x="801" y="164"/>
                  </a:lnTo>
                  <a:lnTo>
                    <a:pt x="797" y="164"/>
                  </a:lnTo>
                  <a:lnTo>
                    <a:pt x="797" y="168"/>
                  </a:lnTo>
                  <a:lnTo>
                    <a:pt x="792" y="168"/>
                  </a:lnTo>
                  <a:lnTo>
                    <a:pt x="788" y="173"/>
                  </a:lnTo>
                  <a:lnTo>
                    <a:pt x="783" y="173"/>
                  </a:lnTo>
                  <a:lnTo>
                    <a:pt x="779" y="173"/>
                  </a:lnTo>
                  <a:lnTo>
                    <a:pt x="775" y="173"/>
                  </a:lnTo>
                  <a:lnTo>
                    <a:pt x="766" y="177"/>
                  </a:lnTo>
                  <a:lnTo>
                    <a:pt x="766" y="177"/>
                  </a:lnTo>
                  <a:lnTo>
                    <a:pt x="766" y="177"/>
                  </a:lnTo>
                  <a:lnTo>
                    <a:pt x="766" y="181"/>
                  </a:lnTo>
                  <a:lnTo>
                    <a:pt x="766" y="181"/>
                  </a:lnTo>
                  <a:lnTo>
                    <a:pt x="761" y="181"/>
                  </a:lnTo>
                  <a:lnTo>
                    <a:pt x="761" y="181"/>
                  </a:lnTo>
                  <a:lnTo>
                    <a:pt x="761" y="181"/>
                  </a:lnTo>
                  <a:lnTo>
                    <a:pt x="761" y="181"/>
                  </a:lnTo>
                  <a:lnTo>
                    <a:pt x="757" y="181"/>
                  </a:lnTo>
                  <a:lnTo>
                    <a:pt x="757" y="181"/>
                  </a:lnTo>
                  <a:lnTo>
                    <a:pt x="757" y="181"/>
                  </a:lnTo>
                  <a:lnTo>
                    <a:pt x="757" y="177"/>
                  </a:lnTo>
                  <a:lnTo>
                    <a:pt x="757" y="177"/>
                  </a:lnTo>
                  <a:lnTo>
                    <a:pt x="757" y="177"/>
                  </a:lnTo>
                  <a:lnTo>
                    <a:pt x="757" y="177"/>
                  </a:lnTo>
                  <a:lnTo>
                    <a:pt x="757" y="177"/>
                  </a:lnTo>
                  <a:lnTo>
                    <a:pt x="757" y="177"/>
                  </a:lnTo>
                  <a:lnTo>
                    <a:pt x="752" y="177"/>
                  </a:lnTo>
                  <a:lnTo>
                    <a:pt x="752" y="173"/>
                  </a:lnTo>
                  <a:lnTo>
                    <a:pt x="752" y="173"/>
                  </a:lnTo>
                  <a:lnTo>
                    <a:pt x="752" y="173"/>
                  </a:lnTo>
                  <a:lnTo>
                    <a:pt x="752" y="173"/>
                  </a:lnTo>
                  <a:lnTo>
                    <a:pt x="752" y="173"/>
                  </a:lnTo>
                  <a:lnTo>
                    <a:pt x="748" y="177"/>
                  </a:lnTo>
                  <a:lnTo>
                    <a:pt x="748" y="177"/>
                  </a:lnTo>
                  <a:lnTo>
                    <a:pt x="748" y="177"/>
                  </a:lnTo>
                  <a:lnTo>
                    <a:pt x="748" y="177"/>
                  </a:lnTo>
                  <a:lnTo>
                    <a:pt x="744" y="177"/>
                  </a:lnTo>
                  <a:lnTo>
                    <a:pt x="739" y="168"/>
                  </a:lnTo>
                  <a:lnTo>
                    <a:pt x="739" y="168"/>
                  </a:lnTo>
                  <a:lnTo>
                    <a:pt x="739" y="164"/>
                  </a:lnTo>
                  <a:lnTo>
                    <a:pt x="735" y="164"/>
                  </a:lnTo>
                  <a:lnTo>
                    <a:pt x="726" y="164"/>
                  </a:lnTo>
                  <a:lnTo>
                    <a:pt x="721" y="164"/>
                  </a:lnTo>
                  <a:lnTo>
                    <a:pt x="721" y="164"/>
                  </a:lnTo>
                  <a:lnTo>
                    <a:pt x="721" y="164"/>
                  </a:lnTo>
                  <a:lnTo>
                    <a:pt x="721" y="168"/>
                  </a:lnTo>
                  <a:lnTo>
                    <a:pt x="717" y="168"/>
                  </a:lnTo>
                  <a:lnTo>
                    <a:pt x="717" y="168"/>
                  </a:lnTo>
                  <a:lnTo>
                    <a:pt x="717" y="168"/>
                  </a:lnTo>
                  <a:lnTo>
                    <a:pt x="717" y="168"/>
                  </a:lnTo>
                  <a:lnTo>
                    <a:pt x="717" y="168"/>
                  </a:lnTo>
                  <a:lnTo>
                    <a:pt x="717" y="168"/>
                  </a:lnTo>
                  <a:lnTo>
                    <a:pt x="713" y="173"/>
                  </a:lnTo>
                  <a:lnTo>
                    <a:pt x="713" y="173"/>
                  </a:lnTo>
                  <a:lnTo>
                    <a:pt x="713" y="173"/>
                  </a:lnTo>
                  <a:lnTo>
                    <a:pt x="713" y="173"/>
                  </a:lnTo>
                  <a:lnTo>
                    <a:pt x="713" y="173"/>
                  </a:lnTo>
                  <a:lnTo>
                    <a:pt x="708" y="168"/>
                  </a:lnTo>
                  <a:lnTo>
                    <a:pt x="708" y="168"/>
                  </a:lnTo>
                  <a:lnTo>
                    <a:pt x="708" y="168"/>
                  </a:lnTo>
                  <a:lnTo>
                    <a:pt x="708" y="168"/>
                  </a:lnTo>
                  <a:lnTo>
                    <a:pt x="708" y="164"/>
                  </a:lnTo>
                  <a:lnTo>
                    <a:pt x="708" y="164"/>
                  </a:lnTo>
                  <a:lnTo>
                    <a:pt x="708" y="164"/>
                  </a:lnTo>
                  <a:lnTo>
                    <a:pt x="704" y="159"/>
                  </a:lnTo>
                  <a:lnTo>
                    <a:pt x="704" y="159"/>
                  </a:lnTo>
                  <a:lnTo>
                    <a:pt x="704" y="159"/>
                  </a:lnTo>
                  <a:lnTo>
                    <a:pt x="699" y="159"/>
                  </a:lnTo>
                  <a:lnTo>
                    <a:pt x="699" y="159"/>
                  </a:lnTo>
                  <a:lnTo>
                    <a:pt x="699" y="146"/>
                  </a:lnTo>
                  <a:lnTo>
                    <a:pt x="699" y="146"/>
                  </a:lnTo>
                  <a:lnTo>
                    <a:pt x="699" y="146"/>
                  </a:lnTo>
                  <a:lnTo>
                    <a:pt x="704" y="146"/>
                  </a:lnTo>
                  <a:lnTo>
                    <a:pt x="699" y="142"/>
                  </a:lnTo>
                  <a:lnTo>
                    <a:pt x="699" y="142"/>
                  </a:lnTo>
                  <a:lnTo>
                    <a:pt x="699" y="137"/>
                  </a:lnTo>
                  <a:lnTo>
                    <a:pt x="699" y="137"/>
                  </a:lnTo>
                  <a:lnTo>
                    <a:pt x="699" y="137"/>
                  </a:lnTo>
                  <a:lnTo>
                    <a:pt x="699" y="133"/>
                  </a:lnTo>
                  <a:lnTo>
                    <a:pt x="699" y="133"/>
                  </a:lnTo>
                  <a:lnTo>
                    <a:pt x="699" y="133"/>
                  </a:lnTo>
                  <a:lnTo>
                    <a:pt x="699" y="133"/>
                  </a:lnTo>
                  <a:lnTo>
                    <a:pt x="699" y="133"/>
                  </a:lnTo>
                  <a:lnTo>
                    <a:pt x="699" y="128"/>
                  </a:lnTo>
                  <a:lnTo>
                    <a:pt x="699" y="128"/>
                  </a:lnTo>
                  <a:lnTo>
                    <a:pt x="695" y="128"/>
                  </a:lnTo>
                  <a:lnTo>
                    <a:pt x="695" y="128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19"/>
                  </a:lnTo>
                  <a:lnTo>
                    <a:pt x="695" y="119"/>
                  </a:lnTo>
                  <a:lnTo>
                    <a:pt x="695" y="119"/>
                  </a:lnTo>
                  <a:lnTo>
                    <a:pt x="695" y="119"/>
                  </a:lnTo>
                  <a:lnTo>
                    <a:pt x="695" y="119"/>
                  </a:lnTo>
                  <a:lnTo>
                    <a:pt x="690" y="115"/>
                  </a:lnTo>
                  <a:lnTo>
                    <a:pt x="695" y="115"/>
                  </a:lnTo>
                  <a:lnTo>
                    <a:pt x="695" y="115"/>
                  </a:lnTo>
                  <a:lnTo>
                    <a:pt x="695" y="115"/>
                  </a:lnTo>
                  <a:lnTo>
                    <a:pt x="695" y="115"/>
                  </a:lnTo>
                  <a:lnTo>
                    <a:pt x="695" y="111"/>
                  </a:lnTo>
                  <a:lnTo>
                    <a:pt x="695" y="111"/>
                  </a:lnTo>
                  <a:lnTo>
                    <a:pt x="690" y="111"/>
                  </a:lnTo>
                  <a:lnTo>
                    <a:pt x="690" y="115"/>
                  </a:lnTo>
                  <a:lnTo>
                    <a:pt x="686" y="115"/>
                  </a:lnTo>
                  <a:lnTo>
                    <a:pt x="686" y="111"/>
                  </a:lnTo>
                  <a:lnTo>
                    <a:pt x="686" y="111"/>
                  </a:lnTo>
                  <a:lnTo>
                    <a:pt x="682" y="102"/>
                  </a:lnTo>
                  <a:lnTo>
                    <a:pt x="682" y="102"/>
                  </a:lnTo>
                  <a:lnTo>
                    <a:pt x="682" y="97"/>
                  </a:lnTo>
                  <a:lnTo>
                    <a:pt x="682" y="97"/>
                  </a:lnTo>
                  <a:lnTo>
                    <a:pt x="682" y="97"/>
                  </a:lnTo>
                  <a:lnTo>
                    <a:pt x="677" y="97"/>
                  </a:lnTo>
                  <a:lnTo>
                    <a:pt x="677" y="97"/>
                  </a:lnTo>
                  <a:lnTo>
                    <a:pt x="677" y="97"/>
                  </a:lnTo>
                  <a:lnTo>
                    <a:pt x="677" y="97"/>
                  </a:lnTo>
                  <a:lnTo>
                    <a:pt x="677" y="97"/>
                  </a:lnTo>
                  <a:lnTo>
                    <a:pt x="673" y="102"/>
                  </a:lnTo>
                  <a:lnTo>
                    <a:pt x="668" y="102"/>
                  </a:lnTo>
                  <a:lnTo>
                    <a:pt x="664" y="102"/>
                  </a:lnTo>
                  <a:lnTo>
                    <a:pt x="659" y="102"/>
                  </a:lnTo>
                  <a:lnTo>
                    <a:pt x="659" y="102"/>
                  </a:lnTo>
                  <a:lnTo>
                    <a:pt x="659" y="102"/>
                  </a:lnTo>
                  <a:lnTo>
                    <a:pt x="659" y="102"/>
                  </a:lnTo>
                  <a:lnTo>
                    <a:pt x="659" y="97"/>
                  </a:lnTo>
                  <a:lnTo>
                    <a:pt x="659" y="97"/>
                  </a:lnTo>
                  <a:lnTo>
                    <a:pt x="655" y="97"/>
                  </a:lnTo>
                  <a:lnTo>
                    <a:pt x="655" y="97"/>
                  </a:lnTo>
                  <a:lnTo>
                    <a:pt x="651" y="97"/>
                  </a:lnTo>
                  <a:lnTo>
                    <a:pt x="651" y="97"/>
                  </a:lnTo>
                  <a:lnTo>
                    <a:pt x="646" y="97"/>
                  </a:lnTo>
                  <a:lnTo>
                    <a:pt x="646" y="93"/>
                  </a:lnTo>
                  <a:lnTo>
                    <a:pt x="642" y="97"/>
                  </a:lnTo>
                  <a:lnTo>
                    <a:pt x="642" y="97"/>
                  </a:lnTo>
                  <a:lnTo>
                    <a:pt x="642" y="97"/>
                  </a:lnTo>
                  <a:lnTo>
                    <a:pt x="637" y="97"/>
                  </a:lnTo>
                  <a:lnTo>
                    <a:pt x="633" y="97"/>
                  </a:lnTo>
                  <a:lnTo>
                    <a:pt x="637" y="93"/>
                  </a:lnTo>
                  <a:lnTo>
                    <a:pt x="642" y="93"/>
                  </a:lnTo>
                  <a:lnTo>
                    <a:pt x="642" y="88"/>
                  </a:lnTo>
                  <a:lnTo>
                    <a:pt x="642" y="84"/>
                  </a:lnTo>
                  <a:lnTo>
                    <a:pt x="642" y="84"/>
                  </a:lnTo>
                  <a:lnTo>
                    <a:pt x="637" y="84"/>
                  </a:lnTo>
                  <a:lnTo>
                    <a:pt x="637" y="84"/>
                  </a:lnTo>
                  <a:lnTo>
                    <a:pt x="637" y="84"/>
                  </a:lnTo>
                  <a:lnTo>
                    <a:pt x="637" y="84"/>
                  </a:lnTo>
                  <a:lnTo>
                    <a:pt x="637" y="84"/>
                  </a:lnTo>
                  <a:lnTo>
                    <a:pt x="633" y="84"/>
                  </a:lnTo>
                  <a:lnTo>
                    <a:pt x="633" y="84"/>
                  </a:lnTo>
                  <a:lnTo>
                    <a:pt x="633" y="84"/>
                  </a:lnTo>
                  <a:lnTo>
                    <a:pt x="637" y="84"/>
                  </a:lnTo>
                  <a:lnTo>
                    <a:pt x="637" y="80"/>
                  </a:lnTo>
                  <a:lnTo>
                    <a:pt x="637" y="80"/>
                  </a:lnTo>
                  <a:lnTo>
                    <a:pt x="637" y="80"/>
                  </a:lnTo>
                  <a:lnTo>
                    <a:pt x="637" y="80"/>
                  </a:lnTo>
                  <a:lnTo>
                    <a:pt x="637" y="80"/>
                  </a:lnTo>
                  <a:lnTo>
                    <a:pt x="637" y="75"/>
                  </a:lnTo>
                  <a:lnTo>
                    <a:pt x="637" y="75"/>
                  </a:lnTo>
                  <a:lnTo>
                    <a:pt x="637" y="75"/>
                  </a:lnTo>
                  <a:lnTo>
                    <a:pt x="637" y="75"/>
                  </a:lnTo>
                  <a:lnTo>
                    <a:pt x="637" y="71"/>
                  </a:lnTo>
                  <a:lnTo>
                    <a:pt x="637" y="71"/>
                  </a:lnTo>
                  <a:lnTo>
                    <a:pt x="633" y="66"/>
                  </a:lnTo>
                  <a:lnTo>
                    <a:pt x="633" y="66"/>
                  </a:lnTo>
                  <a:lnTo>
                    <a:pt x="633" y="66"/>
                  </a:lnTo>
                  <a:lnTo>
                    <a:pt x="633" y="66"/>
                  </a:lnTo>
                  <a:lnTo>
                    <a:pt x="633" y="66"/>
                  </a:lnTo>
                  <a:lnTo>
                    <a:pt x="633" y="62"/>
                  </a:lnTo>
                  <a:lnTo>
                    <a:pt x="628" y="62"/>
                  </a:lnTo>
                  <a:lnTo>
                    <a:pt x="628" y="62"/>
                  </a:lnTo>
                  <a:lnTo>
                    <a:pt x="628" y="62"/>
                  </a:lnTo>
                  <a:lnTo>
                    <a:pt x="633" y="57"/>
                  </a:lnTo>
                  <a:lnTo>
                    <a:pt x="642" y="57"/>
                  </a:lnTo>
                  <a:lnTo>
                    <a:pt x="642" y="57"/>
                  </a:lnTo>
                  <a:lnTo>
                    <a:pt x="646" y="57"/>
                  </a:lnTo>
                  <a:lnTo>
                    <a:pt x="646" y="53"/>
                  </a:lnTo>
                  <a:lnTo>
                    <a:pt x="646" y="49"/>
                  </a:lnTo>
                  <a:lnTo>
                    <a:pt x="646" y="49"/>
                  </a:lnTo>
                  <a:lnTo>
                    <a:pt x="646" y="49"/>
                  </a:lnTo>
                  <a:lnTo>
                    <a:pt x="642" y="44"/>
                  </a:lnTo>
                  <a:lnTo>
                    <a:pt x="642" y="44"/>
                  </a:lnTo>
                  <a:lnTo>
                    <a:pt x="642" y="44"/>
                  </a:lnTo>
                  <a:lnTo>
                    <a:pt x="642" y="44"/>
                  </a:lnTo>
                  <a:lnTo>
                    <a:pt x="637" y="44"/>
                  </a:lnTo>
                  <a:lnTo>
                    <a:pt x="637" y="44"/>
                  </a:lnTo>
                  <a:lnTo>
                    <a:pt x="637" y="44"/>
                  </a:lnTo>
                  <a:lnTo>
                    <a:pt x="637" y="44"/>
                  </a:lnTo>
                  <a:lnTo>
                    <a:pt x="637" y="40"/>
                  </a:lnTo>
                  <a:lnTo>
                    <a:pt x="637" y="40"/>
                  </a:lnTo>
                  <a:lnTo>
                    <a:pt x="637" y="40"/>
                  </a:lnTo>
                  <a:lnTo>
                    <a:pt x="637" y="40"/>
                  </a:lnTo>
                  <a:lnTo>
                    <a:pt x="637" y="40"/>
                  </a:lnTo>
                  <a:lnTo>
                    <a:pt x="633" y="35"/>
                  </a:lnTo>
                  <a:lnTo>
                    <a:pt x="633" y="35"/>
                  </a:lnTo>
                  <a:lnTo>
                    <a:pt x="628" y="35"/>
                  </a:lnTo>
                  <a:lnTo>
                    <a:pt x="628" y="35"/>
                  </a:lnTo>
                  <a:lnTo>
                    <a:pt x="628" y="35"/>
                  </a:lnTo>
                  <a:lnTo>
                    <a:pt x="628" y="31"/>
                  </a:lnTo>
                  <a:lnTo>
                    <a:pt x="628" y="31"/>
                  </a:lnTo>
                  <a:lnTo>
                    <a:pt x="628" y="31"/>
                  </a:lnTo>
                  <a:lnTo>
                    <a:pt x="628" y="26"/>
                  </a:lnTo>
                  <a:lnTo>
                    <a:pt x="628" y="26"/>
                  </a:lnTo>
                  <a:lnTo>
                    <a:pt x="628" y="22"/>
                  </a:lnTo>
                  <a:lnTo>
                    <a:pt x="628" y="22"/>
                  </a:lnTo>
                  <a:lnTo>
                    <a:pt x="628" y="22"/>
                  </a:lnTo>
                  <a:lnTo>
                    <a:pt x="628" y="22"/>
                  </a:lnTo>
                  <a:lnTo>
                    <a:pt x="628" y="18"/>
                  </a:lnTo>
                  <a:lnTo>
                    <a:pt x="628" y="18"/>
                  </a:lnTo>
                  <a:lnTo>
                    <a:pt x="628" y="18"/>
                  </a:lnTo>
                  <a:lnTo>
                    <a:pt x="628" y="18"/>
                  </a:lnTo>
                  <a:lnTo>
                    <a:pt x="628" y="13"/>
                  </a:lnTo>
                  <a:lnTo>
                    <a:pt x="624" y="13"/>
                  </a:lnTo>
                  <a:lnTo>
                    <a:pt x="624" y="13"/>
                  </a:lnTo>
                  <a:lnTo>
                    <a:pt x="620" y="9"/>
                  </a:lnTo>
                  <a:lnTo>
                    <a:pt x="620" y="9"/>
                  </a:lnTo>
                  <a:lnTo>
                    <a:pt x="620" y="4"/>
                  </a:lnTo>
                  <a:lnTo>
                    <a:pt x="615" y="4"/>
                  </a:lnTo>
                  <a:lnTo>
                    <a:pt x="615" y="4"/>
                  </a:lnTo>
                  <a:lnTo>
                    <a:pt x="615" y="4"/>
                  </a:lnTo>
                  <a:lnTo>
                    <a:pt x="615" y="0"/>
                  </a:lnTo>
                  <a:lnTo>
                    <a:pt x="615" y="0"/>
                  </a:lnTo>
                  <a:lnTo>
                    <a:pt x="611" y="0"/>
                  </a:lnTo>
                  <a:lnTo>
                    <a:pt x="611" y="0"/>
                  </a:lnTo>
                  <a:lnTo>
                    <a:pt x="602" y="4"/>
                  </a:lnTo>
                  <a:lnTo>
                    <a:pt x="602" y="9"/>
                  </a:lnTo>
                  <a:lnTo>
                    <a:pt x="597" y="9"/>
                  </a:lnTo>
                  <a:lnTo>
                    <a:pt x="597" y="4"/>
                  </a:lnTo>
                  <a:lnTo>
                    <a:pt x="597" y="4"/>
                  </a:lnTo>
                  <a:lnTo>
                    <a:pt x="597" y="0"/>
                  </a:lnTo>
                  <a:lnTo>
                    <a:pt x="597" y="0"/>
                  </a:lnTo>
                  <a:lnTo>
                    <a:pt x="597" y="4"/>
                  </a:lnTo>
                  <a:lnTo>
                    <a:pt x="597" y="4"/>
                  </a:lnTo>
                  <a:lnTo>
                    <a:pt x="593" y="4"/>
                  </a:lnTo>
                  <a:lnTo>
                    <a:pt x="593" y="4"/>
                  </a:lnTo>
                  <a:lnTo>
                    <a:pt x="593" y="4"/>
                  </a:lnTo>
                  <a:lnTo>
                    <a:pt x="593" y="0"/>
                  </a:lnTo>
                  <a:lnTo>
                    <a:pt x="593" y="0"/>
                  </a:lnTo>
                  <a:lnTo>
                    <a:pt x="589" y="0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80" y="0"/>
                  </a:lnTo>
                  <a:lnTo>
                    <a:pt x="580" y="4"/>
                  </a:lnTo>
                  <a:lnTo>
                    <a:pt x="580" y="4"/>
                  </a:lnTo>
                  <a:lnTo>
                    <a:pt x="580" y="4"/>
                  </a:lnTo>
                  <a:lnTo>
                    <a:pt x="580" y="4"/>
                  </a:lnTo>
                  <a:lnTo>
                    <a:pt x="575" y="4"/>
                  </a:lnTo>
                  <a:lnTo>
                    <a:pt x="575" y="4"/>
                  </a:lnTo>
                  <a:lnTo>
                    <a:pt x="575" y="4"/>
                  </a:lnTo>
                  <a:lnTo>
                    <a:pt x="575" y="4"/>
                  </a:lnTo>
                  <a:lnTo>
                    <a:pt x="575" y="4"/>
                  </a:lnTo>
                  <a:lnTo>
                    <a:pt x="575" y="4"/>
                  </a:lnTo>
                  <a:lnTo>
                    <a:pt x="567" y="9"/>
                  </a:lnTo>
                  <a:lnTo>
                    <a:pt x="567" y="13"/>
                  </a:lnTo>
                  <a:lnTo>
                    <a:pt x="567" y="13"/>
                  </a:lnTo>
                  <a:lnTo>
                    <a:pt x="567" y="9"/>
                  </a:lnTo>
                  <a:lnTo>
                    <a:pt x="562" y="9"/>
                  </a:lnTo>
                  <a:lnTo>
                    <a:pt x="562" y="9"/>
                  </a:lnTo>
                  <a:lnTo>
                    <a:pt x="558" y="9"/>
                  </a:lnTo>
                  <a:lnTo>
                    <a:pt x="558" y="9"/>
                  </a:lnTo>
                  <a:lnTo>
                    <a:pt x="549" y="4"/>
                  </a:lnTo>
                  <a:lnTo>
                    <a:pt x="544" y="4"/>
                  </a:lnTo>
                  <a:lnTo>
                    <a:pt x="540" y="4"/>
                  </a:lnTo>
                  <a:lnTo>
                    <a:pt x="540" y="4"/>
                  </a:lnTo>
                  <a:lnTo>
                    <a:pt x="536" y="9"/>
                  </a:lnTo>
                  <a:lnTo>
                    <a:pt x="540" y="9"/>
                  </a:lnTo>
                  <a:lnTo>
                    <a:pt x="540" y="9"/>
                  </a:lnTo>
                  <a:lnTo>
                    <a:pt x="540" y="9"/>
                  </a:lnTo>
                  <a:lnTo>
                    <a:pt x="540" y="13"/>
                  </a:lnTo>
                  <a:lnTo>
                    <a:pt x="540" y="13"/>
                  </a:lnTo>
                  <a:lnTo>
                    <a:pt x="536" y="13"/>
                  </a:lnTo>
                  <a:lnTo>
                    <a:pt x="536" y="13"/>
                  </a:lnTo>
                  <a:lnTo>
                    <a:pt x="536" y="13"/>
                  </a:lnTo>
                  <a:lnTo>
                    <a:pt x="536" y="18"/>
                  </a:lnTo>
                  <a:lnTo>
                    <a:pt x="536" y="22"/>
                  </a:lnTo>
                  <a:lnTo>
                    <a:pt x="531" y="26"/>
                  </a:lnTo>
                  <a:lnTo>
                    <a:pt x="527" y="26"/>
                  </a:lnTo>
                  <a:lnTo>
                    <a:pt x="522" y="26"/>
                  </a:lnTo>
                  <a:lnTo>
                    <a:pt x="522" y="26"/>
                  </a:lnTo>
                  <a:lnTo>
                    <a:pt x="518" y="26"/>
                  </a:lnTo>
                  <a:lnTo>
                    <a:pt x="518" y="31"/>
                  </a:lnTo>
                  <a:lnTo>
                    <a:pt x="513" y="31"/>
                  </a:lnTo>
                  <a:lnTo>
                    <a:pt x="513" y="31"/>
                  </a:lnTo>
                  <a:lnTo>
                    <a:pt x="513" y="26"/>
                  </a:lnTo>
                  <a:lnTo>
                    <a:pt x="513" y="26"/>
                  </a:lnTo>
                  <a:lnTo>
                    <a:pt x="513" y="26"/>
                  </a:lnTo>
                  <a:lnTo>
                    <a:pt x="513" y="22"/>
                  </a:lnTo>
                  <a:lnTo>
                    <a:pt x="509" y="22"/>
                  </a:lnTo>
                  <a:lnTo>
                    <a:pt x="509" y="22"/>
                  </a:lnTo>
                  <a:lnTo>
                    <a:pt x="500" y="22"/>
                  </a:lnTo>
                  <a:lnTo>
                    <a:pt x="491" y="22"/>
                  </a:lnTo>
                  <a:lnTo>
                    <a:pt x="487" y="22"/>
                  </a:lnTo>
                  <a:lnTo>
                    <a:pt x="482" y="22"/>
                  </a:lnTo>
                  <a:lnTo>
                    <a:pt x="482" y="26"/>
                  </a:lnTo>
                  <a:lnTo>
                    <a:pt x="482" y="26"/>
                  </a:lnTo>
                  <a:lnTo>
                    <a:pt x="482" y="26"/>
                  </a:lnTo>
                  <a:lnTo>
                    <a:pt x="478" y="26"/>
                  </a:lnTo>
                  <a:lnTo>
                    <a:pt x="478" y="26"/>
                  </a:lnTo>
                  <a:lnTo>
                    <a:pt x="474" y="26"/>
                  </a:lnTo>
                  <a:lnTo>
                    <a:pt x="474" y="26"/>
                  </a:lnTo>
                  <a:lnTo>
                    <a:pt x="474" y="26"/>
                  </a:lnTo>
                  <a:lnTo>
                    <a:pt x="465" y="26"/>
                  </a:lnTo>
                  <a:lnTo>
                    <a:pt x="465" y="26"/>
                  </a:lnTo>
                  <a:lnTo>
                    <a:pt x="465" y="26"/>
                  </a:lnTo>
                  <a:lnTo>
                    <a:pt x="465" y="26"/>
                  </a:lnTo>
                  <a:lnTo>
                    <a:pt x="465" y="31"/>
                  </a:lnTo>
                  <a:lnTo>
                    <a:pt x="465" y="31"/>
                  </a:lnTo>
                  <a:lnTo>
                    <a:pt x="465" y="31"/>
                  </a:lnTo>
                  <a:lnTo>
                    <a:pt x="460" y="31"/>
                  </a:lnTo>
                  <a:lnTo>
                    <a:pt x="465" y="31"/>
                  </a:lnTo>
                  <a:lnTo>
                    <a:pt x="465" y="31"/>
                  </a:lnTo>
                  <a:lnTo>
                    <a:pt x="465" y="31"/>
                  </a:lnTo>
                  <a:lnTo>
                    <a:pt x="465" y="31"/>
                  </a:lnTo>
                  <a:lnTo>
                    <a:pt x="460" y="31"/>
                  </a:lnTo>
                  <a:lnTo>
                    <a:pt x="460" y="31"/>
                  </a:lnTo>
                  <a:lnTo>
                    <a:pt x="460" y="31"/>
                  </a:lnTo>
                  <a:lnTo>
                    <a:pt x="460" y="31"/>
                  </a:lnTo>
                  <a:lnTo>
                    <a:pt x="460" y="31"/>
                  </a:lnTo>
                  <a:lnTo>
                    <a:pt x="460" y="35"/>
                  </a:lnTo>
                  <a:lnTo>
                    <a:pt x="460" y="35"/>
                  </a:lnTo>
                  <a:lnTo>
                    <a:pt x="460" y="35"/>
                  </a:lnTo>
                  <a:lnTo>
                    <a:pt x="460" y="35"/>
                  </a:lnTo>
                  <a:lnTo>
                    <a:pt x="460" y="35"/>
                  </a:lnTo>
                  <a:lnTo>
                    <a:pt x="460" y="35"/>
                  </a:lnTo>
                  <a:lnTo>
                    <a:pt x="460" y="35"/>
                  </a:lnTo>
                  <a:lnTo>
                    <a:pt x="456" y="35"/>
                  </a:lnTo>
                  <a:lnTo>
                    <a:pt x="456" y="35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1" y="40"/>
                  </a:lnTo>
                  <a:lnTo>
                    <a:pt x="451" y="40"/>
                  </a:lnTo>
                  <a:lnTo>
                    <a:pt x="451" y="40"/>
                  </a:lnTo>
                  <a:lnTo>
                    <a:pt x="451" y="44"/>
                  </a:lnTo>
                  <a:lnTo>
                    <a:pt x="451" y="44"/>
                  </a:lnTo>
                  <a:lnTo>
                    <a:pt x="451" y="44"/>
                  </a:lnTo>
                  <a:lnTo>
                    <a:pt x="451" y="44"/>
                  </a:lnTo>
                  <a:lnTo>
                    <a:pt x="451" y="44"/>
                  </a:lnTo>
                  <a:lnTo>
                    <a:pt x="451" y="44"/>
                  </a:lnTo>
                  <a:lnTo>
                    <a:pt x="451" y="49"/>
                  </a:lnTo>
                  <a:lnTo>
                    <a:pt x="451" y="49"/>
                  </a:lnTo>
                  <a:lnTo>
                    <a:pt x="447" y="49"/>
                  </a:lnTo>
                  <a:lnTo>
                    <a:pt x="447" y="49"/>
                  </a:lnTo>
                  <a:lnTo>
                    <a:pt x="451" y="49"/>
                  </a:lnTo>
                  <a:lnTo>
                    <a:pt x="451" y="49"/>
                  </a:lnTo>
                  <a:lnTo>
                    <a:pt x="447" y="49"/>
                  </a:lnTo>
                  <a:lnTo>
                    <a:pt x="447" y="53"/>
                  </a:lnTo>
                  <a:lnTo>
                    <a:pt x="447" y="53"/>
                  </a:lnTo>
                  <a:lnTo>
                    <a:pt x="447" y="53"/>
                  </a:lnTo>
                  <a:lnTo>
                    <a:pt x="447" y="53"/>
                  </a:lnTo>
                  <a:lnTo>
                    <a:pt x="447" y="53"/>
                  </a:lnTo>
                  <a:lnTo>
                    <a:pt x="447" y="53"/>
                  </a:lnTo>
                  <a:lnTo>
                    <a:pt x="447" y="53"/>
                  </a:lnTo>
                  <a:lnTo>
                    <a:pt x="447" y="57"/>
                  </a:lnTo>
                  <a:lnTo>
                    <a:pt x="447" y="57"/>
                  </a:lnTo>
                  <a:lnTo>
                    <a:pt x="447" y="57"/>
                  </a:lnTo>
                  <a:lnTo>
                    <a:pt x="447" y="57"/>
                  </a:lnTo>
                  <a:lnTo>
                    <a:pt x="443" y="57"/>
                  </a:lnTo>
                  <a:lnTo>
                    <a:pt x="443" y="57"/>
                  </a:lnTo>
                  <a:lnTo>
                    <a:pt x="443" y="62"/>
                  </a:lnTo>
                  <a:lnTo>
                    <a:pt x="443" y="62"/>
                  </a:lnTo>
                  <a:lnTo>
                    <a:pt x="443" y="62"/>
                  </a:lnTo>
                  <a:lnTo>
                    <a:pt x="443" y="62"/>
                  </a:lnTo>
                  <a:lnTo>
                    <a:pt x="443" y="62"/>
                  </a:lnTo>
                  <a:lnTo>
                    <a:pt x="443" y="62"/>
                  </a:lnTo>
                  <a:lnTo>
                    <a:pt x="443" y="62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71"/>
                  </a:lnTo>
                  <a:lnTo>
                    <a:pt x="443" y="71"/>
                  </a:lnTo>
                  <a:lnTo>
                    <a:pt x="443" y="71"/>
                  </a:lnTo>
                  <a:lnTo>
                    <a:pt x="447" y="71"/>
                  </a:lnTo>
                  <a:lnTo>
                    <a:pt x="443" y="71"/>
                  </a:lnTo>
                  <a:lnTo>
                    <a:pt x="443" y="71"/>
                  </a:lnTo>
                  <a:lnTo>
                    <a:pt x="443" y="71"/>
                  </a:lnTo>
                  <a:lnTo>
                    <a:pt x="443" y="75"/>
                  </a:lnTo>
                  <a:lnTo>
                    <a:pt x="447" y="75"/>
                  </a:lnTo>
                  <a:lnTo>
                    <a:pt x="447" y="75"/>
                  </a:lnTo>
                  <a:lnTo>
                    <a:pt x="447" y="75"/>
                  </a:lnTo>
                  <a:lnTo>
                    <a:pt x="447" y="75"/>
                  </a:lnTo>
                  <a:lnTo>
                    <a:pt x="447" y="75"/>
                  </a:lnTo>
                  <a:lnTo>
                    <a:pt x="447" y="75"/>
                  </a:lnTo>
                  <a:lnTo>
                    <a:pt x="447" y="75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4"/>
                  </a:lnTo>
                  <a:lnTo>
                    <a:pt x="447" y="84"/>
                  </a:lnTo>
                  <a:lnTo>
                    <a:pt x="447" y="84"/>
                  </a:lnTo>
                  <a:lnTo>
                    <a:pt x="447" y="84"/>
                  </a:lnTo>
                  <a:lnTo>
                    <a:pt x="447" y="84"/>
                  </a:lnTo>
                  <a:lnTo>
                    <a:pt x="447" y="88"/>
                  </a:lnTo>
                  <a:lnTo>
                    <a:pt x="447" y="88"/>
                  </a:lnTo>
                  <a:lnTo>
                    <a:pt x="447" y="93"/>
                  </a:lnTo>
                  <a:lnTo>
                    <a:pt x="443" y="93"/>
                  </a:lnTo>
                  <a:lnTo>
                    <a:pt x="443" y="93"/>
                  </a:lnTo>
                  <a:lnTo>
                    <a:pt x="443" y="93"/>
                  </a:lnTo>
                  <a:lnTo>
                    <a:pt x="443" y="97"/>
                  </a:lnTo>
                  <a:lnTo>
                    <a:pt x="443" y="97"/>
                  </a:lnTo>
                  <a:lnTo>
                    <a:pt x="443" y="97"/>
                  </a:lnTo>
                  <a:lnTo>
                    <a:pt x="443" y="97"/>
                  </a:lnTo>
                  <a:lnTo>
                    <a:pt x="443" y="97"/>
                  </a:lnTo>
                  <a:lnTo>
                    <a:pt x="443" y="97"/>
                  </a:lnTo>
                  <a:lnTo>
                    <a:pt x="443" y="93"/>
                  </a:lnTo>
                  <a:lnTo>
                    <a:pt x="438" y="93"/>
                  </a:lnTo>
                  <a:lnTo>
                    <a:pt x="438" y="93"/>
                  </a:lnTo>
                  <a:lnTo>
                    <a:pt x="438" y="93"/>
                  </a:lnTo>
                  <a:lnTo>
                    <a:pt x="438" y="93"/>
                  </a:lnTo>
                  <a:lnTo>
                    <a:pt x="438" y="93"/>
                  </a:lnTo>
                  <a:lnTo>
                    <a:pt x="438" y="93"/>
                  </a:lnTo>
                  <a:lnTo>
                    <a:pt x="434" y="93"/>
                  </a:lnTo>
                  <a:lnTo>
                    <a:pt x="434" y="93"/>
                  </a:lnTo>
                  <a:lnTo>
                    <a:pt x="434" y="93"/>
                  </a:lnTo>
                  <a:lnTo>
                    <a:pt x="429" y="88"/>
                  </a:lnTo>
                  <a:lnTo>
                    <a:pt x="429" y="88"/>
                  </a:lnTo>
                  <a:lnTo>
                    <a:pt x="429" y="88"/>
                  </a:lnTo>
                  <a:lnTo>
                    <a:pt x="434" y="84"/>
                  </a:lnTo>
                  <a:lnTo>
                    <a:pt x="434" y="84"/>
                  </a:lnTo>
                  <a:lnTo>
                    <a:pt x="434" y="84"/>
                  </a:lnTo>
                  <a:lnTo>
                    <a:pt x="434" y="84"/>
                  </a:lnTo>
                  <a:lnTo>
                    <a:pt x="429" y="84"/>
                  </a:lnTo>
                  <a:lnTo>
                    <a:pt x="429" y="84"/>
                  </a:lnTo>
                  <a:lnTo>
                    <a:pt x="429" y="84"/>
                  </a:lnTo>
                  <a:lnTo>
                    <a:pt x="429" y="80"/>
                  </a:lnTo>
                  <a:lnTo>
                    <a:pt x="425" y="80"/>
                  </a:lnTo>
                  <a:lnTo>
                    <a:pt x="425" y="75"/>
                  </a:lnTo>
                  <a:lnTo>
                    <a:pt x="425" y="75"/>
                  </a:lnTo>
                  <a:lnTo>
                    <a:pt x="420" y="75"/>
                  </a:lnTo>
                  <a:lnTo>
                    <a:pt x="416" y="75"/>
                  </a:lnTo>
                  <a:lnTo>
                    <a:pt x="412" y="75"/>
                  </a:lnTo>
                  <a:lnTo>
                    <a:pt x="412" y="80"/>
                  </a:lnTo>
                  <a:lnTo>
                    <a:pt x="412" y="80"/>
                  </a:lnTo>
                  <a:lnTo>
                    <a:pt x="407" y="75"/>
                  </a:lnTo>
                  <a:lnTo>
                    <a:pt x="407" y="75"/>
                  </a:lnTo>
                  <a:lnTo>
                    <a:pt x="407" y="80"/>
                  </a:lnTo>
                  <a:lnTo>
                    <a:pt x="407" y="80"/>
                  </a:lnTo>
                  <a:lnTo>
                    <a:pt x="407" y="80"/>
                  </a:lnTo>
                  <a:lnTo>
                    <a:pt x="407" y="80"/>
                  </a:lnTo>
                  <a:lnTo>
                    <a:pt x="398" y="80"/>
                  </a:lnTo>
                  <a:lnTo>
                    <a:pt x="398" y="80"/>
                  </a:lnTo>
                  <a:lnTo>
                    <a:pt x="398" y="75"/>
                  </a:lnTo>
                  <a:lnTo>
                    <a:pt x="398" y="75"/>
                  </a:lnTo>
                  <a:lnTo>
                    <a:pt x="398" y="75"/>
                  </a:lnTo>
                  <a:lnTo>
                    <a:pt x="398" y="75"/>
                  </a:lnTo>
                  <a:lnTo>
                    <a:pt x="394" y="75"/>
                  </a:lnTo>
                  <a:lnTo>
                    <a:pt x="394" y="75"/>
                  </a:lnTo>
                  <a:lnTo>
                    <a:pt x="394" y="75"/>
                  </a:lnTo>
                  <a:lnTo>
                    <a:pt x="394" y="80"/>
                  </a:lnTo>
                  <a:lnTo>
                    <a:pt x="389" y="80"/>
                  </a:lnTo>
                  <a:lnTo>
                    <a:pt x="389" y="80"/>
                  </a:lnTo>
                  <a:lnTo>
                    <a:pt x="389" y="80"/>
                  </a:lnTo>
                  <a:lnTo>
                    <a:pt x="389" y="80"/>
                  </a:lnTo>
                  <a:lnTo>
                    <a:pt x="389" y="80"/>
                  </a:lnTo>
                  <a:lnTo>
                    <a:pt x="385" y="84"/>
                  </a:lnTo>
                  <a:lnTo>
                    <a:pt x="385" y="84"/>
                  </a:lnTo>
                  <a:lnTo>
                    <a:pt x="385" y="84"/>
                  </a:lnTo>
                  <a:lnTo>
                    <a:pt x="381" y="84"/>
                  </a:lnTo>
                  <a:lnTo>
                    <a:pt x="381" y="84"/>
                  </a:lnTo>
                  <a:lnTo>
                    <a:pt x="381" y="84"/>
                  </a:lnTo>
                  <a:lnTo>
                    <a:pt x="381" y="84"/>
                  </a:lnTo>
                  <a:lnTo>
                    <a:pt x="381" y="84"/>
                  </a:lnTo>
                  <a:lnTo>
                    <a:pt x="376" y="84"/>
                  </a:lnTo>
                  <a:lnTo>
                    <a:pt x="376" y="84"/>
                  </a:lnTo>
                  <a:lnTo>
                    <a:pt x="376" y="80"/>
                  </a:lnTo>
                  <a:lnTo>
                    <a:pt x="376" y="80"/>
                  </a:lnTo>
                  <a:lnTo>
                    <a:pt x="376" y="80"/>
                  </a:lnTo>
                  <a:lnTo>
                    <a:pt x="372" y="80"/>
                  </a:lnTo>
                  <a:lnTo>
                    <a:pt x="372" y="75"/>
                  </a:lnTo>
                  <a:lnTo>
                    <a:pt x="372" y="75"/>
                  </a:lnTo>
                  <a:lnTo>
                    <a:pt x="372" y="71"/>
                  </a:lnTo>
                  <a:lnTo>
                    <a:pt x="372" y="71"/>
                  </a:lnTo>
                  <a:lnTo>
                    <a:pt x="372" y="71"/>
                  </a:lnTo>
                  <a:lnTo>
                    <a:pt x="372" y="66"/>
                  </a:lnTo>
                  <a:lnTo>
                    <a:pt x="367" y="66"/>
                  </a:lnTo>
                  <a:lnTo>
                    <a:pt x="367" y="62"/>
                  </a:lnTo>
                  <a:lnTo>
                    <a:pt x="367" y="62"/>
                  </a:lnTo>
                  <a:lnTo>
                    <a:pt x="363" y="62"/>
                  </a:lnTo>
                  <a:lnTo>
                    <a:pt x="363" y="62"/>
                  </a:lnTo>
                  <a:lnTo>
                    <a:pt x="363" y="66"/>
                  </a:lnTo>
                  <a:lnTo>
                    <a:pt x="363" y="66"/>
                  </a:lnTo>
                  <a:lnTo>
                    <a:pt x="358" y="66"/>
                  </a:lnTo>
                  <a:lnTo>
                    <a:pt x="358" y="71"/>
                  </a:lnTo>
                  <a:lnTo>
                    <a:pt x="354" y="71"/>
                  </a:lnTo>
                  <a:lnTo>
                    <a:pt x="354" y="71"/>
                  </a:lnTo>
                  <a:lnTo>
                    <a:pt x="354" y="71"/>
                  </a:lnTo>
                  <a:lnTo>
                    <a:pt x="350" y="71"/>
                  </a:lnTo>
                  <a:lnTo>
                    <a:pt x="350" y="75"/>
                  </a:lnTo>
                  <a:lnTo>
                    <a:pt x="350" y="75"/>
                  </a:lnTo>
                  <a:lnTo>
                    <a:pt x="350" y="75"/>
                  </a:lnTo>
                  <a:lnTo>
                    <a:pt x="350" y="80"/>
                  </a:lnTo>
                  <a:lnTo>
                    <a:pt x="350" y="80"/>
                  </a:lnTo>
                  <a:lnTo>
                    <a:pt x="345" y="84"/>
                  </a:lnTo>
                  <a:lnTo>
                    <a:pt x="345" y="84"/>
                  </a:lnTo>
                  <a:lnTo>
                    <a:pt x="345" y="80"/>
                  </a:lnTo>
                  <a:lnTo>
                    <a:pt x="345" y="80"/>
                  </a:lnTo>
                  <a:lnTo>
                    <a:pt x="345" y="80"/>
                  </a:lnTo>
                  <a:lnTo>
                    <a:pt x="345" y="80"/>
                  </a:lnTo>
                  <a:lnTo>
                    <a:pt x="345" y="80"/>
                  </a:lnTo>
                  <a:lnTo>
                    <a:pt x="341" y="80"/>
                  </a:lnTo>
                  <a:lnTo>
                    <a:pt x="341" y="80"/>
                  </a:lnTo>
                  <a:lnTo>
                    <a:pt x="341" y="80"/>
                  </a:lnTo>
                  <a:lnTo>
                    <a:pt x="341" y="71"/>
                  </a:lnTo>
                  <a:lnTo>
                    <a:pt x="341" y="71"/>
                  </a:lnTo>
                  <a:lnTo>
                    <a:pt x="341" y="71"/>
                  </a:lnTo>
                  <a:lnTo>
                    <a:pt x="341" y="71"/>
                  </a:lnTo>
                  <a:lnTo>
                    <a:pt x="336" y="66"/>
                  </a:lnTo>
                  <a:lnTo>
                    <a:pt x="332" y="66"/>
                  </a:lnTo>
                  <a:lnTo>
                    <a:pt x="332" y="71"/>
                  </a:lnTo>
                  <a:lnTo>
                    <a:pt x="327" y="71"/>
                  </a:lnTo>
                  <a:lnTo>
                    <a:pt x="327" y="71"/>
                  </a:lnTo>
                  <a:lnTo>
                    <a:pt x="327" y="71"/>
                  </a:lnTo>
                  <a:lnTo>
                    <a:pt x="327" y="71"/>
                  </a:lnTo>
                  <a:lnTo>
                    <a:pt x="327" y="71"/>
                  </a:lnTo>
                  <a:lnTo>
                    <a:pt x="327" y="71"/>
                  </a:lnTo>
                  <a:lnTo>
                    <a:pt x="323" y="66"/>
                  </a:lnTo>
                  <a:lnTo>
                    <a:pt x="323" y="66"/>
                  </a:lnTo>
                  <a:lnTo>
                    <a:pt x="323" y="66"/>
                  </a:lnTo>
                  <a:lnTo>
                    <a:pt x="323" y="66"/>
                  </a:lnTo>
                  <a:lnTo>
                    <a:pt x="323" y="66"/>
                  </a:lnTo>
                  <a:lnTo>
                    <a:pt x="323" y="62"/>
                  </a:lnTo>
                  <a:lnTo>
                    <a:pt x="323" y="62"/>
                  </a:lnTo>
                  <a:lnTo>
                    <a:pt x="323" y="62"/>
                  </a:lnTo>
                  <a:lnTo>
                    <a:pt x="323" y="62"/>
                  </a:lnTo>
                  <a:lnTo>
                    <a:pt x="319" y="62"/>
                  </a:lnTo>
                  <a:lnTo>
                    <a:pt x="319" y="62"/>
                  </a:lnTo>
                  <a:lnTo>
                    <a:pt x="319" y="62"/>
                  </a:lnTo>
                  <a:lnTo>
                    <a:pt x="319" y="66"/>
                  </a:lnTo>
                  <a:lnTo>
                    <a:pt x="314" y="66"/>
                  </a:lnTo>
                  <a:lnTo>
                    <a:pt x="314" y="71"/>
                  </a:lnTo>
                  <a:lnTo>
                    <a:pt x="314" y="71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1" y="66"/>
                  </a:lnTo>
                  <a:lnTo>
                    <a:pt x="301" y="66"/>
                  </a:lnTo>
                  <a:lnTo>
                    <a:pt x="301" y="66"/>
                  </a:lnTo>
                  <a:lnTo>
                    <a:pt x="301" y="66"/>
                  </a:lnTo>
                  <a:lnTo>
                    <a:pt x="297" y="66"/>
                  </a:lnTo>
                  <a:lnTo>
                    <a:pt x="297" y="71"/>
                  </a:lnTo>
                  <a:lnTo>
                    <a:pt x="297" y="71"/>
                  </a:lnTo>
                  <a:lnTo>
                    <a:pt x="297" y="71"/>
                  </a:lnTo>
                  <a:lnTo>
                    <a:pt x="297" y="71"/>
                  </a:lnTo>
                  <a:lnTo>
                    <a:pt x="297" y="71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2" y="80"/>
                  </a:lnTo>
                  <a:lnTo>
                    <a:pt x="292" y="75"/>
                  </a:lnTo>
                  <a:lnTo>
                    <a:pt x="292" y="75"/>
                  </a:lnTo>
                  <a:lnTo>
                    <a:pt x="292" y="75"/>
                  </a:lnTo>
                  <a:lnTo>
                    <a:pt x="292" y="75"/>
                  </a:lnTo>
                  <a:lnTo>
                    <a:pt x="292" y="75"/>
                  </a:lnTo>
                  <a:lnTo>
                    <a:pt x="292" y="71"/>
                  </a:lnTo>
                  <a:lnTo>
                    <a:pt x="292" y="71"/>
                  </a:lnTo>
                  <a:lnTo>
                    <a:pt x="292" y="66"/>
                  </a:lnTo>
                  <a:lnTo>
                    <a:pt x="292" y="66"/>
                  </a:lnTo>
                  <a:lnTo>
                    <a:pt x="288" y="66"/>
                  </a:lnTo>
                  <a:lnTo>
                    <a:pt x="283" y="62"/>
                  </a:lnTo>
                  <a:lnTo>
                    <a:pt x="283" y="62"/>
                  </a:lnTo>
                  <a:lnTo>
                    <a:pt x="283" y="62"/>
                  </a:lnTo>
                  <a:lnTo>
                    <a:pt x="279" y="66"/>
                  </a:lnTo>
                  <a:lnTo>
                    <a:pt x="279" y="66"/>
                  </a:lnTo>
                  <a:lnTo>
                    <a:pt x="279" y="66"/>
                  </a:lnTo>
                  <a:lnTo>
                    <a:pt x="279" y="66"/>
                  </a:lnTo>
                  <a:lnTo>
                    <a:pt x="274" y="66"/>
                  </a:lnTo>
                  <a:lnTo>
                    <a:pt x="270" y="66"/>
                  </a:lnTo>
                  <a:lnTo>
                    <a:pt x="270" y="66"/>
                  </a:lnTo>
                  <a:lnTo>
                    <a:pt x="270" y="66"/>
                  </a:lnTo>
                  <a:lnTo>
                    <a:pt x="270" y="66"/>
                  </a:lnTo>
                  <a:lnTo>
                    <a:pt x="270" y="62"/>
                  </a:lnTo>
                  <a:lnTo>
                    <a:pt x="270" y="62"/>
                  </a:lnTo>
                  <a:lnTo>
                    <a:pt x="270" y="62"/>
                  </a:lnTo>
                  <a:lnTo>
                    <a:pt x="270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66" y="57"/>
                  </a:lnTo>
                  <a:lnTo>
                    <a:pt x="266" y="57"/>
                  </a:lnTo>
                  <a:lnTo>
                    <a:pt x="266" y="53"/>
                  </a:lnTo>
                  <a:lnTo>
                    <a:pt x="266" y="53"/>
                  </a:lnTo>
                  <a:lnTo>
                    <a:pt x="266" y="53"/>
                  </a:lnTo>
                  <a:lnTo>
                    <a:pt x="261" y="53"/>
                  </a:lnTo>
                  <a:lnTo>
                    <a:pt x="257" y="53"/>
                  </a:lnTo>
                  <a:lnTo>
                    <a:pt x="252" y="53"/>
                  </a:lnTo>
                  <a:lnTo>
                    <a:pt x="248" y="53"/>
                  </a:lnTo>
                  <a:lnTo>
                    <a:pt x="239" y="49"/>
                  </a:lnTo>
                  <a:lnTo>
                    <a:pt x="226" y="49"/>
                  </a:lnTo>
                  <a:lnTo>
                    <a:pt x="226" y="49"/>
                  </a:lnTo>
                  <a:lnTo>
                    <a:pt x="226" y="49"/>
                  </a:lnTo>
                  <a:lnTo>
                    <a:pt x="226" y="44"/>
                  </a:lnTo>
                  <a:lnTo>
                    <a:pt x="226" y="44"/>
                  </a:lnTo>
                  <a:lnTo>
                    <a:pt x="226" y="44"/>
                  </a:lnTo>
                  <a:lnTo>
                    <a:pt x="226" y="44"/>
                  </a:lnTo>
                  <a:lnTo>
                    <a:pt x="212" y="44"/>
                  </a:lnTo>
                  <a:lnTo>
                    <a:pt x="212" y="44"/>
                  </a:lnTo>
                  <a:lnTo>
                    <a:pt x="208" y="40"/>
                  </a:lnTo>
                  <a:lnTo>
                    <a:pt x="208" y="40"/>
                  </a:lnTo>
                  <a:lnTo>
                    <a:pt x="204" y="40"/>
                  </a:lnTo>
                  <a:lnTo>
                    <a:pt x="190" y="40"/>
                  </a:lnTo>
                  <a:lnTo>
                    <a:pt x="186" y="40"/>
                  </a:lnTo>
                  <a:lnTo>
                    <a:pt x="181" y="40"/>
                  </a:lnTo>
                  <a:lnTo>
                    <a:pt x="168" y="40"/>
                  </a:lnTo>
                  <a:lnTo>
                    <a:pt x="159" y="35"/>
                  </a:lnTo>
                  <a:lnTo>
                    <a:pt x="159" y="35"/>
                  </a:lnTo>
                  <a:lnTo>
                    <a:pt x="155" y="35"/>
                  </a:lnTo>
                  <a:lnTo>
                    <a:pt x="150" y="40"/>
                  </a:lnTo>
                  <a:lnTo>
                    <a:pt x="137" y="40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19" y="44"/>
                  </a:lnTo>
                  <a:lnTo>
                    <a:pt x="119" y="44"/>
                  </a:lnTo>
                  <a:lnTo>
                    <a:pt x="115" y="44"/>
                  </a:lnTo>
                  <a:lnTo>
                    <a:pt x="115" y="49"/>
                  </a:lnTo>
                  <a:lnTo>
                    <a:pt x="115" y="49"/>
                  </a:lnTo>
                  <a:lnTo>
                    <a:pt x="111" y="53"/>
                  </a:lnTo>
                  <a:lnTo>
                    <a:pt x="111" y="57"/>
                  </a:lnTo>
                  <a:lnTo>
                    <a:pt x="106" y="62"/>
                  </a:lnTo>
                  <a:lnTo>
                    <a:pt x="97" y="66"/>
                  </a:lnTo>
                  <a:lnTo>
                    <a:pt x="93" y="66"/>
                  </a:lnTo>
                  <a:lnTo>
                    <a:pt x="93" y="66"/>
                  </a:lnTo>
                  <a:lnTo>
                    <a:pt x="93" y="66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0" y="62"/>
                  </a:lnTo>
                  <a:lnTo>
                    <a:pt x="80" y="62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75"/>
                  </a:lnTo>
                  <a:lnTo>
                    <a:pt x="80" y="75"/>
                  </a:lnTo>
                  <a:lnTo>
                    <a:pt x="75" y="71"/>
                  </a:lnTo>
                  <a:lnTo>
                    <a:pt x="75" y="75"/>
                  </a:lnTo>
                  <a:lnTo>
                    <a:pt x="80" y="75"/>
                  </a:lnTo>
                  <a:lnTo>
                    <a:pt x="80" y="75"/>
                  </a:lnTo>
                  <a:lnTo>
                    <a:pt x="80" y="75"/>
                  </a:lnTo>
                  <a:lnTo>
                    <a:pt x="80" y="75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4" y="97"/>
                  </a:lnTo>
                  <a:lnTo>
                    <a:pt x="84" y="102"/>
                  </a:lnTo>
                  <a:lnTo>
                    <a:pt x="88" y="102"/>
                  </a:lnTo>
                  <a:lnTo>
                    <a:pt x="93" y="106"/>
                  </a:lnTo>
                  <a:lnTo>
                    <a:pt x="93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93" y="106"/>
                  </a:lnTo>
                  <a:lnTo>
                    <a:pt x="93" y="111"/>
                  </a:lnTo>
                  <a:lnTo>
                    <a:pt x="93" y="111"/>
                  </a:lnTo>
                  <a:lnTo>
                    <a:pt x="93" y="115"/>
                  </a:lnTo>
                  <a:lnTo>
                    <a:pt x="93" y="115"/>
                  </a:lnTo>
                  <a:lnTo>
                    <a:pt x="93" y="115"/>
                  </a:lnTo>
                  <a:lnTo>
                    <a:pt x="93" y="115"/>
                  </a:lnTo>
                  <a:lnTo>
                    <a:pt x="93" y="115"/>
                  </a:lnTo>
                  <a:lnTo>
                    <a:pt x="93" y="115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102" y="124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2" y="128"/>
                  </a:lnTo>
                  <a:lnTo>
                    <a:pt x="102" y="128"/>
                  </a:lnTo>
                  <a:lnTo>
                    <a:pt x="102" y="133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33"/>
                  </a:lnTo>
                  <a:lnTo>
                    <a:pt x="97" y="133"/>
                  </a:lnTo>
                  <a:lnTo>
                    <a:pt x="97" y="133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6"/>
                  </a:lnTo>
                  <a:lnTo>
                    <a:pt x="102" y="146"/>
                  </a:lnTo>
                  <a:lnTo>
                    <a:pt x="102" y="146"/>
                  </a:lnTo>
                  <a:lnTo>
                    <a:pt x="102" y="150"/>
                  </a:lnTo>
                  <a:lnTo>
                    <a:pt x="102" y="155"/>
                  </a:lnTo>
                  <a:lnTo>
                    <a:pt x="102" y="155"/>
                  </a:lnTo>
                  <a:lnTo>
                    <a:pt x="102" y="155"/>
                  </a:lnTo>
                  <a:lnTo>
                    <a:pt x="102" y="155"/>
                  </a:lnTo>
                  <a:lnTo>
                    <a:pt x="102" y="155"/>
                  </a:lnTo>
                  <a:lnTo>
                    <a:pt x="102" y="155"/>
                  </a:lnTo>
                  <a:lnTo>
                    <a:pt x="97" y="159"/>
                  </a:lnTo>
                  <a:lnTo>
                    <a:pt x="97" y="159"/>
                  </a:lnTo>
                  <a:lnTo>
                    <a:pt x="97" y="159"/>
                  </a:lnTo>
                  <a:lnTo>
                    <a:pt x="97" y="164"/>
                  </a:lnTo>
                  <a:lnTo>
                    <a:pt x="97" y="164"/>
                  </a:lnTo>
                  <a:lnTo>
                    <a:pt x="97" y="164"/>
                  </a:lnTo>
                  <a:lnTo>
                    <a:pt x="93" y="168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68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1" y="181"/>
                  </a:lnTo>
                  <a:lnTo>
                    <a:pt x="66" y="181"/>
                  </a:lnTo>
                  <a:lnTo>
                    <a:pt x="57" y="195"/>
                  </a:lnTo>
                  <a:lnTo>
                    <a:pt x="53" y="199"/>
                  </a:lnTo>
                  <a:lnTo>
                    <a:pt x="53" y="199"/>
                  </a:lnTo>
                  <a:lnTo>
                    <a:pt x="49" y="204"/>
                  </a:lnTo>
                  <a:lnTo>
                    <a:pt x="44" y="212"/>
                  </a:lnTo>
                  <a:lnTo>
                    <a:pt x="44" y="212"/>
                  </a:lnTo>
                  <a:lnTo>
                    <a:pt x="44" y="212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35" y="226"/>
                  </a:lnTo>
                  <a:lnTo>
                    <a:pt x="35" y="226"/>
                  </a:lnTo>
                  <a:lnTo>
                    <a:pt x="35" y="226"/>
                  </a:lnTo>
                  <a:lnTo>
                    <a:pt x="35" y="226"/>
                  </a:lnTo>
                  <a:lnTo>
                    <a:pt x="31" y="226"/>
                  </a:lnTo>
                  <a:lnTo>
                    <a:pt x="31" y="226"/>
                  </a:lnTo>
                  <a:lnTo>
                    <a:pt x="31" y="230"/>
                  </a:lnTo>
                  <a:lnTo>
                    <a:pt x="27" y="235"/>
                  </a:lnTo>
                  <a:lnTo>
                    <a:pt x="27" y="239"/>
                  </a:lnTo>
                  <a:lnTo>
                    <a:pt x="27" y="239"/>
                  </a:lnTo>
                  <a:lnTo>
                    <a:pt x="27" y="243"/>
                  </a:lnTo>
                  <a:lnTo>
                    <a:pt x="27" y="243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31" y="248"/>
                  </a:lnTo>
                  <a:lnTo>
                    <a:pt x="31" y="248"/>
                  </a:lnTo>
                  <a:lnTo>
                    <a:pt x="31" y="248"/>
                  </a:lnTo>
                  <a:lnTo>
                    <a:pt x="31" y="252"/>
                  </a:lnTo>
                  <a:lnTo>
                    <a:pt x="31" y="257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6"/>
                  </a:lnTo>
                  <a:lnTo>
                    <a:pt x="31" y="266"/>
                  </a:lnTo>
                  <a:lnTo>
                    <a:pt x="27" y="266"/>
                  </a:lnTo>
                  <a:lnTo>
                    <a:pt x="31" y="266"/>
                  </a:lnTo>
                  <a:lnTo>
                    <a:pt x="31" y="266"/>
                  </a:lnTo>
                  <a:lnTo>
                    <a:pt x="31" y="266"/>
                  </a:lnTo>
                  <a:lnTo>
                    <a:pt x="31" y="266"/>
                  </a:lnTo>
                  <a:lnTo>
                    <a:pt x="31" y="266"/>
                  </a:lnTo>
                  <a:lnTo>
                    <a:pt x="31" y="266"/>
                  </a:lnTo>
                  <a:lnTo>
                    <a:pt x="31" y="270"/>
                  </a:lnTo>
                  <a:lnTo>
                    <a:pt x="35" y="270"/>
                  </a:lnTo>
                  <a:lnTo>
                    <a:pt x="35" y="270"/>
                  </a:lnTo>
                  <a:lnTo>
                    <a:pt x="35" y="274"/>
                  </a:lnTo>
                  <a:lnTo>
                    <a:pt x="35" y="274"/>
                  </a:lnTo>
                  <a:lnTo>
                    <a:pt x="35" y="274"/>
                  </a:lnTo>
                  <a:lnTo>
                    <a:pt x="35" y="274"/>
                  </a:lnTo>
                  <a:lnTo>
                    <a:pt x="35" y="274"/>
                  </a:lnTo>
                  <a:lnTo>
                    <a:pt x="35" y="279"/>
                  </a:lnTo>
                  <a:lnTo>
                    <a:pt x="40" y="279"/>
                  </a:lnTo>
                  <a:lnTo>
                    <a:pt x="40" y="279"/>
                  </a:lnTo>
                  <a:lnTo>
                    <a:pt x="40" y="279"/>
                  </a:lnTo>
                  <a:lnTo>
                    <a:pt x="40" y="279"/>
                  </a:lnTo>
                  <a:lnTo>
                    <a:pt x="35" y="279"/>
                  </a:lnTo>
                  <a:lnTo>
                    <a:pt x="35" y="279"/>
                  </a:lnTo>
                  <a:lnTo>
                    <a:pt x="35" y="279"/>
                  </a:lnTo>
                  <a:lnTo>
                    <a:pt x="35" y="279"/>
                  </a:lnTo>
                  <a:lnTo>
                    <a:pt x="31" y="279"/>
                  </a:lnTo>
                  <a:lnTo>
                    <a:pt x="31" y="274"/>
                  </a:lnTo>
                  <a:lnTo>
                    <a:pt x="31" y="274"/>
                  </a:lnTo>
                  <a:lnTo>
                    <a:pt x="31" y="279"/>
                  </a:lnTo>
                  <a:lnTo>
                    <a:pt x="27" y="274"/>
                  </a:lnTo>
                  <a:lnTo>
                    <a:pt x="27" y="279"/>
                  </a:lnTo>
                  <a:lnTo>
                    <a:pt x="27" y="274"/>
                  </a:lnTo>
                  <a:lnTo>
                    <a:pt x="27" y="274"/>
                  </a:lnTo>
                  <a:lnTo>
                    <a:pt x="22" y="274"/>
                  </a:lnTo>
                  <a:lnTo>
                    <a:pt x="22" y="274"/>
                  </a:lnTo>
                  <a:lnTo>
                    <a:pt x="22" y="274"/>
                  </a:lnTo>
                  <a:lnTo>
                    <a:pt x="22" y="274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18" y="283"/>
                  </a:lnTo>
                  <a:lnTo>
                    <a:pt x="18" y="283"/>
                  </a:lnTo>
                  <a:lnTo>
                    <a:pt x="18" y="283"/>
                  </a:lnTo>
                  <a:lnTo>
                    <a:pt x="13" y="288"/>
                  </a:lnTo>
                  <a:lnTo>
                    <a:pt x="13" y="288"/>
                  </a:lnTo>
                  <a:lnTo>
                    <a:pt x="13" y="288"/>
                  </a:lnTo>
                  <a:lnTo>
                    <a:pt x="13" y="288"/>
                  </a:lnTo>
                  <a:lnTo>
                    <a:pt x="13" y="288"/>
                  </a:lnTo>
                  <a:lnTo>
                    <a:pt x="13" y="288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7"/>
                  </a:lnTo>
                  <a:lnTo>
                    <a:pt x="13" y="297"/>
                  </a:lnTo>
                  <a:lnTo>
                    <a:pt x="13" y="297"/>
                  </a:lnTo>
                  <a:lnTo>
                    <a:pt x="9" y="297"/>
                  </a:lnTo>
                  <a:lnTo>
                    <a:pt x="9" y="301"/>
                  </a:lnTo>
                  <a:lnTo>
                    <a:pt x="9" y="301"/>
                  </a:lnTo>
                  <a:lnTo>
                    <a:pt x="9" y="301"/>
                  </a:lnTo>
                  <a:lnTo>
                    <a:pt x="9" y="301"/>
                  </a:lnTo>
                  <a:lnTo>
                    <a:pt x="9" y="305"/>
                  </a:lnTo>
                  <a:lnTo>
                    <a:pt x="9" y="305"/>
                  </a:lnTo>
                  <a:lnTo>
                    <a:pt x="9" y="305"/>
                  </a:lnTo>
                  <a:lnTo>
                    <a:pt x="9" y="305"/>
                  </a:lnTo>
                  <a:lnTo>
                    <a:pt x="4" y="305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0" y="319"/>
                  </a:lnTo>
                  <a:lnTo>
                    <a:pt x="0" y="319"/>
                  </a:lnTo>
                  <a:lnTo>
                    <a:pt x="0" y="323"/>
                  </a:lnTo>
                  <a:lnTo>
                    <a:pt x="0" y="327"/>
                  </a:lnTo>
                  <a:lnTo>
                    <a:pt x="0" y="327"/>
                  </a:lnTo>
                  <a:lnTo>
                    <a:pt x="0" y="327"/>
                  </a:lnTo>
                  <a:lnTo>
                    <a:pt x="0" y="327"/>
                  </a:lnTo>
                  <a:lnTo>
                    <a:pt x="0" y="327"/>
                  </a:lnTo>
                  <a:lnTo>
                    <a:pt x="4" y="327"/>
                  </a:lnTo>
                  <a:lnTo>
                    <a:pt x="4" y="327"/>
                  </a:lnTo>
                  <a:lnTo>
                    <a:pt x="9" y="327"/>
                  </a:lnTo>
                  <a:lnTo>
                    <a:pt x="4" y="332"/>
                  </a:lnTo>
                  <a:lnTo>
                    <a:pt x="4" y="332"/>
                  </a:lnTo>
                  <a:lnTo>
                    <a:pt x="9" y="332"/>
                  </a:lnTo>
                  <a:lnTo>
                    <a:pt x="9" y="332"/>
                  </a:lnTo>
                  <a:lnTo>
                    <a:pt x="9" y="332"/>
                  </a:lnTo>
                  <a:lnTo>
                    <a:pt x="9" y="332"/>
                  </a:lnTo>
                  <a:lnTo>
                    <a:pt x="9" y="332"/>
                  </a:lnTo>
                  <a:lnTo>
                    <a:pt x="9" y="336"/>
                  </a:lnTo>
                  <a:lnTo>
                    <a:pt x="9" y="336"/>
                  </a:lnTo>
                  <a:lnTo>
                    <a:pt x="13" y="341"/>
                  </a:lnTo>
                  <a:lnTo>
                    <a:pt x="13" y="341"/>
                  </a:lnTo>
                  <a:lnTo>
                    <a:pt x="13" y="341"/>
                  </a:lnTo>
                  <a:lnTo>
                    <a:pt x="13" y="341"/>
                  </a:lnTo>
                  <a:lnTo>
                    <a:pt x="13" y="341"/>
                  </a:lnTo>
                  <a:lnTo>
                    <a:pt x="13" y="341"/>
                  </a:lnTo>
                  <a:lnTo>
                    <a:pt x="13" y="341"/>
                  </a:lnTo>
                  <a:lnTo>
                    <a:pt x="13" y="341"/>
                  </a:lnTo>
                  <a:lnTo>
                    <a:pt x="13" y="341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22" y="345"/>
                  </a:lnTo>
                  <a:lnTo>
                    <a:pt x="22" y="345"/>
                  </a:lnTo>
                  <a:lnTo>
                    <a:pt x="22" y="350"/>
                  </a:lnTo>
                  <a:lnTo>
                    <a:pt x="22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5" y="354"/>
                  </a:lnTo>
                  <a:lnTo>
                    <a:pt x="35" y="354"/>
                  </a:lnTo>
                  <a:lnTo>
                    <a:pt x="35" y="354"/>
                  </a:lnTo>
                  <a:lnTo>
                    <a:pt x="40" y="354"/>
                  </a:lnTo>
                  <a:lnTo>
                    <a:pt x="40" y="358"/>
                  </a:lnTo>
                  <a:lnTo>
                    <a:pt x="40" y="358"/>
                  </a:lnTo>
                  <a:lnTo>
                    <a:pt x="35" y="358"/>
                  </a:lnTo>
                  <a:lnTo>
                    <a:pt x="35" y="358"/>
                  </a:lnTo>
                  <a:lnTo>
                    <a:pt x="35" y="363"/>
                  </a:lnTo>
                  <a:lnTo>
                    <a:pt x="35" y="363"/>
                  </a:lnTo>
                  <a:lnTo>
                    <a:pt x="40" y="363"/>
                  </a:lnTo>
                  <a:lnTo>
                    <a:pt x="40" y="363"/>
                  </a:lnTo>
                  <a:lnTo>
                    <a:pt x="40" y="363"/>
                  </a:lnTo>
                  <a:lnTo>
                    <a:pt x="40" y="363"/>
                  </a:lnTo>
                  <a:lnTo>
                    <a:pt x="40" y="358"/>
                  </a:lnTo>
                  <a:lnTo>
                    <a:pt x="40" y="358"/>
                  </a:lnTo>
                  <a:lnTo>
                    <a:pt x="44" y="358"/>
                  </a:lnTo>
                  <a:lnTo>
                    <a:pt x="44" y="358"/>
                  </a:lnTo>
                  <a:lnTo>
                    <a:pt x="44" y="358"/>
                  </a:lnTo>
                  <a:lnTo>
                    <a:pt x="44" y="358"/>
                  </a:lnTo>
                  <a:lnTo>
                    <a:pt x="44" y="358"/>
                  </a:lnTo>
                  <a:lnTo>
                    <a:pt x="44" y="358"/>
                  </a:lnTo>
                  <a:lnTo>
                    <a:pt x="49" y="358"/>
                  </a:lnTo>
                  <a:lnTo>
                    <a:pt x="49" y="358"/>
                  </a:lnTo>
                  <a:lnTo>
                    <a:pt x="49" y="354"/>
                  </a:lnTo>
                  <a:lnTo>
                    <a:pt x="53" y="354"/>
                  </a:lnTo>
                  <a:lnTo>
                    <a:pt x="53" y="350"/>
                  </a:lnTo>
                  <a:lnTo>
                    <a:pt x="53" y="350"/>
                  </a:lnTo>
                  <a:lnTo>
                    <a:pt x="57" y="354"/>
                  </a:lnTo>
                  <a:lnTo>
                    <a:pt x="57" y="354"/>
                  </a:lnTo>
                  <a:lnTo>
                    <a:pt x="62" y="358"/>
                  </a:lnTo>
                  <a:lnTo>
                    <a:pt x="62" y="358"/>
                  </a:lnTo>
                  <a:lnTo>
                    <a:pt x="66" y="358"/>
                  </a:lnTo>
                  <a:lnTo>
                    <a:pt x="66" y="358"/>
                  </a:lnTo>
                  <a:lnTo>
                    <a:pt x="66" y="358"/>
                  </a:lnTo>
                  <a:lnTo>
                    <a:pt x="66" y="358"/>
                  </a:lnTo>
                  <a:lnTo>
                    <a:pt x="66" y="358"/>
                  </a:lnTo>
                  <a:lnTo>
                    <a:pt x="66" y="358"/>
                  </a:lnTo>
                  <a:lnTo>
                    <a:pt x="66" y="358"/>
                  </a:lnTo>
                  <a:lnTo>
                    <a:pt x="66" y="358"/>
                  </a:lnTo>
                  <a:lnTo>
                    <a:pt x="66" y="358"/>
                  </a:lnTo>
                  <a:lnTo>
                    <a:pt x="71" y="363"/>
                  </a:lnTo>
                  <a:lnTo>
                    <a:pt x="71" y="363"/>
                  </a:lnTo>
                  <a:lnTo>
                    <a:pt x="71" y="363"/>
                  </a:lnTo>
                  <a:lnTo>
                    <a:pt x="71" y="363"/>
                  </a:lnTo>
                  <a:lnTo>
                    <a:pt x="71" y="363"/>
                  </a:lnTo>
                  <a:lnTo>
                    <a:pt x="71" y="358"/>
                  </a:lnTo>
                  <a:lnTo>
                    <a:pt x="71" y="358"/>
                  </a:lnTo>
                  <a:lnTo>
                    <a:pt x="71" y="358"/>
                  </a:lnTo>
                  <a:lnTo>
                    <a:pt x="71" y="358"/>
                  </a:lnTo>
                  <a:lnTo>
                    <a:pt x="75" y="358"/>
                  </a:lnTo>
                  <a:lnTo>
                    <a:pt x="75" y="358"/>
                  </a:lnTo>
                  <a:lnTo>
                    <a:pt x="80" y="358"/>
                  </a:lnTo>
                  <a:lnTo>
                    <a:pt x="80" y="358"/>
                  </a:lnTo>
                  <a:lnTo>
                    <a:pt x="84" y="358"/>
                  </a:lnTo>
                  <a:lnTo>
                    <a:pt x="88" y="358"/>
                  </a:lnTo>
                  <a:lnTo>
                    <a:pt x="88" y="363"/>
                  </a:lnTo>
                  <a:lnTo>
                    <a:pt x="88" y="363"/>
                  </a:lnTo>
                  <a:lnTo>
                    <a:pt x="88" y="363"/>
                  </a:lnTo>
                  <a:lnTo>
                    <a:pt x="93" y="363"/>
                  </a:lnTo>
                  <a:lnTo>
                    <a:pt x="97" y="363"/>
                  </a:lnTo>
                  <a:lnTo>
                    <a:pt x="97" y="363"/>
                  </a:lnTo>
                  <a:lnTo>
                    <a:pt x="97" y="363"/>
                  </a:lnTo>
                  <a:lnTo>
                    <a:pt x="102" y="363"/>
                  </a:lnTo>
                  <a:lnTo>
                    <a:pt x="102" y="363"/>
                  </a:lnTo>
                  <a:lnTo>
                    <a:pt x="106" y="367"/>
                  </a:lnTo>
                  <a:lnTo>
                    <a:pt x="106" y="367"/>
                  </a:lnTo>
                  <a:lnTo>
                    <a:pt x="106" y="367"/>
                  </a:lnTo>
                  <a:lnTo>
                    <a:pt x="111" y="367"/>
                  </a:lnTo>
                  <a:lnTo>
                    <a:pt x="111" y="367"/>
                  </a:lnTo>
                  <a:lnTo>
                    <a:pt x="115" y="367"/>
                  </a:lnTo>
                  <a:lnTo>
                    <a:pt x="115" y="367"/>
                  </a:lnTo>
                  <a:lnTo>
                    <a:pt x="119" y="363"/>
                  </a:lnTo>
                  <a:lnTo>
                    <a:pt x="119" y="363"/>
                  </a:lnTo>
                  <a:lnTo>
                    <a:pt x="119" y="363"/>
                  </a:lnTo>
                  <a:lnTo>
                    <a:pt x="124" y="363"/>
                  </a:lnTo>
                  <a:lnTo>
                    <a:pt x="128" y="363"/>
                  </a:lnTo>
                  <a:lnTo>
                    <a:pt x="128" y="363"/>
                  </a:lnTo>
                  <a:lnTo>
                    <a:pt x="128" y="363"/>
                  </a:lnTo>
                  <a:lnTo>
                    <a:pt x="128" y="367"/>
                  </a:lnTo>
                  <a:lnTo>
                    <a:pt x="133" y="367"/>
                  </a:lnTo>
                  <a:lnTo>
                    <a:pt x="133" y="367"/>
                  </a:lnTo>
                  <a:lnTo>
                    <a:pt x="133" y="367"/>
                  </a:lnTo>
                  <a:lnTo>
                    <a:pt x="133" y="372"/>
                  </a:lnTo>
                  <a:lnTo>
                    <a:pt x="133" y="372"/>
                  </a:lnTo>
                  <a:lnTo>
                    <a:pt x="133" y="372"/>
                  </a:lnTo>
                  <a:lnTo>
                    <a:pt x="137" y="372"/>
                  </a:lnTo>
                  <a:lnTo>
                    <a:pt x="142" y="376"/>
                  </a:lnTo>
                  <a:lnTo>
                    <a:pt x="142" y="376"/>
                  </a:lnTo>
                  <a:lnTo>
                    <a:pt x="142" y="376"/>
                  </a:lnTo>
                  <a:lnTo>
                    <a:pt x="142" y="381"/>
                  </a:lnTo>
                  <a:lnTo>
                    <a:pt x="146" y="381"/>
                  </a:lnTo>
                  <a:lnTo>
                    <a:pt x="146" y="381"/>
                  </a:lnTo>
                  <a:lnTo>
                    <a:pt x="146" y="381"/>
                  </a:lnTo>
                  <a:lnTo>
                    <a:pt x="146" y="381"/>
                  </a:lnTo>
                  <a:lnTo>
                    <a:pt x="150" y="381"/>
                  </a:lnTo>
                  <a:lnTo>
                    <a:pt x="155" y="381"/>
                  </a:lnTo>
                  <a:lnTo>
                    <a:pt x="155" y="381"/>
                  </a:lnTo>
                  <a:lnTo>
                    <a:pt x="155" y="381"/>
                  </a:lnTo>
                  <a:lnTo>
                    <a:pt x="159" y="376"/>
                  </a:lnTo>
                  <a:lnTo>
                    <a:pt x="164" y="367"/>
                  </a:lnTo>
                  <a:lnTo>
                    <a:pt x="164" y="367"/>
                  </a:lnTo>
                  <a:lnTo>
                    <a:pt x="190" y="363"/>
                  </a:lnTo>
                  <a:lnTo>
                    <a:pt x="195" y="363"/>
                  </a:lnTo>
                  <a:lnTo>
                    <a:pt x="195" y="363"/>
                  </a:lnTo>
                  <a:lnTo>
                    <a:pt x="199" y="363"/>
                  </a:lnTo>
                  <a:lnTo>
                    <a:pt x="199" y="363"/>
                  </a:lnTo>
                  <a:lnTo>
                    <a:pt x="204" y="363"/>
                  </a:lnTo>
                  <a:lnTo>
                    <a:pt x="204" y="363"/>
                  </a:lnTo>
                  <a:lnTo>
                    <a:pt x="208" y="363"/>
                  </a:lnTo>
                  <a:lnTo>
                    <a:pt x="208" y="363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7" y="354"/>
                  </a:lnTo>
                  <a:lnTo>
                    <a:pt x="217" y="354"/>
                  </a:lnTo>
                  <a:lnTo>
                    <a:pt x="217" y="354"/>
                  </a:lnTo>
                  <a:lnTo>
                    <a:pt x="217" y="354"/>
                  </a:lnTo>
                  <a:lnTo>
                    <a:pt x="217" y="350"/>
                  </a:lnTo>
                  <a:lnTo>
                    <a:pt x="221" y="345"/>
                  </a:lnTo>
                  <a:lnTo>
                    <a:pt x="217" y="345"/>
                  </a:lnTo>
                  <a:lnTo>
                    <a:pt x="221" y="341"/>
                  </a:lnTo>
                  <a:lnTo>
                    <a:pt x="221" y="341"/>
                  </a:lnTo>
                  <a:lnTo>
                    <a:pt x="221" y="341"/>
                  </a:lnTo>
                  <a:lnTo>
                    <a:pt x="221" y="341"/>
                  </a:lnTo>
                  <a:lnTo>
                    <a:pt x="221" y="341"/>
                  </a:lnTo>
                  <a:lnTo>
                    <a:pt x="226" y="341"/>
                  </a:lnTo>
                  <a:lnTo>
                    <a:pt x="226" y="341"/>
                  </a:lnTo>
                  <a:lnTo>
                    <a:pt x="226" y="341"/>
                  </a:lnTo>
                  <a:lnTo>
                    <a:pt x="235" y="341"/>
                  </a:lnTo>
                  <a:lnTo>
                    <a:pt x="235" y="341"/>
                  </a:lnTo>
                  <a:lnTo>
                    <a:pt x="235" y="336"/>
                  </a:lnTo>
                  <a:lnTo>
                    <a:pt x="235" y="336"/>
                  </a:lnTo>
                  <a:lnTo>
                    <a:pt x="239" y="336"/>
                  </a:lnTo>
                  <a:lnTo>
                    <a:pt x="239" y="336"/>
                  </a:lnTo>
                  <a:lnTo>
                    <a:pt x="239" y="332"/>
                  </a:lnTo>
                  <a:lnTo>
                    <a:pt x="239" y="332"/>
                  </a:lnTo>
                  <a:lnTo>
                    <a:pt x="239" y="332"/>
                  </a:lnTo>
                  <a:lnTo>
                    <a:pt x="239" y="336"/>
                  </a:lnTo>
                  <a:lnTo>
                    <a:pt x="243" y="336"/>
                  </a:lnTo>
                  <a:lnTo>
                    <a:pt x="243" y="336"/>
                  </a:lnTo>
                  <a:lnTo>
                    <a:pt x="243" y="336"/>
                  </a:lnTo>
                  <a:lnTo>
                    <a:pt x="243" y="336"/>
                  </a:lnTo>
                  <a:lnTo>
                    <a:pt x="243" y="336"/>
                  </a:lnTo>
                  <a:lnTo>
                    <a:pt x="243" y="336"/>
                  </a:lnTo>
                  <a:lnTo>
                    <a:pt x="243" y="332"/>
                  </a:lnTo>
                  <a:lnTo>
                    <a:pt x="243" y="332"/>
                  </a:lnTo>
                  <a:lnTo>
                    <a:pt x="243" y="332"/>
                  </a:lnTo>
                  <a:lnTo>
                    <a:pt x="243" y="332"/>
                  </a:lnTo>
                  <a:lnTo>
                    <a:pt x="243" y="327"/>
                  </a:lnTo>
                  <a:lnTo>
                    <a:pt x="243" y="327"/>
                  </a:lnTo>
                  <a:lnTo>
                    <a:pt x="248" y="332"/>
                  </a:lnTo>
                  <a:lnTo>
                    <a:pt x="248" y="332"/>
                  </a:lnTo>
                  <a:lnTo>
                    <a:pt x="248" y="327"/>
                  </a:lnTo>
                  <a:lnTo>
                    <a:pt x="248" y="327"/>
                  </a:lnTo>
                  <a:lnTo>
                    <a:pt x="248" y="327"/>
                  </a:lnTo>
                  <a:lnTo>
                    <a:pt x="248" y="327"/>
                  </a:lnTo>
                  <a:lnTo>
                    <a:pt x="248" y="327"/>
                  </a:lnTo>
                  <a:lnTo>
                    <a:pt x="252" y="332"/>
                  </a:lnTo>
                  <a:lnTo>
                    <a:pt x="252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27"/>
                  </a:lnTo>
                  <a:lnTo>
                    <a:pt x="257" y="327"/>
                  </a:lnTo>
                  <a:lnTo>
                    <a:pt x="257" y="327"/>
                  </a:lnTo>
                  <a:lnTo>
                    <a:pt x="257" y="327"/>
                  </a:lnTo>
                  <a:lnTo>
                    <a:pt x="257" y="327"/>
                  </a:lnTo>
                  <a:lnTo>
                    <a:pt x="261" y="327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70" y="332"/>
                  </a:lnTo>
                  <a:lnTo>
                    <a:pt x="270" y="327"/>
                  </a:lnTo>
                  <a:lnTo>
                    <a:pt x="274" y="327"/>
                  </a:lnTo>
                  <a:lnTo>
                    <a:pt x="274" y="323"/>
                  </a:lnTo>
                  <a:lnTo>
                    <a:pt x="274" y="323"/>
                  </a:lnTo>
                  <a:lnTo>
                    <a:pt x="279" y="327"/>
                  </a:lnTo>
                  <a:lnTo>
                    <a:pt x="279" y="327"/>
                  </a:lnTo>
                  <a:lnTo>
                    <a:pt x="279" y="327"/>
                  </a:lnTo>
                  <a:lnTo>
                    <a:pt x="283" y="323"/>
                  </a:lnTo>
                  <a:lnTo>
                    <a:pt x="283" y="323"/>
                  </a:lnTo>
                  <a:lnTo>
                    <a:pt x="283" y="323"/>
                  </a:lnTo>
                  <a:lnTo>
                    <a:pt x="288" y="323"/>
                  </a:lnTo>
                  <a:lnTo>
                    <a:pt x="288" y="323"/>
                  </a:lnTo>
                  <a:lnTo>
                    <a:pt x="288" y="323"/>
                  </a:lnTo>
                  <a:lnTo>
                    <a:pt x="288" y="323"/>
                  </a:lnTo>
                  <a:lnTo>
                    <a:pt x="288" y="323"/>
                  </a:lnTo>
                  <a:lnTo>
                    <a:pt x="297" y="323"/>
                  </a:lnTo>
                  <a:lnTo>
                    <a:pt x="297" y="323"/>
                  </a:lnTo>
                  <a:lnTo>
                    <a:pt x="301" y="327"/>
                  </a:lnTo>
                  <a:lnTo>
                    <a:pt x="301" y="327"/>
                  </a:lnTo>
                  <a:lnTo>
                    <a:pt x="301" y="327"/>
                  </a:lnTo>
                  <a:lnTo>
                    <a:pt x="305" y="332"/>
                  </a:lnTo>
                  <a:lnTo>
                    <a:pt x="305" y="332"/>
                  </a:lnTo>
                  <a:lnTo>
                    <a:pt x="305" y="332"/>
                  </a:lnTo>
                  <a:lnTo>
                    <a:pt x="305" y="332"/>
                  </a:lnTo>
                  <a:lnTo>
                    <a:pt x="310" y="332"/>
                  </a:lnTo>
                  <a:lnTo>
                    <a:pt x="310" y="332"/>
                  </a:lnTo>
                  <a:lnTo>
                    <a:pt x="314" y="336"/>
                  </a:lnTo>
                  <a:lnTo>
                    <a:pt x="314" y="336"/>
                  </a:lnTo>
                  <a:lnTo>
                    <a:pt x="314" y="336"/>
                  </a:lnTo>
                  <a:lnTo>
                    <a:pt x="314" y="341"/>
                  </a:lnTo>
                  <a:lnTo>
                    <a:pt x="314" y="341"/>
                  </a:lnTo>
                  <a:lnTo>
                    <a:pt x="314" y="341"/>
                  </a:lnTo>
                  <a:lnTo>
                    <a:pt x="314" y="341"/>
                  </a:lnTo>
                  <a:lnTo>
                    <a:pt x="319" y="341"/>
                  </a:lnTo>
                  <a:lnTo>
                    <a:pt x="319" y="341"/>
                  </a:lnTo>
                  <a:lnTo>
                    <a:pt x="319" y="341"/>
                  </a:lnTo>
                  <a:lnTo>
                    <a:pt x="319" y="341"/>
                  </a:lnTo>
                  <a:lnTo>
                    <a:pt x="319" y="341"/>
                  </a:lnTo>
                  <a:lnTo>
                    <a:pt x="319" y="341"/>
                  </a:lnTo>
                  <a:lnTo>
                    <a:pt x="323" y="341"/>
                  </a:lnTo>
                  <a:lnTo>
                    <a:pt x="323" y="341"/>
                  </a:lnTo>
                  <a:lnTo>
                    <a:pt x="323" y="341"/>
                  </a:lnTo>
                  <a:lnTo>
                    <a:pt x="323" y="341"/>
                  </a:lnTo>
                  <a:lnTo>
                    <a:pt x="327" y="341"/>
                  </a:lnTo>
                  <a:lnTo>
                    <a:pt x="327" y="341"/>
                  </a:lnTo>
                  <a:lnTo>
                    <a:pt x="327" y="341"/>
                  </a:lnTo>
                  <a:lnTo>
                    <a:pt x="327" y="341"/>
                  </a:lnTo>
                  <a:lnTo>
                    <a:pt x="327" y="345"/>
                  </a:lnTo>
                  <a:lnTo>
                    <a:pt x="327" y="345"/>
                  </a:lnTo>
                  <a:lnTo>
                    <a:pt x="327" y="345"/>
                  </a:lnTo>
                  <a:lnTo>
                    <a:pt x="327" y="345"/>
                  </a:lnTo>
                  <a:lnTo>
                    <a:pt x="327" y="350"/>
                  </a:lnTo>
                  <a:lnTo>
                    <a:pt x="327" y="350"/>
                  </a:lnTo>
                  <a:lnTo>
                    <a:pt x="327" y="350"/>
                  </a:lnTo>
                  <a:lnTo>
                    <a:pt x="327" y="350"/>
                  </a:lnTo>
                  <a:lnTo>
                    <a:pt x="327" y="350"/>
                  </a:lnTo>
                  <a:lnTo>
                    <a:pt x="327" y="345"/>
                  </a:lnTo>
                  <a:lnTo>
                    <a:pt x="327" y="345"/>
                  </a:lnTo>
                  <a:lnTo>
                    <a:pt x="332" y="345"/>
                  </a:lnTo>
                  <a:lnTo>
                    <a:pt x="332" y="345"/>
                  </a:lnTo>
                  <a:lnTo>
                    <a:pt x="332" y="350"/>
                  </a:lnTo>
                  <a:lnTo>
                    <a:pt x="332" y="350"/>
                  </a:lnTo>
                  <a:lnTo>
                    <a:pt x="332" y="350"/>
                  </a:lnTo>
                  <a:lnTo>
                    <a:pt x="332" y="354"/>
                  </a:lnTo>
                  <a:lnTo>
                    <a:pt x="332" y="354"/>
                  </a:lnTo>
                  <a:lnTo>
                    <a:pt x="336" y="354"/>
                  </a:lnTo>
                  <a:lnTo>
                    <a:pt x="336" y="354"/>
                  </a:lnTo>
                  <a:lnTo>
                    <a:pt x="336" y="354"/>
                  </a:lnTo>
                  <a:lnTo>
                    <a:pt x="336" y="354"/>
                  </a:lnTo>
                  <a:lnTo>
                    <a:pt x="336" y="350"/>
                  </a:lnTo>
                  <a:lnTo>
                    <a:pt x="336" y="350"/>
                  </a:lnTo>
                  <a:lnTo>
                    <a:pt x="336" y="350"/>
                  </a:lnTo>
                  <a:lnTo>
                    <a:pt x="336" y="345"/>
                  </a:lnTo>
                  <a:lnTo>
                    <a:pt x="341" y="345"/>
                  </a:lnTo>
                  <a:lnTo>
                    <a:pt x="345" y="350"/>
                  </a:lnTo>
                  <a:lnTo>
                    <a:pt x="350" y="350"/>
                  </a:lnTo>
                  <a:lnTo>
                    <a:pt x="350" y="350"/>
                  </a:lnTo>
                  <a:lnTo>
                    <a:pt x="350" y="350"/>
                  </a:lnTo>
                  <a:lnTo>
                    <a:pt x="350" y="350"/>
                  </a:lnTo>
                  <a:lnTo>
                    <a:pt x="350" y="350"/>
                  </a:lnTo>
                  <a:lnTo>
                    <a:pt x="350" y="354"/>
                  </a:lnTo>
                  <a:lnTo>
                    <a:pt x="350" y="354"/>
                  </a:lnTo>
                  <a:lnTo>
                    <a:pt x="354" y="354"/>
                  </a:lnTo>
                  <a:lnTo>
                    <a:pt x="354" y="358"/>
                  </a:lnTo>
                  <a:lnTo>
                    <a:pt x="354" y="358"/>
                  </a:lnTo>
                  <a:lnTo>
                    <a:pt x="354" y="358"/>
                  </a:lnTo>
                  <a:lnTo>
                    <a:pt x="354" y="358"/>
                  </a:lnTo>
                  <a:lnTo>
                    <a:pt x="354" y="358"/>
                  </a:lnTo>
                  <a:lnTo>
                    <a:pt x="354" y="363"/>
                  </a:lnTo>
                  <a:lnTo>
                    <a:pt x="358" y="363"/>
                  </a:lnTo>
                  <a:lnTo>
                    <a:pt x="358" y="363"/>
                  </a:lnTo>
                  <a:lnTo>
                    <a:pt x="358" y="363"/>
                  </a:lnTo>
                  <a:lnTo>
                    <a:pt x="358" y="363"/>
                  </a:lnTo>
                  <a:lnTo>
                    <a:pt x="363" y="363"/>
                  </a:lnTo>
                  <a:lnTo>
                    <a:pt x="363" y="363"/>
                  </a:lnTo>
                  <a:lnTo>
                    <a:pt x="367" y="363"/>
                  </a:lnTo>
                  <a:lnTo>
                    <a:pt x="367" y="363"/>
                  </a:lnTo>
                  <a:lnTo>
                    <a:pt x="367" y="363"/>
                  </a:lnTo>
                  <a:lnTo>
                    <a:pt x="367" y="363"/>
                  </a:lnTo>
                  <a:lnTo>
                    <a:pt x="367" y="363"/>
                  </a:lnTo>
                  <a:lnTo>
                    <a:pt x="372" y="363"/>
                  </a:lnTo>
                  <a:lnTo>
                    <a:pt x="372" y="367"/>
                  </a:lnTo>
                  <a:lnTo>
                    <a:pt x="372" y="367"/>
                  </a:lnTo>
                  <a:lnTo>
                    <a:pt x="372" y="367"/>
                  </a:lnTo>
                  <a:lnTo>
                    <a:pt x="372" y="367"/>
                  </a:lnTo>
                  <a:lnTo>
                    <a:pt x="376" y="367"/>
                  </a:lnTo>
                  <a:lnTo>
                    <a:pt x="372" y="372"/>
                  </a:lnTo>
                  <a:lnTo>
                    <a:pt x="372" y="372"/>
                  </a:lnTo>
                  <a:lnTo>
                    <a:pt x="372" y="372"/>
                  </a:lnTo>
                  <a:lnTo>
                    <a:pt x="372" y="372"/>
                  </a:lnTo>
                  <a:lnTo>
                    <a:pt x="372" y="376"/>
                  </a:lnTo>
                  <a:lnTo>
                    <a:pt x="372" y="376"/>
                  </a:lnTo>
                  <a:lnTo>
                    <a:pt x="372" y="376"/>
                  </a:lnTo>
                  <a:lnTo>
                    <a:pt x="372" y="376"/>
                  </a:lnTo>
                  <a:lnTo>
                    <a:pt x="372" y="376"/>
                  </a:lnTo>
                  <a:lnTo>
                    <a:pt x="376" y="381"/>
                  </a:lnTo>
                  <a:lnTo>
                    <a:pt x="372" y="381"/>
                  </a:lnTo>
                  <a:lnTo>
                    <a:pt x="372" y="381"/>
                  </a:lnTo>
                  <a:lnTo>
                    <a:pt x="372" y="385"/>
                  </a:lnTo>
                  <a:lnTo>
                    <a:pt x="372" y="385"/>
                  </a:lnTo>
                  <a:lnTo>
                    <a:pt x="372" y="389"/>
                  </a:lnTo>
                  <a:lnTo>
                    <a:pt x="372" y="394"/>
                  </a:lnTo>
                  <a:lnTo>
                    <a:pt x="367" y="394"/>
                  </a:lnTo>
                  <a:lnTo>
                    <a:pt x="367" y="394"/>
                  </a:lnTo>
                  <a:lnTo>
                    <a:pt x="367" y="398"/>
                  </a:lnTo>
                  <a:lnTo>
                    <a:pt x="367" y="398"/>
                  </a:lnTo>
                  <a:lnTo>
                    <a:pt x="367" y="398"/>
                  </a:lnTo>
                  <a:lnTo>
                    <a:pt x="367" y="398"/>
                  </a:lnTo>
                  <a:lnTo>
                    <a:pt x="367" y="398"/>
                  </a:lnTo>
                  <a:lnTo>
                    <a:pt x="372" y="403"/>
                  </a:lnTo>
                  <a:lnTo>
                    <a:pt x="372" y="403"/>
                  </a:lnTo>
                  <a:lnTo>
                    <a:pt x="372" y="403"/>
                  </a:lnTo>
                  <a:lnTo>
                    <a:pt x="372" y="403"/>
                  </a:lnTo>
                  <a:lnTo>
                    <a:pt x="372" y="403"/>
                  </a:lnTo>
                  <a:lnTo>
                    <a:pt x="372" y="403"/>
                  </a:lnTo>
                  <a:lnTo>
                    <a:pt x="372" y="403"/>
                  </a:lnTo>
                  <a:lnTo>
                    <a:pt x="376" y="403"/>
                  </a:lnTo>
                  <a:lnTo>
                    <a:pt x="376" y="407"/>
                  </a:lnTo>
                  <a:lnTo>
                    <a:pt x="376" y="407"/>
                  </a:lnTo>
                  <a:lnTo>
                    <a:pt x="376" y="407"/>
                  </a:lnTo>
                  <a:lnTo>
                    <a:pt x="376" y="407"/>
                  </a:lnTo>
                  <a:lnTo>
                    <a:pt x="376" y="407"/>
                  </a:lnTo>
                  <a:lnTo>
                    <a:pt x="381" y="407"/>
                  </a:lnTo>
                  <a:lnTo>
                    <a:pt x="381" y="407"/>
                  </a:lnTo>
                  <a:lnTo>
                    <a:pt x="381" y="412"/>
                  </a:lnTo>
                  <a:lnTo>
                    <a:pt x="381" y="412"/>
                  </a:lnTo>
                  <a:lnTo>
                    <a:pt x="381" y="412"/>
                  </a:lnTo>
                  <a:lnTo>
                    <a:pt x="381" y="412"/>
                  </a:lnTo>
                  <a:lnTo>
                    <a:pt x="381" y="412"/>
                  </a:lnTo>
                  <a:lnTo>
                    <a:pt x="381" y="416"/>
                  </a:lnTo>
                  <a:lnTo>
                    <a:pt x="381" y="416"/>
                  </a:lnTo>
                  <a:lnTo>
                    <a:pt x="385" y="416"/>
                  </a:lnTo>
                  <a:lnTo>
                    <a:pt x="385" y="416"/>
                  </a:lnTo>
                  <a:lnTo>
                    <a:pt x="385" y="416"/>
                  </a:lnTo>
                  <a:lnTo>
                    <a:pt x="385" y="416"/>
                  </a:lnTo>
                  <a:lnTo>
                    <a:pt x="385" y="412"/>
                  </a:lnTo>
                  <a:lnTo>
                    <a:pt x="385" y="412"/>
                  </a:lnTo>
                  <a:lnTo>
                    <a:pt x="385" y="412"/>
                  </a:lnTo>
                  <a:lnTo>
                    <a:pt x="389" y="412"/>
                  </a:lnTo>
                  <a:lnTo>
                    <a:pt x="389" y="412"/>
                  </a:lnTo>
                  <a:lnTo>
                    <a:pt x="389" y="412"/>
                  </a:lnTo>
                  <a:lnTo>
                    <a:pt x="389" y="412"/>
                  </a:lnTo>
                  <a:lnTo>
                    <a:pt x="389" y="412"/>
                  </a:lnTo>
                  <a:lnTo>
                    <a:pt x="394" y="416"/>
                  </a:lnTo>
                  <a:lnTo>
                    <a:pt x="394" y="416"/>
                  </a:lnTo>
                  <a:lnTo>
                    <a:pt x="389" y="420"/>
                  </a:lnTo>
                  <a:lnTo>
                    <a:pt x="389" y="420"/>
                  </a:lnTo>
                  <a:lnTo>
                    <a:pt x="389" y="420"/>
                  </a:lnTo>
                  <a:lnTo>
                    <a:pt x="389" y="425"/>
                  </a:lnTo>
                  <a:lnTo>
                    <a:pt x="389" y="425"/>
                  </a:lnTo>
                  <a:lnTo>
                    <a:pt x="389" y="429"/>
                  </a:lnTo>
                  <a:lnTo>
                    <a:pt x="389" y="429"/>
                  </a:lnTo>
                  <a:lnTo>
                    <a:pt x="385" y="429"/>
                  </a:lnTo>
                  <a:lnTo>
                    <a:pt x="385" y="429"/>
                  </a:lnTo>
                  <a:lnTo>
                    <a:pt x="385" y="429"/>
                  </a:lnTo>
                  <a:lnTo>
                    <a:pt x="385" y="429"/>
                  </a:lnTo>
                  <a:lnTo>
                    <a:pt x="385" y="429"/>
                  </a:lnTo>
                  <a:lnTo>
                    <a:pt x="389" y="434"/>
                  </a:lnTo>
                  <a:lnTo>
                    <a:pt x="389" y="434"/>
                  </a:lnTo>
                  <a:lnTo>
                    <a:pt x="389" y="434"/>
                  </a:lnTo>
                  <a:lnTo>
                    <a:pt x="389" y="429"/>
                  </a:lnTo>
                  <a:lnTo>
                    <a:pt x="389" y="429"/>
                  </a:lnTo>
                  <a:lnTo>
                    <a:pt x="389" y="429"/>
                  </a:lnTo>
                  <a:lnTo>
                    <a:pt x="394" y="429"/>
                  </a:lnTo>
                  <a:lnTo>
                    <a:pt x="394" y="429"/>
                  </a:lnTo>
                  <a:lnTo>
                    <a:pt x="394" y="434"/>
                  </a:lnTo>
                  <a:lnTo>
                    <a:pt x="394" y="434"/>
                  </a:lnTo>
                  <a:lnTo>
                    <a:pt x="394" y="434"/>
                  </a:lnTo>
                  <a:lnTo>
                    <a:pt x="394" y="434"/>
                  </a:lnTo>
                  <a:lnTo>
                    <a:pt x="394" y="438"/>
                  </a:lnTo>
                  <a:lnTo>
                    <a:pt x="389" y="438"/>
                  </a:lnTo>
                  <a:lnTo>
                    <a:pt x="389" y="438"/>
                  </a:lnTo>
                  <a:lnTo>
                    <a:pt x="389" y="438"/>
                  </a:lnTo>
                  <a:lnTo>
                    <a:pt x="389" y="443"/>
                  </a:lnTo>
                  <a:lnTo>
                    <a:pt x="389" y="443"/>
                  </a:lnTo>
                  <a:lnTo>
                    <a:pt x="394" y="443"/>
                  </a:lnTo>
                  <a:lnTo>
                    <a:pt x="394" y="443"/>
                  </a:lnTo>
                  <a:lnTo>
                    <a:pt x="394" y="443"/>
                  </a:lnTo>
                  <a:lnTo>
                    <a:pt x="394" y="443"/>
                  </a:lnTo>
                  <a:lnTo>
                    <a:pt x="394" y="443"/>
                  </a:lnTo>
                  <a:lnTo>
                    <a:pt x="394" y="443"/>
                  </a:lnTo>
                  <a:lnTo>
                    <a:pt x="398" y="443"/>
                  </a:lnTo>
                  <a:lnTo>
                    <a:pt x="398" y="443"/>
                  </a:lnTo>
                  <a:lnTo>
                    <a:pt x="398" y="447"/>
                  </a:lnTo>
                  <a:lnTo>
                    <a:pt x="398" y="447"/>
                  </a:lnTo>
                  <a:lnTo>
                    <a:pt x="403" y="447"/>
                  </a:lnTo>
                  <a:lnTo>
                    <a:pt x="403" y="447"/>
                  </a:lnTo>
                  <a:lnTo>
                    <a:pt x="403" y="447"/>
                  </a:lnTo>
                  <a:lnTo>
                    <a:pt x="407" y="447"/>
                  </a:lnTo>
                  <a:lnTo>
                    <a:pt x="407" y="451"/>
                  </a:lnTo>
                  <a:lnTo>
                    <a:pt x="407" y="451"/>
                  </a:lnTo>
                  <a:lnTo>
                    <a:pt x="407" y="451"/>
                  </a:lnTo>
                  <a:lnTo>
                    <a:pt x="407" y="451"/>
                  </a:lnTo>
                  <a:lnTo>
                    <a:pt x="407" y="451"/>
                  </a:lnTo>
                  <a:lnTo>
                    <a:pt x="412" y="451"/>
                  </a:lnTo>
                  <a:lnTo>
                    <a:pt x="412" y="451"/>
                  </a:lnTo>
                  <a:lnTo>
                    <a:pt x="412" y="451"/>
                  </a:lnTo>
                  <a:lnTo>
                    <a:pt x="412" y="451"/>
                  </a:lnTo>
                  <a:lnTo>
                    <a:pt x="412" y="456"/>
                  </a:lnTo>
                  <a:lnTo>
                    <a:pt x="412" y="456"/>
                  </a:lnTo>
                  <a:lnTo>
                    <a:pt x="412" y="456"/>
                  </a:lnTo>
                  <a:lnTo>
                    <a:pt x="412" y="456"/>
                  </a:lnTo>
                  <a:lnTo>
                    <a:pt x="412" y="456"/>
                  </a:lnTo>
                  <a:lnTo>
                    <a:pt x="412" y="460"/>
                  </a:lnTo>
                  <a:lnTo>
                    <a:pt x="412" y="465"/>
                  </a:lnTo>
                  <a:lnTo>
                    <a:pt x="412" y="465"/>
                  </a:lnTo>
                  <a:lnTo>
                    <a:pt x="412" y="465"/>
                  </a:lnTo>
                  <a:lnTo>
                    <a:pt x="412" y="465"/>
                  </a:lnTo>
                  <a:lnTo>
                    <a:pt x="412" y="465"/>
                  </a:lnTo>
                  <a:lnTo>
                    <a:pt x="412" y="469"/>
                  </a:lnTo>
                  <a:lnTo>
                    <a:pt x="412" y="469"/>
                  </a:lnTo>
                  <a:lnTo>
                    <a:pt x="412" y="469"/>
                  </a:lnTo>
                  <a:lnTo>
                    <a:pt x="412" y="469"/>
                  </a:lnTo>
                  <a:lnTo>
                    <a:pt x="412" y="469"/>
                  </a:lnTo>
                  <a:lnTo>
                    <a:pt x="407" y="474"/>
                  </a:lnTo>
                  <a:lnTo>
                    <a:pt x="407" y="474"/>
                  </a:lnTo>
                  <a:lnTo>
                    <a:pt x="412" y="474"/>
                  </a:lnTo>
                  <a:lnTo>
                    <a:pt x="412" y="474"/>
                  </a:lnTo>
                  <a:lnTo>
                    <a:pt x="412" y="474"/>
                  </a:lnTo>
                  <a:lnTo>
                    <a:pt x="412" y="478"/>
                  </a:lnTo>
                  <a:lnTo>
                    <a:pt x="412" y="478"/>
                  </a:lnTo>
                  <a:lnTo>
                    <a:pt x="412" y="478"/>
                  </a:lnTo>
                  <a:lnTo>
                    <a:pt x="412" y="474"/>
                  </a:lnTo>
                  <a:lnTo>
                    <a:pt x="416" y="474"/>
                  </a:lnTo>
                  <a:lnTo>
                    <a:pt x="416" y="478"/>
                  </a:lnTo>
                  <a:lnTo>
                    <a:pt x="416" y="478"/>
                  </a:lnTo>
                  <a:lnTo>
                    <a:pt x="416" y="478"/>
                  </a:lnTo>
                  <a:lnTo>
                    <a:pt x="416" y="478"/>
                  </a:lnTo>
                  <a:lnTo>
                    <a:pt x="416" y="482"/>
                  </a:lnTo>
                  <a:lnTo>
                    <a:pt x="420" y="482"/>
                  </a:lnTo>
                  <a:lnTo>
                    <a:pt x="420" y="482"/>
                  </a:lnTo>
                  <a:lnTo>
                    <a:pt x="420" y="482"/>
                  </a:lnTo>
                  <a:lnTo>
                    <a:pt x="420" y="482"/>
                  </a:lnTo>
                  <a:lnTo>
                    <a:pt x="420" y="482"/>
                  </a:lnTo>
                  <a:lnTo>
                    <a:pt x="420" y="482"/>
                  </a:lnTo>
                  <a:lnTo>
                    <a:pt x="420" y="487"/>
                  </a:lnTo>
                  <a:lnTo>
                    <a:pt x="416" y="487"/>
                  </a:lnTo>
                  <a:lnTo>
                    <a:pt x="412" y="487"/>
                  </a:lnTo>
                  <a:lnTo>
                    <a:pt x="407" y="487"/>
                  </a:lnTo>
                  <a:lnTo>
                    <a:pt x="407" y="487"/>
                  </a:lnTo>
                  <a:lnTo>
                    <a:pt x="407" y="487"/>
                  </a:lnTo>
                  <a:lnTo>
                    <a:pt x="407" y="487"/>
                  </a:lnTo>
                  <a:lnTo>
                    <a:pt x="403" y="487"/>
                  </a:lnTo>
                  <a:lnTo>
                    <a:pt x="403" y="487"/>
                  </a:lnTo>
                  <a:lnTo>
                    <a:pt x="403" y="482"/>
                  </a:lnTo>
                  <a:lnTo>
                    <a:pt x="403" y="482"/>
                  </a:lnTo>
                  <a:lnTo>
                    <a:pt x="403" y="482"/>
                  </a:lnTo>
                  <a:lnTo>
                    <a:pt x="403" y="482"/>
                  </a:lnTo>
                  <a:lnTo>
                    <a:pt x="398" y="478"/>
                  </a:lnTo>
                  <a:lnTo>
                    <a:pt x="398" y="478"/>
                  </a:lnTo>
                  <a:lnTo>
                    <a:pt x="398" y="478"/>
                  </a:lnTo>
                  <a:lnTo>
                    <a:pt x="398" y="482"/>
                  </a:lnTo>
                  <a:lnTo>
                    <a:pt x="398" y="482"/>
                  </a:lnTo>
                  <a:lnTo>
                    <a:pt x="394" y="482"/>
                  </a:lnTo>
                  <a:lnTo>
                    <a:pt x="394" y="482"/>
                  </a:lnTo>
                  <a:lnTo>
                    <a:pt x="394" y="482"/>
                  </a:lnTo>
                  <a:lnTo>
                    <a:pt x="394" y="487"/>
                  </a:lnTo>
                  <a:lnTo>
                    <a:pt x="394" y="487"/>
                  </a:lnTo>
                  <a:lnTo>
                    <a:pt x="394" y="487"/>
                  </a:lnTo>
                  <a:lnTo>
                    <a:pt x="394" y="487"/>
                  </a:lnTo>
                  <a:lnTo>
                    <a:pt x="394" y="487"/>
                  </a:lnTo>
                  <a:lnTo>
                    <a:pt x="389" y="482"/>
                  </a:lnTo>
                  <a:lnTo>
                    <a:pt x="389" y="482"/>
                  </a:lnTo>
                  <a:lnTo>
                    <a:pt x="389" y="482"/>
                  </a:lnTo>
                  <a:lnTo>
                    <a:pt x="389" y="482"/>
                  </a:lnTo>
                  <a:lnTo>
                    <a:pt x="389" y="482"/>
                  </a:lnTo>
                  <a:lnTo>
                    <a:pt x="385" y="482"/>
                  </a:lnTo>
                  <a:lnTo>
                    <a:pt x="385" y="482"/>
                  </a:lnTo>
                  <a:lnTo>
                    <a:pt x="385" y="478"/>
                  </a:lnTo>
                  <a:lnTo>
                    <a:pt x="385" y="478"/>
                  </a:lnTo>
                  <a:lnTo>
                    <a:pt x="385" y="478"/>
                  </a:lnTo>
                  <a:lnTo>
                    <a:pt x="385" y="478"/>
                  </a:lnTo>
                  <a:lnTo>
                    <a:pt x="389" y="478"/>
                  </a:lnTo>
                  <a:lnTo>
                    <a:pt x="385" y="478"/>
                  </a:lnTo>
                  <a:lnTo>
                    <a:pt x="385" y="478"/>
                  </a:lnTo>
                  <a:lnTo>
                    <a:pt x="385" y="478"/>
                  </a:lnTo>
                  <a:lnTo>
                    <a:pt x="385" y="478"/>
                  </a:lnTo>
                  <a:lnTo>
                    <a:pt x="385" y="478"/>
                  </a:lnTo>
                  <a:lnTo>
                    <a:pt x="385" y="478"/>
                  </a:lnTo>
                  <a:lnTo>
                    <a:pt x="381" y="482"/>
                  </a:lnTo>
                  <a:lnTo>
                    <a:pt x="381" y="482"/>
                  </a:lnTo>
                  <a:lnTo>
                    <a:pt x="381" y="482"/>
                  </a:lnTo>
                  <a:lnTo>
                    <a:pt x="381" y="478"/>
                  </a:lnTo>
                  <a:lnTo>
                    <a:pt x="376" y="478"/>
                  </a:lnTo>
                  <a:lnTo>
                    <a:pt x="376" y="478"/>
                  </a:lnTo>
                  <a:lnTo>
                    <a:pt x="376" y="478"/>
                  </a:lnTo>
                  <a:lnTo>
                    <a:pt x="376" y="482"/>
                  </a:lnTo>
                  <a:lnTo>
                    <a:pt x="376" y="482"/>
                  </a:lnTo>
                  <a:lnTo>
                    <a:pt x="376" y="482"/>
                  </a:lnTo>
                  <a:lnTo>
                    <a:pt x="376" y="482"/>
                  </a:lnTo>
                  <a:lnTo>
                    <a:pt x="376" y="482"/>
                  </a:lnTo>
                  <a:lnTo>
                    <a:pt x="376" y="482"/>
                  </a:lnTo>
                  <a:lnTo>
                    <a:pt x="372" y="487"/>
                  </a:lnTo>
                  <a:lnTo>
                    <a:pt x="372" y="487"/>
                  </a:lnTo>
                  <a:lnTo>
                    <a:pt x="372" y="487"/>
                  </a:lnTo>
                  <a:lnTo>
                    <a:pt x="372" y="487"/>
                  </a:lnTo>
                  <a:lnTo>
                    <a:pt x="372" y="482"/>
                  </a:lnTo>
                  <a:lnTo>
                    <a:pt x="372" y="482"/>
                  </a:lnTo>
                  <a:lnTo>
                    <a:pt x="372" y="482"/>
                  </a:lnTo>
                  <a:lnTo>
                    <a:pt x="372" y="482"/>
                  </a:lnTo>
                  <a:lnTo>
                    <a:pt x="372" y="474"/>
                  </a:lnTo>
                  <a:lnTo>
                    <a:pt x="372" y="474"/>
                  </a:lnTo>
                  <a:lnTo>
                    <a:pt x="372" y="474"/>
                  </a:lnTo>
                  <a:lnTo>
                    <a:pt x="372" y="474"/>
                  </a:lnTo>
                  <a:lnTo>
                    <a:pt x="372" y="474"/>
                  </a:lnTo>
                  <a:lnTo>
                    <a:pt x="367" y="474"/>
                  </a:lnTo>
                  <a:lnTo>
                    <a:pt x="363" y="474"/>
                  </a:lnTo>
                  <a:lnTo>
                    <a:pt x="363" y="478"/>
                  </a:lnTo>
                  <a:lnTo>
                    <a:pt x="358" y="478"/>
                  </a:lnTo>
                  <a:lnTo>
                    <a:pt x="358" y="482"/>
                  </a:lnTo>
                  <a:lnTo>
                    <a:pt x="358" y="482"/>
                  </a:lnTo>
                  <a:lnTo>
                    <a:pt x="358" y="487"/>
                  </a:lnTo>
                  <a:lnTo>
                    <a:pt x="358" y="491"/>
                  </a:lnTo>
                  <a:lnTo>
                    <a:pt x="358" y="491"/>
                  </a:lnTo>
                  <a:lnTo>
                    <a:pt x="358" y="491"/>
                  </a:lnTo>
                  <a:lnTo>
                    <a:pt x="358" y="491"/>
                  </a:lnTo>
                  <a:lnTo>
                    <a:pt x="358" y="496"/>
                  </a:lnTo>
                  <a:lnTo>
                    <a:pt x="358" y="496"/>
                  </a:lnTo>
                  <a:lnTo>
                    <a:pt x="358" y="496"/>
                  </a:lnTo>
                  <a:lnTo>
                    <a:pt x="363" y="496"/>
                  </a:lnTo>
                  <a:lnTo>
                    <a:pt x="363" y="500"/>
                  </a:lnTo>
                  <a:lnTo>
                    <a:pt x="363" y="500"/>
                  </a:lnTo>
                  <a:lnTo>
                    <a:pt x="363" y="500"/>
                  </a:lnTo>
                  <a:lnTo>
                    <a:pt x="358" y="505"/>
                  </a:lnTo>
                  <a:lnTo>
                    <a:pt x="358" y="505"/>
                  </a:lnTo>
                  <a:lnTo>
                    <a:pt x="358" y="505"/>
                  </a:lnTo>
                  <a:lnTo>
                    <a:pt x="358" y="509"/>
                  </a:lnTo>
                  <a:lnTo>
                    <a:pt x="358" y="513"/>
                  </a:lnTo>
                  <a:lnTo>
                    <a:pt x="358" y="513"/>
                  </a:lnTo>
                  <a:lnTo>
                    <a:pt x="358" y="513"/>
                  </a:lnTo>
                  <a:lnTo>
                    <a:pt x="350" y="518"/>
                  </a:lnTo>
                  <a:lnTo>
                    <a:pt x="350" y="518"/>
                  </a:lnTo>
                  <a:lnTo>
                    <a:pt x="345" y="518"/>
                  </a:lnTo>
                  <a:lnTo>
                    <a:pt x="345" y="518"/>
                  </a:lnTo>
                  <a:lnTo>
                    <a:pt x="350" y="522"/>
                  </a:lnTo>
                  <a:lnTo>
                    <a:pt x="350" y="522"/>
                  </a:lnTo>
                  <a:lnTo>
                    <a:pt x="350" y="527"/>
                  </a:lnTo>
                  <a:lnTo>
                    <a:pt x="350" y="527"/>
                  </a:lnTo>
                  <a:lnTo>
                    <a:pt x="345" y="527"/>
                  </a:lnTo>
                  <a:lnTo>
                    <a:pt x="345" y="527"/>
                  </a:lnTo>
                  <a:lnTo>
                    <a:pt x="345" y="527"/>
                  </a:lnTo>
                  <a:lnTo>
                    <a:pt x="345" y="527"/>
                  </a:lnTo>
                  <a:lnTo>
                    <a:pt x="345" y="527"/>
                  </a:lnTo>
                  <a:lnTo>
                    <a:pt x="345" y="527"/>
                  </a:lnTo>
                  <a:lnTo>
                    <a:pt x="345" y="531"/>
                  </a:lnTo>
                  <a:lnTo>
                    <a:pt x="345" y="531"/>
                  </a:lnTo>
                  <a:lnTo>
                    <a:pt x="341" y="531"/>
                  </a:lnTo>
                  <a:lnTo>
                    <a:pt x="341" y="531"/>
                  </a:lnTo>
                  <a:lnTo>
                    <a:pt x="336" y="531"/>
                  </a:lnTo>
                  <a:lnTo>
                    <a:pt x="336" y="536"/>
                  </a:lnTo>
                  <a:lnTo>
                    <a:pt x="341" y="536"/>
                  </a:lnTo>
                  <a:lnTo>
                    <a:pt x="336" y="536"/>
                  </a:lnTo>
                  <a:lnTo>
                    <a:pt x="336" y="536"/>
                  </a:lnTo>
                  <a:lnTo>
                    <a:pt x="336" y="536"/>
                  </a:lnTo>
                  <a:lnTo>
                    <a:pt x="336" y="536"/>
                  </a:lnTo>
                  <a:lnTo>
                    <a:pt x="336" y="540"/>
                  </a:lnTo>
                  <a:lnTo>
                    <a:pt x="332" y="540"/>
                  </a:lnTo>
                  <a:lnTo>
                    <a:pt x="336" y="540"/>
                  </a:lnTo>
                  <a:lnTo>
                    <a:pt x="336" y="540"/>
                  </a:lnTo>
                  <a:lnTo>
                    <a:pt x="336" y="540"/>
                  </a:lnTo>
                  <a:lnTo>
                    <a:pt x="336" y="540"/>
                  </a:lnTo>
                  <a:lnTo>
                    <a:pt x="336" y="544"/>
                  </a:lnTo>
                  <a:lnTo>
                    <a:pt x="336" y="544"/>
                  </a:lnTo>
                  <a:lnTo>
                    <a:pt x="336" y="544"/>
                  </a:lnTo>
                  <a:lnTo>
                    <a:pt x="336" y="544"/>
                  </a:lnTo>
                  <a:lnTo>
                    <a:pt x="336" y="544"/>
                  </a:lnTo>
                  <a:lnTo>
                    <a:pt x="336" y="544"/>
                  </a:lnTo>
                  <a:lnTo>
                    <a:pt x="336" y="549"/>
                  </a:lnTo>
                  <a:lnTo>
                    <a:pt x="336" y="549"/>
                  </a:lnTo>
                  <a:lnTo>
                    <a:pt x="336" y="549"/>
                  </a:lnTo>
                  <a:lnTo>
                    <a:pt x="336" y="549"/>
                  </a:lnTo>
                  <a:lnTo>
                    <a:pt x="336" y="549"/>
                  </a:lnTo>
                  <a:lnTo>
                    <a:pt x="336" y="549"/>
                  </a:lnTo>
                  <a:lnTo>
                    <a:pt x="332" y="549"/>
                  </a:lnTo>
                  <a:lnTo>
                    <a:pt x="327" y="549"/>
                  </a:lnTo>
                  <a:lnTo>
                    <a:pt x="323" y="549"/>
                  </a:lnTo>
                  <a:lnTo>
                    <a:pt x="319" y="553"/>
                  </a:lnTo>
                  <a:lnTo>
                    <a:pt x="319" y="553"/>
                  </a:lnTo>
                  <a:lnTo>
                    <a:pt x="319" y="553"/>
                  </a:lnTo>
                  <a:lnTo>
                    <a:pt x="319" y="553"/>
                  </a:lnTo>
                  <a:lnTo>
                    <a:pt x="319" y="553"/>
                  </a:lnTo>
                  <a:lnTo>
                    <a:pt x="319" y="553"/>
                  </a:lnTo>
                  <a:lnTo>
                    <a:pt x="319" y="553"/>
                  </a:lnTo>
                  <a:lnTo>
                    <a:pt x="323" y="553"/>
                  </a:lnTo>
                  <a:lnTo>
                    <a:pt x="323" y="558"/>
                  </a:lnTo>
                  <a:lnTo>
                    <a:pt x="323" y="558"/>
                  </a:lnTo>
                  <a:lnTo>
                    <a:pt x="323" y="558"/>
                  </a:lnTo>
                  <a:lnTo>
                    <a:pt x="323" y="562"/>
                  </a:lnTo>
                  <a:lnTo>
                    <a:pt x="327" y="567"/>
                  </a:lnTo>
                  <a:lnTo>
                    <a:pt x="327" y="567"/>
                  </a:lnTo>
                  <a:lnTo>
                    <a:pt x="327" y="567"/>
                  </a:lnTo>
                  <a:lnTo>
                    <a:pt x="332" y="567"/>
                  </a:lnTo>
                  <a:lnTo>
                    <a:pt x="336" y="567"/>
                  </a:lnTo>
                  <a:lnTo>
                    <a:pt x="341" y="571"/>
                  </a:lnTo>
                  <a:lnTo>
                    <a:pt x="345" y="571"/>
                  </a:lnTo>
                  <a:lnTo>
                    <a:pt x="350" y="571"/>
                  </a:lnTo>
                  <a:lnTo>
                    <a:pt x="350" y="571"/>
                  </a:lnTo>
                  <a:lnTo>
                    <a:pt x="350" y="571"/>
                  </a:lnTo>
                  <a:lnTo>
                    <a:pt x="350" y="571"/>
                  </a:lnTo>
                  <a:lnTo>
                    <a:pt x="350" y="571"/>
                  </a:lnTo>
                  <a:lnTo>
                    <a:pt x="350" y="571"/>
                  </a:lnTo>
                  <a:lnTo>
                    <a:pt x="350" y="567"/>
                  </a:lnTo>
                  <a:lnTo>
                    <a:pt x="350" y="567"/>
                  </a:lnTo>
                  <a:lnTo>
                    <a:pt x="350" y="567"/>
                  </a:lnTo>
                  <a:lnTo>
                    <a:pt x="350" y="567"/>
                  </a:lnTo>
                  <a:lnTo>
                    <a:pt x="350" y="567"/>
                  </a:lnTo>
                  <a:lnTo>
                    <a:pt x="350" y="567"/>
                  </a:lnTo>
                  <a:lnTo>
                    <a:pt x="354" y="562"/>
                  </a:lnTo>
                  <a:lnTo>
                    <a:pt x="354" y="567"/>
                  </a:lnTo>
                  <a:lnTo>
                    <a:pt x="354" y="567"/>
                  </a:lnTo>
                  <a:lnTo>
                    <a:pt x="354" y="567"/>
                  </a:lnTo>
                  <a:lnTo>
                    <a:pt x="354" y="567"/>
                  </a:lnTo>
                  <a:lnTo>
                    <a:pt x="358" y="567"/>
                  </a:lnTo>
                  <a:lnTo>
                    <a:pt x="358" y="567"/>
                  </a:lnTo>
                  <a:lnTo>
                    <a:pt x="358" y="567"/>
                  </a:lnTo>
                  <a:lnTo>
                    <a:pt x="358" y="567"/>
                  </a:lnTo>
                  <a:lnTo>
                    <a:pt x="358" y="567"/>
                  </a:lnTo>
                  <a:lnTo>
                    <a:pt x="358" y="567"/>
                  </a:lnTo>
                  <a:lnTo>
                    <a:pt x="358" y="562"/>
                  </a:lnTo>
                  <a:lnTo>
                    <a:pt x="358" y="562"/>
                  </a:lnTo>
                  <a:lnTo>
                    <a:pt x="363" y="562"/>
                  </a:lnTo>
                  <a:lnTo>
                    <a:pt x="363" y="562"/>
                  </a:lnTo>
                  <a:lnTo>
                    <a:pt x="367" y="562"/>
                  </a:lnTo>
                  <a:lnTo>
                    <a:pt x="367" y="562"/>
                  </a:lnTo>
                  <a:lnTo>
                    <a:pt x="367" y="562"/>
                  </a:lnTo>
                  <a:lnTo>
                    <a:pt x="367" y="558"/>
                  </a:lnTo>
                  <a:lnTo>
                    <a:pt x="367" y="558"/>
                  </a:lnTo>
                  <a:lnTo>
                    <a:pt x="372" y="558"/>
                  </a:lnTo>
                  <a:lnTo>
                    <a:pt x="372" y="558"/>
                  </a:lnTo>
                  <a:lnTo>
                    <a:pt x="372" y="558"/>
                  </a:lnTo>
                  <a:lnTo>
                    <a:pt x="372" y="558"/>
                  </a:lnTo>
                  <a:lnTo>
                    <a:pt x="372" y="558"/>
                  </a:lnTo>
                  <a:lnTo>
                    <a:pt x="372" y="558"/>
                  </a:lnTo>
                  <a:lnTo>
                    <a:pt x="376" y="558"/>
                  </a:lnTo>
                  <a:lnTo>
                    <a:pt x="376" y="558"/>
                  </a:lnTo>
                  <a:lnTo>
                    <a:pt x="376" y="558"/>
                  </a:lnTo>
                  <a:lnTo>
                    <a:pt x="376" y="558"/>
                  </a:lnTo>
                  <a:lnTo>
                    <a:pt x="376" y="558"/>
                  </a:lnTo>
                  <a:lnTo>
                    <a:pt x="376" y="558"/>
                  </a:lnTo>
                  <a:lnTo>
                    <a:pt x="376" y="558"/>
                  </a:lnTo>
                  <a:lnTo>
                    <a:pt x="381" y="553"/>
                  </a:lnTo>
                  <a:lnTo>
                    <a:pt x="381" y="553"/>
                  </a:lnTo>
                  <a:lnTo>
                    <a:pt x="381" y="558"/>
                  </a:lnTo>
                  <a:lnTo>
                    <a:pt x="381" y="558"/>
                  </a:lnTo>
                  <a:lnTo>
                    <a:pt x="385" y="558"/>
                  </a:lnTo>
                  <a:lnTo>
                    <a:pt x="389" y="558"/>
                  </a:lnTo>
                  <a:lnTo>
                    <a:pt x="394" y="562"/>
                  </a:lnTo>
                  <a:lnTo>
                    <a:pt x="394" y="562"/>
                  </a:lnTo>
                  <a:lnTo>
                    <a:pt x="394" y="562"/>
                  </a:lnTo>
                  <a:lnTo>
                    <a:pt x="398" y="567"/>
                  </a:lnTo>
                  <a:lnTo>
                    <a:pt x="398" y="567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403" y="567"/>
                  </a:lnTo>
                  <a:lnTo>
                    <a:pt x="403" y="567"/>
                  </a:lnTo>
                  <a:lnTo>
                    <a:pt x="403" y="567"/>
                  </a:lnTo>
                  <a:lnTo>
                    <a:pt x="403" y="567"/>
                  </a:lnTo>
                  <a:lnTo>
                    <a:pt x="403" y="567"/>
                  </a:lnTo>
                  <a:lnTo>
                    <a:pt x="403" y="562"/>
                  </a:lnTo>
                  <a:lnTo>
                    <a:pt x="403" y="558"/>
                  </a:lnTo>
                  <a:lnTo>
                    <a:pt x="403" y="558"/>
                  </a:lnTo>
                  <a:lnTo>
                    <a:pt x="398" y="558"/>
                  </a:lnTo>
                  <a:lnTo>
                    <a:pt x="403" y="558"/>
                  </a:lnTo>
                  <a:lnTo>
                    <a:pt x="403" y="558"/>
                  </a:lnTo>
                  <a:lnTo>
                    <a:pt x="403" y="553"/>
                  </a:lnTo>
                  <a:lnTo>
                    <a:pt x="403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8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4" y="553"/>
                  </a:lnTo>
                  <a:lnTo>
                    <a:pt x="398" y="553"/>
                  </a:lnTo>
                  <a:lnTo>
                    <a:pt x="394" y="553"/>
                  </a:lnTo>
                  <a:lnTo>
                    <a:pt x="394" y="553"/>
                  </a:lnTo>
                  <a:lnTo>
                    <a:pt x="394" y="553"/>
                  </a:lnTo>
                  <a:lnTo>
                    <a:pt x="394" y="553"/>
                  </a:lnTo>
                  <a:lnTo>
                    <a:pt x="394" y="553"/>
                  </a:lnTo>
                  <a:lnTo>
                    <a:pt x="394" y="553"/>
                  </a:lnTo>
                  <a:lnTo>
                    <a:pt x="394" y="553"/>
                  </a:lnTo>
                  <a:lnTo>
                    <a:pt x="394" y="553"/>
                  </a:lnTo>
                  <a:lnTo>
                    <a:pt x="394" y="549"/>
                  </a:lnTo>
                  <a:lnTo>
                    <a:pt x="394" y="549"/>
                  </a:lnTo>
                  <a:lnTo>
                    <a:pt x="394" y="549"/>
                  </a:lnTo>
                  <a:lnTo>
                    <a:pt x="398" y="549"/>
                  </a:lnTo>
                  <a:lnTo>
                    <a:pt x="398" y="544"/>
                  </a:lnTo>
                  <a:lnTo>
                    <a:pt x="398" y="544"/>
                  </a:lnTo>
                  <a:lnTo>
                    <a:pt x="398" y="549"/>
                  </a:lnTo>
                  <a:lnTo>
                    <a:pt x="398" y="549"/>
                  </a:lnTo>
                  <a:lnTo>
                    <a:pt x="394" y="549"/>
                  </a:lnTo>
                  <a:lnTo>
                    <a:pt x="394" y="549"/>
                  </a:lnTo>
                  <a:lnTo>
                    <a:pt x="394" y="549"/>
                  </a:lnTo>
                  <a:lnTo>
                    <a:pt x="394" y="549"/>
                  </a:lnTo>
                  <a:lnTo>
                    <a:pt x="394" y="544"/>
                  </a:lnTo>
                  <a:lnTo>
                    <a:pt x="394" y="540"/>
                  </a:lnTo>
                  <a:lnTo>
                    <a:pt x="394" y="536"/>
                  </a:lnTo>
                  <a:lnTo>
                    <a:pt x="394" y="536"/>
                  </a:lnTo>
                  <a:lnTo>
                    <a:pt x="394" y="536"/>
                  </a:lnTo>
                  <a:lnTo>
                    <a:pt x="394" y="536"/>
                  </a:lnTo>
                  <a:lnTo>
                    <a:pt x="394" y="536"/>
                  </a:lnTo>
                  <a:lnTo>
                    <a:pt x="394" y="531"/>
                  </a:lnTo>
                  <a:lnTo>
                    <a:pt x="394" y="531"/>
                  </a:lnTo>
                  <a:lnTo>
                    <a:pt x="394" y="531"/>
                  </a:lnTo>
                  <a:lnTo>
                    <a:pt x="394" y="531"/>
                  </a:lnTo>
                  <a:lnTo>
                    <a:pt x="394" y="531"/>
                  </a:lnTo>
                  <a:lnTo>
                    <a:pt x="394" y="527"/>
                  </a:lnTo>
                  <a:lnTo>
                    <a:pt x="394" y="527"/>
                  </a:lnTo>
                  <a:lnTo>
                    <a:pt x="394" y="527"/>
                  </a:lnTo>
                  <a:lnTo>
                    <a:pt x="394" y="527"/>
                  </a:lnTo>
                  <a:lnTo>
                    <a:pt x="394" y="527"/>
                  </a:lnTo>
                  <a:lnTo>
                    <a:pt x="394" y="527"/>
                  </a:lnTo>
                  <a:lnTo>
                    <a:pt x="394" y="527"/>
                  </a:lnTo>
                  <a:lnTo>
                    <a:pt x="398" y="527"/>
                  </a:lnTo>
                  <a:lnTo>
                    <a:pt x="398" y="527"/>
                  </a:lnTo>
                  <a:lnTo>
                    <a:pt x="398" y="527"/>
                  </a:lnTo>
                  <a:lnTo>
                    <a:pt x="398" y="531"/>
                  </a:lnTo>
                  <a:lnTo>
                    <a:pt x="398" y="531"/>
                  </a:lnTo>
                  <a:lnTo>
                    <a:pt x="398" y="531"/>
                  </a:lnTo>
                  <a:lnTo>
                    <a:pt x="398" y="531"/>
                  </a:lnTo>
                  <a:lnTo>
                    <a:pt x="398" y="531"/>
                  </a:lnTo>
                  <a:lnTo>
                    <a:pt x="398" y="536"/>
                  </a:lnTo>
                  <a:lnTo>
                    <a:pt x="398" y="536"/>
                  </a:lnTo>
                  <a:lnTo>
                    <a:pt x="398" y="536"/>
                  </a:lnTo>
                  <a:lnTo>
                    <a:pt x="398" y="540"/>
                  </a:lnTo>
                  <a:lnTo>
                    <a:pt x="398" y="540"/>
                  </a:lnTo>
                  <a:lnTo>
                    <a:pt x="398" y="544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7" y="540"/>
                  </a:lnTo>
                  <a:lnTo>
                    <a:pt x="407" y="540"/>
                  </a:lnTo>
                  <a:lnTo>
                    <a:pt x="407" y="540"/>
                  </a:lnTo>
                  <a:lnTo>
                    <a:pt x="407" y="540"/>
                  </a:lnTo>
                  <a:lnTo>
                    <a:pt x="407" y="536"/>
                  </a:lnTo>
                  <a:lnTo>
                    <a:pt x="407" y="536"/>
                  </a:lnTo>
                  <a:lnTo>
                    <a:pt x="403" y="536"/>
                  </a:lnTo>
                  <a:lnTo>
                    <a:pt x="403" y="536"/>
                  </a:lnTo>
                  <a:lnTo>
                    <a:pt x="403" y="536"/>
                  </a:lnTo>
                  <a:lnTo>
                    <a:pt x="403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12" y="531"/>
                  </a:lnTo>
                  <a:lnTo>
                    <a:pt x="412" y="536"/>
                  </a:lnTo>
                  <a:lnTo>
                    <a:pt x="412" y="536"/>
                  </a:lnTo>
                  <a:lnTo>
                    <a:pt x="412" y="531"/>
                  </a:lnTo>
                  <a:lnTo>
                    <a:pt x="412" y="531"/>
                  </a:lnTo>
                  <a:lnTo>
                    <a:pt x="412" y="531"/>
                  </a:lnTo>
                  <a:lnTo>
                    <a:pt x="412" y="531"/>
                  </a:lnTo>
                  <a:lnTo>
                    <a:pt x="412" y="527"/>
                  </a:lnTo>
                  <a:lnTo>
                    <a:pt x="412" y="527"/>
                  </a:lnTo>
                  <a:lnTo>
                    <a:pt x="412" y="527"/>
                  </a:lnTo>
                  <a:lnTo>
                    <a:pt x="412" y="527"/>
                  </a:lnTo>
                  <a:lnTo>
                    <a:pt x="412" y="527"/>
                  </a:lnTo>
                  <a:lnTo>
                    <a:pt x="412" y="531"/>
                  </a:lnTo>
                  <a:lnTo>
                    <a:pt x="412" y="531"/>
                  </a:lnTo>
                  <a:lnTo>
                    <a:pt x="412" y="531"/>
                  </a:lnTo>
                  <a:lnTo>
                    <a:pt x="412" y="531"/>
                  </a:lnTo>
                  <a:lnTo>
                    <a:pt x="412" y="527"/>
                  </a:lnTo>
                  <a:lnTo>
                    <a:pt x="412" y="527"/>
                  </a:lnTo>
                  <a:lnTo>
                    <a:pt x="412" y="527"/>
                  </a:lnTo>
                  <a:lnTo>
                    <a:pt x="416" y="527"/>
                  </a:lnTo>
                  <a:lnTo>
                    <a:pt x="416" y="527"/>
                  </a:lnTo>
                  <a:lnTo>
                    <a:pt x="416" y="527"/>
                  </a:lnTo>
                  <a:lnTo>
                    <a:pt x="416" y="527"/>
                  </a:lnTo>
                  <a:lnTo>
                    <a:pt x="420" y="527"/>
                  </a:lnTo>
                  <a:lnTo>
                    <a:pt x="420" y="527"/>
                  </a:lnTo>
                  <a:lnTo>
                    <a:pt x="420" y="527"/>
                  </a:lnTo>
                  <a:lnTo>
                    <a:pt x="420" y="527"/>
                  </a:lnTo>
                  <a:lnTo>
                    <a:pt x="420" y="527"/>
                  </a:lnTo>
                  <a:lnTo>
                    <a:pt x="420" y="527"/>
                  </a:lnTo>
                  <a:lnTo>
                    <a:pt x="420" y="527"/>
                  </a:lnTo>
                  <a:lnTo>
                    <a:pt x="420" y="527"/>
                  </a:lnTo>
                  <a:lnTo>
                    <a:pt x="420" y="522"/>
                  </a:lnTo>
                  <a:lnTo>
                    <a:pt x="420" y="522"/>
                  </a:lnTo>
                  <a:lnTo>
                    <a:pt x="420" y="522"/>
                  </a:lnTo>
                  <a:lnTo>
                    <a:pt x="420" y="522"/>
                  </a:lnTo>
                  <a:lnTo>
                    <a:pt x="420" y="522"/>
                  </a:lnTo>
                  <a:lnTo>
                    <a:pt x="420" y="527"/>
                  </a:lnTo>
                  <a:lnTo>
                    <a:pt x="420" y="527"/>
                  </a:lnTo>
                  <a:lnTo>
                    <a:pt x="425" y="522"/>
                  </a:lnTo>
                  <a:lnTo>
                    <a:pt x="429" y="522"/>
                  </a:lnTo>
                  <a:lnTo>
                    <a:pt x="434" y="513"/>
                  </a:lnTo>
                  <a:lnTo>
                    <a:pt x="438" y="509"/>
                  </a:lnTo>
                  <a:lnTo>
                    <a:pt x="443" y="505"/>
                  </a:lnTo>
                  <a:lnTo>
                    <a:pt x="443" y="505"/>
                  </a:lnTo>
                  <a:lnTo>
                    <a:pt x="443" y="505"/>
                  </a:lnTo>
                  <a:lnTo>
                    <a:pt x="443" y="500"/>
                  </a:lnTo>
                  <a:lnTo>
                    <a:pt x="443" y="500"/>
                  </a:lnTo>
                  <a:lnTo>
                    <a:pt x="447" y="500"/>
                  </a:lnTo>
                  <a:lnTo>
                    <a:pt x="447" y="496"/>
                  </a:lnTo>
                  <a:lnTo>
                    <a:pt x="451" y="491"/>
                  </a:lnTo>
                  <a:lnTo>
                    <a:pt x="451" y="491"/>
                  </a:lnTo>
                  <a:lnTo>
                    <a:pt x="451" y="491"/>
                  </a:lnTo>
                  <a:lnTo>
                    <a:pt x="451" y="487"/>
                  </a:lnTo>
                  <a:lnTo>
                    <a:pt x="447" y="487"/>
                  </a:lnTo>
                  <a:lnTo>
                    <a:pt x="447" y="487"/>
                  </a:lnTo>
                  <a:lnTo>
                    <a:pt x="447" y="487"/>
                  </a:lnTo>
                  <a:lnTo>
                    <a:pt x="451" y="487"/>
                  </a:lnTo>
                  <a:lnTo>
                    <a:pt x="451" y="487"/>
                  </a:lnTo>
                  <a:lnTo>
                    <a:pt x="456" y="482"/>
                  </a:lnTo>
                  <a:lnTo>
                    <a:pt x="456" y="482"/>
                  </a:lnTo>
                  <a:lnTo>
                    <a:pt x="456" y="482"/>
                  </a:lnTo>
                  <a:lnTo>
                    <a:pt x="456" y="482"/>
                  </a:lnTo>
                  <a:lnTo>
                    <a:pt x="456" y="478"/>
                  </a:lnTo>
                  <a:lnTo>
                    <a:pt x="456" y="478"/>
                  </a:lnTo>
                  <a:lnTo>
                    <a:pt x="456" y="478"/>
                  </a:lnTo>
                  <a:lnTo>
                    <a:pt x="456" y="478"/>
                  </a:lnTo>
                  <a:lnTo>
                    <a:pt x="456" y="478"/>
                  </a:lnTo>
                  <a:lnTo>
                    <a:pt x="456" y="478"/>
                  </a:lnTo>
                  <a:lnTo>
                    <a:pt x="456" y="478"/>
                  </a:lnTo>
                  <a:lnTo>
                    <a:pt x="456" y="474"/>
                  </a:lnTo>
                  <a:lnTo>
                    <a:pt x="456" y="474"/>
                  </a:lnTo>
                  <a:lnTo>
                    <a:pt x="456" y="474"/>
                  </a:lnTo>
                  <a:lnTo>
                    <a:pt x="456" y="474"/>
                  </a:lnTo>
                  <a:lnTo>
                    <a:pt x="456" y="469"/>
                  </a:lnTo>
                  <a:lnTo>
                    <a:pt x="456" y="469"/>
                  </a:lnTo>
                  <a:lnTo>
                    <a:pt x="460" y="474"/>
                  </a:lnTo>
                  <a:lnTo>
                    <a:pt x="460" y="469"/>
                  </a:lnTo>
                  <a:lnTo>
                    <a:pt x="465" y="469"/>
                  </a:lnTo>
                  <a:lnTo>
                    <a:pt x="465" y="469"/>
                  </a:lnTo>
                  <a:lnTo>
                    <a:pt x="465" y="469"/>
                  </a:lnTo>
                  <a:lnTo>
                    <a:pt x="465" y="469"/>
                  </a:lnTo>
                  <a:lnTo>
                    <a:pt x="465" y="469"/>
                  </a:lnTo>
                  <a:lnTo>
                    <a:pt x="465" y="469"/>
                  </a:lnTo>
                  <a:lnTo>
                    <a:pt x="469" y="469"/>
                  </a:lnTo>
                  <a:lnTo>
                    <a:pt x="469" y="465"/>
                  </a:lnTo>
                  <a:lnTo>
                    <a:pt x="474" y="465"/>
                  </a:lnTo>
                  <a:lnTo>
                    <a:pt x="474" y="465"/>
                  </a:lnTo>
                  <a:lnTo>
                    <a:pt x="478" y="465"/>
                  </a:lnTo>
                  <a:lnTo>
                    <a:pt x="482" y="465"/>
                  </a:lnTo>
                  <a:lnTo>
                    <a:pt x="482" y="469"/>
                  </a:lnTo>
                  <a:lnTo>
                    <a:pt x="482" y="465"/>
                  </a:lnTo>
                  <a:lnTo>
                    <a:pt x="482" y="469"/>
                  </a:lnTo>
                  <a:lnTo>
                    <a:pt x="482" y="469"/>
                  </a:lnTo>
                  <a:lnTo>
                    <a:pt x="487" y="469"/>
                  </a:lnTo>
                  <a:lnTo>
                    <a:pt x="487" y="469"/>
                  </a:lnTo>
                  <a:lnTo>
                    <a:pt x="487" y="465"/>
                  </a:lnTo>
                  <a:lnTo>
                    <a:pt x="487" y="465"/>
                  </a:lnTo>
                  <a:lnTo>
                    <a:pt x="491" y="465"/>
                  </a:lnTo>
                  <a:lnTo>
                    <a:pt x="491" y="460"/>
                  </a:lnTo>
                  <a:lnTo>
                    <a:pt x="491" y="460"/>
                  </a:lnTo>
                  <a:lnTo>
                    <a:pt x="491" y="460"/>
                  </a:lnTo>
                  <a:lnTo>
                    <a:pt x="491" y="460"/>
                  </a:lnTo>
                  <a:lnTo>
                    <a:pt x="496" y="460"/>
                  </a:lnTo>
                  <a:lnTo>
                    <a:pt x="491" y="456"/>
                  </a:lnTo>
                  <a:lnTo>
                    <a:pt x="491" y="456"/>
                  </a:lnTo>
                  <a:lnTo>
                    <a:pt x="491" y="456"/>
                  </a:lnTo>
                  <a:lnTo>
                    <a:pt x="491" y="456"/>
                  </a:lnTo>
                  <a:lnTo>
                    <a:pt x="491" y="456"/>
                  </a:lnTo>
                  <a:lnTo>
                    <a:pt x="491" y="456"/>
                  </a:lnTo>
                  <a:lnTo>
                    <a:pt x="491" y="451"/>
                  </a:lnTo>
                  <a:lnTo>
                    <a:pt x="491" y="451"/>
                  </a:lnTo>
                  <a:lnTo>
                    <a:pt x="491" y="456"/>
                  </a:lnTo>
                  <a:lnTo>
                    <a:pt x="491" y="456"/>
                  </a:lnTo>
                  <a:lnTo>
                    <a:pt x="491" y="456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6" y="451"/>
                  </a:lnTo>
                  <a:lnTo>
                    <a:pt x="496" y="451"/>
                  </a:lnTo>
                  <a:lnTo>
                    <a:pt x="500" y="451"/>
                  </a:lnTo>
                  <a:lnTo>
                    <a:pt x="500" y="451"/>
                  </a:lnTo>
                  <a:lnTo>
                    <a:pt x="500" y="451"/>
                  </a:lnTo>
                  <a:lnTo>
                    <a:pt x="500" y="451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1" y="465"/>
                  </a:lnTo>
                  <a:lnTo>
                    <a:pt x="491" y="465"/>
                  </a:lnTo>
                  <a:lnTo>
                    <a:pt x="491" y="465"/>
                  </a:lnTo>
                  <a:lnTo>
                    <a:pt x="491" y="465"/>
                  </a:lnTo>
                  <a:lnTo>
                    <a:pt x="496" y="465"/>
                  </a:lnTo>
                  <a:lnTo>
                    <a:pt x="496" y="465"/>
                  </a:lnTo>
                  <a:lnTo>
                    <a:pt x="496" y="465"/>
                  </a:lnTo>
                  <a:lnTo>
                    <a:pt x="496" y="465"/>
                  </a:lnTo>
                  <a:lnTo>
                    <a:pt x="496" y="465"/>
                  </a:lnTo>
                  <a:lnTo>
                    <a:pt x="496" y="465"/>
                  </a:lnTo>
                  <a:lnTo>
                    <a:pt x="500" y="465"/>
                  </a:lnTo>
                  <a:lnTo>
                    <a:pt x="500" y="465"/>
                  </a:lnTo>
                  <a:lnTo>
                    <a:pt x="500" y="465"/>
                  </a:lnTo>
                  <a:lnTo>
                    <a:pt x="505" y="465"/>
                  </a:lnTo>
                  <a:lnTo>
                    <a:pt x="509" y="465"/>
                  </a:lnTo>
                  <a:lnTo>
                    <a:pt x="509" y="465"/>
                  </a:lnTo>
                  <a:lnTo>
                    <a:pt x="513" y="465"/>
                  </a:lnTo>
                  <a:lnTo>
                    <a:pt x="513" y="465"/>
                  </a:lnTo>
                  <a:lnTo>
                    <a:pt x="513" y="465"/>
                  </a:lnTo>
                  <a:lnTo>
                    <a:pt x="513" y="465"/>
                  </a:lnTo>
                  <a:lnTo>
                    <a:pt x="513" y="465"/>
                  </a:lnTo>
                  <a:lnTo>
                    <a:pt x="513" y="460"/>
                  </a:lnTo>
                  <a:lnTo>
                    <a:pt x="513" y="460"/>
                  </a:lnTo>
                  <a:lnTo>
                    <a:pt x="513" y="460"/>
                  </a:lnTo>
                  <a:lnTo>
                    <a:pt x="513" y="456"/>
                  </a:lnTo>
                  <a:lnTo>
                    <a:pt x="513" y="456"/>
                  </a:lnTo>
                  <a:lnTo>
                    <a:pt x="513" y="456"/>
                  </a:lnTo>
                  <a:lnTo>
                    <a:pt x="513" y="451"/>
                  </a:lnTo>
                  <a:lnTo>
                    <a:pt x="513" y="451"/>
                  </a:lnTo>
                  <a:lnTo>
                    <a:pt x="513" y="447"/>
                  </a:lnTo>
                  <a:lnTo>
                    <a:pt x="518" y="447"/>
                  </a:lnTo>
                  <a:lnTo>
                    <a:pt x="518" y="447"/>
                  </a:lnTo>
                  <a:lnTo>
                    <a:pt x="518" y="447"/>
                  </a:lnTo>
                  <a:lnTo>
                    <a:pt x="518" y="443"/>
                  </a:lnTo>
                  <a:lnTo>
                    <a:pt x="518" y="443"/>
                  </a:lnTo>
                  <a:lnTo>
                    <a:pt x="518" y="443"/>
                  </a:lnTo>
                  <a:lnTo>
                    <a:pt x="518" y="443"/>
                  </a:lnTo>
                  <a:lnTo>
                    <a:pt x="513" y="443"/>
                  </a:lnTo>
                  <a:lnTo>
                    <a:pt x="513" y="443"/>
                  </a:lnTo>
                  <a:lnTo>
                    <a:pt x="513" y="438"/>
                  </a:lnTo>
                  <a:lnTo>
                    <a:pt x="513" y="438"/>
                  </a:lnTo>
                  <a:lnTo>
                    <a:pt x="518" y="438"/>
                  </a:lnTo>
                  <a:lnTo>
                    <a:pt x="513" y="438"/>
                  </a:lnTo>
                  <a:lnTo>
                    <a:pt x="513" y="438"/>
                  </a:lnTo>
                  <a:lnTo>
                    <a:pt x="509" y="438"/>
                  </a:lnTo>
                  <a:lnTo>
                    <a:pt x="513" y="434"/>
                  </a:lnTo>
                  <a:lnTo>
                    <a:pt x="513" y="434"/>
                  </a:lnTo>
                  <a:lnTo>
                    <a:pt x="513" y="429"/>
                  </a:lnTo>
                  <a:lnTo>
                    <a:pt x="513" y="429"/>
                  </a:lnTo>
                  <a:lnTo>
                    <a:pt x="513" y="429"/>
                  </a:lnTo>
                  <a:lnTo>
                    <a:pt x="513" y="429"/>
                  </a:lnTo>
                  <a:lnTo>
                    <a:pt x="513" y="429"/>
                  </a:lnTo>
                  <a:lnTo>
                    <a:pt x="513" y="429"/>
                  </a:lnTo>
                  <a:lnTo>
                    <a:pt x="509" y="429"/>
                  </a:lnTo>
                  <a:lnTo>
                    <a:pt x="509" y="429"/>
                  </a:lnTo>
                  <a:lnTo>
                    <a:pt x="509" y="425"/>
                  </a:lnTo>
                  <a:lnTo>
                    <a:pt x="509" y="420"/>
                  </a:lnTo>
                  <a:lnTo>
                    <a:pt x="509" y="420"/>
                  </a:lnTo>
                  <a:lnTo>
                    <a:pt x="505" y="420"/>
                  </a:lnTo>
                  <a:lnTo>
                    <a:pt x="505" y="420"/>
                  </a:lnTo>
                  <a:lnTo>
                    <a:pt x="505" y="420"/>
                  </a:lnTo>
                  <a:lnTo>
                    <a:pt x="505" y="420"/>
                  </a:lnTo>
                  <a:lnTo>
                    <a:pt x="505" y="416"/>
                  </a:lnTo>
                  <a:lnTo>
                    <a:pt x="505" y="416"/>
                  </a:lnTo>
                  <a:lnTo>
                    <a:pt x="505" y="416"/>
                  </a:lnTo>
                  <a:lnTo>
                    <a:pt x="505" y="416"/>
                  </a:lnTo>
                  <a:lnTo>
                    <a:pt x="505" y="420"/>
                  </a:lnTo>
                  <a:lnTo>
                    <a:pt x="509" y="420"/>
                  </a:lnTo>
                  <a:lnTo>
                    <a:pt x="509" y="420"/>
                  </a:lnTo>
                  <a:lnTo>
                    <a:pt x="509" y="425"/>
                  </a:lnTo>
                  <a:lnTo>
                    <a:pt x="509" y="425"/>
                  </a:lnTo>
                  <a:lnTo>
                    <a:pt x="509" y="425"/>
                  </a:lnTo>
                  <a:lnTo>
                    <a:pt x="509" y="425"/>
                  </a:lnTo>
                  <a:lnTo>
                    <a:pt x="513" y="425"/>
                  </a:lnTo>
                  <a:lnTo>
                    <a:pt x="513" y="429"/>
                  </a:lnTo>
                  <a:lnTo>
                    <a:pt x="513" y="429"/>
                  </a:lnTo>
                  <a:lnTo>
                    <a:pt x="513" y="429"/>
                  </a:lnTo>
                  <a:lnTo>
                    <a:pt x="513" y="429"/>
                  </a:lnTo>
                  <a:lnTo>
                    <a:pt x="513" y="434"/>
                  </a:lnTo>
                  <a:lnTo>
                    <a:pt x="513" y="434"/>
                  </a:lnTo>
                  <a:lnTo>
                    <a:pt x="513" y="434"/>
                  </a:lnTo>
                  <a:lnTo>
                    <a:pt x="513" y="438"/>
                  </a:lnTo>
                  <a:lnTo>
                    <a:pt x="518" y="434"/>
                  </a:lnTo>
                  <a:lnTo>
                    <a:pt x="518" y="434"/>
                  </a:lnTo>
                  <a:lnTo>
                    <a:pt x="518" y="438"/>
                  </a:lnTo>
                  <a:lnTo>
                    <a:pt x="518" y="438"/>
                  </a:lnTo>
                  <a:lnTo>
                    <a:pt x="518" y="438"/>
                  </a:lnTo>
                  <a:lnTo>
                    <a:pt x="518" y="443"/>
                  </a:lnTo>
                  <a:lnTo>
                    <a:pt x="518" y="443"/>
                  </a:lnTo>
                  <a:lnTo>
                    <a:pt x="518" y="443"/>
                  </a:lnTo>
                  <a:lnTo>
                    <a:pt x="522" y="443"/>
                  </a:lnTo>
                  <a:lnTo>
                    <a:pt x="522" y="443"/>
                  </a:lnTo>
                  <a:lnTo>
                    <a:pt x="518" y="447"/>
                  </a:lnTo>
                  <a:lnTo>
                    <a:pt x="518" y="447"/>
                  </a:lnTo>
                  <a:lnTo>
                    <a:pt x="518" y="451"/>
                  </a:lnTo>
                  <a:lnTo>
                    <a:pt x="518" y="451"/>
                  </a:lnTo>
                  <a:lnTo>
                    <a:pt x="518" y="456"/>
                  </a:lnTo>
                  <a:lnTo>
                    <a:pt x="518" y="456"/>
                  </a:lnTo>
                  <a:lnTo>
                    <a:pt x="518" y="456"/>
                  </a:lnTo>
                  <a:lnTo>
                    <a:pt x="518" y="460"/>
                  </a:lnTo>
                  <a:lnTo>
                    <a:pt x="518" y="460"/>
                  </a:lnTo>
                  <a:lnTo>
                    <a:pt x="518" y="460"/>
                  </a:lnTo>
                  <a:lnTo>
                    <a:pt x="518" y="465"/>
                  </a:lnTo>
                  <a:lnTo>
                    <a:pt x="522" y="465"/>
                  </a:lnTo>
                  <a:lnTo>
                    <a:pt x="522" y="465"/>
                  </a:lnTo>
                  <a:lnTo>
                    <a:pt x="522" y="465"/>
                  </a:lnTo>
                  <a:lnTo>
                    <a:pt x="527" y="465"/>
                  </a:lnTo>
                  <a:lnTo>
                    <a:pt x="527" y="469"/>
                  </a:lnTo>
                  <a:lnTo>
                    <a:pt x="527" y="469"/>
                  </a:lnTo>
                  <a:lnTo>
                    <a:pt x="527" y="469"/>
                  </a:lnTo>
                  <a:lnTo>
                    <a:pt x="527" y="469"/>
                  </a:lnTo>
                  <a:lnTo>
                    <a:pt x="531" y="469"/>
                  </a:lnTo>
                  <a:lnTo>
                    <a:pt x="531" y="469"/>
                  </a:lnTo>
                  <a:lnTo>
                    <a:pt x="531" y="469"/>
                  </a:lnTo>
                  <a:lnTo>
                    <a:pt x="531" y="469"/>
                  </a:lnTo>
                  <a:lnTo>
                    <a:pt x="531" y="469"/>
                  </a:lnTo>
                  <a:lnTo>
                    <a:pt x="531" y="469"/>
                  </a:lnTo>
                  <a:lnTo>
                    <a:pt x="531" y="469"/>
                  </a:lnTo>
                  <a:lnTo>
                    <a:pt x="536" y="469"/>
                  </a:lnTo>
                  <a:lnTo>
                    <a:pt x="536" y="469"/>
                  </a:lnTo>
                  <a:lnTo>
                    <a:pt x="540" y="469"/>
                  </a:lnTo>
                  <a:lnTo>
                    <a:pt x="549" y="465"/>
                  </a:lnTo>
                  <a:lnTo>
                    <a:pt x="549" y="465"/>
                  </a:lnTo>
                  <a:lnTo>
                    <a:pt x="553" y="465"/>
                  </a:lnTo>
                  <a:lnTo>
                    <a:pt x="553" y="465"/>
                  </a:lnTo>
                  <a:lnTo>
                    <a:pt x="553" y="465"/>
                  </a:lnTo>
                  <a:lnTo>
                    <a:pt x="553" y="465"/>
                  </a:lnTo>
                  <a:lnTo>
                    <a:pt x="553" y="465"/>
                  </a:lnTo>
                  <a:lnTo>
                    <a:pt x="553" y="465"/>
                  </a:lnTo>
                  <a:lnTo>
                    <a:pt x="549" y="469"/>
                  </a:lnTo>
                  <a:lnTo>
                    <a:pt x="549" y="469"/>
                  </a:lnTo>
                  <a:lnTo>
                    <a:pt x="549" y="469"/>
                  </a:lnTo>
                  <a:lnTo>
                    <a:pt x="544" y="469"/>
                  </a:lnTo>
                  <a:lnTo>
                    <a:pt x="544" y="474"/>
                  </a:lnTo>
                  <a:lnTo>
                    <a:pt x="540" y="474"/>
                  </a:lnTo>
                  <a:lnTo>
                    <a:pt x="544" y="474"/>
                  </a:lnTo>
                  <a:lnTo>
                    <a:pt x="540" y="478"/>
                  </a:lnTo>
                  <a:lnTo>
                    <a:pt x="540" y="478"/>
                  </a:lnTo>
                  <a:lnTo>
                    <a:pt x="536" y="478"/>
                  </a:lnTo>
                  <a:lnTo>
                    <a:pt x="536" y="478"/>
                  </a:lnTo>
                  <a:lnTo>
                    <a:pt x="531" y="478"/>
                  </a:lnTo>
                  <a:lnTo>
                    <a:pt x="527" y="474"/>
                  </a:lnTo>
                  <a:lnTo>
                    <a:pt x="527" y="474"/>
                  </a:lnTo>
                  <a:lnTo>
                    <a:pt x="522" y="474"/>
                  </a:lnTo>
                  <a:lnTo>
                    <a:pt x="518" y="474"/>
                  </a:lnTo>
                  <a:lnTo>
                    <a:pt x="513" y="474"/>
                  </a:lnTo>
                  <a:lnTo>
                    <a:pt x="513" y="474"/>
                  </a:lnTo>
                  <a:lnTo>
                    <a:pt x="513" y="474"/>
                  </a:lnTo>
                  <a:lnTo>
                    <a:pt x="509" y="474"/>
                  </a:lnTo>
                  <a:lnTo>
                    <a:pt x="509" y="469"/>
                  </a:lnTo>
                  <a:lnTo>
                    <a:pt x="496" y="474"/>
                  </a:lnTo>
                  <a:lnTo>
                    <a:pt x="496" y="474"/>
                  </a:lnTo>
                  <a:lnTo>
                    <a:pt x="496" y="469"/>
                  </a:lnTo>
                  <a:lnTo>
                    <a:pt x="496" y="469"/>
                  </a:lnTo>
                  <a:lnTo>
                    <a:pt x="496" y="469"/>
                  </a:lnTo>
                  <a:lnTo>
                    <a:pt x="500" y="478"/>
                  </a:lnTo>
                  <a:lnTo>
                    <a:pt x="500" y="478"/>
                  </a:lnTo>
                  <a:lnTo>
                    <a:pt x="500" y="478"/>
                  </a:lnTo>
                  <a:lnTo>
                    <a:pt x="505" y="482"/>
                  </a:lnTo>
                  <a:lnTo>
                    <a:pt x="505" y="478"/>
                  </a:lnTo>
                  <a:lnTo>
                    <a:pt x="505" y="478"/>
                  </a:lnTo>
                  <a:lnTo>
                    <a:pt x="505" y="478"/>
                  </a:lnTo>
                  <a:lnTo>
                    <a:pt x="505" y="478"/>
                  </a:lnTo>
                  <a:lnTo>
                    <a:pt x="505" y="478"/>
                  </a:lnTo>
                  <a:lnTo>
                    <a:pt x="505" y="474"/>
                  </a:lnTo>
                  <a:lnTo>
                    <a:pt x="505" y="474"/>
                  </a:lnTo>
                  <a:lnTo>
                    <a:pt x="509" y="474"/>
                  </a:lnTo>
                  <a:lnTo>
                    <a:pt x="513" y="478"/>
                  </a:lnTo>
                  <a:lnTo>
                    <a:pt x="518" y="478"/>
                  </a:lnTo>
                  <a:lnTo>
                    <a:pt x="518" y="478"/>
                  </a:lnTo>
                  <a:lnTo>
                    <a:pt x="522" y="478"/>
                  </a:lnTo>
                  <a:lnTo>
                    <a:pt x="522" y="482"/>
                  </a:lnTo>
                  <a:lnTo>
                    <a:pt x="522" y="482"/>
                  </a:lnTo>
                  <a:lnTo>
                    <a:pt x="522" y="482"/>
                  </a:lnTo>
                  <a:lnTo>
                    <a:pt x="522" y="482"/>
                  </a:lnTo>
                  <a:lnTo>
                    <a:pt x="522" y="482"/>
                  </a:lnTo>
                  <a:lnTo>
                    <a:pt x="518" y="487"/>
                  </a:lnTo>
                  <a:lnTo>
                    <a:pt x="518" y="487"/>
                  </a:lnTo>
                  <a:lnTo>
                    <a:pt x="513" y="487"/>
                  </a:lnTo>
                  <a:lnTo>
                    <a:pt x="509" y="487"/>
                  </a:lnTo>
                  <a:lnTo>
                    <a:pt x="509" y="487"/>
                  </a:lnTo>
                  <a:lnTo>
                    <a:pt x="509" y="487"/>
                  </a:lnTo>
                  <a:lnTo>
                    <a:pt x="509" y="487"/>
                  </a:lnTo>
                  <a:lnTo>
                    <a:pt x="509" y="491"/>
                  </a:lnTo>
                  <a:lnTo>
                    <a:pt x="509" y="491"/>
                  </a:lnTo>
                  <a:lnTo>
                    <a:pt x="509" y="491"/>
                  </a:lnTo>
                  <a:lnTo>
                    <a:pt x="509" y="491"/>
                  </a:lnTo>
                  <a:lnTo>
                    <a:pt x="509" y="491"/>
                  </a:lnTo>
                  <a:lnTo>
                    <a:pt x="513" y="491"/>
                  </a:lnTo>
                  <a:lnTo>
                    <a:pt x="513" y="491"/>
                  </a:lnTo>
                  <a:lnTo>
                    <a:pt x="513" y="491"/>
                  </a:lnTo>
                  <a:lnTo>
                    <a:pt x="513" y="491"/>
                  </a:lnTo>
                  <a:lnTo>
                    <a:pt x="513" y="491"/>
                  </a:lnTo>
                  <a:lnTo>
                    <a:pt x="518" y="491"/>
                  </a:lnTo>
                  <a:lnTo>
                    <a:pt x="522" y="496"/>
                  </a:lnTo>
                  <a:lnTo>
                    <a:pt x="522" y="491"/>
                  </a:lnTo>
                  <a:lnTo>
                    <a:pt x="522" y="496"/>
                  </a:lnTo>
                  <a:lnTo>
                    <a:pt x="527" y="496"/>
                  </a:lnTo>
                  <a:lnTo>
                    <a:pt x="527" y="496"/>
                  </a:lnTo>
                  <a:lnTo>
                    <a:pt x="527" y="496"/>
                  </a:lnTo>
                  <a:lnTo>
                    <a:pt x="531" y="500"/>
                  </a:lnTo>
                  <a:lnTo>
                    <a:pt x="531" y="500"/>
                  </a:lnTo>
                  <a:lnTo>
                    <a:pt x="531" y="500"/>
                  </a:lnTo>
                  <a:lnTo>
                    <a:pt x="536" y="500"/>
                  </a:lnTo>
                  <a:lnTo>
                    <a:pt x="536" y="500"/>
                  </a:lnTo>
                  <a:lnTo>
                    <a:pt x="536" y="500"/>
                  </a:lnTo>
                  <a:lnTo>
                    <a:pt x="531" y="500"/>
                  </a:lnTo>
                  <a:lnTo>
                    <a:pt x="531" y="500"/>
                  </a:lnTo>
                  <a:lnTo>
                    <a:pt x="531" y="500"/>
                  </a:lnTo>
                  <a:lnTo>
                    <a:pt x="531" y="500"/>
                  </a:lnTo>
                  <a:lnTo>
                    <a:pt x="531" y="505"/>
                  </a:lnTo>
                  <a:lnTo>
                    <a:pt x="536" y="505"/>
                  </a:lnTo>
                  <a:lnTo>
                    <a:pt x="536" y="505"/>
                  </a:lnTo>
                  <a:lnTo>
                    <a:pt x="536" y="505"/>
                  </a:lnTo>
                  <a:lnTo>
                    <a:pt x="536" y="505"/>
                  </a:lnTo>
                  <a:lnTo>
                    <a:pt x="536" y="505"/>
                  </a:lnTo>
                  <a:lnTo>
                    <a:pt x="544" y="509"/>
                  </a:lnTo>
                  <a:lnTo>
                    <a:pt x="549" y="509"/>
                  </a:lnTo>
                  <a:lnTo>
                    <a:pt x="549" y="509"/>
                  </a:lnTo>
                  <a:lnTo>
                    <a:pt x="549" y="505"/>
                  </a:lnTo>
                  <a:lnTo>
                    <a:pt x="549" y="505"/>
                  </a:lnTo>
                  <a:lnTo>
                    <a:pt x="549" y="505"/>
                  </a:lnTo>
                  <a:lnTo>
                    <a:pt x="558" y="505"/>
                  </a:lnTo>
                  <a:lnTo>
                    <a:pt x="558" y="505"/>
                  </a:lnTo>
                  <a:lnTo>
                    <a:pt x="562" y="505"/>
                  </a:lnTo>
                  <a:lnTo>
                    <a:pt x="562" y="505"/>
                  </a:lnTo>
                  <a:lnTo>
                    <a:pt x="562" y="505"/>
                  </a:lnTo>
                  <a:lnTo>
                    <a:pt x="567" y="505"/>
                  </a:lnTo>
                  <a:lnTo>
                    <a:pt x="567" y="505"/>
                  </a:lnTo>
                  <a:lnTo>
                    <a:pt x="567" y="505"/>
                  </a:lnTo>
                  <a:lnTo>
                    <a:pt x="567" y="505"/>
                  </a:lnTo>
                  <a:lnTo>
                    <a:pt x="567" y="505"/>
                  </a:lnTo>
                  <a:lnTo>
                    <a:pt x="567" y="505"/>
                  </a:lnTo>
                  <a:lnTo>
                    <a:pt x="575" y="505"/>
                  </a:lnTo>
                  <a:lnTo>
                    <a:pt x="575" y="505"/>
                  </a:lnTo>
                  <a:lnTo>
                    <a:pt x="575" y="500"/>
                  </a:lnTo>
                  <a:lnTo>
                    <a:pt x="575" y="500"/>
                  </a:lnTo>
                  <a:lnTo>
                    <a:pt x="580" y="505"/>
                  </a:lnTo>
                  <a:lnTo>
                    <a:pt x="580" y="505"/>
                  </a:lnTo>
                  <a:lnTo>
                    <a:pt x="580" y="505"/>
                  </a:lnTo>
                  <a:lnTo>
                    <a:pt x="580" y="505"/>
                  </a:lnTo>
                  <a:lnTo>
                    <a:pt x="580" y="505"/>
                  </a:lnTo>
                  <a:lnTo>
                    <a:pt x="580" y="500"/>
                  </a:lnTo>
                  <a:lnTo>
                    <a:pt x="584" y="500"/>
                  </a:lnTo>
                  <a:lnTo>
                    <a:pt x="584" y="496"/>
                  </a:lnTo>
                  <a:lnTo>
                    <a:pt x="584" y="496"/>
                  </a:lnTo>
                  <a:lnTo>
                    <a:pt x="584" y="500"/>
                  </a:lnTo>
                  <a:lnTo>
                    <a:pt x="584" y="505"/>
                  </a:lnTo>
                  <a:lnTo>
                    <a:pt x="584" y="505"/>
                  </a:lnTo>
                  <a:lnTo>
                    <a:pt x="589" y="505"/>
                  </a:lnTo>
                  <a:lnTo>
                    <a:pt x="589" y="505"/>
                  </a:lnTo>
                  <a:lnTo>
                    <a:pt x="589" y="505"/>
                  </a:lnTo>
                  <a:lnTo>
                    <a:pt x="589" y="505"/>
                  </a:lnTo>
                  <a:lnTo>
                    <a:pt x="589" y="505"/>
                  </a:lnTo>
                  <a:lnTo>
                    <a:pt x="589" y="505"/>
                  </a:lnTo>
                  <a:lnTo>
                    <a:pt x="589" y="505"/>
                  </a:lnTo>
                  <a:lnTo>
                    <a:pt x="589" y="505"/>
                  </a:lnTo>
                  <a:lnTo>
                    <a:pt x="589" y="509"/>
                  </a:lnTo>
                  <a:lnTo>
                    <a:pt x="589" y="505"/>
                  </a:lnTo>
                  <a:lnTo>
                    <a:pt x="593" y="505"/>
                  </a:lnTo>
                  <a:lnTo>
                    <a:pt x="593" y="509"/>
                  </a:lnTo>
                  <a:lnTo>
                    <a:pt x="593" y="509"/>
                  </a:lnTo>
                  <a:lnTo>
                    <a:pt x="593" y="509"/>
                  </a:lnTo>
                  <a:lnTo>
                    <a:pt x="597" y="509"/>
                  </a:lnTo>
                  <a:lnTo>
                    <a:pt x="597" y="509"/>
                  </a:lnTo>
                  <a:lnTo>
                    <a:pt x="597" y="509"/>
                  </a:lnTo>
                  <a:lnTo>
                    <a:pt x="597" y="509"/>
                  </a:lnTo>
                  <a:lnTo>
                    <a:pt x="597" y="509"/>
                  </a:lnTo>
                  <a:lnTo>
                    <a:pt x="602" y="509"/>
                  </a:lnTo>
                  <a:lnTo>
                    <a:pt x="602" y="509"/>
                  </a:lnTo>
                  <a:lnTo>
                    <a:pt x="602" y="505"/>
                  </a:lnTo>
                  <a:lnTo>
                    <a:pt x="602" y="505"/>
                  </a:lnTo>
                  <a:lnTo>
                    <a:pt x="602" y="505"/>
                  </a:lnTo>
                  <a:lnTo>
                    <a:pt x="602" y="505"/>
                  </a:lnTo>
                  <a:lnTo>
                    <a:pt x="602" y="500"/>
                  </a:lnTo>
                  <a:lnTo>
                    <a:pt x="602" y="500"/>
                  </a:lnTo>
                  <a:lnTo>
                    <a:pt x="606" y="505"/>
                  </a:lnTo>
                  <a:lnTo>
                    <a:pt x="606" y="505"/>
                  </a:lnTo>
                  <a:lnTo>
                    <a:pt x="606" y="505"/>
                  </a:lnTo>
                  <a:lnTo>
                    <a:pt x="606" y="509"/>
                  </a:lnTo>
                  <a:lnTo>
                    <a:pt x="606" y="509"/>
                  </a:lnTo>
                  <a:lnTo>
                    <a:pt x="606" y="509"/>
                  </a:lnTo>
                  <a:lnTo>
                    <a:pt x="606" y="513"/>
                  </a:lnTo>
                  <a:lnTo>
                    <a:pt x="606" y="513"/>
                  </a:lnTo>
                  <a:lnTo>
                    <a:pt x="606" y="513"/>
                  </a:lnTo>
                  <a:lnTo>
                    <a:pt x="606" y="513"/>
                  </a:lnTo>
                  <a:lnTo>
                    <a:pt x="606" y="513"/>
                  </a:lnTo>
                  <a:lnTo>
                    <a:pt x="606" y="513"/>
                  </a:lnTo>
                  <a:lnTo>
                    <a:pt x="606" y="513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11" y="518"/>
                  </a:lnTo>
                  <a:lnTo>
                    <a:pt x="611" y="518"/>
                  </a:lnTo>
                  <a:lnTo>
                    <a:pt x="615" y="518"/>
                  </a:lnTo>
                  <a:lnTo>
                    <a:pt x="611" y="518"/>
                  </a:lnTo>
                  <a:lnTo>
                    <a:pt x="611" y="518"/>
                  </a:lnTo>
                  <a:lnTo>
                    <a:pt x="611" y="522"/>
                  </a:lnTo>
                  <a:lnTo>
                    <a:pt x="611" y="518"/>
                  </a:lnTo>
                  <a:lnTo>
                    <a:pt x="611" y="522"/>
                  </a:lnTo>
                  <a:lnTo>
                    <a:pt x="611" y="522"/>
                  </a:lnTo>
                  <a:lnTo>
                    <a:pt x="611" y="522"/>
                  </a:lnTo>
                  <a:lnTo>
                    <a:pt x="606" y="522"/>
                  </a:lnTo>
                  <a:lnTo>
                    <a:pt x="606" y="522"/>
                  </a:lnTo>
                  <a:lnTo>
                    <a:pt x="606" y="522"/>
                  </a:lnTo>
                  <a:lnTo>
                    <a:pt x="606" y="522"/>
                  </a:lnTo>
                  <a:lnTo>
                    <a:pt x="606" y="522"/>
                  </a:lnTo>
                  <a:lnTo>
                    <a:pt x="606" y="522"/>
                  </a:lnTo>
                  <a:lnTo>
                    <a:pt x="606" y="522"/>
                  </a:lnTo>
                  <a:lnTo>
                    <a:pt x="606" y="522"/>
                  </a:lnTo>
                  <a:lnTo>
                    <a:pt x="602" y="522"/>
                  </a:lnTo>
                  <a:lnTo>
                    <a:pt x="602" y="522"/>
                  </a:lnTo>
                  <a:lnTo>
                    <a:pt x="602" y="527"/>
                  </a:lnTo>
                  <a:lnTo>
                    <a:pt x="602" y="527"/>
                  </a:lnTo>
                  <a:lnTo>
                    <a:pt x="602" y="527"/>
                  </a:lnTo>
                  <a:lnTo>
                    <a:pt x="597" y="527"/>
                  </a:lnTo>
                  <a:lnTo>
                    <a:pt x="597" y="527"/>
                  </a:lnTo>
                  <a:lnTo>
                    <a:pt x="597" y="522"/>
                  </a:lnTo>
                  <a:lnTo>
                    <a:pt x="597" y="527"/>
                  </a:lnTo>
                  <a:lnTo>
                    <a:pt x="593" y="527"/>
                  </a:lnTo>
                  <a:lnTo>
                    <a:pt x="593" y="527"/>
                  </a:lnTo>
                  <a:lnTo>
                    <a:pt x="593" y="527"/>
                  </a:lnTo>
                  <a:lnTo>
                    <a:pt x="593" y="527"/>
                  </a:lnTo>
                  <a:lnTo>
                    <a:pt x="589" y="531"/>
                  </a:lnTo>
                  <a:lnTo>
                    <a:pt x="584" y="531"/>
                  </a:lnTo>
                  <a:lnTo>
                    <a:pt x="584" y="531"/>
                  </a:lnTo>
                  <a:lnTo>
                    <a:pt x="584" y="531"/>
                  </a:lnTo>
                  <a:lnTo>
                    <a:pt x="580" y="531"/>
                  </a:lnTo>
                  <a:lnTo>
                    <a:pt x="580" y="531"/>
                  </a:lnTo>
                  <a:lnTo>
                    <a:pt x="580" y="531"/>
                  </a:lnTo>
                  <a:lnTo>
                    <a:pt x="580" y="531"/>
                  </a:lnTo>
                  <a:lnTo>
                    <a:pt x="580" y="531"/>
                  </a:lnTo>
                  <a:lnTo>
                    <a:pt x="580" y="531"/>
                  </a:lnTo>
                  <a:lnTo>
                    <a:pt x="580" y="531"/>
                  </a:lnTo>
                  <a:lnTo>
                    <a:pt x="580" y="531"/>
                  </a:lnTo>
                  <a:lnTo>
                    <a:pt x="580" y="536"/>
                  </a:lnTo>
                  <a:lnTo>
                    <a:pt x="571" y="540"/>
                  </a:lnTo>
                  <a:lnTo>
                    <a:pt x="567" y="540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9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58" y="544"/>
                  </a:lnTo>
                  <a:lnTo>
                    <a:pt x="558" y="549"/>
                  </a:lnTo>
                  <a:lnTo>
                    <a:pt x="558" y="549"/>
                  </a:lnTo>
                  <a:lnTo>
                    <a:pt x="558" y="549"/>
                  </a:lnTo>
                  <a:lnTo>
                    <a:pt x="558" y="549"/>
                  </a:lnTo>
                  <a:lnTo>
                    <a:pt x="558" y="549"/>
                  </a:lnTo>
                  <a:lnTo>
                    <a:pt x="558" y="549"/>
                  </a:lnTo>
                  <a:lnTo>
                    <a:pt x="553" y="549"/>
                  </a:lnTo>
                  <a:lnTo>
                    <a:pt x="553" y="549"/>
                  </a:lnTo>
                  <a:lnTo>
                    <a:pt x="549" y="553"/>
                  </a:lnTo>
                  <a:lnTo>
                    <a:pt x="544" y="558"/>
                  </a:lnTo>
                  <a:lnTo>
                    <a:pt x="544" y="558"/>
                  </a:lnTo>
                  <a:lnTo>
                    <a:pt x="544" y="558"/>
                  </a:lnTo>
                  <a:lnTo>
                    <a:pt x="549" y="562"/>
                  </a:lnTo>
                  <a:lnTo>
                    <a:pt x="549" y="562"/>
                  </a:lnTo>
                  <a:lnTo>
                    <a:pt x="549" y="562"/>
                  </a:lnTo>
                  <a:lnTo>
                    <a:pt x="549" y="567"/>
                  </a:lnTo>
                  <a:lnTo>
                    <a:pt x="553" y="567"/>
                  </a:lnTo>
                  <a:lnTo>
                    <a:pt x="553" y="562"/>
                  </a:lnTo>
                  <a:lnTo>
                    <a:pt x="558" y="562"/>
                  </a:lnTo>
                  <a:lnTo>
                    <a:pt x="558" y="562"/>
                  </a:lnTo>
                  <a:lnTo>
                    <a:pt x="558" y="562"/>
                  </a:lnTo>
                  <a:lnTo>
                    <a:pt x="567" y="562"/>
                  </a:lnTo>
                  <a:lnTo>
                    <a:pt x="571" y="562"/>
                  </a:lnTo>
                  <a:lnTo>
                    <a:pt x="571" y="562"/>
                  </a:lnTo>
                  <a:lnTo>
                    <a:pt x="575" y="567"/>
                  </a:lnTo>
                  <a:lnTo>
                    <a:pt x="575" y="567"/>
                  </a:lnTo>
                  <a:lnTo>
                    <a:pt x="575" y="567"/>
                  </a:lnTo>
                  <a:lnTo>
                    <a:pt x="575" y="567"/>
                  </a:lnTo>
                  <a:lnTo>
                    <a:pt x="575" y="571"/>
                  </a:lnTo>
                  <a:lnTo>
                    <a:pt x="580" y="571"/>
                  </a:lnTo>
                  <a:lnTo>
                    <a:pt x="580" y="571"/>
                  </a:lnTo>
                  <a:lnTo>
                    <a:pt x="580" y="571"/>
                  </a:lnTo>
                  <a:lnTo>
                    <a:pt x="580" y="575"/>
                  </a:lnTo>
                  <a:lnTo>
                    <a:pt x="584" y="575"/>
                  </a:lnTo>
                  <a:lnTo>
                    <a:pt x="584" y="575"/>
                  </a:lnTo>
                  <a:lnTo>
                    <a:pt x="584" y="575"/>
                  </a:lnTo>
                  <a:lnTo>
                    <a:pt x="584" y="575"/>
                  </a:lnTo>
                  <a:lnTo>
                    <a:pt x="589" y="575"/>
                  </a:lnTo>
                  <a:lnTo>
                    <a:pt x="589" y="575"/>
                  </a:lnTo>
                  <a:lnTo>
                    <a:pt x="593" y="575"/>
                  </a:lnTo>
                  <a:lnTo>
                    <a:pt x="593" y="575"/>
                  </a:lnTo>
                  <a:lnTo>
                    <a:pt x="593" y="575"/>
                  </a:lnTo>
                  <a:lnTo>
                    <a:pt x="597" y="575"/>
                  </a:lnTo>
                  <a:lnTo>
                    <a:pt x="602" y="580"/>
                  </a:lnTo>
                  <a:lnTo>
                    <a:pt x="602" y="580"/>
                  </a:lnTo>
                  <a:lnTo>
                    <a:pt x="602" y="584"/>
                  </a:lnTo>
                  <a:lnTo>
                    <a:pt x="602" y="584"/>
                  </a:lnTo>
                  <a:lnTo>
                    <a:pt x="602" y="589"/>
                  </a:lnTo>
                  <a:lnTo>
                    <a:pt x="606" y="589"/>
                  </a:lnTo>
                  <a:lnTo>
                    <a:pt x="606" y="589"/>
                  </a:lnTo>
                  <a:lnTo>
                    <a:pt x="606" y="589"/>
                  </a:lnTo>
                  <a:lnTo>
                    <a:pt x="606" y="593"/>
                  </a:lnTo>
                  <a:lnTo>
                    <a:pt x="606" y="593"/>
                  </a:lnTo>
                  <a:lnTo>
                    <a:pt x="606" y="598"/>
                  </a:lnTo>
                  <a:lnTo>
                    <a:pt x="606" y="598"/>
                  </a:lnTo>
                  <a:lnTo>
                    <a:pt x="602" y="598"/>
                  </a:lnTo>
                  <a:lnTo>
                    <a:pt x="602" y="598"/>
                  </a:lnTo>
                  <a:lnTo>
                    <a:pt x="602" y="602"/>
                  </a:lnTo>
                  <a:lnTo>
                    <a:pt x="602" y="602"/>
                  </a:lnTo>
                  <a:lnTo>
                    <a:pt x="602" y="602"/>
                  </a:lnTo>
                  <a:lnTo>
                    <a:pt x="602" y="602"/>
                  </a:lnTo>
                  <a:lnTo>
                    <a:pt x="602" y="602"/>
                  </a:lnTo>
                  <a:lnTo>
                    <a:pt x="597" y="606"/>
                  </a:lnTo>
                  <a:lnTo>
                    <a:pt x="602" y="606"/>
                  </a:lnTo>
                  <a:lnTo>
                    <a:pt x="602" y="606"/>
                  </a:lnTo>
                  <a:lnTo>
                    <a:pt x="602" y="606"/>
                  </a:lnTo>
                  <a:lnTo>
                    <a:pt x="602" y="611"/>
                  </a:lnTo>
                  <a:lnTo>
                    <a:pt x="602" y="611"/>
                  </a:lnTo>
                  <a:lnTo>
                    <a:pt x="602" y="611"/>
                  </a:lnTo>
                  <a:lnTo>
                    <a:pt x="602" y="611"/>
                  </a:lnTo>
                  <a:lnTo>
                    <a:pt x="602" y="615"/>
                  </a:lnTo>
                  <a:lnTo>
                    <a:pt x="597" y="615"/>
                  </a:lnTo>
                  <a:lnTo>
                    <a:pt x="597" y="615"/>
                  </a:lnTo>
                  <a:lnTo>
                    <a:pt x="602" y="615"/>
                  </a:lnTo>
                  <a:lnTo>
                    <a:pt x="602" y="615"/>
                  </a:lnTo>
                  <a:lnTo>
                    <a:pt x="602" y="615"/>
                  </a:lnTo>
                  <a:lnTo>
                    <a:pt x="602" y="615"/>
                  </a:lnTo>
                  <a:lnTo>
                    <a:pt x="597" y="615"/>
                  </a:lnTo>
                  <a:lnTo>
                    <a:pt x="597" y="615"/>
                  </a:lnTo>
                  <a:lnTo>
                    <a:pt x="597" y="620"/>
                  </a:lnTo>
                  <a:lnTo>
                    <a:pt x="597" y="620"/>
                  </a:lnTo>
                  <a:lnTo>
                    <a:pt x="597" y="620"/>
                  </a:lnTo>
                  <a:lnTo>
                    <a:pt x="597" y="620"/>
                  </a:lnTo>
                  <a:lnTo>
                    <a:pt x="593" y="620"/>
                  </a:lnTo>
                  <a:lnTo>
                    <a:pt x="593" y="620"/>
                  </a:lnTo>
                  <a:lnTo>
                    <a:pt x="593" y="620"/>
                  </a:lnTo>
                  <a:lnTo>
                    <a:pt x="593" y="620"/>
                  </a:lnTo>
                  <a:lnTo>
                    <a:pt x="593" y="620"/>
                  </a:lnTo>
                  <a:lnTo>
                    <a:pt x="593" y="620"/>
                  </a:lnTo>
                  <a:lnTo>
                    <a:pt x="593" y="620"/>
                  </a:lnTo>
                  <a:lnTo>
                    <a:pt x="597" y="624"/>
                  </a:lnTo>
                  <a:lnTo>
                    <a:pt x="597" y="624"/>
                  </a:lnTo>
                  <a:lnTo>
                    <a:pt x="602" y="624"/>
                  </a:lnTo>
                  <a:lnTo>
                    <a:pt x="602" y="624"/>
                  </a:lnTo>
                  <a:lnTo>
                    <a:pt x="602" y="624"/>
                  </a:lnTo>
                  <a:lnTo>
                    <a:pt x="602" y="624"/>
                  </a:lnTo>
                  <a:lnTo>
                    <a:pt x="602" y="624"/>
                  </a:lnTo>
                  <a:lnTo>
                    <a:pt x="606" y="629"/>
                  </a:lnTo>
                  <a:lnTo>
                    <a:pt x="606" y="629"/>
                  </a:lnTo>
                  <a:lnTo>
                    <a:pt x="606" y="629"/>
                  </a:lnTo>
                  <a:lnTo>
                    <a:pt x="606" y="633"/>
                  </a:lnTo>
                  <a:lnTo>
                    <a:pt x="611" y="633"/>
                  </a:lnTo>
                  <a:lnTo>
                    <a:pt x="611" y="633"/>
                  </a:lnTo>
                  <a:lnTo>
                    <a:pt x="615" y="633"/>
                  </a:lnTo>
                  <a:lnTo>
                    <a:pt x="615" y="633"/>
                  </a:lnTo>
                  <a:lnTo>
                    <a:pt x="615" y="633"/>
                  </a:lnTo>
                  <a:lnTo>
                    <a:pt x="615" y="633"/>
                  </a:lnTo>
                  <a:lnTo>
                    <a:pt x="620" y="633"/>
                  </a:lnTo>
                  <a:lnTo>
                    <a:pt x="624" y="633"/>
                  </a:lnTo>
                  <a:lnTo>
                    <a:pt x="624" y="633"/>
                  </a:lnTo>
                  <a:lnTo>
                    <a:pt x="628" y="633"/>
                  </a:lnTo>
                  <a:lnTo>
                    <a:pt x="628" y="633"/>
                  </a:lnTo>
                  <a:lnTo>
                    <a:pt x="628" y="633"/>
                  </a:lnTo>
                  <a:lnTo>
                    <a:pt x="633" y="629"/>
                  </a:lnTo>
                  <a:lnTo>
                    <a:pt x="633" y="629"/>
                  </a:lnTo>
                  <a:lnTo>
                    <a:pt x="633" y="629"/>
                  </a:lnTo>
                  <a:lnTo>
                    <a:pt x="633" y="629"/>
                  </a:lnTo>
                  <a:lnTo>
                    <a:pt x="633" y="624"/>
                  </a:lnTo>
                  <a:lnTo>
                    <a:pt x="637" y="624"/>
                  </a:lnTo>
                  <a:lnTo>
                    <a:pt x="637" y="624"/>
                  </a:lnTo>
                  <a:lnTo>
                    <a:pt x="637" y="624"/>
                  </a:lnTo>
                  <a:lnTo>
                    <a:pt x="637" y="624"/>
                  </a:lnTo>
                  <a:lnTo>
                    <a:pt x="637" y="624"/>
                  </a:lnTo>
                  <a:lnTo>
                    <a:pt x="637" y="624"/>
                  </a:lnTo>
                  <a:lnTo>
                    <a:pt x="637" y="624"/>
                  </a:lnTo>
                  <a:lnTo>
                    <a:pt x="642" y="624"/>
                  </a:lnTo>
                  <a:lnTo>
                    <a:pt x="642" y="624"/>
                  </a:lnTo>
                  <a:lnTo>
                    <a:pt x="642" y="624"/>
                  </a:lnTo>
                  <a:lnTo>
                    <a:pt x="642" y="624"/>
                  </a:lnTo>
                  <a:lnTo>
                    <a:pt x="642" y="624"/>
                  </a:lnTo>
                  <a:lnTo>
                    <a:pt x="642" y="620"/>
                  </a:lnTo>
                  <a:lnTo>
                    <a:pt x="646" y="615"/>
                  </a:lnTo>
                  <a:lnTo>
                    <a:pt x="646" y="611"/>
                  </a:lnTo>
                  <a:lnTo>
                    <a:pt x="646" y="611"/>
                  </a:lnTo>
                  <a:lnTo>
                    <a:pt x="646" y="611"/>
                  </a:lnTo>
                  <a:lnTo>
                    <a:pt x="651" y="606"/>
                  </a:lnTo>
                  <a:lnTo>
                    <a:pt x="651" y="606"/>
                  </a:lnTo>
                  <a:lnTo>
                    <a:pt x="651" y="606"/>
                  </a:lnTo>
                  <a:lnTo>
                    <a:pt x="651" y="611"/>
                  </a:lnTo>
                  <a:lnTo>
                    <a:pt x="651" y="611"/>
                  </a:lnTo>
                  <a:lnTo>
                    <a:pt x="651" y="606"/>
                  </a:lnTo>
                  <a:lnTo>
                    <a:pt x="655" y="606"/>
                  </a:lnTo>
                  <a:lnTo>
                    <a:pt x="659" y="606"/>
                  </a:lnTo>
                  <a:lnTo>
                    <a:pt x="659" y="606"/>
                  </a:lnTo>
                  <a:lnTo>
                    <a:pt x="664" y="602"/>
                  </a:lnTo>
                  <a:lnTo>
                    <a:pt x="664" y="602"/>
                  </a:lnTo>
                  <a:lnTo>
                    <a:pt x="668" y="602"/>
                  </a:lnTo>
                  <a:lnTo>
                    <a:pt x="668" y="602"/>
                  </a:lnTo>
                  <a:lnTo>
                    <a:pt x="668" y="602"/>
                  </a:lnTo>
                  <a:lnTo>
                    <a:pt x="673" y="602"/>
                  </a:lnTo>
                  <a:lnTo>
                    <a:pt x="673" y="602"/>
                  </a:lnTo>
                  <a:lnTo>
                    <a:pt x="673" y="602"/>
                  </a:lnTo>
                  <a:lnTo>
                    <a:pt x="673" y="602"/>
                  </a:lnTo>
                  <a:lnTo>
                    <a:pt x="673" y="602"/>
                  </a:lnTo>
                  <a:lnTo>
                    <a:pt x="673" y="602"/>
                  </a:lnTo>
                  <a:lnTo>
                    <a:pt x="677" y="602"/>
                  </a:lnTo>
                  <a:lnTo>
                    <a:pt x="677" y="602"/>
                  </a:lnTo>
                  <a:lnTo>
                    <a:pt x="677" y="602"/>
                  </a:lnTo>
                  <a:lnTo>
                    <a:pt x="677" y="602"/>
                  </a:lnTo>
                  <a:lnTo>
                    <a:pt x="677" y="602"/>
                  </a:lnTo>
                  <a:lnTo>
                    <a:pt x="682" y="602"/>
                  </a:lnTo>
                  <a:lnTo>
                    <a:pt x="682" y="602"/>
                  </a:lnTo>
                  <a:lnTo>
                    <a:pt x="682" y="602"/>
                  </a:lnTo>
                  <a:lnTo>
                    <a:pt x="686" y="598"/>
                  </a:lnTo>
                  <a:lnTo>
                    <a:pt x="686" y="598"/>
                  </a:lnTo>
                  <a:lnTo>
                    <a:pt x="686" y="593"/>
                  </a:lnTo>
                  <a:lnTo>
                    <a:pt x="690" y="593"/>
                  </a:lnTo>
                  <a:lnTo>
                    <a:pt x="690" y="593"/>
                  </a:lnTo>
                  <a:lnTo>
                    <a:pt x="690" y="593"/>
                  </a:lnTo>
                  <a:lnTo>
                    <a:pt x="690" y="589"/>
                  </a:lnTo>
                  <a:lnTo>
                    <a:pt x="695" y="593"/>
                  </a:lnTo>
                  <a:lnTo>
                    <a:pt x="695" y="593"/>
                  </a:lnTo>
                  <a:lnTo>
                    <a:pt x="695" y="593"/>
                  </a:lnTo>
                  <a:lnTo>
                    <a:pt x="695" y="589"/>
                  </a:lnTo>
                  <a:lnTo>
                    <a:pt x="699" y="593"/>
                  </a:lnTo>
                  <a:lnTo>
                    <a:pt x="695" y="589"/>
                  </a:lnTo>
                  <a:lnTo>
                    <a:pt x="695" y="589"/>
                  </a:lnTo>
                  <a:lnTo>
                    <a:pt x="699" y="589"/>
                  </a:lnTo>
                  <a:lnTo>
                    <a:pt x="699" y="589"/>
                  </a:lnTo>
                  <a:lnTo>
                    <a:pt x="699" y="589"/>
                  </a:lnTo>
                  <a:lnTo>
                    <a:pt x="699" y="589"/>
                  </a:lnTo>
                  <a:lnTo>
                    <a:pt x="699" y="589"/>
                  </a:lnTo>
                  <a:lnTo>
                    <a:pt x="699" y="589"/>
                  </a:lnTo>
                  <a:lnTo>
                    <a:pt x="699" y="589"/>
                  </a:lnTo>
                  <a:lnTo>
                    <a:pt x="699" y="584"/>
                  </a:lnTo>
                  <a:lnTo>
                    <a:pt x="699" y="584"/>
                  </a:lnTo>
                  <a:lnTo>
                    <a:pt x="699" y="584"/>
                  </a:lnTo>
                  <a:lnTo>
                    <a:pt x="699" y="584"/>
                  </a:lnTo>
                  <a:lnTo>
                    <a:pt x="699" y="584"/>
                  </a:lnTo>
                  <a:lnTo>
                    <a:pt x="704" y="580"/>
                  </a:lnTo>
                  <a:lnTo>
                    <a:pt x="704" y="580"/>
                  </a:lnTo>
                  <a:lnTo>
                    <a:pt x="708" y="580"/>
                  </a:lnTo>
                  <a:lnTo>
                    <a:pt x="708" y="580"/>
                  </a:lnTo>
                  <a:lnTo>
                    <a:pt x="713" y="580"/>
                  </a:lnTo>
                  <a:lnTo>
                    <a:pt x="717" y="580"/>
                  </a:lnTo>
                  <a:lnTo>
                    <a:pt x="717" y="584"/>
                  </a:lnTo>
                  <a:lnTo>
                    <a:pt x="717" y="584"/>
                  </a:lnTo>
                  <a:lnTo>
                    <a:pt x="721" y="584"/>
                  </a:lnTo>
                  <a:lnTo>
                    <a:pt x="721" y="589"/>
                  </a:lnTo>
                  <a:lnTo>
                    <a:pt x="721" y="589"/>
                  </a:lnTo>
                  <a:lnTo>
                    <a:pt x="721" y="589"/>
                  </a:lnTo>
                  <a:lnTo>
                    <a:pt x="726" y="589"/>
                  </a:lnTo>
                  <a:lnTo>
                    <a:pt x="730" y="589"/>
                  </a:lnTo>
                  <a:lnTo>
                    <a:pt x="730" y="589"/>
                  </a:lnTo>
                  <a:lnTo>
                    <a:pt x="730" y="584"/>
                  </a:lnTo>
                  <a:lnTo>
                    <a:pt x="735" y="584"/>
                  </a:lnTo>
                  <a:lnTo>
                    <a:pt x="735" y="584"/>
                  </a:lnTo>
                  <a:lnTo>
                    <a:pt x="735" y="584"/>
                  </a:lnTo>
                  <a:lnTo>
                    <a:pt x="739" y="589"/>
                  </a:lnTo>
                  <a:lnTo>
                    <a:pt x="744" y="589"/>
                  </a:lnTo>
                  <a:lnTo>
                    <a:pt x="744" y="589"/>
                  </a:lnTo>
                  <a:lnTo>
                    <a:pt x="744" y="589"/>
                  </a:lnTo>
                  <a:lnTo>
                    <a:pt x="744" y="584"/>
                  </a:lnTo>
                  <a:lnTo>
                    <a:pt x="744" y="584"/>
                  </a:lnTo>
                  <a:lnTo>
                    <a:pt x="744" y="584"/>
                  </a:lnTo>
                  <a:lnTo>
                    <a:pt x="744" y="584"/>
                  </a:lnTo>
                  <a:lnTo>
                    <a:pt x="748" y="584"/>
                  </a:lnTo>
                  <a:lnTo>
                    <a:pt x="752" y="584"/>
                  </a:lnTo>
                  <a:lnTo>
                    <a:pt x="752" y="584"/>
                  </a:lnTo>
                  <a:lnTo>
                    <a:pt x="752" y="580"/>
                  </a:lnTo>
                  <a:lnTo>
                    <a:pt x="752" y="580"/>
                  </a:lnTo>
                  <a:lnTo>
                    <a:pt x="752" y="580"/>
                  </a:lnTo>
                  <a:lnTo>
                    <a:pt x="752" y="575"/>
                  </a:lnTo>
                  <a:lnTo>
                    <a:pt x="752" y="575"/>
                  </a:lnTo>
                  <a:lnTo>
                    <a:pt x="752" y="571"/>
                  </a:lnTo>
                  <a:lnTo>
                    <a:pt x="752" y="571"/>
                  </a:lnTo>
                  <a:lnTo>
                    <a:pt x="752" y="567"/>
                  </a:lnTo>
                  <a:lnTo>
                    <a:pt x="752" y="567"/>
                  </a:lnTo>
                  <a:lnTo>
                    <a:pt x="757" y="567"/>
                  </a:lnTo>
                  <a:lnTo>
                    <a:pt x="757" y="567"/>
                  </a:lnTo>
                  <a:lnTo>
                    <a:pt x="757" y="567"/>
                  </a:lnTo>
                  <a:lnTo>
                    <a:pt x="757" y="567"/>
                  </a:lnTo>
                  <a:lnTo>
                    <a:pt x="757" y="567"/>
                  </a:lnTo>
                  <a:lnTo>
                    <a:pt x="757" y="567"/>
                  </a:lnTo>
                  <a:lnTo>
                    <a:pt x="757" y="567"/>
                  </a:lnTo>
                  <a:lnTo>
                    <a:pt x="757" y="562"/>
                  </a:lnTo>
                  <a:lnTo>
                    <a:pt x="757" y="562"/>
                  </a:lnTo>
                  <a:lnTo>
                    <a:pt x="757" y="562"/>
                  </a:lnTo>
                  <a:lnTo>
                    <a:pt x="761" y="562"/>
                  </a:lnTo>
                  <a:lnTo>
                    <a:pt x="761" y="562"/>
                  </a:lnTo>
                  <a:lnTo>
                    <a:pt x="761" y="562"/>
                  </a:lnTo>
                  <a:lnTo>
                    <a:pt x="761" y="562"/>
                  </a:lnTo>
                  <a:lnTo>
                    <a:pt x="766" y="562"/>
                  </a:lnTo>
                  <a:lnTo>
                    <a:pt x="766" y="562"/>
                  </a:lnTo>
                  <a:lnTo>
                    <a:pt x="766" y="562"/>
                  </a:lnTo>
                  <a:lnTo>
                    <a:pt x="761" y="558"/>
                  </a:lnTo>
                  <a:lnTo>
                    <a:pt x="761" y="558"/>
                  </a:lnTo>
                  <a:lnTo>
                    <a:pt x="761" y="558"/>
                  </a:lnTo>
                  <a:lnTo>
                    <a:pt x="761" y="558"/>
                  </a:lnTo>
                  <a:lnTo>
                    <a:pt x="761" y="558"/>
                  </a:lnTo>
                  <a:lnTo>
                    <a:pt x="757" y="558"/>
                  </a:lnTo>
                  <a:lnTo>
                    <a:pt x="757" y="558"/>
                  </a:lnTo>
                  <a:lnTo>
                    <a:pt x="757" y="553"/>
                  </a:lnTo>
                  <a:lnTo>
                    <a:pt x="757" y="553"/>
                  </a:lnTo>
                  <a:lnTo>
                    <a:pt x="752" y="558"/>
                  </a:lnTo>
                  <a:lnTo>
                    <a:pt x="752" y="558"/>
                  </a:lnTo>
                  <a:lnTo>
                    <a:pt x="748" y="553"/>
                  </a:lnTo>
                  <a:lnTo>
                    <a:pt x="748" y="553"/>
                  </a:lnTo>
                  <a:lnTo>
                    <a:pt x="748" y="553"/>
                  </a:lnTo>
                  <a:lnTo>
                    <a:pt x="748" y="553"/>
                  </a:lnTo>
                  <a:lnTo>
                    <a:pt x="748" y="553"/>
                  </a:lnTo>
                  <a:lnTo>
                    <a:pt x="748" y="553"/>
                  </a:lnTo>
                  <a:lnTo>
                    <a:pt x="748" y="553"/>
                  </a:lnTo>
                  <a:lnTo>
                    <a:pt x="748" y="553"/>
                  </a:lnTo>
                  <a:lnTo>
                    <a:pt x="744" y="553"/>
                  </a:lnTo>
                  <a:lnTo>
                    <a:pt x="744" y="553"/>
                  </a:lnTo>
                  <a:lnTo>
                    <a:pt x="744" y="553"/>
                  </a:lnTo>
                  <a:lnTo>
                    <a:pt x="739" y="553"/>
                  </a:lnTo>
                  <a:lnTo>
                    <a:pt x="735" y="553"/>
                  </a:lnTo>
                  <a:lnTo>
                    <a:pt x="735" y="553"/>
                  </a:lnTo>
                  <a:lnTo>
                    <a:pt x="735" y="558"/>
                  </a:lnTo>
                  <a:lnTo>
                    <a:pt x="735" y="558"/>
                  </a:lnTo>
                  <a:lnTo>
                    <a:pt x="735" y="558"/>
                  </a:lnTo>
                  <a:lnTo>
                    <a:pt x="730" y="562"/>
                  </a:lnTo>
                  <a:lnTo>
                    <a:pt x="730" y="562"/>
                  </a:lnTo>
                  <a:lnTo>
                    <a:pt x="726" y="562"/>
                  </a:lnTo>
                  <a:lnTo>
                    <a:pt x="726" y="558"/>
                  </a:lnTo>
                  <a:lnTo>
                    <a:pt x="721" y="558"/>
                  </a:lnTo>
                  <a:lnTo>
                    <a:pt x="721" y="558"/>
                  </a:lnTo>
                  <a:lnTo>
                    <a:pt x="721" y="553"/>
                  </a:lnTo>
                  <a:lnTo>
                    <a:pt x="721" y="553"/>
                  </a:lnTo>
                  <a:lnTo>
                    <a:pt x="721" y="553"/>
                  </a:lnTo>
                  <a:lnTo>
                    <a:pt x="721" y="553"/>
                  </a:lnTo>
                  <a:lnTo>
                    <a:pt x="721" y="553"/>
                  </a:lnTo>
                  <a:lnTo>
                    <a:pt x="721" y="553"/>
                  </a:lnTo>
                  <a:lnTo>
                    <a:pt x="721" y="558"/>
                  </a:lnTo>
                  <a:lnTo>
                    <a:pt x="721" y="558"/>
                  </a:lnTo>
                  <a:lnTo>
                    <a:pt x="721" y="558"/>
                  </a:lnTo>
                  <a:lnTo>
                    <a:pt x="717" y="558"/>
                  </a:lnTo>
                  <a:lnTo>
                    <a:pt x="717" y="558"/>
                  </a:lnTo>
                  <a:lnTo>
                    <a:pt x="717" y="558"/>
                  </a:lnTo>
                  <a:lnTo>
                    <a:pt x="717" y="562"/>
                  </a:lnTo>
                  <a:lnTo>
                    <a:pt x="717" y="562"/>
                  </a:lnTo>
                  <a:lnTo>
                    <a:pt x="717" y="562"/>
                  </a:lnTo>
                  <a:lnTo>
                    <a:pt x="717" y="562"/>
                  </a:lnTo>
                  <a:lnTo>
                    <a:pt x="713" y="562"/>
                  </a:lnTo>
                  <a:lnTo>
                    <a:pt x="704" y="567"/>
                  </a:lnTo>
                  <a:lnTo>
                    <a:pt x="704" y="567"/>
                  </a:lnTo>
                  <a:lnTo>
                    <a:pt x="695" y="562"/>
                  </a:lnTo>
                  <a:lnTo>
                    <a:pt x="682" y="540"/>
                  </a:lnTo>
                  <a:lnTo>
                    <a:pt x="677" y="531"/>
                  </a:lnTo>
                  <a:lnTo>
                    <a:pt x="673" y="522"/>
                  </a:lnTo>
                  <a:lnTo>
                    <a:pt x="673" y="522"/>
                  </a:lnTo>
                  <a:lnTo>
                    <a:pt x="673" y="518"/>
                  </a:lnTo>
                  <a:lnTo>
                    <a:pt x="673" y="518"/>
                  </a:lnTo>
                  <a:lnTo>
                    <a:pt x="668" y="509"/>
                  </a:lnTo>
                  <a:lnTo>
                    <a:pt x="668" y="509"/>
                  </a:lnTo>
                  <a:lnTo>
                    <a:pt x="668" y="509"/>
                  </a:lnTo>
                  <a:lnTo>
                    <a:pt x="668" y="505"/>
                  </a:lnTo>
                  <a:lnTo>
                    <a:pt x="668" y="500"/>
                  </a:lnTo>
                  <a:lnTo>
                    <a:pt x="668" y="500"/>
                  </a:lnTo>
                  <a:lnTo>
                    <a:pt x="668" y="500"/>
                  </a:lnTo>
                  <a:lnTo>
                    <a:pt x="668" y="500"/>
                  </a:lnTo>
                  <a:lnTo>
                    <a:pt x="668" y="500"/>
                  </a:lnTo>
                  <a:lnTo>
                    <a:pt x="668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82" y="496"/>
                  </a:lnTo>
                  <a:lnTo>
                    <a:pt x="682" y="491"/>
                  </a:lnTo>
                  <a:lnTo>
                    <a:pt x="682" y="491"/>
                  </a:lnTo>
                  <a:lnTo>
                    <a:pt x="682" y="491"/>
                  </a:lnTo>
                  <a:lnTo>
                    <a:pt x="686" y="487"/>
                  </a:lnTo>
                  <a:lnTo>
                    <a:pt x="690" y="482"/>
                  </a:lnTo>
                  <a:lnTo>
                    <a:pt x="690" y="482"/>
                  </a:lnTo>
                  <a:lnTo>
                    <a:pt x="690" y="482"/>
                  </a:lnTo>
                  <a:lnTo>
                    <a:pt x="690" y="482"/>
                  </a:lnTo>
                  <a:lnTo>
                    <a:pt x="690" y="482"/>
                  </a:lnTo>
                  <a:lnTo>
                    <a:pt x="690" y="478"/>
                  </a:lnTo>
                  <a:lnTo>
                    <a:pt x="686" y="478"/>
                  </a:lnTo>
                  <a:lnTo>
                    <a:pt x="686" y="478"/>
                  </a:lnTo>
                  <a:lnTo>
                    <a:pt x="686" y="478"/>
                  </a:lnTo>
                  <a:lnTo>
                    <a:pt x="686" y="474"/>
                  </a:lnTo>
                  <a:lnTo>
                    <a:pt x="686" y="478"/>
                  </a:lnTo>
                  <a:lnTo>
                    <a:pt x="690" y="478"/>
                  </a:lnTo>
                  <a:lnTo>
                    <a:pt x="690" y="478"/>
                  </a:lnTo>
                  <a:lnTo>
                    <a:pt x="690" y="478"/>
                  </a:lnTo>
                  <a:lnTo>
                    <a:pt x="690" y="478"/>
                  </a:lnTo>
                  <a:lnTo>
                    <a:pt x="690" y="478"/>
                  </a:lnTo>
                  <a:lnTo>
                    <a:pt x="690" y="478"/>
                  </a:lnTo>
                  <a:lnTo>
                    <a:pt x="690" y="478"/>
                  </a:lnTo>
                  <a:lnTo>
                    <a:pt x="695" y="482"/>
                  </a:lnTo>
                  <a:lnTo>
                    <a:pt x="690" y="482"/>
                  </a:lnTo>
                  <a:lnTo>
                    <a:pt x="690" y="487"/>
                  </a:lnTo>
                  <a:lnTo>
                    <a:pt x="690" y="487"/>
                  </a:lnTo>
                  <a:lnTo>
                    <a:pt x="695" y="487"/>
                  </a:lnTo>
                  <a:lnTo>
                    <a:pt x="695" y="487"/>
                  </a:lnTo>
                  <a:lnTo>
                    <a:pt x="695" y="487"/>
                  </a:lnTo>
                  <a:lnTo>
                    <a:pt x="695" y="487"/>
                  </a:lnTo>
                  <a:lnTo>
                    <a:pt x="695" y="487"/>
                  </a:lnTo>
                  <a:lnTo>
                    <a:pt x="695" y="491"/>
                  </a:lnTo>
                  <a:lnTo>
                    <a:pt x="695" y="491"/>
                  </a:lnTo>
                  <a:lnTo>
                    <a:pt x="690" y="496"/>
                  </a:lnTo>
                  <a:lnTo>
                    <a:pt x="690" y="496"/>
                  </a:lnTo>
                  <a:lnTo>
                    <a:pt x="690" y="496"/>
                  </a:lnTo>
                  <a:lnTo>
                    <a:pt x="690" y="500"/>
                  </a:lnTo>
                  <a:lnTo>
                    <a:pt x="686" y="500"/>
                  </a:lnTo>
                  <a:lnTo>
                    <a:pt x="682" y="505"/>
                  </a:lnTo>
                  <a:lnTo>
                    <a:pt x="682" y="505"/>
                  </a:lnTo>
                  <a:lnTo>
                    <a:pt x="682" y="505"/>
                  </a:lnTo>
                  <a:lnTo>
                    <a:pt x="677" y="505"/>
                  </a:lnTo>
                  <a:lnTo>
                    <a:pt x="677" y="509"/>
                  </a:lnTo>
                  <a:lnTo>
                    <a:pt x="677" y="509"/>
                  </a:lnTo>
                  <a:lnTo>
                    <a:pt x="677" y="509"/>
                  </a:lnTo>
                  <a:lnTo>
                    <a:pt x="682" y="509"/>
                  </a:lnTo>
                  <a:lnTo>
                    <a:pt x="682" y="505"/>
                  </a:lnTo>
                  <a:lnTo>
                    <a:pt x="682" y="505"/>
                  </a:lnTo>
                  <a:lnTo>
                    <a:pt x="686" y="505"/>
                  </a:lnTo>
                  <a:lnTo>
                    <a:pt x="686" y="505"/>
                  </a:lnTo>
                  <a:lnTo>
                    <a:pt x="686" y="505"/>
                  </a:lnTo>
                  <a:lnTo>
                    <a:pt x="690" y="500"/>
                  </a:lnTo>
                  <a:lnTo>
                    <a:pt x="690" y="496"/>
                  </a:lnTo>
                  <a:lnTo>
                    <a:pt x="690" y="496"/>
                  </a:lnTo>
                  <a:lnTo>
                    <a:pt x="695" y="496"/>
                  </a:lnTo>
                  <a:lnTo>
                    <a:pt x="699" y="487"/>
                  </a:lnTo>
                  <a:lnTo>
                    <a:pt x="699" y="487"/>
                  </a:lnTo>
                  <a:lnTo>
                    <a:pt x="699" y="482"/>
                  </a:lnTo>
                  <a:lnTo>
                    <a:pt x="699" y="482"/>
                  </a:lnTo>
                  <a:lnTo>
                    <a:pt x="704" y="482"/>
                  </a:lnTo>
                  <a:lnTo>
                    <a:pt x="704" y="478"/>
                  </a:lnTo>
                  <a:lnTo>
                    <a:pt x="704" y="478"/>
                  </a:lnTo>
                  <a:lnTo>
                    <a:pt x="713" y="474"/>
                  </a:lnTo>
                  <a:lnTo>
                    <a:pt x="713" y="474"/>
                  </a:lnTo>
                  <a:lnTo>
                    <a:pt x="717" y="469"/>
                  </a:lnTo>
                  <a:lnTo>
                    <a:pt x="717" y="469"/>
                  </a:lnTo>
                  <a:lnTo>
                    <a:pt x="721" y="465"/>
                  </a:lnTo>
                  <a:lnTo>
                    <a:pt x="726" y="465"/>
                  </a:lnTo>
                  <a:lnTo>
                    <a:pt x="726" y="465"/>
                  </a:lnTo>
                  <a:lnTo>
                    <a:pt x="735" y="460"/>
                  </a:lnTo>
                  <a:lnTo>
                    <a:pt x="739" y="465"/>
                  </a:lnTo>
                  <a:lnTo>
                    <a:pt x="739" y="465"/>
                  </a:lnTo>
                  <a:lnTo>
                    <a:pt x="739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9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9"/>
                  </a:lnTo>
                  <a:lnTo>
                    <a:pt x="744" y="469"/>
                  </a:lnTo>
                  <a:lnTo>
                    <a:pt x="744" y="465"/>
                  </a:lnTo>
                  <a:lnTo>
                    <a:pt x="748" y="465"/>
                  </a:lnTo>
                  <a:lnTo>
                    <a:pt x="748" y="460"/>
                  </a:lnTo>
                  <a:lnTo>
                    <a:pt x="752" y="460"/>
                  </a:lnTo>
                  <a:lnTo>
                    <a:pt x="752" y="456"/>
                  </a:lnTo>
                  <a:lnTo>
                    <a:pt x="757" y="456"/>
                  </a:lnTo>
                  <a:lnTo>
                    <a:pt x="757" y="456"/>
                  </a:lnTo>
                  <a:lnTo>
                    <a:pt x="761" y="456"/>
                  </a:lnTo>
                  <a:lnTo>
                    <a:pt x="761" y="456"/>
                  </a:lnTo>
                  <a:lnTo>
                    <a:pt x="761" y="456"/>
                  </a:lnTo>
                  <a:lnTo>
                    <a:pt x="761" y="456"/>
                  </a:lnTo>
                  <a:lnTo>
                    <a:pt x="766" y="456"/>
                  </a:lnTo>
                  <a:lnTo>
                    <a:pt x="766" y="456"/>
                  </a:lnTo>
                  <a:lnTo>
                    <a:pt x="766" y="456"/>
                  </a:lnTo>
                  <a:lnTo>
                    <a:pt x="766" y="456"/>
                  </a:lnTo>
                  <a:lnTo>
                    <a:pt x="770" y="456"/>
                  </a:lnTo>
                  <a:lnTo>
                    <a:pt x="770" y="456"/>
                  </a:lnTo>
                  <a:lnTo>
                    <a:pt x="770" y="456"/>
                  </a:lnTo>
                  <a:lnTo>
                    <a:pt x="775" y="456"/>
                  </a:lnTo>
                  <a:lnTo>
                    <a:pt x="775" y="460"/>
                  </a:lnTo>
                  <a:lnTo>
                    <a:pt x="775" y="460"/>
                  </a:lnTo>
                  <a:lnTo>
                    <a:pt x="770" y="460"/>
                  </a:lnTo>
                  <a:lnTo>
                    <a:pt x="770" y="465"/>
                  </a:lnTo>
                  <a:lnTo>
                    <a:pt x="770" y="465"/>
                  </a:lnTo>
                  <a:lnTo>
                    <a:pt x="770" y="465"/>
                  </a:lnTo>
                  <a:lnTo>
                    <a:pt x="770" y="465"/>
                  </a:lnTo>
                  <a:lnTo>
                    <a:pt x="770" y="465"/>
                  </a:lnTo>
                  <a:lnTo>
                    <a:pt x="775" y="465"/>
                  </a:lnTo>
                  <a:lnTo>
                    <a:pt x="775" y="460"/>
                  </a:lnTo>
                  <a:lnTo>
                    <a:pt x="775" y="460"/>
                  </a:lnTo>
                  <a:lnTo>
                    <a:pt x="775" y="456"/>
                  </a:lnTo>
                  <a:lnTo>
                    <a:pt x="775" y="456"/>
                  </a:lnTo>
                  <a:lnTo>
                    <a:pt x="775" y="456"/>
                  </a:lnTo>
                  <a:lnTo>
                    <a:pt x="775" y="451"/>
                  </a:lnTo>
                  <a:lnTo>
                    <a:pt x="779" y="451"/>
                  </a:lnTo>
                  <a:lnTo>
                    <a:pt x="779" y="451"/>
                  </a:lnTo>
                  <a:lnTo>
                    <a:pt x="783" y="447"/>
                  </a:lnTo>
                  <a:lnTo>
                    <a:pt x="783" y="447"/>
                  </a:lnTo>
                  <a:lnTo>
                    <a:pt x="783" y="447"/>
                  </a:lnTo>
                  <a:lnTo>
                    <a:pt x="783" y="447"/>
                  </a:lnTo>
                  <a:lnTo>
                    <a:pt x="788" y="447"/>
                  </a:lnTo>
                  <a:lnTo>
                    <a:pt x="792" y="443"/>
                  </a:lnTo>
                  <a:lnTo>
                    <a:pt x="792" y="443"/>
                  </a:lnTo>
                  <a:lnTo>
                    <a:pt x="797" y="443"/>
                  </a:lnTo>
                  <a:lnTo>
                    <a:pt x="797" y="443"/>
                  </a:lnTo>
                  <a:lnTo>
                    <a:pt x="797" y="443"/>
                  </a:lnTo>
                  <a:lnTo>
                    <a:pt x="801" y="443"/>
                  </a:lnTo>
                  <a:lnTo>
                    <a:pt x="801" y="447"/>
                  </a:lnTo>
                  <a:lnTo>
                    <a:pt x="801" y="447"/>
                  </a:lnTo>
                  <a:lnTo>
                    <a:pt x="801" y="447"/>
                  </a:lnTo>
                  <a:lnTo>
                    <a:pt x="801" y="443"/>
                  </a:lnTo>
                  <a:lnTo>
                    <a:pt x="810" y="434"/>
                  </a:lnTo>
                  <a:lnTo>
                    <a:pt x="810" y="429"/>
                  </a:lnTo>
                  <a:lnTo>
                    <a:pt x="814" y="429"/>
                  </a:lnTo>
                  <a:lnTo>
                    <a:pt x="819" y="429"/>
                  </a:lnTo>
                  <a:lnTo>
                    <a:pt x="823" y="429"/>
                  </a:lnTo>
                  <a:lnTo>
                    <a:pt x="828" y="429"/>
                  </a:lnTo>
                  <a:lnTo>
                    <a:pt x="832" y="429"/>
                  </a:lnTo>
                  <a:lnTo>
                    <a:pt x="832" y="429"/>
                  </a:lnTo>
                  <a:lnTo>
                    <a:pt x="836" y="429"/>
                  </a:lnTo>
                  <a:lnTo>
                    <a:pt x="836" y="429"/>
                  </a:lnTo>
                  <a:lnTo>
                    <a:pt x="836" y="429"/>
                  </a:lnTo>
                  <a:lnTo>
                    <a:pt x="841" y="429"/>
                  </a:lnTo>
                  <a:lnTo>
                    <a:pt x="841" y="429"/>
                  </a:lnTo>
                  <a:lnTo>
                    <a:pt x="841" y="429"/>
                  </a:lnTo>
                  <a:lnTo>
                    <a:pt x="841" y="429"/>
                  </a:lnTo>
                  <a:lnTo>
                    <a:pt x="841" y="429"/>
                  </a:lnTo>
                  <a:lnTo>
                    <a:pt x="841" y="434"/>
                  </a:lnTo>
                  <a:lnTo>
                    <a:pt x="841" y="434"/>
                  </a:lnTo>
                  <a:lnTo>
                    <a:pt x="845" y="434"/>
                  </a:lnTo>
                  <a:lnTo>
                    <a:pt x="845" y="429"/>
                  </a:lnTo>
                  <a:lnTo>
                    <a:pt x="845" y="429"/>
                  </a:lnTo>
                  <a:lnTo>
                    <a:pt x="845" y="429"/>
                  </a:lnTo>
                  <a:lnTo>
                    <a:pt x="845" y="425"/>
                  </a:lnTo>
                  <a:lnTo>
                    <a:pt x="845" y="425"/>
                  </a:lnTo>
                  <a:lnTo>
                    <a:pt x="845" y="420"/>
                  </a:lnTo>
                  <a:lnTo>
                    <a:pt x="850" y="420"/>
                  </a:lnTo>
                  <a:lnTo>
                    <a:pt x="850" y="420"/>
                  </a:lnTo>
                  <a:lnTo>
                    <a:pt x="850" y="420"/>
                  </a:lnTo>
                  <a:lnTo>
                    <a:pt x="850" y="420"/>
                  </a:lnTo>
                  <a:lnTo>
                    <a:pt x="850" y="416"/>
                  </a:lnTo>
                  <a:lnTo>
                    <a:pt x="850" y="416"/>
                  </a:lnTo>
                  <a:lnTo>
                    <a:pt x="850" y="416"/>
                  </a:lnTo>
                  <a:lnTo>
                    <a:pt x="850" y="416"/>
                  </a:lnTo>
                  <a:lnTo>
                    <a:pt x="850" y="416"/>
                  </a:lnTo>
                  <a:lnTo>
                    <a:pt x="850" y="416"/>
                  </a:lnTo>
                  <a:lnTo>
                    <a:pt x="845" y="416"/>
                  </a:lnTo>
                  <a:lnTo>
                    <a:pt x="845" y="416"/>
                  </a:lnTo>
                  <a:lnTo>
                    <a:pt x="845" y="412"/>
                  </a:lnTo>
                  <a:lnTo>
                    <a:pt x="845" y="412"/>
                  </a:lnTo>
                  <a:lnTo>
                    <a:pt x="850" y="407"/>
                  </a:lnTo>
                  <a:lnTo>
                    <a:pt x="850" y="407"/>
                  </a:lnTo>
                  <a:lnTo>
                    <a:pt x="850" y="403"/>
                  </a:lnTo>
                  <a:lnTo>
                    <a:pt x="850" y="398"/>
                  </a:lnTo>
                  <a:lnTo>
                    <a:pt x="850" y="398"/>
                  </a:lnTo>
                  <a:lnTo>
                    <a:pt x="850" y="394"/>
                  </a:lnTo>
                  <a:lnTo>
                    <a:pt x="854" y="389"/>
                  </a:lnTo>
                  <a:lnTo>
                    <a:pt x="854" y="389"/>
                  </a:lnTo>
                  <a:lnTo>
                    <a:pt x="867" y="389"/>
                  </a:lnTo>
                  <a:lnTo>
                    <a:pt x="867" y="389"/>
                  </a:lnTo>
                  <a:lnTo>
                    <a:pt x="867" y="385"/>
                  </a:lnTo>
                  <a:lnTo>
                    <a:pt x="872" y="385"/>
                  </a:lnTo>
                  <a:lnTo>
                    <a:pt x="872" y="385"/>
                  </a:lnTo>
                  <a:lnTo>
                    <a:pt x="872" y="385"/>
                  </a:lnTo>
                  <a:lnTo>
                    <a:pt x="872" y="385"/>
                  </a:lnTo>
                  <a:lnTo>
                    <a:pt x="876" y="385"/>
                  </a:lnTo>
                  <a:lnTo>
                    <a:pt x="876" y="385"/>
                  </a:lnTo>
                  <a:lnTo>
                    <a:pt x="876" y="381"/>
                  </a:lnTo>
                  <a:lnTo>
                    <a:pt x="876" y="376"/>
                  </a:lnTo>
                  <a:lnTo>
                    <a:pt x="876" y="372"/>
                  </a:lnTo>
                  <a:lnTo>
                    <a:pt x="881" y="372"/>
                  </a:lnTo>
                  <a:lnTo>
                    <a:pt x="881" y="372"/>
                  </a:lnTo>
                  <a:lnTo>
                    <a:pt x="890" y="372"/>
                  </a:lnTo>
                  <a:lnTo>
                    <a:pt x="890" y="372"/>
                  </a:lnTo>
                  <a:lnTo>
                    <a:pt x="894" y="372"/>
                  </a:lnTo>
                  <a:lnTo>
                    <a:pt x="894" y="372"/>
                  </a:lnTo>
                  <a:lnTo>
                    <a:pt x="894" y="372"/>
                  </a:lnTo>
                  <a:lnTo>
                    <a:pt x="898" y="372"/>
                  </a:lnTo>
                  <a:lnTo>
                    <a:pt x="907" y="372"/>
                  </a:lnTo>
                  <a:lnTo>
                    <a:pt x="907" y="372"/>
                  </a:lnTo>
                  <a:lnTo>
                    <a:pt x="907" y="372"/>
                  </a:lnTo>
                  <a:lnTo>
                    <a:pt x="907" y="372"/>
                  </a:lnTo>
                  <a:lnTo>
                    <a:pt x="912" y="372"/>
                  </a:lnTo>
                  <a:lnTo>
                    <a:pt x="912" y="372"/>
                  </a:lnTo>
                  <a:lnTo>
                    <a:pt x="916" y="372"/>
                  </a:lnTo>
                  <a:lnTo>
                    <a:pt x="916" y="372"/>
                  </a:lnTo>
                  <a:lnTo>
                    <a:pt x="921" y="372"/>
                  </a:lnTo>
                  <a:lnTo>
                    <a:pt x="921" y="372"/>
                  </a:lnTo>
                  <a:lnTo>
                    <a:pt x="925" y="376"/>
                  </a:lnTo>
                  <a:lnTo>
                    <a:pt x="929" y="372"/>
                  </a:lnTo>
                  <a:lnTo>
                    <a:pt x="929" y="372"/>
                  </a:lnTo>
                  <a:lnTo>
                    <a:pt x="929" y="372"/>
                  </a:lnTo>
                  <a:lnTo>
                    <a:pt x="929" y="367"/>
                  </a:lnTo>
                  <a:lnTo>
                    <a:pt x="929" y="367"/>
                  </a:lnTo>
                  <a:lnTo>
                    <a:pt x="929" y="367"/>
                  </a:lnTo>
                  <a:lnTo>
                    <a:pt x="929" y="367"/>
                  </a:lnTo>
                  <a:lnTo>
                    <a:pt x="929" y="367"/>
                  </a:lnTo>
                  <a:lnTo>
                    <a:pt x="929" y="363"/>
                  </a:lnTo>
                  <a:lnTo>
                    <a:pt x="929" y="363"/>
                  </a:lnTo>
                  <a:lnTo>
                    <a:pt x="929" y="363"/>
                  </a:lnTo>
                  <a:lnTo>
                    <a:pt x="929" y="363"/>
                  </a:lnTo>
                  <a:lnTo>
                    <a:pt x="929" y="358"/>
                  </a:lnTo>
                  <a:lnTo>
                    <a:pt x="929" y="358"/>
                  </a:lnTo>
                  <a:lnTo>
                    <a:pt x="929" y="358"/>
                  </a:lnTo>
                  <a:lnTo>
                    <a:pt x="929" y="358"/>
                  </a:lnTo>
                  <a:lnTo>
                    <a:pt x="929" y="358"/>
                  </a:lnTo>
                  <a:lnTo>
                    <a:pt x="929" y="358"/>
                  </a:lnTo>
                  <a:lnTo>
                    <a:pt x="934" y="358"/>
                  </a:lnTo>
                  <a:lnTo>
                    <a:pt x="934" y="358"/>
                  </a:lnTo>
                  <a:lnTo>
                    <a:pt x="934" y="358"/>
                  </a:lnTo>
                  <a:lnTo>
                    <a:pt x="934" y="354"/>
                  </a:lnTo>
                  <a:lnTo>
                    <a:pt x="934" y="354"/>
                  </a:lnTo>
                  <a:lnTo>
                    <a:pt x="934" y="350"/>
                  </a:lnTo>
                  <a:lnTo>
                    <a:pt x="934" y="350"/>
                  </a:lnTo>
                  <a:lnTo>
                    <a:pt x="934" y="345"/>
                  </a:lnTo>
                  <a:lnTo>
                    <a:pt x="938" y="345"/>
                  </a:lnTo>
                  <a:lnTo>
                    <a:pt x="938" y="341"/>
                  </a:lnTo>
                  <a:lnTo>
                    <a:pt x="938" y="341"/>
                  </a:lnTo>
                  <a:lnTo>
                    <a:pt x="943" y="341"/>
                  </a:lnTo>
                  <a:lnTo>
                    <a:pt x="943" y="336"/>
                  </a:lnTo>
                  <a:lnTo>
                    <a:pt x="938" y="336"/>
                  </a:lnTo>
                  <a:lnTo>
                    <a:pt x="938" y="336"/>
                  </a:lnTo>
                  <a:lnTo>
                    <a:pt x="938" y="336"/>
                  </a:lnTo>
                  <a:lnTo>
                    <a:pt x="934" y="336"/>
                  </a:lnTo>
                  <a:lnTo>
                    <a:pt x="934" y="336"/>
                  </a:lnTo>
                  <a:lnTo>
                    <a:pt x="934" y="332"/>
                  </a:lnTo>
                  <a:lnTo>
                    <a:pt x="938" y="332"/>
                  </a:lnTo>
                  <a:lnTo>
                    <a:pt x="938" y="327"/>
                  </a:lnTo>
                  <a:lnTo>
                    <a:pt x="938" y="327"/>
                  </a:lnTo>
                  <a:lnTo>
                    <a:pt x="938" y="327"/>
                  </a:lnTo>
                  <a:lnTo>
                    <a:pt x="934" y="327"/>
                  </a:lnTo>
                  <a:lnTo>
                    <a:pt x="934" y="323"/>
                  </a:lnTo>
                  <a:lnTo>
                    <a:pt x="934" y="323"/>
                  </a:lnTo>
                  <a:lnTo>
                    <a:pt x="934" y="323"/>
                  </a:lnTo>
                  <a:lnTo>
                    <a:pt x="934" y="319"/>
                  </a:lnTo>
                  <a:lnTo>
                    <a:pt x="934" y="319"/>
                  </a:lnTo>
                  <a:lnTo>
                    <a:pt x="934" y="319"/>
                  </a:lnTo>
                  <a:lnTo>
                    <a:pt x="934" y="319"/>
                  </a:lnTo>
                  <a:lnTo>
                    <a:pt x="934" y="319"/>
                  </a:lnTo>
                  <a:lnTo>
                    <a:pt x="934" y="319"/>
                  </a:lnTo>
                  <a:lnTo>
                    <a:pt x="934" y="319"/>
                  </a:lnTo>
                  <a:lnTo>
                    <a:pt x="934" y="319"/>
                  </a:lnTo>
                  <a:lnTo>
                    <a:pt x="934" y="319"/>
                  </a:lnTo>
                  <a:lnTo>
                    <a:pt x="934" y="314"/>
                  </a:lnTo>
                  <a:lnTo>
                    <a:pt x="934" y="314"/>
                  </a:lnTo>
                  <a:lnTo>
                    <a:pt x="929" y="314"/>
                  </a:lnTo>
                  <a:lnTo>
                    <a:pt x="925" y="314"/>
                  </a:lnTo>
                  <a:lnTo>
                    <a:pt x="925" y="314"/>
                  </a:lnTo>
                  <a:lnTo>
                    <a:pt x="921" y="314"/>
                  </a:lnTo>
                  <a:lnTo>
                    <a:pt x="921" y="310"/>
                  </a:lnTo>
                  <a:lnTo>
                    <a:pt x="925" y="301"/>
                  </a:lnTo>
                  <a:lnTo>
                    <a:pt x="925" y="301"/>
                  </a:lnTo>
                  <a:lnTo>
                    <a:pt x="929" y="301"/>
                  </a:lnTo>
                  <a:lnTo>
                    <a:pt x="929" y="297"/>
                  </a:lnTo>
                  <a:lnTo>
                    <a:pt x="929" y="297"/>
                  </a:lnTo>
                  <a:lnTo>
                    <a:pt x="929" y="297"/>
                  </a:lnTo>
                  <a:lnTo>
                    <a:pt x="929" y="297"/>
                  </a:lnTo>
                  <a:lnTo>
                    <a:pt x="929" y="297"/>
                  </a:lnTo>
                  <a:lnTo>
                    <a:pt x="934" y="297"/>
                  </a:lnTo>
                  <a:lnTo>
                    <a:pt x="938" y="297"/>
                  </a:lnTo>
                  <a:lnTo>
                    <a:pt x="938" y="297"/>
                  </a:lnTo>
                  <a:lnTo>
                    <a:pt x="943" y="297"/>
                  </a:lnTo>
                  <a:lnTo>
                    <a:pt x="943" y="292"/>
                  </a:lnTo>
                  <a:lnTo>
                    <a:pt x="943" y="292"/>
                  </a:lnTo>
                  <a:lnTo>
                    <a:pt x="943" y="292"/>
                  </a:lnTo>
                  <a:lnTo>
                    <a:pt x="943" y="288"/>
                  </a:lnTo>
                  <a:lnTo>
                    <a:pt x="943" y="288"/>
                  </a:lnTo>
                  <a:lnTo>
                    <a:pt x="943" y="292"/>
                  </a:lnTo>
                  <a:lnTo>
                    <a:pt x="938" y="292"/>
                  </a:lnTo>
                  <a:lnTo>
                    <a:pt x="938" y="292"/>
                  </a:lnTo>
                  <a:lnTo>
                    <a:pt x="938" y="292"/>
                  </a:lnTo>
                  <a:lnTo>
                    <a:pt x="938" y="292"/>
                  </a:lnTo>
                  <a:lnTo>
                    <a:pt x="938" y="288"/>
                  </a:lnTo>
                  <a:lnTo>
                    <a:pt x="934" y="288"/>
                  </a:lnTo>
                  <a:lnTo>
                    <a:pt x="934" y="288"/>
                  </a:lnTo>
                  <a:lnTo>
                    <a:pt x="929" y="288"/>
                  </a:lnTo>
                  <a:lnTo>
                    <a:pt x="929" y="288"/>
                  </a:lnTo>
                  <a:lnTo>
                    <a:pt x="929" y="288"/>
                  </a:lnTo>
                  <a:lnTo>
                    <a:pt x="929" y="288"/>
                  </a:lnTo>
                  <a:lnTo>
                    <a:pt x="925" y="283"/>
                  </a:lnTo>
                  <a:lnTo>
                    <a:pt x="925" y="283"/>
                  </a:lnTo>
                  <a:lnTo>
                    <a:pt x="925" y="283"/>
                  </a:lnTo>
                  <a:lnTo>
                    <a:pt x="925" y="283"/>
                  </a:lnTo>
                  <a:lnTo>
                    <a:pt x="925" y="279"/>
                  </a:lnTo>
                  <a:lnTo>
                    <a:pt x="925" y="279"/>
                  </a:lnTo>
                  <a:lnTo>
                    <a:pt x="929" y="279"/>
                  </a:lnTo>
                  <a:lnTo>
                    <a:pt x="934" y="274"/>
                  </a:lnTo>
                  <a:lnTo>
                    <a:pt x="934" y="274"/>
                  </a:lnTo>
                  <a:lnTo>
                    <a:pt x="934" y="279"/>
                  </a:lnTo>
                  <a:lnTo>
                    <a:pt x="938" y="274"/>
                  </a:lnTo>
                  <a:lnTo>
                    <a:pt x="938" y="274"/>
                  </a:lnTo>
                  <a:lnTo>
                    <a:pt x="938" y="274"/>
                  </a:lnTo>
                  <a:lnTo>
                    <a:pt x="938" y="274"/>
                  </a:lnTo>
                  <a:lnTo>
                    <a:pt x="938" y="270"/>
                  </a:lnTo>
                  <a:lnTo>
                    <a:pt x="938" y="270"/>
                  </a:lnTo>
                  <a:lnTo>
                    <a:pt x="938" y="270"/>
                  </a:lnTo>
                  <a:lnTo>
                    <a:pt x="943" y="266"/>
                  </a:lnTo>
                  <a:lnTo>
                    <a:pt x="943" y="266"/>
                  </a:lnTo>
                  <a:lnTo>
                    <a:pt x="947" y="261"/>
                  </a:lnTo>
                  <a:lnTo>
                    <a:pt x="947" y="261"/>
                  </a:lnTo>
                  <a:lnTo>
                    <a:pt x="947" y="261"/>
                  </a:lnTo>
                  <a:lnTo>
                    <a:pt x="947" y="261"/>
                  </a:lnTo>
                  <a:lnTo>
                    <a:pt x="947" y="257"/>
                  </a:lnTo>
                  <a:lnTo>
                    <a:pt x="952" y="257"/>
                  </a:lnTo>
                  <a:lnTo>
                    <a:pt x="952" y="252"/>
                  </a:lnTo>
                  <a:lnTo>
                    <a:pt x="947" y="252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75" name="Freeform 6"/>
            <p:cNvSpPr>
              <a:spLocks noEditPoints="1"/>
            </p:cNvSpPr>
            <p:nvPr/>
          </p:nvSpPr>
          <p:spPr bwMode="auto">
            <a:xfrm>
              <a:off x="4343400" y="4310063"/>
              <a:ext cx="1511300" cy="1004888"/>
            </a:xfrm>
            <a:custGeom>
              <a:avLst/>
              <a:gdLst>
                <a:gd name="T0" fmla="*/ 527 w 952"/>
                <a:gd name="T1" fmla="*/ 500 h 633"/>
                <a:gd name="T2" fmla="*/ 894 w 952"/>
                <a:gd name="T3" fmla="*/ 212 h 633"/>
                <a:gd name="T4" fmla="*/ 832 w 952"/>
                <a:gd name="T5" fmla="*/ 199 h 633"/>
                <a:gd name="T6" fmla="*/ 752 w 952"/>
                <a:gd name="T7" fmla="*/ 173 h 633"/>
                <a:gd name="T8" fmla="*/ 699 w 952"/>
                <a:gd name="T9" fmla="*/ 137 h 633"/>
                <a:gd name="T10" fmla="*/ 659 w 952"/>
                <a:gd name="T11" fmla="*/ 102 h 633"/>
                <a:gd name="T12" fmla="*/ 633 w 952"/>
                <a:gd name="T13" fmla="*/ 62 h 633"/>
                <a:gd name="T14" fmla="*/ 620 w 952"/>
                <a:gd name="T15" fmla="*/ 9 h 633"/>
                <a:gd name="T16" fmla="*/ 540 w 952"/>
                <a:gd name="T17" fmla="*/ 4 h 633"/>
                <a:gd name="T18" fmla="*/ 465 w 952"/>
                <a:gd name="T19" fmla="*/ 31 h 633"/>
                <a:gd name="T20" fmla="*/ 447 w 952"/>
                <a:gd name="T21" fmla="*/ 53 h 633"/>
                <a:gd name="T22" fmla="*/ 447 w 952"/>
                <a:gd name="T23" fmla="*/ 80 h 633"/>
                <a:gd name="T24" fmla="*/ 412 w 952"/>
                <a:gd name="T25" fmla="*/ 80 h 633"/>
                <a:gd name="T26" fmla="*/ 363 w 952"/>
                <a:gd name="T27" fmla="*/ 66 h 633"/>
                <a:gd name="T28" fmla="*/ 319 w 952"/>
                <a:gd name="T29" fmla="*/ 62 h 633"/>
                <a:gd name="T30" fmla="*/ 270 w 952"/>
                <a:gd name="T31" fmla="*/ 62 h 633"/>
                <a:gd name="T32" fmla="*/ 93 w 952"/>
                <a:gd name="T33" fmla="*/ 66 h 633"/>
                <a:gd name="T34" fmla="*/ 93 w 952"/>
                <a:gd name="T35" fmla="*/ 115 h 633"/>
                <a:gd name="T36" fmla="*/ 97 w 952"/>
                <a:gd name="T37" fmla="*/ 164 h 633"/>
                <a:gd name="T38" fmla="*/ 31 w 952"/>
                <a:gd name="T39" fmla="*/ 257 h 633"/>
                <a:gd name="T40" fmla="*/ 13 w 952"/>
                <a:gd name="T41" fmla="*/ 288 h 633"/>
                <a:gd name="T42" fmla="*/ 9 w 952"/>
                <a:gd name="T43" fmla="*/ 332 h 633"/>
                <a:gd name="T44" fmla="*/ 40 w 952"/>
                <a:gd name="T45" fmla="*/ 358 h 633"/>
                <a:gd name="T46" fmla="*/ 97 w 952"/>
                <a:gd name="T47" fmla="*/ 363 h 633"/>
                <a:gd name="T48" fmla="*/ 204 w 952"/>
                <a:gd name="T49" fmla="*/ 363 h 633"/>
                <a:gd name="T50" fmla="*/ 248 w 952"/>
                <a:gd name="T51" fmla="*/ 327 h 633"/>
                <a:gd name="T52" fmla="*/ 305 w 952"/>
                <a:gd name="T53" fmla="*/ 332 h 633"/>
                <a:gd name="T54" fmla="*/ 336 w 952"/>
                <a:gd name="T55" fmla="*/ 350 h 633"/>
                <a:gd name="T56" fmla="*/ 372 w 952"/>
                <a:gd name="T57" fmla="*/ 381 h 633"/>
                <a:gd name="T58" fmla="*/ 394 w 952"/>
                <a:gd name="T59" fmla="*/ 416 h 633"/>
                <a:gd name="T60" fmla="*/ 407 w 952"/>
                <a:gd name="T61" fmla="*/ 451 h 633"/>
                <a:gd name="T62" fmla="*/ 407 w 952"/>
                <a:gd name="T63" fmla="*/ 487 h 633"/>
                <a:gd name="T64" fmla="*/ 376 w 952"/>
                <a:gd name="T65" fmla="*/ 478 h 633"/>
                <a:gd name="T66" fmla="*/ 345 w 952"/>
                <a:gd name="T67" fmla="*/ 518 h 633"/>
                <a:gd name="T68" fmla="*/ 319 w 952"/>
                <a:gd name="T69" fmla="*/ 553 h 633"/>
                <a:gd name="T70" fmla="*/ 367 w 952"/>
                <a:gd name="T71" fmla="*/ 558 h 633"/>
                <a:gd name="T72" fmla="*/ 403 w 952"/>
                <a:gd name="T73" fmla="*/ 558 h 633"/>
                <a:gd name="T74" fmla="*/ 394 w 952"/>
                <a:gd name="T75" fmla="*/ 531 h 633"/>
                <a:gd name="T76" fmla="*/ 407 w 952"/>
                <a:gd name="T77" fmla="*/ 531 h 633"/>
                <a:gd name="T78" fmla="*/ 429 w 952"/>
                <a:gd name="T79" fmla="*/ 522 h 633"/>
                <a:gd name="T80" fmla="*/ 474 w 952"/>
                <a:gd name="T81" fmla="*/ 465 h 633"/>
                <a:gd name="T82" fmla="*/ 491 w 952"/>
                <a:gd name="T83" fmla="*/ 465 h 633"/>
                <a:gd name="T84" fmla="*/ 513 w 952"/>
                <a:gd name="T85" fmla="*/ 429 h 633"/>
                <a:gd name="T86" fmla="*/ 518 w 952"/>
                <a:gd name="T87" fmla="*/ 456 h 633"/>
                <a:gd name="T88" fmla="*/ 522 w 952"/>
                <a:gd name="T89" fmla="*/ 474 h 633"/>
                <a:gd name="T90" fmla="*/ 513 w 952"/>
                <a:gd name="T91" fmla="*/ 491 h 633"/>
                <a:gd name="T92" fmla="*/ 580 w 952"/>
                <a:gd name="T93" fmla="*/ 505 h 633"/>
                <a:gd name="T94" fmla="*/ 606 w 952"/>
                <a:gd name="T95" fmla="*/ 513 h 633"/>
                <a:gd name="T96" fmla="*/ 580 w 952"/>
                <a:gd name="T97" fmla="*/ 531 h 633"/>
                <a:gd name="T98" fmla="*/ 575 w 952"/>
                <a:gd name="T99" fmla="*/ 567 h 633"/>
                <a:gd name="T100" fmla="*/ 597 w 952"/>
                <a:gd name="T101" fmla="*/ 615 h 633"/>
                <a:gd name="T102" fmla="*/ 637 w 952"/>
                <a:gd name="T103" fmla="*/ 624 h 633"/>
                <a:gd name="T104" fmla="*/ 686 w 952"/>
                <a:gd name="T105" fmla="*/ 593 h 633"/>
                <a:gd name="T106" fmla="*/ 744 w 952"/>
                <a:gd name="T107" fmla="*/ 584 h 633"/>
                <a:gd name="T108" fmla="*/ 748 w 952"/>
                <a:gd name="T109" fmla="*/ 553 h 633"/>
                <a:gd name="T110" fmla="*/ 668 w 952"/>
                <a:gd name="T111" fmla="*/ 509 h 633"/>
                <a:gd name="T112" fmla="*/ 695 w 952"/>
                <a:gd name="T113" fmla="*/ 487 h 633"/>
                <a:gd name="T114" fmla="*/ 744 w 952"/>
                <a:gd name="T115" fmla="*/ 465 h 633"/>
                <a:gd name="T116" fmla="*/ 775 w 952"/>
                <a:gd name="T117" fmla="*/ 456 h 633"/>
                <a:gd name="T118" fmla="*/ 850 w 952"/>
                <a:gd name="T119" fmla="*/ 420 h 633"/>
                <a:gd name="T120" fmla="*/ 916 w 952"/>
                <a:gd name="T121" fmla="*/ 372 h 633"/>
                <a:gd name="T122" fmla="*/ 934 w 952"/>
                <a:gd name="T123" fmla="*/ 323 h 633"/>
                <a:gd name="T124" fmla="*/ 925 w 952"/>
                <a:gd name="T125" fmla="*/ 283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2" h="633">
                  <a:moveTo>
                    <a:pt x="412" y="536"/>
                  </a:moveTo>
                  <a:lnTo>
                    <a:pt x="407" y="536"/>
                  </a:lnTo>
                  <a:lnTo>
                    <a:pt x="407" y="540"/>
                  </a:lnTo>
                  <a:lnTo>
                    <a:pt x="407" y="540"/>
                  </a:lnTo>
                  <a:lnTo>
                    <a:pt x="407" y="540"/>
                  </a:lnTo>
                  <a:lnTo>
                    <a:pt x="407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4"/>
                  </a:lnTo>
                  <a:lnTo>
                    <a:pt x="398" y="544"/>
                  </a:lnTo>
                  <a:lnTo>
                    <a:pt x="403" y="544"/>
                  </a:lnTo>
                  <a:lnTo>
                    <a:pt x="412" y="540"/>
                  </a:lnTo>
                  <a:lnTo>
                    <a:pt x="420" y="527"/>
                  </a:lnTo>
                  <a:lnTo>
                    <a:pt x="420" y="531"/>
                  </a:lnTo>
                  <a:lnTo>
                    <a:pt x="412" y="536"/>
                  </a:lnTo>
                  <a:close/>
                  <a:moveTo>
                    <a:pt x="575" y="513"/>
                  </a:moveTo>
                  <a:lnTo>
                    <a:pt x="575" y="509"/>
                  </a:lnTo>
                  <a:lnTo>
                    <a:pt x="571" y="509"/>
                  </a:lnTo>
                  <a:lnTo>
                    <a:pt x="571" y="509"/>
                  </a:lnTo>
                  <a:lnTo>
                    <a:pt x="571" y="509"/>
                  </a:lnTo>
                  <a:lnTo>
                    <a:pt x="571" y="509"/>
                  </a:lnTo>
                  <a:lnTo>
                    <a:pt x="567" y="509"/>
                  </a:lnTo>
                  <a:lnTo>
                    <a:pt x="567" y="509"/>
                  </a:lnTo>
                  <a:lnTo>
                    <a:pt x="567" y="509"/>
                  </a:lnTo>
                  <a:lnTo>
                    <a:pt x="562" y="509"/>
                  </a:lnTo>
                  <a:lnTo>
                    <a:pt x="553" y="509"/>
                  </a:lnTo>
                  <a:lnTo>
                    <a:pt x="553" y="509"/>
                  </a:lnTo>
                  <a:lnTo>
                    <a:pt x="553" y="509"/>
                  </a:lnTo>
                  <a:lnTo>
                    <a:pt x="553" y="509"/>
                  </a:lnTo>
                  <a:lnTo>
                    <a:pt x="575" y="513"/>
                  </a:lnTo>
                  <a:lnTo>
                    <a:pt x="575" y="513"/>
                  </a:lnTo>
                  <a:close/>
                  <a:moveTo>
                    <a:pt x="522" y="500"/>
                  </a:moveTo>
                  <a:lnTo>
                    <a:pt x="518" y="500"/>
                  </a:lnTo>
                  <a:lnTo>
                    <a:pt x="500" y="496"/>
                  </a:lnTo>
                  <a:lnTo>
                    <a:pt x="496" y="491"/>
                  </a:lnTo>
                  <a:lnTo>
                    <a:pt x="496" y="491"/>
                  </a:lnTo>
                  <a:lnTo>
                    <a:pt x="496" y="487"/>
                  </a:lnTo>
                  <a:lnTo>
                    <a:pt x="496" y="487"/>
                  </a:lnTo>
                  <a:lnTo>
                    <a:pt x="496" y="487"/>
                  </a:lnTo>
                  <a:lnTo>
                    <a:pt x="496" y="487"/>
                  </a:lnTo>
                  <a:lnTo>
                    <a:pt x="496" y="487"/>
                  </a:lnTo>
                  <a:lnTo>
                    <a:pt x="496" y="491"/>
                  </a:lnTo>
                  <a:lnTo>
                    <a:pt x="496" y="491"/>
                  </a:lnTo>
                  <a:lnTo>
                    <a:pt x="496" y="496"/>
                  </a:lnTo>
                  <a:lnTo>
                    <a:pt x="505" y="496"/>
                  </a:lnTo>
                  <a:lnTo>
                    <a:pt x="527" y="500"/>
                  </a:lnTo>
                  <a:lnTo>
                    <a:pt x="527" y="500"/>
                  </a:lnTo>
                  <a:lnTo>
                    <a:pt x="527" y="500"/>
                  </a:lnTo>
                  <a:lnTo>
                    <a:pt x="527" y="500"/>
                  </a:lnTo>
                  <a:lnTo>
                    <a:pt x="522" y="500"/>
                  </a:lnTo>
                  <a:close/>
                  <a:moveTo>
                    <a:pt x="947" y="252"/>
                  </a:moveTo>
                  <a:lnTo>
                    <a:pt x="947" y="248"/>
                  </a:lnTo>
                  <a:lnTo>
                    <a:pt x="943" y="248"/>
                  </a:lnTo>
                  <a:lnTo>
                    <a:pt x="943" y="243"/>
                  </a:lnTo>
                  <a:lnTo>
                    <a:pt x="943" y="239"/>
                  </a:lnTo>
                  <a:lnTo>
                    <a:pt x="943" y="239"/>
                  </a:lnTo>
                  <a:lnTo>
                    <a:pt x="947" y="239"/>
                  </a:lnTo>
                  <a:lnTo>
                    <a:pt x="947" y="235"/>
                  </a:lnTo>
                  <a:lnTo>
                    <a:pt x="947" y="235"/>
                  </a:lnTo>
                  <a:lnTo>
                    <a:pt x="947" y="235"/>
                  </a:lnTo>
                  <a:lnTo>
                    <a:pt x="947" y="235"/>
                  </a:lnTo>
                  <a:lnTo>
                    <a:pt x="947" y="235"/>
                  </a:lnTo>
                  <a:lnTo>
                    <a:pt x="943" y="230"/>
                  </a:lnTo>
                  <a:lnTo>
                    <a:pt x="943" y="230"/>
                  </a:lnTo>
                  <a:lnTo>
                    <a:pt x="938" y="230"/>
                  </a:lnTo>
                  <a:lnTo>
                    <a:pt x="938" y="235"/>
                  </a:lnTo>
                  <a:lnTo>
                    <a:pt x="934" y="235"/>
                  </a:lnTo>
                  <a:lnTo>
                    <a:pt x="934" y="235"/>
                  </a:lnTo>
                  <a:lnTo>
                    <a:pt x="934" y="235"/>
                  </a:lnTo>
                  <a:lnTo>
                    <a:pt x="929" y="235"/>
                  </a:lnTo>
                  <a:lnTo>
                    <a:pt x="929" y="235"/>
                  </a:lnTo>
                  <a:lnTo>
                    <a:pt x="925" y="235"/>
                  </a:lnTo>
                  <a:lnTo>
                    <a:pt x="925" y="230"/>
                  </a:lnTo>
                  <a:lnTo>
                    <a:pt x="925" y="230"/>
                  </a:lnTo>
                  <a:lnTo>
                    <a:pt x="921" y="230"/>
                  </a:lnTo>
                  <a:lnTo>
                    <a:pt x="921" y="226"/>
                  </a:lnTo>
                  <a:lnTo>
                    <a:pt x="921" y="226"/>
                  </a:lnTo>
                  <a:lnTo>
                    <a:pt x="921" y="221"/>
                  </a:lnTo>
                  <a:lnTo>
                    <a:pt x="916" y="221"/>
                  </a:lnTo>
                  <a:lnTo>
                    <a:pt x="916" y="221"/>
                  </a:lnTo>
                  <a:lnTo>
                    <a:pt x="916" y="221"/>
                  </a:lnTo>
                  <a:lnTo>
                    <a:pt x="912" y="221"/>
                  </a:lnTo>
                  <a:lnTo>
                    <a:pt x="912" y="221"/>
                  </a:lnTo>
                  <a:lnTo>
                    <a:pt x="907" y="221"/>
                  </a:lnTo>
                  <a:lnTo>
                    <a:pt x="907" y="221"/>
                  </a:lnTo>
                  <a:lnTo>
                    <a:pt x="903" y="221"/>
                  </a:lnTo>
                  <a:lnTo>
                    <a:pt x="903" y="221"/>
                  </a:lnTo>
                  <a:lnTo>
                    <a:pt x="903" y="217"/>
                  </a:lnTo>
                  <a:lnTo>
                    <a:pt x="898" y="212"/>
                  </a:lnTo>
                  <a:lnTo>
                    <a:pt x="898" y="212"/>
                  </a:lnTo>
                  <a:lnTo>
                    <a:pt x="898" y="208"/>
                  </a:lnTo>
                  <a:lnTo>
                    <a:pt x="894" y="208"/>
                  </a:lnTo>
                  <a:lnTo>
                    <a:pt x="894" y="212"/>
                  </a:lnTo>
                  <a:lnTo>
                    <a:pt x="894" y="212"/>
                  </a:lnTo>
                  <a:lnTo>
                    <a:pt x="890" y="212"/>
                  </a:lnTo>
                  <a:lnTo>
                    <a:pt x="890" y="217"/>
                  </a:lnTo>
                  <a:lnTo>
                    <a:pt x="885" y="217"/>
                  </a:lnTo>
                  <a:lnTo>
                    <a:pt x="885" y="212"/>
                  </a:lnTo>
                  <a:lnTo>
                    <a:pt x="881" y="212"/>
                  </a:lnTo>
                  <a:lnTo>
                    <a:pt x="881" y="208"/>
                  </a:lnTo>
                  <a:lnTo>
                    <a:pt x="876" y="208"/>
                  </a:lnTo>
                  <a:lnTo>
                    <a:pt x="872" y="208"/>
                  </a:lnTo>
                  <a:lnTo>
                    <a:pt x="872" y="204"/>
                  </a:lnTo>
                  <a:lnTo>
                    <a:pt x="872" y="204"/>
                  </a:lnTo>
                  <a:lnTo>
                    <a:pt x="872" y="204"/>
                  </a:lnTo>
                  <a:lnTo>
                    <a:pt x="872" y="204"/>
                  </a:lnTo>
                  <a:lnTo>
                    <a:pt x="872" y="204"/>
                  </a:lnTo>
                  <a:lnTo>
                    <a:pt x="872" y="204"/>
                  </a:lnTo>
                  <a:lnTo>
                    <a:pt x="867" y="204"/>
                  </a:lnTo>
                  <a:lnTo>
                    <a:pt x="867" y="204"/>
                  </a:lnTo>
                  <a:lnTo>
                    <a:pt x="867" y="204"/>
                  </a:lnTo>
                  <a:lnTo>
                    <a:pt x="867" y="204"/>
                  </a:lnTo>
                  <a:lnTo>
                    <a:pt x="863" y="204"/>
                  </a:lnTo>
                  <a:lnTo>
                    <a:pt x="859" y="204"/>
                  </a:lnTo>
                  <a:lnTo>
                    <a:pt x="859" y="204"/>
                  </a:lnTo>
                  <a:lnTo>
                    <a:pt x="859" y="204"/>
                  </a:lnTo>
                  <a:lnTo>
                    <a:pt x="854" y="199"/>
                  </a:lnTo>
                  <a:lnTo>
                    <a:pt x="854" y="199"/>
                  </a:lnTo>
                  <a:lnTo>
                    <a:pt x="854" y="199"/>
                  </a:lnTo>
                  <a:lnTo>
                    <a:pt x="854" y="195"/>
                  </a:lnTo>
                  <a:lnTo>
                    <a:pt x="850" y="195"/>
                  </a:lnTo>
                  <a:lnTo>
                    <a:pt x="850" y="195"/>
                  </a:lnTo>
                  <a:lnTo>
                    <a:pt x="850" y="195"/>
                  </a:lnTo>
                  <a:lnTo>
                    <a:pt x="845" y="195"/>
                  </a:lnTo>
                  <a:lnTo>
                    <a:pt x="845" y="195"/>
                  </a:lnTo>
                  <a:lnTo>
                    <a:pt x="845" y="195"/>
                  </a:lnTo>
                  <a:lnTo>
                    <a:pt x="845" y="199"/>
                  </a:lnTo>
                  <a:lnTo>
                    <a:pt x="845" y="204"/>
                  </a:lnTo>
                  <a:lnTo>
                    <a:pt x="841" y="204"/>
                  </a:lnTo>
                  <a:lnTo>
                    <a:pt x="841" y="204"/>
                  </a:lnTo>
                  <a:lnTo>
                    <a:pt x="841" y="204"/>
                  </a:lnTo>
                  <a:lnTo>
                    <a:pt x="841" y="204"/>
                  </a:lnTo>
                  <a:lnTo>
                    <a:pt x="841" y="204"/>
                  </a:lnTo>
                  <a:lnTo>
                    <a:pt x="836" y="208"/>
                  </a:lnTo>
                  <a:lnTo>
                    <a:pt x="836" y="208"/>
                  </a:lnTo>
                  <a:lnTo>
                    <a:pt x="836" y="208"/>
                  </a:lnTo>
                  <a:lnTo>
                    <a:pt x="836" y="204"/>
                  </a:lnTo>
                  <a:lnTo>
                    <a:pt x="836" y="204"/>
                  </a:lnTo>
                  <a:lnTo>
                    <a:pt x="836" y="204"/>
                  </a:lnTo>
                  <a:lnTo>
                    <a:pt x="832" y="199"/>
                  </a:lnTo>
                  <a:lnTo>
                    <a:pt x="832" y="199"/>
                  </a:lnTo>
                  <a:lnTo>
                    <a:pt x="828" y="199"/>
                  </a:lnTo>
                  <a:lnTo>
                    <a:pt x="828" y="195"/>
                  </a:lnTo>
                  <a:lnTo>
                    <a:pt x="823" y="195"/>
                  </a:lnTo>
                  <a:lnTo>
                    <a:pt x="823" y="195"/>
                  </a:lnTo>
                  <a:lnTo>
                    <a:pt x="819" y="186"/>
                  </a:lnTo>
                  <a:lnTo>
                    <a:pt x="814" y="181"/>
                  </a:lnTo>
                  <a:lnTo>
                    <a:pt x="814" y="181"/>
                  </a:lnTo>
                  <a:lnTo>
                    <a:pt x="814" y="181"/>
                  </a:lnTo>
                  <a:lnTo>
                    <a:pt x="814" y="181"/>
                  </a:lnTo>
                  <a:lnTo>
                    <a:pt x="814" y="177"/>
                  </a:lnTo>
                  <a:lnTo>
                    <a:pt x="814" y="177"/>
                  </a:lnTo>
                  <a:lnTo>
                    <a:pt x="814" y="173"/>
                  </a:lnTo>
                  <a:lnTo>
                    <a:pt x="810" y="173"/>
                  </a:lnTo>
                  <a:lnTo>
                    <a:pt x="810" y="168"/>
                  </a:lnTo>
                  <a:lnTo>
                    <a:pt x="806" y="168"/>
                  </a:lnTo>
                  <a:lnTo>
                    <a:pt x="806" y="164"/>
                  </a:lnTo>
                  <a:lnTo>
                    <a:pt x="806" y="164"/>
                  </a:lnTo>
                  <a:lnTo>
                    <a:pt x="801" y="164"/>
                  </a:lnTo>
                  <a:lnTo>
                    <a:pt x="797" y="164"/>
                  </a:lnTo>
                  <a:lnTo>
                    <a:pt x="797" y="168"/>
                  </a:lnTo>
                  <a:lnTo>
                    <a:pt x="792" y="168"/>
                  </a:lnTo>
                  <a:lnTo>
                    <a:pt x="788" y="173"/>
                  </a:lnTo>
                  <a:lnTo>
                    <a:pt x="783" y="173"/>
                  </a:lnTo>
                  <a:lnTo>
                    <a:pt x="779" y="173"/>
                  </a:lnTo>
                  <a:lnTo>
                    <a:pt x="775" y="173"/>
                  </a:lnTo>
                  <a:lnTo>
                    <a:pt x="766" y="177"/>
                  </a:lnTo>
                  <a:lnTo>
                    <a:pt x="766" y="177"/>
                  </a:lnTo>
                  <a:lnTo>
                    <a:pt x="766" y="177"/>
                  </a:lnTo>
                  <a:lnTo>
                    <a:pt x="766" y="181"/>
                  </a:lnTo>
                  <a:lnTo>
                    <a:pt x="766" y="181"/>
                  </a:lnTo>
                  <a:lnTo>
                    <a:pt x="761" y="181"/>
                  </a:lnTo>
                  <a:lnTo>
                    <a:pt x="761" y="181"/>
                  </a:lnTo>
                  <a:lnTo>
                    <a:pt x="761" y="181"/>
                  </a:lnTo>
                  <a:lnTo>
                    <a:pt x="761" y="181"/>
                  </a:lnTo>
                  <a:lnTo>
                    <a:pt x="757" y="181"/>
                  </a:lnTo>
                  <a:lnTo>
                    <a:pt x="757" y="181"/>
                  </a:lnTo>
                  <a:lnTo>
                    <a:pt x="757" y="181"/>
                  </a:lnTo>
                  <a:lnTo>
                    <a:pt x="757" y="177"/>
                  </a:lnTo>
                  <a:lnTo>
                    <a:pt x="757" y="177"/>
                  </a:lnTo>
                  <a:lnTo>
                    <a:pt x="757" y="177"/>
                  </a:lnTo>
                  <a:lnTo>
                    <a:pt x="757" y="177"/>
                  </a:lnTo>
                  <a:lnTo>
                    <a:pt x="757" y="177"/>
                  </a:lnTo>
                  <a:lnTo>
                    <a:pt x="757" y="177"/>
                  </a:lnTo>
                  <a:lnTo>
                    <a:pt x="752" y="177"/>
                  </a:lnTo>
                  <a:lnTo>
                    <a:pt x="752" y="173"/>
                  </a:lnTo>
                  <a:lnTo>
                    <a:pt x="752" y="173"/>
                  </a:lnTo>
                  <a:lnTo>
                    <a:pt x="752" y="173"/>
                  </a:lnTo>
                  <a:lnTo>
                    <a:pt x="752" y="173"/>
                  </a:lnTo>
                  <a:lnTo>
                    <a:pt x="752" y="173"/>
                  </a:lnTo>
                  <a:lnTo>
                    <a:pt x="748" y="177"/>
                  </a:lnTo>
                  <a:lnTo>
                    <a:pt x="748" y="177"/>
                  </a:lnTo>
                  <a:lnTo>
                    <a:pt x="748" y="177"/>
                  </a:lnTo>
                  <a:lnTo>
                    <a:pt x="748" y="177"/>
                  </a:lnTo>
                  <a:lnTo>
                    <a:pt x="744" y="177"/>
                  </a:lnTo>
                  <a:lnTo>
                    <a:pt x="739" y="168"/>
                  </a:lnTo>
                  <a:lnTo>
                    <a:pt x="739" y="168"/>
                  </a:lnTo>
                  <a:lnTo>
                    <a:pt x="739" y="164"/>
                  </a:lnTo>
                  <a:lnTo>
                    <a:pt x="735" y="164"/>
                  </a:lnTo>
                  <a:lnTo>
                    <a:pt x="726" y="164"/>
                  </a:lnTo>
                  <a:lnTo>
                    <a:pt x="721" y="164"/>
                  </a:lnTo>
                  <a:lnTo>
                    <a:pt x="721" y="164"/>
                  </a:lnTo>
                  <a:lnTo>
                    <a:pt x="721" y="164"/>
                  </a:lnTo>
                  <a:lnTo>
                    <a:pt x="721" y="168"/>
                  </a:lnTo>
                  <a:lnTo>
                    <a:pt x="717" y="168"/>
                  </a:lnTo>
                  <a:lnTo>
                    <a:pt x="717" y="168"/>
                  </a:lnTo>
                  <a:lnTo>
                    <a:pt x="717" y="168"/>
                  </a:lnTo>
                  <a:lnTo>
                    <a:pt x="717" y="168"/>
                  </a:lnTo>
                  <a:lnTo>
                    <a:pt x="717" y="168"/>
                  </a:lnTo>
                  <a:lnTo>
                    <a:pt x="717" y="168"/>
                  </a:lnTo>
                  <a:lnTo>
                    <a:pt x="713" y="173"/>
                  </a:lnTo>
                  <a:lnTo>
                    <a:pt x="713" y="173"/>
                  </a:lnTo>
                  <a:lnTo>
                    <a:pt x="713" y="173"/>
                  </a:lnTo>
                  <a:lnTo>
                    <a:pt x="713" y="173"/>
                  </a:lnTo>
                  <a:lnTo>
                    <a:pt x="713" y="173"/>
                  </a:lnTo>
                  <a:lnTo>
                    <a:pt x="708" y="168"/>
                  </a:lnTo>
                  <a:lnTo>
                    <a:pt x="708" y="168"/>
                  </a:lnTo>
                  <a:lnTo>
                    <a:pt x="708" y="168"/>
                  </a:lnTo>
                  <a:lnTo>
                    <a:pt x="708" y="168"/>
                  </a:lnTo>
                  <a:lnTo>
                    <a:pt x="708" y="164"/>
                  </a:lnTo>
                  <a:lnTo>
                    <a:pt x="708" y="164"/>
                  </a:lnTo>
                  <a:lnTo>
                    <a:pt x="708" y="164"/>
                  </a:lnTo>
                  <a:lnTo>
                    <a:pt x="704" y="159"/>
                  </a:lnTo>
                  <a:lnTo>
                    <a:pt x="704" y="159"/>
                  </a:lnTo>
                  <a:lnTo>
                    <a:pt x="704" y="159"/>
                  </a:lnTo>
                  <a:lnTo>
                    <a:pt x="699" y="159"/>
                  </a:lnTo>
                  <a:lnTo>
                    <a:pt x="699" y="159"/>
                  </a:lnTo>
                  <a:lnTo>
                    <a:pt x="699" y="146"/>
                  </a:lnTo>
                  <a:lnTo>
                    <a:pt x="699" y="146"/>
                  </a:lnTo>
                  <a:lnTo>
                    <a:pt x="699" y="146"/>
                  </a:lnTo>
                  <a:lnTo>
                    <a:pt x="704" y="146"/>
                  </a:lnTo>
                  <a:lnTo>
                    <a:pt x="699" y="142"/>
                  </a:lnTo>
                  <a:lnTo>
                    <a:pt x="699" y="142"/>
                  </a:lnTo>
                  <a:lnTo>
                    <a:pt x="699" y="137"/>
                  </a:lnTo>
                  <a:lnTo>
                    <a:pt x="699" y="137"/>
                  </a:lnTo>
                  <a:lnTo>
                    <a:pt x="699" y="137"/>
                  </a:lnTo>
                  <a:lnTo>
                    <a:pt x="699" y="133"/>
                  </a:lnTo>
                  <a:lnTo>
                    <a:pt x="699" y="133"/>
                  </a:lnTo>
                  <a:lnTo>
                    <a:pt x="699" y="133"/>
                  </a:lnTo>
                  <a:lnTo>
                    <a:pt x="699" y="133"/>
                  </a:lnTo>
                  <a:lnTo>
                    <a:pt x="699" y="133"/>
                  </a:lnTo>
                  <a:lnTo>
                    <a:pt x="699" y="128"/>
                  </a:lnTo>
                  <a:lnTo>
                    <a:pt x="699" y="128"/>
                  </a:lnTo>
                  <a:lnTo>
                    <a:pt x="695" y="128"/>
                  </a:lnTo>
                  <a:lnTo>
                    <a:pt x="695" y="128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19"/>
                  </a:lnTo>
                  <a:lnTo>
                    <a:pt x="695" y="119"/>
                  </a:lnTo>
                  <a:lnTo>
                    <a:pt x="695" y="119"/>
                  </a:lnTo>
                  <a:lnTo>
                    <a:pt x="695" y="119"/>
                  </a:lnTo>
                  <a:lnTo>
                    <a:pt x="695" y="119"/>
                  </a:lnTo>
                  <a:lnTo>
                    <a:pt x="690" y="115"/>
                  </a:lnTo>
                  <a:lnTo>
                    <a:pt x="695" y="115"/>
                  </a:lnTo>
                  <a:lnTo>
                    <a:pt x="695" y="115"/>
                  </a:lnTo>
                  <a:lnTo>
                    <a:pt x="695" y="115"/>
                  </a:lnTo>
                  <a:lnTo>
                    <a:pt x="695" y="115"/>
                  </a:lnTo>
                  <a:lnTo>
                    <a:pt x="695" y="111"/>
                  </a:lnTo>
                  <a:lnTo>
                    <a:pt x="695" y="111"/>
                  </a:lnTo>
                  <a:lnTo>
                    <a:pt x="690" y="111"/>
                  </a:lnTo>
                  <a:lnTo>
                    <a:pt x="690" y="115"/>
                  </a:lnTo>
                  <a:lnTo>
                    <a:pt x="686" y="115"/>
                  </a:lnTo>
                  <a:lnTo>
                    <a:pt x="686" y="111"/>
                  </a:lnTo>
                  <a:lnTo>
                    <a:pt x="686" y="111"/>
                  </a:lnTo>
                  <a:lnTo>
                    <a:pt x="682" y="102"/>
                  </a:lnTo>
                  <a:lnTo>
                    <a:pt x="682" y="102"/>
                  </a:lnTo>
                  <a:lnTo>
                    <a:pt x="682" y="97"/>
                  </a:lnTo>
                  <a:lnTo>
                    <a:pt x="682" y="97"/>
                  </a:lnTo>
                  <a:lnTo>
                    <a:pt x="682" y="97"/>
                  </a:lnTo>
                  <a:lnTo>
                    <a:pt x="677" y="97"/>
                  </a:lnTo>
                  <a:lnTo>
                    <a:pt x="677" y="97"/>
                  </a:lnTo>
                  <a:lnTo>
                    <a:pt x="677" y="97"/>
                  </a:lnTo>
                  <a:lnTo>
                    <a:pt x="677" y="97"/>
                  </a:lnTo>
                  <a:lnTo>
                    <a:pt x="677" y="97"/>
                  </a:lnTo>
                  <a:lnTo>
                    <a:pt x="673" y="102"/>
                  </a:lnTo>
                  <a:lnTo>
                    <a:pt x="668" y="102"/>
                  </a:lnTo>
                  <a:lnTo>
                    <a:pt x="664" y="102"/>
                  </a:lnTo>
                  <a:lnTo>
                    <a:pt x="659" y="102"/>
                  </a:lnTo>
                  <a:lnTo>
                    <a:pt x="659" y="102"/>
                  </a:lnTo>
                  <a:lnTo>
                    <a:pt x="659" y="102"/>
                  </a:lnTo>
                  <a:lnTo>
                    <a:pt x="659" y="102"/>
                  </a:lnTo>
                  <a:lnTo>
                    <a:pt x="659" y="97"/>
                  </a:lnTo>
                  <a:lnTo>
                    <a:pt x="659" y="97"/>
                  </a:lnTo>
                  <a:lnTo>
                    <a:pt x="655" y="97"/>
                  </a:lnTo>
                  <a:lnTo>
                    <a:pt x="655" y="97"/>
                  </a:lnTo>
                  <a:lnTo>
                    <a:pt x="651" y="97"/>
                  </a:lnTo>
                  <a:lnTo>
                    <a:pt x="651" y="97"/>
                  </a:lnTo>
                  <a:lnTo>
                    <a:pt x="646" y="97"/>
                  </a:lnTo>
                  <a:lnTo>
                    <a:pt x="646" y="93"/>
                  </a:lnTo>
                  <a:lnTo>
                    <a:pt x="642" y="97"/>
                  </a:lnTo>
                  <a:lnTo>
                    <a:pt x="642" y="97"/>
                  </a:lnTo>
                  <a:lnTo>
                    <a:pt x="642" y="97"/>
                  </a:lnTo>
                  <a:lnTo>
                    <a:pt x="637" y="97"/>
                  </a:lnTo>
                  <a:lnTo>
                    <a:pt x="633" y="97"/>
                  </a:lnTo>
                  <a:lnTo>
                    <a:pt x="637" y="93"/>
                  </a:lnTo>
                  <a:lnTo>
                    <a:pt x="642" y="93"/>
                  </a:lnTo>
                  <a:lnTo>
                    <a:pt x="642" y="88"/>
                  </a:lnTo>
                  <a:lnTo>
                    <a:pt x="642" y="84"/>
                  </a:lnTo>
                  <a:lnTo>
                    <a:pt x="642" y="84"/>
                  </a:lnTo>
                  <a:lnTo>
                    <a:pt x="637" y="84"/>
                  </a:lnTo>
                  <a:lnTo>
                    <a:pt x="637" y="84"/>
                  </a:lnTo>
                  <a:lnTo>
                    <a:pt x="637" y="84"/>
                  </a:lnTo>
                  <a:lnTo>
                    <a:pt x="637" y="84"/>
                  </a:lnTo>
                  <a:lnTo>
                    <a:pt x="637" y="84"/>
                  </a:lnTo>
                  <a:lnTo>
                    <a:pt x="633" y="84"/>
                  </a:lnTo>
                  <a:lnTo>
                    <a:pt x="633" y="84"/>
                  </a:lnTo>
                  <a:lnTo>
                    <a:pt x="633" y="84"/>
                  </a:lnTo>
                  <a:lnTo>
                    <a:pt x="637" y="84"/>
                  </a:lnTo>
                  <a:lnTo>
                    <a:pt x="637" y="80"/>
                  </a:lnTo>
                  <a:lnTo>
                    <a:pt x="637" y="80"/>
                  </a:lnTo>
                  <a:lnTo>
                    <a:pt x="637" y="80"/>
                  </a:lnTo>
                  <a:lnTo>
                    <a:pt x="637" y="80"/>
                  </a:lnTo>
                  <a:lnTo>
                    <a:pt x="637" y="80"/>
                  </a:lnTo>
                  <a:lnTo>
                    <a:pt x="637" y="75"/>
                  </a:lnTo>
                  <a:lnTo>
                    <a:pt x="637" y="75"/>
                  </a:lnTo>
                  <a:lnTo>
                    <a:pt x="637" y="75"/>
                  </a:lnTo>
                  <a:lnTo>
                    <a:pt x="637" y="75"/>
                  </a:lnTo>
                  <a:lnTo>
                    <a:pt x="637" y="71"/>
                  </a:lnTo>
                  <a:lnTo>
                    <a:pt x="637" y="71"/>
                  </a:lnTo>
                  <a:lnTo>
                    <a:pt x="633" y="66"/>
                  </a:lnTo>
                  <a:lnTo>
                    <a:pt x="633" y="66"/>
                  </a:lnTo>
                  <a:lnTo>
                    <a:pt x="633" y="66"/>
                  </a:lnTo>
                  <a:lnTo>
                    <a:pt x="633" y="66"/>
                  </a:lnTo>
                  <a:lnTo>
                    <a:pt x="633" y="66"/>
                  </a:lnTo>
                  <a:lnTo>
                    <a:pt x="633" y="62"/>
                  </a:lnTo>
                  <a:lnTo>
                    <a:pt x="628" y="62"/>
                  </a:lnTo>
                  <a:lnTo>
                    <a:pt x="628" y="62"/>
                  </a:lnTo>
                  <a:lnTo>
                    <a:pt x="628" y="62"/>
                  </a:lnTo>
                  <a:lnTo>
                    <a:pt x="633" y="57"/>
                  </a:lnTo>
                  <a:lnTo>
                    <a:pt x="642" y="57"/>
                  </a:lnTo>
                  <a:lnTo>
                    <a:pt x="642" y="57"/>
                  </a:lnTo>
                  <a:lnTo>
                    <a:pt x="646" y="57"/>
                  </a:lnTo>
                  <a:lnTo>
                    <a:pt x="646" y="53"/>
                  </a:lnTo>
                  <a:lnTo>
                    <a:pt x="646" y="49"/>
                  </a:lnTo>
                  <a:lnTo>
                    <a:pt x="646" y="49"/>
                  </a:lnTo>
                  <a:lnTo>
                    <a:pt x="646" y="49"/>
                  </a:lnTo>
                  <a:lnTo>
                    <a:pt x="642" y="44"/>
                  </a:lnTo>
                  <a:lnTo>
                    <a:pt x="642" y="44"/>
                  </a:lnTo>
                  <a:lnTo>
                    <a:pt x="642" y="44"/>
                  </a:lnTo>
                  <a:lnTo>
                    <a:pt x="642" y="44"/>
                  </a:lnTo>
                  <a:lnTo>
                    <a:pt x="637" y="44"/>
                  </a:lnTo>
                  <a:lnTo>
                    <a:pt x="637" y="44"/>
                  </a:lnTo>
                  <a:lnTo>
                    <a:pt x="637" y="44"/>
                  </a:lnTo>
                  <a:lnTo>
                    <a:pt x="637" y="44"/>
                  </a:lnTo>
                  <a:lnTo>
                    <a:pt x="637" y="40"/>
                  </a:lnTo>
                  <a:lnTo>
                    <a:pt x="637" y="40"/>
                  </a:lnTo>
                  <a:lnTo>
                    <a:pt x="637" y="40"/>
                  </a:lnTo>
                  <a:lnTo>
                    <a:pt x="637" y="40"/>
                  </a:lnTo>
                  <a:lnTo>
                    <a:pt x="637" y="40"/>
                  </a:lnTo>
                  <a:lnTo>
                    <a:pt x="633" y="35"/>
                  </a:lnTo>
                  <a:lnTo>
                    <a:pt x="633" y="35"/>
                  </a:lnTo>
                  <a:lnTo>
                    <a:pt x="628" y="35"/>
                  </a:lnTo>
                  <a:lnTo>
                    <a:pt x="628" y="35"/>
                  </a:lnTo>
                  <a:lnTo>
                    <a:pt x="628" y="35"/>
                  </a:lnTo>
                  <a:lnTo>
                    <a:pt x="628" y="31"/>
                  </a:lnTo>
                  <a:lnTo>
                    <a:pt x="628" y="31"/>
                  </a:lnTo>
                  <a:lnTo>
                    <a:pt x="628" y="31"/>
                  </a:lnTo>
                  <a:lnTo>
                    <a:pt x="628" y="26"/>
                  </a:lnTo>
                  <a:lnTo>
                    <a:pt x="628" y="26"/>
                  </a:lnTo>
                  <a:lnTo>
                    <a:pt x="628" y="22"/>
                  </a:lnTo>
                  <a:lnTo>
                    <a:pt x="628" y="22"/>
                  </a:lnTo>
                  <a:lnTo>
                    <a:pt x="628" y="22"/>
                  </a:lnTo>
                  <a:lnTo>
                    <a:pt x="628" y="22"/>
                  </a:lnTo>
                  <a:lnTo>
                    <a:pt x="628" y="18"/>
                  </a:lnTo>
                  <a:lnTo>
                    <a:pt x="628" y="18"/>
                  </a:lnTo>
                  <a:lnTo>
                    <a:pt x="628" y="18"/>
                  </a:lnTo>
                  <a:lnTo>
                    <a:pt x="628" y="18"/>
                  </a:lnTo>
                  <a:lnTo>
                    <a:pt x="628" y="13"/>
                  </a:lnTo>
                  <a:lnTo>
                    <a:pt x="624" y="13"/>
                  </a:lnTo>
                  <a:lnTo>
                    <a:pt x="624" y="13"/>
                  </a:lnTo>
                  <a:lnTo>
                    <a:pt x="620" y="9"/>
                  </a:lnTo>
                  <a:lnTo>
                    <a:pt x="620" y="9"/>
                  </a:lnTo>
                  <a:lnTo>
                    <a:pt x="620" y="4"/>
                  </a:lnTo>
                  <a:lnTo>
                    <a:pt x="615" y="4"/>
                  </a:lnTo>
                  <a:lnTo>
                    <a:pt x="615" y="4"/>
                  </a:lnTo>
                  <a:lnTo>
                    <a:pt x="615" y="4"/>
                  </a:lnTo>
                  <a:lnTo>
                    <a:pt x="615" y="0"/>
                  </a:lnTo>
                  <a:lnTo>
                    <a:pt x="615" y="0"/>
                  </a:lnTo>
                  <a:lnTo>
                    <a:pt x="611" y="0"/>
                  </a:lnTo>
                  <a:lnTo>
                    <a:pt x="611" y="0"/>
                  </a:lnTo>
                  <a:lnTo>
                    <a:pt x="602" y="4"/>
                  </a:lnTo>
                  <a:lnTo>
                    <a:pt x="602" y="9"/>
                  </a:lnTo>
                  <a:lnTo>
                    <a:pt x="597" y="9"/>
                  </a:lnTo>
                  <a:lnTo>
                    <a:pt x="597" y="4"/>
                  </a:lnTo>
                  <a:lnTo>
                    <a:pt x="597" y="4"/>
                  </a:lnTo>
                  <a:lnTo>
                    <a:pt x="597" y="0"/>
                  </a:lnTo>
                  <a:lnTo>
                    <a:pt x="597" y="0"/>
                  </a:lnTo>
                  <a:lnTo>
                    <a:pt x="597" y="4"/>
                  </a:lnTo>
                  <a:lnTo>
                    <a:pt x="597" y="4"/>
                  </a:lnTo>
                  <a:lnTo>
                    <a:pt x="593" y="4"/>
                  </a:lnTo>
                  <a:lnTo>
                    <a:pt x="593" y="4"/>
                  </a:lnTo>
                  <a:lnTo>
                    <a:pt x="593" y="4"/>
                  </a:lnTo>
                  <a:lnTo>
                    <a:pt x="593" y="0"/>
                  </a:lnTo>
                  <a:lnTo>
                    <a:pt x="593" y="0"/>
                  </a:lnTo>
                  <a:lnTo>
                    <a:pt x="589" y="0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80" y="0"/>
                  </a:lnTo>
                  <a:lnTo>
                    <a:pt x="580" y="4"/>
                  </a:lnTo>
                  <a:lnTo>
                    <a:pt x="580" y="4"/>
                  </a:lnTo>
                  <a:lnTo>
                    <a:pt x="580" y="4"/>
                  </a:lnTo>
                  <a:lnTo>
                    <a:pt x="580" y="4"/>
                  </a:lnTo>
                  <a:lnTo>
                    <a:pt x="575" y="4"/>
                  </a:lnTo>
                  <a:lnTo>
                    <a:pt x="575" y="4"/>
                  </a:lnTo>
                  <a:lnTo>
                    <a:pt x="575" y="4"/>
                  </a:lnTo>
                  <a:lnTo>
                    <a:pt x="575" y="4"/>
                  </a:lnTo>
                  <a:lnTo>
                    <a:pt x="575" y="4"/>
                  </a:lnTo>
                  <a:lnTo>
                    <a:pt x="575" y="4"/>
                  </a:lnTo>
                  <a:lnTo>
                    <a:pt x="567" y="9"/>
                  </a:lnTo>
                  <a:lnTo>
                    <a:pt x="567" y="13"/>
                  </a:lnTo>
                  <a:lnTo>
                    <a:pt x="567" y="13"/>
                  </a:lnTo>
                  <a:lnTo>
                    <a:pt x="567" y="9"/>
                  </a:lnTo>
                  <a:lnTo>
                    <a:pt x="562" y="9"/>
                  </a:lnTo>
                  <a:lnTo>
                    <a:pt x="562" y="9"/>
                  </a:lnTo>
                  <a:lnTo>
                    <a:pt x="558" y="9"/>
                  </a:lnTo>
                  <a:lnTo>
                    <a:pt x="558" y="9"/>
                  </a:lnTo>
                  <a:lnTo>
                    <a:pt x="549" y="4"/>
                  </a:lnTo>
                  <a:lnTo>
                    <a:pt x="544" y="4"/>
                  </a:lnTo>
                  <a:lnTo>
                    <a:pt x="540" y="4"/>
                  </a:lnTo>
                  <a:lnTo>
                    <a:pt x="540" y="4"/>
                  </a:lnTo>
                  <a:lnTo>
                    <a:pt x="536" y="9"/>
                  </a:lnTo>
                  <a:lnTo>
                    <a:pt x="540" y="9"/>
                  </a:lnTo>
                  <a:lnTo>
                    <a:pt x="540" y="9"/>
                  </a:lnTo>
                  <a:lnTo>
                    <a:pt x="540" y="9"/>
                  </a:lnTo>
                  <a:lnTo>
                    <a:pt x="540" y="13"/>
                  </a:lnTo>
                  <a:lnTo>
                    <a:pt x="540" y="13"/>
                  </a:lnTo>
                  <a:lnTo>
                    <a:pt x="536" y="13"/>
                  </a:lnTo>
                  <a:lnTo>
                    <a:pt x="536" y="13"/>
                  </a:lnTo>
                  <a:lnTo>
                    <a:pt x="536" y="13"/>
                  </a:lnTo>
                  <a:lnTo>
                    <a:pt x="536" y="18"/>
                  </a:lnTo>
                  <a:lnTo>
                    <a:pt x="536" y="22"/>
                  </a:lnTo>
                  <a:lnTo>
                    <a:pt x="531" y="26"/>
                  </a:lnTo>
                  <a:lnTo>
                    <a:pt x="527" y="26"/>
                  </a:lnTo>
                  <a:lnTo>
                    <a:pt x="522" y="26"/>
                  </a:lnTo>
                  <a:lnTo>
                    <a:pt x="522" y="26"/>
                  </a:lnTo>
                  <a:lnTo>
                    <a:pt x="518" y="26"/>
                  </a:lnTo>
                  <a:lnTo>
                    <a:pt x="518" y="31"/>
                  </a:lnTo>
                  <a:lnTo>
                    <a:pt x="513" y="31"/>
                  </a:lnTo>
                  <a:lnTo>
                    <a:pt x="513" y="31"/>
                  </a:lnTo>
                  <a:lnTo>
                    <a:pt x="513" y="26"/>
                  </a:lnTo>
                  <a:lnTo>
                    <a:pt x="513" y="26"/>
                  </a:lnTo>
                  <a:lnTo>
                    <a:pt x="513" y="26"/>
                  </a:lnTo>
                  <a:lnTo>
                    <a:pt x="513" y="22"/>
                  </a:lnTo>
                  <a:lnTo>
                    <a:pt x="509" y="22"/>
                  </a:lnTo>
                  <a:lnTo>
                    <a:pt x="509" y="22"/>
                  </a:lnTo>
                  <a:lnTo>
                    <a:pt x="500" y="22"/>
                  </a:lnTo>
                  <a:lnTo>
                    <a:pt x="491" y="22"/>
                  </a:lnTo>
                  <a:lnTo>
                    <a:pt x="487" y="22"/>
                  </a:lnTo>
                  <a:lnTo>
                    <a:pt x="482" y="22"/>
                  </a:lnTo>
                  <a:lnTo>
                    <a:pt x="482" y="26"/>
                  </a:lnTo>
                  <a:lnTo>
                    <a:pt x="482" y="26"/>
                  </a:lnTo>
                  <a:lnTo>
                    <a:pt x="482" y="26"/>
                  </a:lnTo>
                  <a:lnTo>
                    <a:pt x="478" y="26"/>
                  </a:lnTo>
                  <a:lnTo>
                    <a:pt x="478" y="26"/>
                  </a:lnTo>
                  <a:lnTo>
                    <a:pt x="474" y="26"/>
                  </a:lnTo>
                  <a:lnTo>
                    <a:pt x="474" y="26"/>
                  </a:lnTo>
                  <a:lnTo>
                    <a:pt x="474" y="26"/>
                  </a:lnTo>
                  <a:lnTo>
                    <a:pt x="465" y="26"/>
                  </a:lnTo>
                  <a:lnTo>
                    <a:pt x="465" y="26"/>
                  </a:lnTo>
                  <a:lnTo>
                    <a:pt x="465" y="26"/>
                  </a:lnTo>
                  <a:lnTo>
                    <a:pt x="465" y="26"/>
                  </a:lnTo>
                  <a:lnTo>
                    <a:pt x="465" y="31"/>
                  </a:lnTo>
                  <a:lnTo>
                    <a:pt x="465" y="31"/>
                  </a:lnTo>
                  <a:lnTo>
                    <a:pt x="465" y="31"/>
                  </a:lnTo>
                  <a:lnTo>
                    <a:pt x="460" y="31"/>
                  </a:lnTo>
                  <a:lnTo>
                    <a:pt x="465" y="31"/>
                  </a:lnTo>
                  <a:lnTo>
                    <a:pt x="465" y="31"/>
                  </a:lnTo>
                  <a:lnTo>
                    <a:pt x="465" y="31"/>
                  </a:lnTo>
                  <a:lnTo>
                    <a:pt x="465" y="31"/>
                  </a:lnTo>
                  <a:lnTo>
                    <a:pt x="460" y="31"/>
                  </a:lnTo>
                  <a:lnTo>
                    <a:pt x="460" y="31"/>
                  </a:lnTo>
                  <a:lnTo>
                    <a:pt x="460" y="31"/>
                  </a:lnTo>
                  <a:lnTo>
                    <a:pt x="460" y="31"/>
                  </a:lnTo>
                  <a:lnTo>
                    <a:pt x="460" y="31"/>
                  </a:lnTo>
                  <a:lnTo>
                    <a:pt x="460" y="35"/>
                  </a:lnTo>
                  <a:lnTo>
                    <a:pt x="460" y="35"/>
                  </a:lnTo>
                  <a:lnTo>
                    <a:pt x="460" y="35"/>
                  </a:lnTo>
                  <a:lnTo>
                    <a:pt x="460" y="35"/>
                  </a:lnTo>
                  <a:lnTo>
                    <a:pt x="460" y="35"/>
                  </a:lnTo>
                  <a:lnTo>
                    <a:pt x="460" y="35"/>
                  </a:lnTo>
                  <a:lnTo>
                    <a:pt x="460" y="35"/>
                  </a:lnTo>
                  <a:lnTo>
                    <a:pt x="456" y="35"/>
                  </a:lnTo>
                  <a:lnTo>
                    <a:pt x="456" y="35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1" y="40"/>
                  </a:lnTo>
                  <a:lnTo>
                    <a:pt x="451" y="40"/>
                  </a:lnTo>
                  <a:lnTo>
                    <a:pt x="451" y="40"/>
                  </a:lnTo>
                  <a:lnTo>
                    <a:pt x="451" y="44"/>
                  </a:lnTo>
                  <a:lnTo>
                    <a:pt x="451" y="44"/>
                  </a:lnTo>
                  <a:lnTo>
                    <a:pt x="451" y="44"/>
                  </a:lnTo>
                  <a:lnTo>
                    <a:pt x="451" y="44"/>
                  </a:lnTo>
                  <a:lnTo>
                    <a:pt x="451" y="44"/>
                  </a:lnTo>
                  <a:lnTo>
                    <a:pt x="451" y="44"/>
                  </a:lnTo>
                  <a:lnTo>
                    <a:pt x="451" y="49"/>
                  </a:lnTo>
                  <a:lnTo>
                    <a:pt x="451" y="49"/>
                  </a:lnTo>
                  <a:lnTo>
                    <a:pt x="447" y="49"/>
                  </a:lnTo>
                  <a:lnTo>
                    <a:pt x="447" y="49"/>
                  </a:lnTo>
                  <a:lnTo>
                    <a:pt x="451" y="49"/>
                  </a:lnTo>
                  <a:lnTo>
                    <a:pt x="451" y="49"/>
                  </a:lnTo>
                  <a:lnTo>
                    <a:pt x="447" y="49"/>
                  </a:lnTo>
                  <a:lnTo>
                    <a:pt x="447" y="53"/>
                  </a:lnTo>
                  <a:lnTo>
                    <a:pt x="447" y="53"/>
                  </a:lnTo>
                  <a:lnTo>
                    <a:pt x="447" y="53"/>
                  </a:lnTo>
                  <a:lnTo>
                    <a:pt x="447" y="53"/>
                  </a:lnTo>
                  <a:lnTo>
                    <a:pt x="447" y="53"/>
                  </a:lnTo>
                  <a:lnTo>
                    <a:pt x="447" y="53"/>
                  </a:lnTo>
                  <a:lnTo>
                    <a:pt x="447" y="53"/>
                  </a:lnTo>
                  <a:lnTo>
                    <a:pt x="447" y="57"/>
                  </a:lnTo>
                  <a:lnTo>
                    <a:pt x="447" y="57"/>
                  </a:lnTo>
                  <a:lnTo>
                    <a:pt x="447" y="57"/>
                  </a:lnTo>
                  <a:lnTo>
                    <a:pt x="447" y="57"/>
                  </a:lnTo>
                  <a:lnTo>
                    <a:pt x="443" y="57"/>
                  </a:lnTo>
                  <a:lnTo>
                    <a:pt x="443" y="57"/>
                  </a:lnTo>
                  <a:lnTo>
                    <a:pt x="443" y="62"/>
                  </a:lnTo>
                  <a:lnTo>
                    <a:pt x="443" y="62"/>
                  </a:lnTo>
                  <a:lnTo>
                    <a:pt x="443" y="62"/>
                  </a:lnTo>
                  <a:lnTo>
                    <a:pt x="443" y="62"/>
                  </a:lnTo>
                  <a:lnTo>
                    <a:pt x="443" y="62"/>
                  </a:lnTo>
                  <a:lnTo>
                    <a:pt x="443" y="62"/>
                  </a:lnTo>
                  <a:lnTo>
                    <a:pt x="443" y="62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66"/>
                  </a:lnTo>
                  <a:lnTo>
                    <a:pt x="443" y="71"/>
                  </a:lnTo>
                  <a:lnTo>
                    <a:pt x="443" y="71"/>
                  </a:lnTo>
                  <a:lnTo>
                    <a:pt x="443" y="71"/>
                  </a:lnTo>
                  <a:lnTo>
                    <a:pt x="447" y="71"/>
                  </a:lnTo>
                  <a:lnTo>
                    <a:pt x="443" y="71"/>
                  </a:lnTo>
                  <a:lnTo>
                    <a:pt x="443" y="71"/>
                  </a:lnTo>
                  <a:lnTo>
                    <a:pt x="443" y="71"/>
                  </a:lnTo>
                  <a:lnTo>
                    <a:pt x="443" y="75"/>
                  </a:lnTo>
                  <a:lnTo>
                    <a:pt x="447" y="75"/>
                  </a:lnTo>
                  <a:lnTo>
                    <a:pt x="447" y="75"/>
                  </a:lnTo>
                  <a:lnTo>
                    <a:pt x="447" y="75"/>
                  </a:lnTo>
                  <a:lnTo>
                    <a:pt x="447" y="75"/>
                  </a:lnTo>
                  <a:lnTo>
                    <a:pt x="447" y="75"/>
                  </a:lnTo>
                  <a:lnTo>
                    <a:pt x="447" y="75"/>
                  </a:lnTo>
                  <a:lnTo>
                    <a:pt x="447" y="75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0"/>
                  </a:lnTo>
                  <a:lnTo>
                    <a:pt x="447" y="84"/>
                  </a:lnTo>
                  <a:lnTo>
                    <a:pt x="447" y="84"/>
                  </a:lnTo>
                  <a:lnTo>
                    <a:pt x="447" y="84"/>
                  </a:lnTo>
                  <a:lnTo>
                    <a:pt x="447" y="84"/>
                  </a:lnTo>
                  <a:lnTo>
                    <a:pt x="447" y="84"/>
                  </a:lnTo>
                  <a:lnTo>
                    <a:pt x="447" y="88"/>
                  </a:lnTo>
                  <a:lnTo>
                    <a:pt x="447" y="88"/>
                  </a:lnTo>
                  <a:lnTo>
                    <a:pt x="447" y="93"/>
                  </a:lnTo>
                  <a:lnTo>
                    <a:pt x="443" y="93"/>
                  </a:lnTo>
                  <a:lnTo>
                    <a:pt x="443" y="93"/>
                  </a:lnTo>
                  <a:lnTo>
                    <a:pt x="443" y="93"/>
                  </a:lnTo>
                  <a:lnTo>
                    <a:pt x="443" y="97"/>
                  </a:lnTo>
                  <a:lnTo>
                    <a:pt x="443" y="97"/>
                  </a:lnTo>
                  <a:lnTo>
                    <a:pt x="443" y="97"/>
                  </a:lnTo>
                  <a:lnTo>
                    <a:pt x="443" y="97"/>
                  </a:lnTo>
                  <a:lnTo>
                    <a:pt x="443" y="97"/>
                  </a:lnTo>
                  <a:lnTo>
                    <a:pt x="443" y="97"/>
                  </a:lnTo>
                  <a:lnTo>
                    <a:pt x="443" y="93"/>
                  </a:lnTo>
                  <a:lnTo>
                    <a:pt x="438" y="93"/>
                  </a:lnTo>
                  <a:lnTo>
                    <a:pt x="438" y="93"/>
                  </a:lnTo>
                  <a:lnTo>
                    <a:pt x="438" y="93"/>
                  </a:lnTo>
                  <a:lnTo>
                    <a:pt x="438" y="93"/>
                  </a:lnTo>
                  <a:lnTo>
                    <a:pt x="438" y="93"/>
                  </a:lnTo>
                  <a:lnTo>
                    <a:pt x="438" y="93"/>
                  </a:lnTo>
                  <a:lnTo>
                    <a:pt x="434" y="93"/>
                  </a:lnTo>
                  <a:lnTo>
                    <a:pt x="434" y="93"/>
                  </a:lnTo>
                  <a:lnTo>
                    <a:pt x="434" y="93"/>
                  </a:lnTo>
                  <a:lnTo>
                    <a:pt x="429" y="88"/>
                  </a:lnTo>
                  <a:lnTo>
                    <a:pt x="429" y="88"/>
                  </a:lnTo>
                  <a:lnTo>
                    <a:pt x="429" y="88"/>
                  </a:lnTo>
                  <a:lnTo>
                    <a:pt x="434" y="84"/>
                  </a:lnTo>
                  <a:lnTo>
                    <a:pt x="434" y="84"/>
                  </a:lnTo>
                  <a:lnTo>
                    <a:pt x="434" y="84"/>
                  </a:lnTo>
                  <a:lnTo>
                    <a:pt x="434" y="84"/>
                  </a:lnTo>
                  <a:lnTo>
                    <a:pt x="429" y="84"/>
                  </a:lnTo>
                  <a:lnTo>
                    <a:pt x="429" y="84"/>
                  </a:lnTo>
                  <a:lnTo>
                    <a:pt x="429" y="84"/>
                  </a:lnTo>
                  <a:lnTo>
                    <a:pt x="429" y="80"/>
                  </a:lnTo>
                  <a:lnTo>
                    <a:pt x="425" y="80"/>
                  </a:lnTo>
                  <a:lnTo>
                    <a:pt x="425" y="75"/>
                  </a:lnTo>
                  <a:lnTo>
                    <a:pt x="425" y="75"/>
                  </a:lnTo>
                  <a:lnTo>
                    <a:pt x="420" y="75"/>
                  </a:lnTo>
                  <a:lnTo>
                    <a:pt x="416" y="75"/>
                  </a:lnTo>
                  <a:lnTo>
                    <a:pt x="412" y="75"/>
                  </a:lnTo>
                  <a:lnTo>
                    <a:pt x="412" y="80"/>
                  </a:lnTo>
                  <a:lnTo>
                    <a:pt x="412" y="80"/>
                  </a:lnTo>
                  <a:lnTo>
                    <a:pt x="407" y="75"/>
                  </a:lnTo>
                  <a:lnTo>
                    <a:pt x="407" y="75"/>
                  </a:lnTo>
                  <a:lnTo>
                    <a:pt x="407" y="80"/>
                  </a:lnTo>
                  <a:lnTo>
                    <a:pt x="407" y="80"/>
                  </a:lnTo>
                  <a:lnTo>
                    <a:pt x="407" y="80"/>
                  </a:lnTo>
                  <a:lnTo>
                    <a:pt x="407" y="80"/>
                  </a:lnTo>
                  <a:lnTo>
                    <a:pt x="398" y="80"/>
                  </a:lnTo>
                  <a:lnTo>
                    <a:pt x="398" y="80"/>
                  </a:lnTo>
                  <a:lnTo>
                    <a:pt x="398" y="75"/>
                  </a:lnTo>
                  <a:lnTo>
                    <a:pt x="398" y="75"/>
                  </a:lnTo>
                  <a:lnTo>
                    <a:pt x="398" y="75"/>
                  </a:lnTo>
                  <a:lnTo>
                    <a:pt x="398" y="75"/>
                  </a:lnTo>
                  <a:lnTo>
                    <a:pt x="394" y="75"/>
                  </a:lnTo>
                  <a:lnTo>
                    <a:pt x="394" y="75"/>
                  </a:lnTo>
                  <a:lnTo>
                    <a:pt x="394" y="75"/>
                  </a:lnTo>
                  <a:lnTo>
                    <a:pt x="394" y="80"/>
                  </a:lnTo>
                  <a:lnTo>
                    <a:pt x="389" y="80"/>
                  </a:lnTo>
                  <a:lnTo>
                    <a:pt x="389" y="80"/>
                  </a:lnTo>
                  <a:lnTo>
                    <a:pt x="389" y="80"/>
                  </a:lnTo>
                  <a:lnTo>
                    <a:pt x="389" y="80"/>
                  </a:lnTo>
                  <a:lnTo>
                    <a:pt x="389" y="80"/>
                  </a:lnTo>
                  <a:lnTo>
                    <a:pt x="385" y="84"/>
                  </a:lnTo>
                  <a:lnTo>
                    <a:pt x="385" y="84"/>
                  </a:lnTo>
                  <a:lnTo>
                    <a:pt x="385" y="84"/>
                  </a:lnTo>
                  <a:lnTo>
                    <a:pt x="381" y="84"/>
                  </a:lnTo>
                  <a:lnTo>
                    <a:pt x="381" y="84"/>
                  </a:lnTo>
                  <a:lnTo>
                    <a:pt x="381" y="84"/>
                  </a:lnTo>
                  <a:lnTo>
                    <a:pt x="381" y="84"/>
                  </a:lnTo>
                  <a:lnTo>
                    <a:pt x="381" y="84"/>
                  </a:lnTo>
                  <a:lnTo>
                    <a:pt x="376" y="84"/>
                  </a:lnTo>
                  <a:lnTo>
                    <a:pt x="376" y="84"/>
                  </a:lnTo>
                  <a:lnTo>
                    <a:pt x="376" y="80"/>
                  </a:lnTo>
                  <a:lnTo>
                    <a:pt x="376" y="80"/>
                  </a:lnTo>
                  <a:lnTo>
                    <a:pt x="376" y="80"/>
                  </a:lnTo>
                  <a:lnTo>
                    <a:pt x="372" y="80"/>
                  </a:lnTo>
                  <a:lnTo>
                    <a:pt x="372" y="75"/>
                  </a:lnTo>
                  <a:lnTo>
                    <a:pt x="372" y="75"/>
                  </a:lnTo>
                  <a:lnTo>
                    <a:pt x="372" y="71"/>
                  </a:lnTo>
                  <a:lnTo>
                    <a:pt x="372" y="71"/>
                  </a:lnTo>
                  <a:lnTo>
                    <a:pt x="372" y="71"/>
                  </a:lnTo>
                  <a:lnTo>
                    <a:pt x="372" y="66"/>
                  </a:lnTo>
                  <a:lnTo>
                    <a:pt x="367" y="66"/>
                  </a:lnTo>
                  <a:lnTo>
                    <a:pt x="367" y="62"/>
                  </a:lnTo>
                  <a:lnTo>
                    <a:pt x="367" y="62"/>
                  </a:lnTo>
                  <a:lnTo>
                    <a:pt x="363" y="62"/>
                  </a:lnTo>
                  <a:lnTo>
                    <a:pt x="363" y="62"/>
                  </a:lnTo>
                  <a:lnTo>
                    <a:pt x="363" y="66"/>
                  </a:lnTo>
                  <a:lnTo>
                    <a:pt x="363" y="66"/>
                  </a:lnTo>
                  <a:lnTo>
                    <a:pt x="358" y="66"/>
                  </a:lnTo>
                  <a:lnTo>
                    <a:pt x="358" y="71"/>
                  </a:lnTo>
                  <a:lnTo>
                    <a:pt x="354" y="71"/>
                  </a:lnTo>
                  <a:lnTo>
                    <a:pt x="354" y="71"/>
                  </a:lnTo>
                  <a:lnTo>
                    <a:pt x="354" y="71"/>
                  </a:lnTo>
                  <a:lnTo>
                    <a:pt x="350" y="71"/>
                  </a:lnTo>
                  <a:lnTo>
                    <a:pt x="350" y="75"/>
                  </a:lnTo>
                  <a:lnTo>
                    <a:pt x="350" y="75"/>
                  </a:lnTo>
                  <a:lnTo>
                    <a:pt x="350" y="75"/>
                  </a:lnTo>
                  <a:lnTo>
                    <a:pt x="350" y="80"/>
                  </a:lnTo>
                  <a:lnTo>
                    <a:pt x="350" y="80"/>
                  </a:lnTo>
                  <a:lnTo>
                    <a:pt x="345" y="84"/>
                  </a:lnTo>
                  <a:lnTo>
                    <a:pt x="345" y="84"/>
                  </a:lnTo>
                  <a:lnTo>
                    <a:pt x="345" y="80"/>
                  </a:lnTo>
                  <a:lnTo>
                    <a:pt x="345" y="80"/>
                  </a:lnTo>
                  <a:lnTo>
                    <a:pt x="345" y="80"/>
                  </a:lnTo>
                  <a:lnTo>
                    <a:pt x="345" y="80"/>
                  </a:lnTo>
                  <a:lnTo>
                    <a:pt x="345" y="80"/>
                  </a:lnTo>
                  <a:lnTo>
                    <a:pt x="341" y="80"/>
                  </a:lnTo>
                  <a:lnTo>
                    <a:pt x="341" y="80"/>
                  </a:lnTo>
                  <a:lnTo>
                    <a:pt x="341" y="80"/>
                  </a:lnTo>
                  <a:lnTo>
                    <a:pt x="341" y="71"/>
                  </a:lnTo>
                  <a:lnTo>
                    <a:pt x="341" y="71"/>
                  </a:lnTo>
                  <a:lnTo>
                    <a:pt x="341" y="71"/>
                  </a:lnTo>
                  <a:lnTo>
                    <a:pt x="341" y="71"/>
                  </a:lnTo>
                  <a:lnTo>
                    <a:pt x="336" y="66"/>
                  </a:lnTo>
                  <a:lnTo>
                    <a:pt x="332" y="66"/>
                  </a:lnTo>
                  <a:lnTo>
                    <a:pt x="332" y="71"/>
                  </a:lnTo>
                  <a:lnTo>
                    <a:pt x="327" y="71"/>
                  </a:lnTo>
                  <a:lnTo>
                    <a:pt x="327" y="71"/>
                  </a:lnTo>
                  <a:lnTo>
                    <a:pt x="327" y="71"/>
                  </a:lnTo>
                  <a:lnTo>
                    <a:pt x="327" y="71"/>
                  </a:lnTo>
                  <a:lnTo>
                    <a:pt x="327" y="71"/>
                  </a:lnTo>
                  <a:lnTo>
                    <a:pt x="327" y="71"/>
                  </a:lnTo>
                  <a:lnTo>
                    <a:pt x="323" y="66"/>
                  </a:lnTo>
                  <a:lnTo>
                    <a:pt x="323" y="66"/>
                  </a:lnTo>
                  <a:lnTo>
                    <a:pt x="323" y="66"/>
                  </a:lnTo>
                  <a:lnTo>
                    <a:pt x="323" y="66"/>
                  </a:lnTo>
                  <a:lnTo>
                    <a:pt x="323" y="66"/>
                  </a:lnTo>
                  <a:lnTo>
                    <a:pt x="323" y="62"/>
                  </a:lnTo>
                  <a:lnTo>
                    <a:pt x="323" y="62"/>
                  </a:lnTo>
                  <a:lnTo>
                    <a:pt x="323" y="62"/>
                  </a:lnTo>
                  <a:lnTo>
                    <a:pt x="323" y="62"/>
                  </a:lnTo>
                  <a:lnTo>
                    <a:pt x="319" y="62"/>
                  </a:lnTo>
                  <a:lnTo>
                    <a:pt x="319" y="62"/>
                  </a:lnTo>
                  <a:lnTo>
                    <a:pt x="319" y="62"/>
                  </a:lnTo>
                  <a:lnTo>
                    <a:pt x="319" y="66"/>
                  </a:lnTo>
                  <a:lnTo>
                    <a:pt x="314" y="66"/>
                  </a:lnTo>
                  <a:lnTo>
                    <a:pt x="314" y="71"/>
                  </a:lnTo>
                  <a:lnTo>
                    <a:pt x="314" y="71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1" y="66"/>
                  </a:lnTo>
                  <a:lnTo>
                    <a:pt x="301" y="66"/>
                  </a:lnTo>
                  <a:lnTo>
                    <a:pt x="301" y="66"/>
                  </a:lnTo>
                  <a:lnTo>
                    <a:pt x="301" y="66"/>
                  </a:lnTo>
                  <a:lnTo>
                    <a:pt x="297" y="66"/>
                  </a:lnTo>
                  <a:lnTo>
                    <a:pt x="297" y="71"/>
                  </a:lnTo>
                  <a:lnTo>
                    <a:pt x="297" y="71"/>
                  </a:lnTo>
                  <a:lnTo>
                    <a:pt x="297" y="71"/>
                  </a:lnTo>
                  <a:lnTo>
                    <a:pt x="297" y="71"/>
                  </a:lnTo>
                  <a:lnTo>
                    <a:pt x="297" y="71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2" y="80"/>
                  </a:lnTo>
                  <a:lnTo>
                    <a:pt x="292" y="75"/>
                  </a:lnTo>
                  <a:lnTo>
                    <a:pt x="292" y="75"/>
                  </a:lnTo>
                  <a:lnTo>
                    <a:pt x="292" y="75"/>
                  </a:lnTo>
                  <a:lnTo>
                    <a:pt x="292" y="75"/>
                  </a:lnTo>
                  <a:lnTo>
                    <a:pt x="292" y="75"/>
                  </a:lnTo>
                  <a:lnTo>
                    <a:pt x="292" y="71"/>
                  </a:lnTo>
                  <a:lnTo>
                    <a:pt x="292" y="71"/>
                  </a:lnTo>
                  <a:lnTo>
                    <a:pt x="292" y="66"/>
                  </a:lnTo>
                  <a:lnTo>
                    <a:pt x="292" y="66"/>
                  </a:lnTo>
                  <a:lnTo>
                    <a:pt x="288" y="66"/>
                  </a:lnTo>
                  <a:lnTo>
                    <a:pt x="283" y="62"/>
                  </a:lnTo>
                  <a:lnTo>
                    <a:pt x="283" y="62"/>
                  </a:lnTo>
                  <a:lnTo>
                    <a:pt x="283" y="62"/>
                  </a:lnTo>
                  <a:lnTo>
                    <a:pt x="279" y="66"/>
                  </a:lnTo>
                  <a:lnTo>
                    <a:pt x="279" y="66"/>
                  </a:lnTo>
                  <a:lnTo>
                    <a:pt x="279" y="66"/>
                  </a:lnTo>
                  <a:lnTo>
                    <a:pt x="279" y="66"/>
                  </a:lnTo>
                  <a:lnTo>
                    <a:pt x="274" y="66"/>
                  </a:lnTo>
                  <a:lnTo>
                    <a:pt x="270" y="66"/>
                  </a:lnTo>
                  <a:lnTo>
                    <a:pt x="270" y="66"/>
                  </a:lnTo>
                  <a:lnTo>
                    <a:pt x="270" y="66"/>
                  </a:lnTo>
                  <a:lnTo>
                    <a:pt x="270" y="66"/>
                  </a:lnTo>
                  <a:lnTo>
                    <a:pt x="270" y="62"/>
                  </a:lnTo>
                  <a:lnTo>
                    <a:pt x="270" y="62"/>
                  </a:lnTo>
                  <a:lnTo>
                    <a:pt x="270" y="62"/>
                  </a:lnTo>
                  <a:lnTo>
                    <a:pt x="270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66" y="57"/>
                  </a:lnTo>
                  <a:lnTo>
                    <a:pt x="266" y="57"/>
                  </a:lnTo>
                  <a:lnTo>
                    <a:pt x="266" y="53"/>
                  </a:lnTo>
                  <a:lnTo>
                    <a:pt x="266" y="53"/>
                  </a:lnTo>
                  <a:lnTo>
                    <a:pt x="266" y="53"/>
                  </a:lnTo>
                  <a:lnTo>
                    <a:pt x="261" y="53"/>
                  </a:lnTo>
                  <a:lnTo>
                    <a:pt x="257" y="53"/>
                  </a:lnTo>
                  <a:lnTo>
                    <a:pt x="252" y="53"/>
                  </a:lnTo>
                  <a:lnTo>
                    <a:pt x="248" y="53"/>
                  </a:lnTo>
                  <a:lnTo>
                    <a:pt x="239" y="49"/>
                  </a:lnTo>
                  <a:lnTo>
                    <a:pt x="226" y="49"/>
                  </a:lnTo>
                  <a:lnTo>
                    <a:pt x="226" y="49"/>
                  </a:lnTo>
                  <a:lnTo>
                    <a:pt x="226" y="49"/>
                  </a:lnTo>
                  <a:lnTo>
                    <a:pt x="226" y="44"/>
                  </a:lnTo>
                  <a:lnTo>
                    <a:pt x="226" y="44"/>
                  </a:lnTo>
                  <a:lnTo>
                    <a:pt x="226" y="44"/>
                  </a:lnTo>
                  <a:lnTo>
                    <a:pt x="226" y="44"/>
                  </a:lnTo>
                  <a:lnTo>
                    <a:pt x="212" y="44"/>
                  </a:lnTo>
                  <a:lnTo>
                    <a:pt x="212" y="44"/>
                  </a:lnTo>
                  <a:lnTo>
                    <a:pt x="208" y="40"/>
                  </a:lnTo>
                  <a:lnTo>
                    <a:pt x="208" y="40"/>
                  </a:lnTo>
                  <a:lnTo>
                    <a:pt x="204" y="40"/>
                  </a:lnTo>
                  <a:lnTo>
                    <a:pt x="190" y="40"/>
                  </a:lnTo>
                  <a:lnTo>
                    <a:pt x="186" y="40"/>
                  </a:lnTo>
                  <a:lnTo>
                    <a:pt x="181" y="40"/>
                  </a:lnTo>
                  <a:lnTo>
                    <a:pt x="168" y="40"/>
                  </a:lnTo>
                  <a:lnTo>
                    <a:pt x="159" y="35"/>
                  </a:lnTo>
                  <a:lnTo>
                    <a:pt x="159" y="35"/>
                  </a:lnTo>
                  <a:lnTo>
                    <a:pt x="155" y="35"/>
                  </a:lnTo>
                  <a:lnTo>
                    <a:pt x="150" y="40"/>
                  </a:lnTo>
                  <a:lnTo>
                    <a:pt x="137" y="40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19" y="44"/>
                  </a:lnTo>
                  <a:lnTo>
                    <a:pt x="119" y="44"/>
                  </a:lnTo>
                  <a:lnTo>
                    <a:pt x="115" y="44"/>
                  </a:lnTo>
                  <a:lnTo>
                    <a:pt x="115" y="49"/>
                  </a:lnTo>
                  <a:lnTo>
                    <a:pt x="115" y="49"/>
                  </a:lnTo>
                  <a:lnTo>
                    <a:pt x="111" y="53"/>
                  </a:lnTo>
                  <a:lnTo>
                    <a:pt x="111" y="57"/>
                  </a:lnTo>
                  <a:lnTo>
                    <a:pt x="106" y="62"/>
                  </a:lnTo>
                  <a:lnTo>
                    <a:pt x="97" y="66"/>
                  </a:lnTo>
                  <a:lnTo>
                    <a:pt x="93" y="66"/>
                  </a:lnTo>
                  <a:lnTo>
                    <a:pt x="93" y="66"/>
                  </a:lnTo>
                  <a:lnTo>
                    <a:pt x="93" y="66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0" y="62"/>
                  </a:lnTo>
                  <a:lnTo>
                    <a:pt x="80" y="62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75"/>
                  </a:lnTo>
                  <a:lnTo>
                    <a:pt x="80" y="75"/>
                  </a:lnTo>
                  <a:lnTo>
                    <a:pt x="75" y="71"/>
                  </a:lnTo>
                  <a:lnTo>
                    <a:pt x="75" y="75"/>
                  </a:lnTo>
                  <a:lnTo>
                    <a:pt x="80" y="75"/>
                  </a:lnTo>
                  <a:lnTo>
                    <a:pt x="80" y="75"/>
                  </a:lnTo>
                  <a:lnTo>
                    <a:pt x="80" y="75"/>
                  </a:lnTo>
                  <a:lnTo>
                    <a:pt x="80" y="75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4" y="97"/>
                  </a:lnTo>
                  <a:lnTo>
                    <a:pt x="84" y="102"/>
                  </a:lnTo>
                  <a:lnTo>
                    <a:pt x="88" y="102"/>
                  </a:lnTo>
                  <a:lnTo>
                    <a:pt x="93" y="106"/>
                  </a:lnTo>
                  <a:lnTo>
                    <a:pt x="93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93" y="106"/>
                  </a:lnTo>
                  <a:lnTo>
                    <a:pt x="93" y="111"/>
                  </a:lnTo>
                  <a:lnTo>
                    <a:pt x="93" y="111"/>
                  </a:lnTo>
                  <a:lnTo>
                    <a:pt x="93" y="115"/>
                  </a:lnTo>
                  <a:lnTo>
                    <a:pt x="93" y="115"/>
                  </a:lnTo>
                  <a:lnTo>
                    <a:pt x="93" y="115"/>
                  </a:lnTo>
                  <a:lnTo>
                    <a:pt x="93" y="115"/>
                  </a:lnTo>
                  <a:lnTo>
                    <a:pt x="93" y="115"/>
                  </a:lnTo>
                  <a:lnTo>
                    <a:pt x="93" y="115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102" y="124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2" y="128"/>
                  </a:lnTo>
                  <a:lnTo>
                    <a:pt x="102" y="128"/>
                  </a:lnTo>
                  <a:lnTo>
                    <a:pt x="102" y="133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33"/>
                  </a:lnTo>
                  <a:lnTo>
                    <a:pt x="97" y="133"/>
                  </a:lnTo>
                  <a:lnTo>
                    <a:pt x="97" y="133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6"/>
                  </a:lnTo>
                  <a:lnTo>
                    <a:pt x="102" y="146"/>
                  </a:lnTo>
                  <a:lnTo>
                    <a:pt x="102" y="146"/>
                  </a:lnTo>
                  <a:lnTo>
                    <a:pt x="102" y="150"/>
                  </a:lnTo>
                  <a:lnTo>
                    <a:pt x="102" y="155"/>
                  </a:lnTo>
                  <a:lnTo>
                    <a:pt x="102" y="155"/>
                  </a:lnTo>
                  <a:lnTo>
                    <a:pt x="102" y="155"/>
                  </a:lnTo>
                  <a:lnTo>
                    <a:pt x="102" y="155"/>
                  </a:lnTo>
                  <a:lnTo>
                    <a:pt x="102" y="155"/>
                  </a:lnTo>
                  <a:lnTo>
                    <a:pt x="102" y="155"/>
                  </a:lnTo>
                  <a:lnTo>
                    <a:pt x="97" y="159"/>
                  </a:lnTo>
                  <a:lnTo>
                    <a:pt x="97" y="159"/>
                  </a:lnTo>
                  <a:lnTo>
                    <a:pt x="97" y="159"/>
                  </a:lnTo>
                  <a:lnTo>
                    <a:pt x="97" y="164"/>
                  </a:lnTo>
                  <a:lnTo>
                    <a:pt x="97" y="164"/>
                  </a:lnTo>
                  <a:lnTo>
                    <a:pt x="97" y="164"/>
                  </a:lnTo>
                  <a:lnTo>
                    <a:pt x="93" y="168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68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1" y="181"/>
                  </a:lnTo>
                  <a:lnTo>
                    <a:pt x="66" y="181"/>
                  </a:lnTo>
                  <a:lnTo>
                    <a:pt x="57" y="195"/>
                  </a:lnTo>
                  <a:lnTo>
                    <a:pt x="53" y="199"/>
                  </a:lnTo>
                  <a:lnTo>
                    <a:pt x="53" y="199"/>
                  </a:lnTo>
                  <a:lnTo>
                    <a:pt x="49" y="204"/>
                  </a:lnTo>
                  <a:lnTo>
                    <a:pt x="44" y="212"/>
                  </a:lnTo>
                  <a:lnTo>
                    <a:pt x="44" y="212"/>
                  </a:lnTo>
                  <a:lnTo>
                    <a:pt x="44" y="212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35" y="226"/>
                  </a:lnTo>
                  <a:lnTo>
                    <a:pt x="35" y="226"/>
                  </a:lnTo>
                  <a:lnTo>
                    <a:pt x="35" y="226"/>
                  </a:lnTo>
                  <a:lnTo>
                    <a:pt x="35" y="226"/>
                  </a:lnTo>
                  <a:lnTo>
                    <a:pt x="31" y="226"/>
                  </a:lnTo>
                  <a:lnTo>
                    <a:pt x="31" y="226"/>
                  </a:lnTo>
                  <a:lnTo>
                    <a:pt x="31" y="230"/>
                  </a:lnTo>
                  <a:lnTo>
                    <a:pt x="27" y="235"/>
                  </a:lnTo>
                  <a:lnTo>
                    <a:pt x="27" y="239"/>
                  </a:lnTo>
                  <a:lnTo>
                    <a:pt x="27" y="239"/>
                  </a:lnTo>
                  <a:lnTo>
                    <a:pt x="27" y="243"/>
                  </a:lnTo>
                  <a:lnTo>
                    <a:pt x="27" y="243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31" y="248"/>
                  </a:lnTo>
                  <a:lnTo>
                    <a:pt x="31" y="248"/>
                  </a:lnTo>
                  <a:lnTo>
                    <a:pt x="31" y="248"/>
                  </a:lnTo>
                  <a:lnTo>
                    <a:pt x="31" y="252"/>
                  </a:lnTo>
                  <a:lnTo>
                    <a:pt x="31" y="257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6"/>
                  </a:lnTo>
                  <a:lnTo>
                    <a:pt x="31" y="266"/>
                  </a:lnTo>
                  <a:lnTo>
                    <a:pt x="27" y="266"/>
                  </a:lnTo>
                  <a:lnTo>
                    <a:pt x="31" y="266"/>
                  </a:lnTo>
                  <a:lnTo>
                    <a:pt x="31" y="266"/>
                  </a:lnTo>
                  <a:lnTo>
                    <a:pt x="31" y="266"/>
                  </a:lnTo>
                  <a:lnTo>
                    <a:pt x="31" y="266"/>
                  </a:lnTo>
                  <a:lnTo>
                    <a:pt x="31" y="266"/>
                  </a:lnTo>
                  <a:lnTo>
                    <a:pt x="31" y="266"/>
                  </a:lnTo>
                  <a:lnTo>
                    <a:pt x="31" y="270"/>
                  </a:lnTo>
                  <a:lnTo>
                    <a:pt x="35" y="270"/>
                  </a:lnTo>
                  <a:lnTo>
                    <a:pt x="35" y="270"/>
                  </a:lnTo>
                  <a:lnTo>
                    <a:pt x="35" y="274"/>
                  </a:lnTo>
                  <a:lnTo>
                    <a:pt x="35" y="274"/>
                  </a:lnTo>
                  <a:lnTo>
                    <a:pt x="35" y="274"/>
                  </a:lnTo>
                  <a:lnTo>
                    <a:pt x="35" y="274"/>
                  </a:lnTo>
                  <a:lnTo>
                    <a:pt x="35" y="274"/>
                  </a:lnTo>
                  <a:lnTo>
                    <a:pt x="35" y="279"/>
                  </a:lnTo>
                  <a:lnTo>
                    <a:pt x="40" y="279"/>
                  </a:lnTo>
                  <a:lnTo>
                    <a:pt x="40" y="279"/>
                  </a:lnTo>
                  <a:lnTo>
                    <a:pt x="40" y="279"/>
                  </a:lnTo>
                  <a:lnTo>
                    <a:pt x="40" y="279"/>
                  </a:lnTo>
                  <a:lnTo>
                    <a:pt x="35" y="279"/>
                  </a:lnTo>
                  <a:lnTo>
                    <a:pt x="35" y="279"/>
                  </a:lnTo>
                  <a:lnTo>
                    <a:pt x="35" y="279"/>
                  </a:lnTo>
                  <a:lnTo>
                    <a:pt x="35" y="279"/>
                  </a:lnTo>
                  <a:lnTo>
                    <a:pt x="31" y="279"/>
                  </a:lnTo>
                  <a:lnTo>
                    <a:pt x="31" y="274"/>
                  </a:lnTo>
                  <a:lnTo>
                    <a:pt x="31" y="274"/>
                  </a:lnTo>
                  <a:lnTo>
                    <a:pt x="31" y="279"/>
                  </a:lnTo>
                  <a:lnTo>
                    <a:pt x="27" y="274"/>
                  </a:lnTo>
                  <a:lnTo>
                    <a:pt x="27" y="279"/>
                  </a:lnTo>
                  <a:lnTo>
                    <a:pt x="27" y="274"/>
                  </a:lnTo>
                  <a:lnTo>
                    <a:pt x="27" y="274"/>
                  </a:lnTo>
                  <a:lnTo>
                    <a:pt x="22" y="274"/>
                  </a:lnTo>
                  <a:lnTo>
                    <a:pt x="22" y="274"/>
                  </a:lnTo>
                  <a:lnTo>
                    <a:pt x="22" y="274"/>
                  </a:lnTo>
                  <a:lnTo>
                    <a:pt x="22" y="274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18" y="283"/>
                  </a:lnTo>
                  <a:lnTo>
                    <a:pt x="18" y="283"/>
                  </a:lnTo>
                  <a:lnTo>
                    <a:pt x="18" y="283"/>
                  </a:lnTo>
                  <a:lnTo>
                    <a:pt x="13" y="288"/>
                  </a:lnTo>
                  <a:lnTo>
                    <a:pt x="13" y="288"/>
                  </a:lnTo>
                  <a:lnTo>
                    <a:pt x="13" y="288"/>
                  </a:lnTo>
                  <a:lnTo>
                    <a:pt x="13" y="288"/>
                  </a:lnTo>
                  <a:lnTo>
                    <a:pt x="13" y="288"/>
                  </a:lnTo>
                  <a:lnTo>
                    <a:pt x="13" y="288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7"/>
                  </a:lnTo>
                  <a:lnTo>
                    <a:pt x="13" y="297"/>
                  </a:lnTo>
                  <a:lnTo>
                    <a:pt x="13" y="297"/>
                  </a:lnTo>
                  <a:lnTo>
                    <a:pt x="9" y="297"/>
                  </a:lnTo>
                  <a:lnTo>
                    <a:pt x="9" y="301"/>
                  </a:lnTo>
                  <a:lnTo>
                    <a:pt x="9" y="301"/>
                  </a:lnTo>
                  <a:lnTo>
                    <a:pt x="9" y="301"/>
                  </a:lnTo>
                  <a:lnTo>
                    <a:pt x="9" y="301"/>
                  </a:lnTo>
                  <a:lnTo>
                    <a:pt x="9" y="305"/>
                  </a:lnTo>
                  <a:lnTo>
                    <a:pt x="9" y="305"/>
                  </a:lnTo>
                  <a:lnTo>
                    <a:pt x="9" y="305"/>
                  </a:lnTo>
                  <a:lnTo>
                    <a:pt x="9" y="305"/>
                  </a:lnTo>
                  <a:lnTo>
                    <a:pt x="4" y="305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0" y="319"/>
                  </a:lnTo>
                  <a:lnTo>
                    <a:pt x="0" y="319"/>
                  </a:lnTo>
                  <a:lnTo>
                    <a:pt x="0" y="323"/>
                  </a:lnTo>
                  <a:lnTo>
                    <a:pt x="0" y="327"/>
                  </a:lnTo>
                  <a:lnTo>
                    <a:pt x="0" y="327"/>
                  </a:lnTo>
                  <a:lnTo>
                    <a:pt x="0" y="327"/>
                  </a:lnTo>
                  <a:lnTo>
                    <a:pt x="0" y="327"/>
                  </a:lnTo>
                  <a:lnTo>
                    <a:pt x="0" y="327"/>
                  </a:lnTo>
                  <a:lnTo>
                    <a:pt x="4" y="327"/>
                  </a:lnTo>
                  <a:lnTo>
                    <a:pt x="4" y="327"/>
                  </a:lnTo>
                  <a:lnTo>
                    <a:pt x="9" y="327"/>
                  </a:lnTo>
                  <a:lnTo>
                    <a:pt x="4" y="332"/>
                  </a:lnTo>
                  <a:lnTo>
                    <a:pt x="4" y="332"/>
                  </a:lnTo>
                  <a:lnTo>
                    <a:pt x="9" y="332"/>
                  </a:lnTo>
                  <a:lnTo>
                    <a:pt x="9" y="332"/>
                  </a:lnTo>
                  <a:lnTo>
                    <a:pt x="9" y="332"/>
                  </a:lnTo>
                  <a:lnTo>
                    <a:pt x="9" y="332"/>
                  </a:lnTo>
                  <a:lnTo>
                    <a:pt x="9" y="332"/>
                  </a:lnTo>
                  <a:lnTo>
                    <a:pt x="9" y="336"/>
                  </a:lnTo>
                  <a:lnTo>
                    <a:pt x="9" y="336"/>
                  </a:lnTo>
                  <a:lnTo>
                    <a:pt x="13" y="341"/>
                  </a:lnTo>
                  <a:lnTo>
                    <a:pt x="13" y="341"/>
                  </a:lnTo>
                  <a:lnTo>
                    <a:pt x="13" y="341"/>
                  </a:lnTo>
                  <a:lnTo>
                    <a:pt x="13" y="341"/>
                  </a:lnTo>
                  <a:lnTo>
                    <a:pt x="13" y="341"/>
                  </a:lnTo>
                  <a:lnTo>
                    <a:pt x="13" y="341"/>
                  </a:lnTo>
                  <a:lnTo>
                    <a:pt x="13" y="341"/>
                  </a:lnTo>
                  <a:lnTo>
                    <a:pt x="13" y="341"/>
                  </a:lnTo>
                  <a:lnTo>
                    <a:pt x="13" y="341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22" y="345"/>
                  </a:lnTo>
                  <a:lnTo>
                    <a:pt x="22" y="345"/>
                  </a:lnTo>
                  <a:lnTo>
                    <a:pt x="22" y="350"/>
                  </a:lnTo>
                  <a:lnTo>
                    <a:pt x="22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5" y="354"/>
                  </a:lnTo>
                  <a:lnTo>
                    <a:pt x="35" y="354"/>
                  </a:lnTo>
                  <a:lnTo>
                    <a:pt x="35" y="354"/>
                  </a:lnTo>
                  <a:lnTo>
                    <a:pt x="40" y="354"/>
                  </a:lnTo>
                  <a:lnTo>
                    <a:pt x="40" y="358"/>
                  </a:lnTo>
                  <a:lnTo>
                    <a:pt x="40" y="358"/>
                  </a:lnTo>
                  <a:lnTo>
                    <a:pt x="35" y="358"/>
                  </a:lnTo>
                  <a:lnTo>
                    <a:pt x="35" y="358"/>
                  </a:lnTo>
                  <a:lnTo>
                    <a:pt x="35" y="363"/>
                  </a:lnTo>
                  <a:lnTo>
                    <a:pt x="35" y="363"/>
                  </a:lnTo>
                  <a:lnTo>
                    <a:pt x="40" y="363"/>
                  </a:lnTo>
                  <a:lnTo>
                    <a:pt x="40" y="363"/>
                  </a:lnTo>
                  <a:lnTo>
                    <a:pt x="40" y="363"/>
                  </a:lnTo>
                  <a:lnTo>
                    <a:pt x="40" y="363"/>
                  </a:lnTo>
                  <a:lnTo>
                    <a:pt x="40" y="358"/>
                  </a:lnTo>
                  <a:lnTo>
                    <a:pt x="40" y="358"/>
                  </a:lnTo>
                  <a:lnTo>
                    <a:pt x="44" y="358"/>
                  </a:lnTo>
                  <a:lnTo>
                    <a:pt x="44" y="358"/>
                  </a:lnTo>
                  <a:lnTo>
                    <a:pt x="44" y="358"/>
                  </a:lnTo>
                  <a:lnTo>
                    <a:pt x="44" y="358"/>
                  </a:lnTo>
                  <a:lnTo>
                    <a:pt x="44" y="358"/>
                  </a:lnTo>
                  <a:lnTo>
                    <a:pt x="44" y="358"/>
                  </a:lnTo>
                  <a:lnTo>
                    <a:pt x="49" y="358"/>
                  </a:lnTo>
                  <a:lnTo>
                    <a:pt x="49" y="358"/>
                  </a:lnTo>
                  <a:lnTo>
                    <a:pt x="49" y="354"/>
                  </a:lnTo>
                  <a:lnTo>
                    <a:pt x="53" y="354"/>
                  </a:lnTo>
                  <a:lnTo>
                    <a:pt x="53" y="350"/>
                  </a:lnTo>
                  <a:lnTo>
                    <a:pt x="53" y="350"/>
                  </a:lnTo>
                  <a:lnTo>
                    <a:pt x="57" y="354"/>
                  </a:lnTo>
                  <a:lnTo>
                    <a:pt x="57" y="354"/>
                  </a:lnTo>
                  <a:lnTo>
                    <a:pt x="62" y="358"/>
                  </a:lnTo>
                  <a:lnTo>
                    <a:pt x="62" y="358"/>
                  </a:lnTo>
                  <a:lnTo>
                    <a:pt x="66" y="358"/>
                  </a:lnTo>
                  <a:lnTo>
                    <a:pt x="66" y="358"/>
                  </a:lnTo>
                  <a:lnTo>
                    <a:pt x="66" y="358"/>
                  </a:lnTo>
                  <a:lnTo>
                    <a:pt x="66" y="358"/>
                  </a:lnTo>
                  <a:lnTo>
                    <a:pt x="66" y="358"/>
                  </a:lnTo>
                  <a:lnTo>
                    <a:pt x="66" y="358"/>
                  </a:lnTo>
                  <a:lnTo>
                    <a:pt x="66" y="358"/>
                  </a:lnTo>
                  <a:lnTo>
                    <a:pt x="66" y="358"/>
                  </a:lnTo>
                  <a:lnTo>
                    <a:pt x="66" y="358"/>
                  </a:lnTo>
                  <a:lnTo>
                    <a:pt x="71" y="363"/>
                  </a:lnTo>
                  <a:lnTo>
                    <a:pt x="71" y="363"/>
                  </a:lnTo>
                  <a:lnTo>
                    <a:pt x="71" y="363"/>
                  </a:lnTo>
                  <a:lnTo>
                    <a:pt x="71" y="363"/>
                  </a:lnTo>
                  <a:lnTo>
                    <a:pt x="71" y="363"/>
                  </a:lnTo>
                  <a:lnTo>
                    <a:pt x="71" y="358"/>
                  </a:lnTo>
                  <a:lnTo>
                    <a:pt x="71" y="358"/>
                  </a:lnTo>
                  <a:lnTo>
                    <a:pt x="71" y="358"/>
                  </a:lnTo>
                  <a:lnTo>
                    <a:pt x="71" y="358"/>
                  </a:lnTo>
                  <a:lnTo>
                    <a:pt x="75" y="358"/>
                  </a:lnTo>
                  <a:lnTo>
                    <a:pt x="75" y="358"/>
                  </a:lnTo>
                  <a:lnTo>
                    <a:pt x="80" y="358"/>
                  </a:lnTo>
                  <a:lnTo>
                    <a:pt x="80" y="358"/>
                  </a:lnTo>
                  <a:lnTo>
                    <a:pt x="84" y="358"/>
                  </a:lnTo>
                  <a:lnTo>
                    <a:pt x="88" y="358"/>
                  </a:lnTo>
                  <a:lnTo>
                    <a:pt x="88" y="363"/>
                  </a:lnTo>
                  <a:lnTo>
                    <a:pt x="88" y="363"/>
                  </a:lnTo>
                  <a:lnTo>
                    <a:pt x="88" y="363"/>
                  </a:lnTo>
                  <a:lnTo>
                    <a:pt x="93" y="363"/>
                  </a:lnTo>
                  <a:lnTo>
                    <a:pt x="97" y="363"/>
                  </a:lnTo>
                  <a:lnTo>
                    <a:pt x="97" y="363"/>
                  </a:lnTo>
                  <a:lnTo>
                    <a:pt x="97" y="363"/>
                  </a:lnTo>
                  <a:lnTo>
                    <a:pt x="102" y="363"/>
                  </a:lnTo>
                  <a:lnTo>
                    <a:pt x="102" y="363"/>
                  </a:lnTo>
                  <a:lnTo>
                    <a:pt x="106" y="367"/>
                  </a:lnTo>
                  <a:lnTo>
                    <a:pt x="106" y="367"/>
                  </a:lnTo>
                  <a:lnTo>
                    <a:pt x="106" y="367"/>
                  </a:lnTo>
                  <a:lnTo>
                    <a:pt x="111" y="367"/>
                  </a:lnTo>
                  <a:lnTo>
                    <a:pt x="111" y="367"/>
                  </a:lnTo>
                  <a:lnTo>
                    <a:pt x="115" y="367"/>
                  </a:lnTo>
                  <a:lnTo>
                    <a:pt x="115" y="367"/>
                  </a:lnTo>
                  <a:lnTo>
                    <a:pt x="119" y="363"/>
                  </a:lnTo>
                  <a:lnTo>
                    <a:pt x="119" y="363"/>
                  </a:lnTo>
                  <a:lnTo>
                    <a:pt x="119" y="363"/>
                  </a:lnTo>
                  <a:lnTo>
                    <a:pt x="124" y="363"/>
                  </a:lnTo>
                  <a:lnTo>
                    <a:pt x="128" y="363"/>
                  </a:lnTo>
                  <a:lnTo>
                    <a:pt x="128" y="363"/>
                  </a:lnTo>
                  <a:lnTo>
                    <a:pt x="128" y="363"/>
                  </a:lnTo>
                  <a:lnTo>
                    <a:pt x="128" y="367"/>
                  </a:lnTo>
                  <a:lnTo>
                    <a:pt x="133" y="367"/>
                  </a:lnTo>
                  <a:lnTo>
                    <a:pt x="133" y="367"/>
                  </a:lnTo>
                  <a:lnTo>
                    <a:pt x="133" y="367"/>
                  </a:lnTo>
                  <a:lnTo>
                    <a:pt x="133" y="372"/>
                  </a:lnTo>
                  <a:lnTo>
                    <a:pt x="133" y="372"/>
                  </a:lnTo>
                  <a:lnTo>
                    <a:pt x="133" y="372"/>
                  </a:lnTo>
                  <a:lnTo>
                    <a:pt x="137" y="372"/>
                  </a:lnTo>
                  <a:lnTo>
                    <a:pt x="142" y="376"/>
                  </a:lnTo>
                  <a:lnTo>
                    <a:pt x="142" y="376"/>
                  </a:lnTo>
                  <a:lnTo>
                    <a:pt x="142" y="376"/>
                  </a:lnTo>
                  <a:lnTo>
                    <a:pt x="142" y="381"/>
                  </a:lnTo>
                  <a:lnTo>
                    <a:pt x="146" y="381"/>
                  </a:lnTo>
                  <a:lnTo>
                    <a:pt x="146" y="381"/>
                  </a:lnTo>
                  <a:lnTo>
                    <a:pt x="146" y="381"/>
                  </a:lnTo>
                  <a:lnTo>
                    <a:pt x="146" y="381"/>
                  </a:lnTo>
                  <a:lnTo>
                    <a:pt x="150" y="381"/>
                  </a:lnTo>
                  <a:lnTo>
                    <a:pt x="155" y="381"/>
                  </a:lnTo>
                  <a:lnTo>
                    <a:pt x="155" y="381"/>
                  </a:lnTo>
                  <a:lnTo>
                    <a:pt x="155" y="381"/>
                  </a:lnTo>
                  <a:lnTo>
                    <a:pt x="159" y="376"/>
                  </a:lnTo>
                  <a:lnTo>
                    <a:pt x="164" y="367"/>
                  </a:lnTo>
                  <a:lnTo>
                    <a:pt x="164" y="367"/>
                  </a:lnTo>
                  <a:lnTo>
                    <a:pt x="190" y="363"/>
                  </a:lnTo>
                  <a:lnTo>
                    <a:pt x="195" y="363"/>
                  </a:lnTo>
                  <a:lnTo>
                    <a:pt x="195" y="363"/>
                  </a:lnTo>
                  <a:lnTo>
                    <a:pt x="199" y="363"/>
                  </a:lnTo>
                  <a:lnTo>
                    <a:pt x="199" y="363"/>
                  </a:lnTo>
                  <a:lnTo>
                    <a:pt x="204" y="363"/>
                  </a:lnTo>
                  <a:lnTo>
                    <a:pt x="204" y="363"/>
                  </a:lnTo>
                  <a:lnTo>
                    <a:pt x="208" y="363"/>
                  </a:lnTo>
                  <a:lnTo>
                    <a:pt x="208" y="363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2" y="358"/>
                  </a:lnTo>
                  <a:lnTo>
                    <a:pt x="217" y="354"/>
                  </a:lnTo>
                  <a:lnTo>
                    <a:pt x="217" y="354"/>
                  </a:lnTo>
                  <a:lnTo>
                    <a:pt x="217" y="354"/>
                  </a:lnTo>
                  <a:lnTo>
                    <a:pt x="217" y="354"/>
                  </a:lnTo>
                  <a:lnTo>
                    <a:pt x="217" y="350"/>
                  </a:lnTo>
                  <a:lnTo>
                    <a:pt x="221" y="345"/>
                  </a:lnTo>
                  <a:lnTo>
                    <a:pt x="217" y="345"/>
                  </a:lnTo>
                  <a:lnTo>
                    <a:pt x="221" y="341"/>
                  </a:lnTo>
                  <a:lnTo>
                    <a:pt x="221" y="341"/>
                  </a:lnTo>
                  <a:lnTo>
                    <a:pt x="221" y="341"/>
                  </a:lnTo>
                  <a:lnTo>
                    <a:pt x="221" y="341"/>
                  </a:lnTo>
                  <a:lnTo>
                    <a:pt x="221" y="341"/>
                  </a:lnTo>
                  <a:lnTo>
                    <a:pt x="226" y="341"/>
                  </a:lnTo>
                  <a:lnTo>
                    <a:pt x="226" y="341"/>
                  </a:lnTo>
                  <a:lnTo>
                    <a:pt x="226" y="341"/>
                  </a:lnTo>
                  <a:lnTo>
                    <a:pt x="235" y="341"/>
                  </a:lnTo>
                  <a:lnTo>
                    <a:pt x="235" y="341"/>
                  </a:lnTo>
                  <a:lnTo>
                    <a:pt x="235" y="336"/>
                  </a:lnTo>
                  <a:lnTo>
                    <a:pt x="235" y="336"/>
                  </a:lnTo>
                  <a:lnTo>
                    <a:pt x="239" y="336"/>
                  </a:lnTo>
                  <a:lnTo>
                    <a:pt x="239" y="336"/>
                  </a:lnTo>
                  <a:lnTo>
                    <a:pt x="239" y="332"/>
                  </a:lnTo>
                  <a:lnTo>
                    <a:pt x="239" y="332"/>
                  </a:lnTo>
                  <a:lnTo>
                    <a:pt x="239" y="332"/>
                  </a:lnTo>
                  <a:lnTo>
                    <a:pt x="239" y="336"/>
                  </a:lnTo>
                  <a:lnTo>
                    <a:pt x="243" y="336"/>
                  </a:lnTo>
                  <a:lnTo>
                    <a:pt x="243" y="336"/>
                  </a:lnTo>
                  <a:lnTo>
                    <a:pt x="243" y="336"/>
                  </a:lnTo>
                  <a:lnTo>
                    <a:pt x="243" y="336"/>
                  </a:lnTo>
                  <a:lnTo>
                    <a:pt x="243" y="336"/>
                  </a:lnTo>
                  <a:lnTo>
                    <a:pt x="243" y="336"/>
                  </a:lnTo>
                  <a:lnTo>
                    <a:pt x="243" y="332"/>
                  </a:lnTo>
                  <a:lnTo>
                    <a:pt x="243" y="332"/>
                  </a:lnTo>
                  <a:lnTo>
                    <a:pt x="243" y="332"/>
                  </a:lnTo>
                  <a:lnTo>
                    <a:pt x="243" y="332"/>
                  </a:lnTo>
                  <a:lnTo>
                    <a:pt x="243" y="327"/>
                  </a:lnTo>
                  <a:lnTo>
                    <a:pt x="243" y="327"/>
                  </a:lnTo>
                  <a:lnTo>
                    <a:pt x="248" y="332"/>
                  </a:lnTo>
                  <a:lnTo>
                    <a:pt x="248" y="332"/>
                  </a:lnTo>
                  <a:lnTo>
                    <a:pt x="248" y="327"/>
                  </a:lnTo>
                  <a:lnTo>
                    <a:pt x="248" y="327"/>
                  </a:lnTo>
                  <a:lnTo>
                    <a:pt x="248" y="327"/>
                  </a:lnTo>
                  <a:lnTo>
                    <a:pt x="248" y="327"/>
                  </a:lnTo>
                  <a:lnTo>
                    <a:pt x="248" y="327"/>
                  </a:lnTo>
                  <a:lnTo>
                    <a:pt x="252" y="332"/>
                  </a:lnTo>
                  <a:lnTo>
                    <a:pt x="252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7" y="327"/>
                  </a:lnTo>
                  <a:lnTo>
                    <a:pt x="257" y="327"/>
                  </a:lnTo>
                  <a:lnTo>
                    <a:pt x="257" y="327"/>
                  </a:lnTo>
                  <a:lnTo>
                    <a:pt x="257" y="327"/>
                  </a:lnTo>
                  <a:lnTo>
                    <a:pt x="257" y="327"/>
                  </a:lnTo>
                  <a:lnTo>
                    <a:pt x="261" y="327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70" y="332"/>
                  </a:lnTo>
                  <a:lnTo>
                    <a:pt x="270" y="327"/>
                  </a:lnTo>
                  <a:lnTo>
                    <a:pt x="274" y="327"/>
                  </a:lnTo>
                  <a:lnTo>
                    <a:pt x="274" y="323"/>
                  </a:lnTo>
                  <a:lnTo>
                    <a:pt x="274" y="323"/>
                  </a:lnTo>
                  <a:lnTo>
                    <a:pt x="279" y="327"/>
                  </a:lnTo>
                  <a:lnTo>
                    <a:pt x="279" y="327"/>
                  </a:lnTo>
                  <a:lnTo>
                    <a:pt x="279" y="327"/>
                  </a:lnTo>
                  <a:lnTo>
                    <a:pt x="283" y="323"/>
                  </a:lnTo>
                  <a:lnTo>
                    <a:pt x="283" y="323"/>
                  </a:lnTo>
                  <a:lnTo>
                    <a:pt x="283" y="323"/>
                  </a:lnTo>
                  <a:lnTo>
                    <a:pt x="288" y="323"/>
                  </a:lnTo>
                  <a:lnTo>
                    <a:pt x="288" y="323"/>
                  </a:lnTo>
                  <a:lnTo>
                    <a:pt x="288" y="323"/>
                  </a:lnTo>
                  <a:lnTo>
                    <a:pt x="288" y="323"/>
                  </a:lnTo>
                  <a:lnTo>
                    <a:pt x="288" y="323"/>
                  </a:lnTo>
                  <a:lnTo>
                    <a:pt x="297" y="323"/>
                  </a:lnTo>
                  <a:lnTo>
                    <a:pt x="297" y="323"/>
                  </a:lnTo>
                  <a:lnTo>
                    <a:pt x="301" y="327"/>
                  </a:lnTo>
                  <a:lnTo>
                    <a:pt x="301" y="327"/>
                  </a:lnTo>
                  <a:lnTo>
                    <a:pt x="301" y="327"/>
                  </a:lnTo>
                  <a:lnTo>
                    <a:pt x="305" y="332"/>
                  </a:lnTo>
                  <a:lnTo>
                    <a:pt x="305" y="332"/>
                  </a:lnTo>
                  <a:lnTo>
                    <a:pt x="305" y="332"/>
                  </a:lnTo>
                  <a:lnTo>
                    <a:pt x="305" y="332"/>
                  </a:lnTo>
                  <a:lnTo>
                    <a:pt x="310" y="332"/>
                  </a:lnTo>
                  <a:lnTo>
                    <a:pt x="310" y="332"/>
                  </a:lnTo>
                  <a:lnTo>
                    <a:pt x="314" y="336"/>
                  </a:lnTo>
                  <a:lnTo>
                    <a:pt x="314" y="336"/>
                  </a:lnTo>
                  <a:lnTo>
                    <a:pt x="314" y="336"/>
                  </a:lnTo>
                  <a:lnTo>
                    <a:pt x="314" y="341"/>
                  </a:lnTo>
                  <a:lnTo>
                    <a:pt x="314" y="341"/>
                  </a:lnTo>
                  <a:lnTo>
                    <a:pt x="314" y="341"/>
                  </a:lnTo>
                  <a:lnTo>
                    <a:pt x="314" y="341"/>
                  </a:lnTo>
                  <a:lnTo>
                    <a:pt x="319" y="341"/>
                  </a:lnTo>
                  <a:lnTo>
                    <a:pt x="319" y="341"/>
                  </a:lnTo>
                  <a:lnTo>
                    <a:pt x="319" y="341"/>
                  </a:lnTo>
                  <a:lnTo>
                    <a:pt x="319" y="341"/>
                  </a:lnTo>
                  <a:lnTo>
                    <a:pt x="319" y="341"/>
                  </a:lnTo>
                  <a:lnTo>
                    <a:pt x="319" y="341"/>
                  </a:lnTo>
                  <a:lnTo>
                    <a:pt x="323" y="341"/>
                  </a:lnTo>
                  <a:lnTo>
                    <a:pt x="323" y="341"/>
                  </a:lnTo>
                  <a:lnTo>
                    <a:pt x="323" y="341"/>
                  </a:lnTo>
                  <a:lnTo>
                    <a:pt x="323" y="341"/>
                  </a:lnTo>
                  <a:lnTo>
                    <a:pt x="327" y="341"/>
                  </a:lnTo>
                  <a:lnTo>
                    <a:pt x="327" y="341"/>
                  </a:lnTo>
                  <a:lnTo>
                    <a:pt x="327" y="341"/>
                  </a:lnTo>
                  <a:lnTo>
                    <a:pt x="327" y="341"/>
                  </a:lnTo>
                  <a:lnTo>
                    <a:pt x="327" y="345"/>
                  </a:lnTo>
                  <a:lnTo>
                    <a:pt x="327" y="345"/>
                  </a:lnTo>
                  <a:lnTo>
                    <a:pt x="327" y="345"/>
                  </a:lnTo>
                  <a:lnTo>
                    <a:pt x="327" y="345"/>
                  </a:lnTo>
                  <a:lnTo>
                    <a:pt x="327" y="350"/>
                  </a:lnTo>
                  <a:lnTo>
                    <a:pt x="327" y="350"/>
                  </a:lnTo>
                  <a:lnTo>
                    <a:pt x="327" y="350"/>
                  </a:lnTo>
                  <a:lnTo>
                    <a:pt x="327" y="350"/>
                  </a:lnTo>
                  <a:lnTo>
                    <a:pt x="327" y="350"/>
                  </a:lnTo>
                  <a:lnTo>
                    <a:pt x="327" y="345"/>
                  </a:lnTo>
                  <a:lnTo>
                    <a:pt x="327" y="345"/>
                  </a:lnTo>
                  <a:lnTo>
                    <a:pt x="332" y="345"/>
                  </a:lnTo>
                  <a:lnTo>
                    <a:pt x="332" y="345"/>
                  </a:lnTo>
                  <a:lnTo>
                    <a:pt x="332" y="350"/>
                  </a:lnTo>
                  <a:lnTo>
                    <a:pt x="332" y="350"/>
                  </a:lnTo>
                  <a:lnTo>
                    <a:pt x="332" y="350"/>
                  </a:lnTo>
                  <a:lnTo>
                    <a:pt x="332" y="354"/>
                  </a:lnTo>
                  <a:lnTo>
                    <a:pt x="332" y="354"/>
                  </a:lnTo>
                  <a:lnTo>
                    <a:pt x="336" y="354"/>
                  </a:lnTo>
                  <a:lnTo>
                    <a:pt x="336" y="354"/>
                  </a:lnTo>
                  <a:lnTo>
                    <a:pt x="336" y="354"/>
                  </a:lnTo>
                  <a:lnTo>
                    <a:pt x="336" y="354"/>
                  </a:lnTo>
                  <a:lnTo>
                    <a:pt x="336" y="350"/>
                  </a:lnTo>
                  <a:lnTo>
                    <a:pt x="336" y="350"/>
                  </a:lnTo>
                  <a:lnTo>
                    <a:pt x="336" y="350"/>
                  </a:lnTo>
                  <a:lnTo>
                    <a:pt x="336" y="345"/>
                  </a:lnTo>
                  <a:lnTo>
                    <a:pt x="341" y="345"/>
                  </a:lnTo>
                  <a:lnTo>
                    <a:pt x="345" y="350"/>
                  </a:lnTo>
                  <a:lnTo>
                    <a:pt x="350" y="350"/>
                  </a:lnTo>
                  <a:lnTo>
                    <a:pt x="350" y="350"/>
                  </a:lnTo>
                  <a:lnTo>
                    <a:pt x="350" y="350"/>
                  </a:lnTo>
                  <a:lnTo>
                    <a:pt x="350" y="350"/>
                  </a:lnTo>
                  <a:lnTo>
                    <a:pt x="350" y="350"/>
                  </a:lnTo>
                  <a:lnTo>
                    <a:pt x="350" y="354"/>
                  </a:lnTo>
                  <a:lnTo>
                    <a:pt x="350" y="354"/>
                  </a:lnTo>
                  <a:lnTo>
                    <a:pt x="354" y="354"/>
                  </a:lnTo>
                  <a:lnTo>
                    <a:pt x="354" y="358"/>
                  </a:lnTo>
                  <a:lnTo>
                    <a:pt x="354" y="358"/>
                  </a:lnTo>
                  <a:lnTo>
                    <a:pt x="354" y="358"/>
                  </a:lnTo>
                  <a:lnTo>
                    <a:pt x="354" y="358"/>
                  </a:lnTo>
                  <a:lnTo>
                    <a:pt x="354" y="358"/>
                  </a:lnTo>
                  <a:lnTo>
                    <a:pt x="354" y="363"/>
                  </a:lnTo>
                  <a:lnTo>
                    <a:pt x="358" y="363"/>
                  </a:lnTo>
                  <a:lnTo>
                    <a:pt x="358" y="363"/>
                  </a:lnTo>
                  <a:lnTo>
                    <a:pt x="358" y="363"/>
                  </a:lnTo>
                  <a:lnTo>
                    <a:pt x="358" y="363"/>
                  </a:lnTo>
                  <a:lnTo>
                    <a:pt x="363" y="363"/>
                  </a:lnTo>
                  <a:lnTo>
                    <a:pt x="363" y="363"/>
                  </a:lnTo>
                  <a:lnTo>
                    <a:pt x="367" y="363"/>
                  </a:lnTo>
                  <a:lnTo>
                    <a:pt x="367" y="363"/>
                  </a:lnTo>
                  <a:lnTo>
                    <a:pt x="367" y="363"/>
                  </a:lnTo>
                  <a:lnTo>
                    <a:pt x="367" y="363"/>
                  </a:lnTo>
                  <a:lnTo>
                    <a:pt x="367" y="363"/>
                  </a:lnTo>
                  <a:lnTo>
                    <a:pt x="372" y="363"/>
                  </a:lnTo>
                  <a:lnTo>
                    <a:pt x="372" y="367"/>
                  </a:lnTo>
                  <a:lnTo>
                    <a:pt x="372" y="367"/>
                  </a:lnTo>
                  <a:lnTo>
                    <a:pt x="372" y="367"/>
                  </a:lnTo>
                  <a:lnTo>
                    <a:pt x="372" y="367"/>
                  </a:lnTo>
                  <a:lnTo>
                    <a:pt x="376" y="367"/>
                  </a:lnTo>
                  <a:lnTo>
                    <a:pt x="372" y="372"/>
                  </a:lnTo>
                  <a:lnTo>
                    <a:pt x="372" y="372"/>
                  </a:lnTo>
                  <a:lnTo>
                    <a:pt x="372" y="372"/>
                  </a:lnTo>
                  <a:lnTo>
                    <a:pt x="372" y="372"/>
                  </a:lnTo>
                  <a:lnTo>
                    <a:pt x="372" y="376"/>
                  </a:lnTo>
                  <a:lnTo>
                    <a:pt x="372" y="376"/>
                  </a:lnTo>
                  <a:lnTo>
                    <a:pt x="372" y="376"/>
                  </a:lnTo>
                  <a:lnTo>
                    <a:pt x="372" y="376"/>
                  </a:lnTo>
                  <a:lnTo>
                    <a:pt x="372" y="376"/>
                  </a:lnTo>
                  <a:lnTo>
                    <a:pt x="376" y="381"/>
                  </a:lnTo>
                  <a:lnTo>
                    <a:pt x="372" y="381"/>
                  </a:lnTo>
                  <a:lnTo>
                    <a:pt x="372" y="381"/>
                  </a:lnTo>
                  <a:lnTo>
                    <a:pt x="372" y="385"/>
                  </a:lnTo>
                  <a:lnTo>
                    <a:pt x="372" y="385"/>
                  </a:lnTo>
                  <a:lnTo>
                    <a:pt x="372" y="389"/>
                  </a:lnTo>
                  <a:lnTo>
                    <a:pt x="372" y="394"/>
                  </a:lnTo>
                  <a:lnTo>
                    <a:pt x="367" y="394"/>
                  </a:lnTo>
                  <a:lnTo>
                    <a:pt x="367" y="394"/>
                  </a:lnTo>
                  <a:lnTo>
                    <a:pt x="367" y="398"/>
                  </a:lnTo>
                  <a:lnTo>
                    <a:pt x="367" y="398"/>
                  </a:lnTo>
                  <a:lnTo>
                    <a:pt x="367" y="398"/>
                  </a:lnTo>
                  <a:lnTo>
                    <a:pt x="367" y="398"/>
                  </a:lnTo>
                  <a:lnTo>
                    <a:pt x="367" y="398"/>
                  </a:lnTo>
                  <a:lnTo>
                    <a:pt x="372" y="403"/>
                  </a:lnTo>
                  <a:lnTo>
                    <a:pt x="372" y="403"/>
                  </a:lnTo>
                  <a:lnTo>
                    <a:pt x="372" y="403"/>
                  </a:lnTo>
                  <a:lnTo>
                    <a:pt x="372" y="403"/>
                  </a:lnTo>
                  <a:lnTo>
                    <a:pt x="372" y="403"/>
                  </a:lnTo>
                  <a:lnTo>
                    <a:pt x="372" y="403"/>
                  </a:lnTo>
                  <a:lnTo>
                    <a:pt x="372" y="403"/>
                  </a:lnTo>
                  <a:lnTo>
                    <a:pt x="376" y="403"/>
                  </a:lnTo>
                  <a:lnTo>
                    <a:pt x="376" y="407"/>
                  </a:lnTo>
                  <a:lnTo>
                    <a:pt x="376" y="407"/>
                  </a:lnTo>
                  <a:lnTo>
                    <a:pt x="376" y="407"/>
                  </a:lnTo>
                  <a:lnTo>
                    <a:pt x="376" y="407"/>
                  </a:lnTo>
                  <a:lnTo>
                    <a:pt x="376" y="407"/>
                  </a:lnTo>
                  <a:lnTo>
                    <a:pt x="381" y="407"/>
                  </a:lnTo>
                  <a:lnTo>
                    <a:pt x="381" y="407"/>
                  </a:lnTo>
                  <a:lnTo>
                    <a:pt x="381" y="412"/>
                  </a:lnTo>
                  <a:lnTo>
                    <a:pt x="381" y="412"/>
                  </a:lnTo>
                  <a:lnTo>
                    <a:pt x="381" y="412"/>
                  </a:lnTo>
                  <a:lnTo>
                    <a:pt x="381" y="412"/>
                  </a:lnTo>
                  <a:lnTo>
                    <a:pt x="381" y="412"/>
                  </a:lnTo>
                  <a:lnTo>
                    <a:pt x="381" y="416"/>
                  </a:lnTo>
                  <a:lnTo>
                    <a:pt x="381" y="416"/>
                  </a:lnTo>
                  <a:lnTo>
                    <a:pt x="385" y="416"/>
                  </a:lnTo>
                  <a:lnTo>
                    <a:pt x="385" y="416"/>
                  </a:lnTo>
                  <a:lnTo>
                    <a:pt x="385" y="416"/>
                  </a:lnTo>
                  <a:lnTo>
                    <a:pt x="385" y="416"/>
                  </a:lnTo>
                  <a:lnTo>
                    <a:pt x="385" y="412"/>
                  </a:lnTo>
                  <a:lnTo>
                    <a:pt x="385" y="412"/>
                  </a:lnTo>
                  <a:lnTo>
                    <a:pt x="385" y="412"/>
                  </a:lnTo>
                  <a:lnTo>
                    <a:pt x="389" y="412"/>
                  </a:lnTo>
                  <a:lnTo>
                    <a:pt x="389" y="412"/>
                  </a:lnTo>
                  <a:lnTo>
                    <a:pt x="389" y="412"/>
                  </a:lnTo>
                  <a:lnTo>
                    <a:pt x="389" y="412"/>
                  </a:lnTo>
                  <a:lnTo>
                    <a:pt x="389" y="412"/>
                  </a:lnTo>
                  <a:lnTo>
                    <a:pt x="394" y="416"/>
                  </a:lnTo>
                  <a:lnTo>
                    <a:pt x="394" y="416"/>
                  </a:lnTo>
                  <a:lnTo>
                    <a:pt x="389" y="420"/>
                  </a:lnTo>
                  <a:lnTo>
                    <a:pt x="389" y="420"/>
                  </a:lnTo>
                  <a:lnTo>
                    <a:pt x="389" y="420"/>
                  </a:lnTo>
                  <a:lnTo>
                    <a:pt x="389" y="425"/>
                  </a:lnTo>
                  <a:lnTo>
                    <a:pt x="389" y="425"/>
                  </a:lnTo>
                  <a:lnTo>
                    <a:pt x="389" y="429"/>
                  </a:lnTo>
                  <a:lnTo>
                    <a:pt x="389" y="429"/>
                  </a:lnTo>
                  <a:lnTo>
                    <a:pt x="385" y="429"/>
                  </a:lnTo>
                  <a:lnTo>
                    <a:pt x="385" y="429"/>
                  </a:lnTo>
                  <a:lnTo>
                    <a:pt x="385" y="429"/>
                  </a:lnTo>
                  <a:lnTo>
                    <a:pt x="385" y="429"/>
                  </a:lnTo>
                  <a:lnTo>
                    <a:pt x="385" y="429"/>
                  </a:lnTo>
                  <a:lnTo>
                    <a:pt x="389" y="434"/>
                  </a:lnTo>
                  <a:lnTo>
                    <a:pt x="389" y="434"/>
                  </a:lnTo>
                  <a:lnTo>
                    <a:pt x="389" y="434"/>
                  </a:lnTo>
                  <a:lnTo>
                    <a:pt x="389" y="429"/>
                  </a:lnTo>
                  <a:lnTo>
                    <a:pt x="389" y="429"/>
                  </a:lnTo>
                  <a:lnTo>
                    <a:pt x="389" y="429"/>
                  </a:lnTo>
                  <a:lnTo>
                    <a:pt x="394" y="429"/>
                  </a:lnTo>
                  <a:lnTo>
                    <a:pt x="394" y="429"/>
                  </a:lnTo>
                  <a:lnTo>
                    <a:pt x="394" y="434"/>
                  </a:lnTo>
                  <a:lnTo>
                    <a:pt x="394" y="434"/>
                  </a:lnTo>
                  <a:lnTo>
                    <a:pt x="394" y="434"/>
                  </a:lnTo>
                  <a:lnTo>
                    <a:pt x="394" y="434"/>
                  </a:lnTo>
                  <a:lnTo>
                    <a:pt x="394" y="438"/>
                  </a:lnTo>
                  <a:lnTo>
                    <a:pt x="389" y="438"/>
                  </a:lnTo>
                  <a:lnTo>
                    <a:pt x="389" y="438"/>
                  </a:lnTo>
                  <a:lnTo>
                    <a:pt x="389" y="438"/>
                  </a:lnTo>
                  <a:lnTo>
                    <a:pt x="389" y="443"/>
                  </a:lnTo>
                  <a:lnTo>
                    <a:pt x="389" y="443"/>
                  </a:lnTo>
                  <a:lnTo>
                    <a:pt x="394" y="443"/>
                  </a:lnTo>
                  <a:lnTo>
                    <a:pt x="394" y="443"/>
                  </a:lnTo>
                  <a:lnTo>
                    <a:pt x="394" y="443"/>
                  </a:lnTo>
                  <a:lnTo>
                    <a:pt x="394" y="443"/>
                  </a:lnTo>
                  <a:lnTo>
                    <a:pt x="394" y="443"/>
                  </a:lnTo>
                  <a:lnTo>
                    <a:pt x="394" y="443"/>
                  </a:lnTo>
                  <a:lnTo>
                    <a:pt x="398" y="443"/>
                  </a:lnTo>
                  <a:lnTo>
                    <a:pt x="398" y="443"/>
                  </a:lnTo>
                  <a:lnTo>
                    <a:pt x="398" y="447"/>
                  </a:lnTo>
                  <a:lnTo>
                    <a:pt x="398" y="447"/>
                  </a:lnTo>
                  <a:lnTo>
                    <a:pt x="403" y="447"/>
                  </a:lnTo>
                  <a:lnTo>
                    <a:pt x="403" y="447"/>
                  </a:lnTo>
                  <a:lnTo>
                    <a:pt x="403" y="447"/>
                  </a:lnTo>
                  <a:lnTo>
                    <a:pt x="407" y="447"/>
                  </a:lnTo>
                  <a:lnTo>
                    <a:pt x="407" y="451"/>
                  </a:lnTo>
                  <a:lnTo>
                    <a:pt x="407" y="451"/>
                  </a:lnTo>
                  <a:lnTo>
                    <a:pt x="407" y="451"/>
                  </a:lnTo>
                  <a:lnTo>
                    <a:pt x="407" y="451"/>
                  </a:lnTo>
                  <a:lnTo>
                    <a:pt x="407" y="451"/>
                  </a:lnTo>
                  <a:lnTo>
                    <a:pt x="412" y="451"/>
                  </a:lnTo>
                  <a:lnTo>
                    <a:pt x="412" y="451"/>
                  </a:lnTo>
                  <a:lnTo>
                    <a:pt x="412" y="451"/>
                  </a:lnTo>
                  <a:lnTo>
                    <a:pt x="412" y="451"/>
                  </a:lnTo>
                  <a:lnTo>
                    <a:pt x="412" y="456"/>
                  </a:lnTo>
                  <a:lnTo>
                    <a:pt x="412" y="456"/>
                  </a:lnTo>
                  <a:lnTo>
                    <a:pt x="412" y="456"/>
                  </a:lnTo>
                  <a:lnTo>
                    <a:pt x="412" y="456"/>
                  </a:lnTo>
                  <a:lnTo>
                    <a:pt x="412" y="456"/>
                  </a:lnTo>
                  <a:lnTo>
                    <a:pt x="412" y="460"/>
                  </a:lnTo>
                  <a:lnTo>
                    <a:pt x="412" y="465"/>
                  </a:lnTo>
                  <a:lnTo>
                    <a:pt x="412" y="465"/>
                  </a:lnTo>
                  <a:lnTo>
                    <a:pt x="412" y="465"/>
                  </a:lnTo>
                  <a:lnTo>
                    <a:pt x="412" y="465"/>
                  </a:lnTo>
                  <a:lnTo>
                    <a:pt x="412" y="465"/>
                  </a:lnTo>
                  <a:lnTo>
                    <a:pt x="412" y="469"/>
                  </a:lnTo>
                  <a:lnTo>
                    <a:pt x="412" y="469"/>
                  </a:lnTo>
                  <a:lnTo>
                    <a:pt x="412" y="469"/>
                  </a:lnTo>
                  <a:lnTo>
                    <a:pt x="412" y="469"/>
                  </a:lnTo>
                  <a:lnTo>
                    <a:pt x="412" y="469"/>
                  </a:lnTo>
                  <a:lnTo>
                    <a:pt x="407" y="474"/>
                  </a:lnTo>
                  <a:lnTo>
                    <a:pt x="407" y="474"/>
                  </a:lnTo>
                  <a:lnTo>
                    <a:pt x="412" y="474"/>
                  </a:lnTo>
                  <a:lnTo>
                    <a:pt x="412" y="474"/>
                  </a:lnTo>
                  <a:lnTo>
                    <a:pt x="412" y="474"/>
                  </a:lnTo>
                  <a:lnTo>
                    <a:pt x="412" y="478"/>
                  </a:lnTo>
                  <a:lnTo>
                    <a:pt x="412" y="478"/>
                  </a:lnTo>
                  <a:lnTo>
                    <a:pt x="412" y="478"/>
                  </a:lnTo>
                  <a:lnTo>
                    <a:pt x="412" y="474"/>
                  </a:lnTo>
                  <a:lnTo>
                    <a:pt x="416" y="474"/>
                  </a:lnTo>
                  <a:lnTo>
                    <a:pt x="416" y="478"/>
                  </a:lnTo>
                  <a:lnTo>
                    <a:pt x="416" y="478"/>
                  </a:lnTo>
                  <a:lnTo>
                    <a:pt x="416" y="478"/>
                  </a:lnTo>
                  <a:lnTo>
                    <a:pt x="416" y="478"/>
                  </a:lnTo>
                  <a:lnTo>
                    <a:pt x="416" y="482"/>
                  </a:lnTo>
                  <a:lnTo>
                    <a:pt x="420" y="482"/>
                  </a:lnTo>
                  <a:lnTo>
                    <a:pt x="420" y="482"/>
                  </a:lnTo>
                  <a:lnTo>
                    <a:pt x="420" y="482"/>
                  </a:lnTo>
                  <a:lnTo>
                    <a:pt x="420" y="482"/>
                  </a:lnTo>
                  <a:lnTo>
                    <a:pt x="420" y="482"/>
                  </a:lnTo>
                  <a:lnTo>
                    <a:pt x="420" y="482"/>
                  </a:lnTo>
                  <a:lnTo>
                    <a:pt x="420" y="487"/>
                  </a:lnTo>
                  <a:lnTo>
                    <a:pt x="416" y="487"/>
                  </a:lnTo>
                  <a:lnTo>
                    <a:pt x="412" y="487"/>
                  </a:lnTo>
                  <a:lnTo>
                    <a:pt x="407" y="487"/>
                  </a:lnTo>
                  <a:lnTo>
                    <a:pt x="407" y="487"/>
                  </a:lnTo>
                  <a:lnTo>
                    <a:pt x="407" y="487"/>
                  </a:lnTo>
                  <a:lnTo>
                    <a:pt x="407" y="487"/>
                  </a:lnTo>
                  <a:lnTo>
                    <a:pt x="403" y="487"/>
                  </a:lnTo>
                  <a:lnTo>
                    <a:pt x="403" y="487"/>
                  </a:lnTo>
                  <a:lnTo>
                    <a:pt x="403" y="482"/>
                  </a:lnTo>
                  <a:lnTo>
                    <a:pt x="403" y="482"/>
                  </a:lnTo>
                  <a:lnTo>
                    <a:pt x="403" y="482"/>
                  </a:lnTo>
                  <a:lnTo>
                    <a:pt x="403" y="482"/>
                  </a:lnTo>
                  <a:lnTo>
                    <a:pt x="398" y="478"/>
                  </a:lnTo>
                  <a:lnTo>
                    <a:pt x="398" y="478"/>
                  </a:lnTo>
                  <a:lnTo>
                    <a:pt x="398" y="478"/>
                  </a:lnTo>
                  <a:lnTo>
                    <a:pt x="398" y="482"/>
                  </a:lnTo>
                  <a:lnTo>
                    <a:pt x="398" y="482"/>
                  </a:lnTo>
                  <a:lnTo>
                    <a:pt x="394" y="482"/>
                  </a:lnTo>
                  <a:lnTo>
                    <a:pt x="394" y="482"/>
                  </a:lnTo>
                  <a:lnTo>
                    <a:pt x="394" y="482"/>
                  </a:lnTo>
                  <a:lnTo>
                    <a:pt x="394" y="487"/>
                  </a:lnTo>
                  <a:lnTo>
                    <a:pt x="394" y="487"/>
                  </a:lnTo>
                  <a:lnTo>
                    <a:pt x="394" y="487"/>
                  </a:lnTo>
                  <a:lnTo>
                    <a:pt x="394" y="487"/>
                  </a:lnTo>
                  <a:lnTo>
                    <a:pt x="394" y="487"/>
                  </a:lnTo>
                  <a:lnTo>
                    <a:pt x="389" y="482"/>
                  </a:lnTo>
                  <a:lnTo>
                    <a:pt x="389" y="482"/>
                  </a:lnTo>
                  <a:lnTo>
                    <a:pt x="389" y="482"/>
                  </a:lnTo>
                  <a:lnTo>
                    <a:pt x="389" y="482"/>
                  </a:lnTo>
                  <a:lnTo>
                    <a:pt x="389" y="482"/>
                  </a:lnTo>
                  <a:lnTo>
                    <a:pt x="385" y="482"/>
                  </a:lnTo>
                  <a:lnTo>
                    <a:pt x="385" y="482"/>
                  </a:lnTo>
                  <a:lnTo>
                    <a:pt x="385" y="478"/>
                  </a:lnTo>
                  <a:lnTo>
                    <a:pt x="385" y="478"/>
                  </a:lnTo>
                  <a:lnTo>
                    <a:pt x="385" y="478"/>
                  </a:lnTo>
                  <a:lnTo>
                    <a:pt x="385" y="478"/>
                  </a:lnTo>
                  <a:lnTo>
                    <a:pt x="389" y="478"/>
                  </a:lnTo>
                  <a:lnTo>
                    <a:pt x="385" y="478"/>
                  </a:lnTo>
                  <a:lnTo>
                    <a:pt x="385" y="478"/>
                  </a:lnTo>
                  <a:lnTo>
                    <a:pt x="385" y="478"/>
                  </a:lnTo>
                  <a:lnTo>
                    <a:pt x="385" y="478"/>
                  </a:lnTo>
                  <a:lnTo>
                    <a:pt x="385" y="478"/>
                  </a:lnTo>
                  <a:lnTo>
                    <a:pt x="385" y="478"/>
                  </a:lnTo>
                  <a:lnTo>
                    <a:pt x="381" y="482"/>
                  </a:lnTo>
                  <a:lnTo>
                    <a:pt x="381" y="482"/>
                  </a:lnTo>
                  <a:lnTo>
                    <a:pt x="381" y="482"/>
                  </a:lnTo>
                  <a:lnTo>
                    <a:pt x="381" y="478"/>
                  </a:lnTo>
                  <a:lnTo>
                    <a:pt x="376" y="478"/>
                  </a:lnTo>
                  <a:lnTo>
                    <a:pt x="376" y="478"/>
                  </a:lnTo>
                  <a:lnTo>
                    <a:pt x="376" y="478"/>
                  </a:lnTo>
                  <a:lnTo>
                    <a:pt x="376" y="482"/>
                  </a:lnTo>
                  <a:lnTo>
                    <a:pt x="376" y="482"/>
                  </a:lnTo>
                  <a:lnTo>
                    <a:pt x="376" y="482"/>
                  </a:lnTo>
                  <a:lnTo>
                    <a:pt x="376" y="482"/>
                  </a:lnTo>
                  <a:lnTo>
                    <a:pt x="376" y="482"/>
                  </a:lnTo>
                  <a:lnTo>
                    <a:pt x="376" y="482"/>
                  </a:lnTo>
                  <a:lnTo>
                    <a:pt x="372" y="487"/>
                  </a:lnTo>
                  <a:lnTo>
                    <a:pt x="372" y="487"/>
                  </a:lnTo>
                  <a:lnTo>
                    <a:pt x="372" y="487"/>
                  </a:lnTo>
                  <a:lnTo>
                    <a:pt x="372" y="487"/>
                  </a:lnTo>
                  <a:lnTo>
                    <a:pt x="372" y="482"/>
                  </a:lnTo>
                  <a:lnTo>
                    <a:pt x="372" y="482"/>
                  </a:lnTo>
                  <a:lnTo>
                    <a:pt x="372" y="482"/>
                  </a:lnTo>
                  <a:lnTo>
                    <a:pt x="372" y="482"/>
                  </a:lnTo>
                  <a:lnTo>
                    <a:pt x="372" y="474"/>
                  </a:lnTo>
                  <a:lnTo>
                    <a:pt x="372" y="474"/>
                  </a:lnTo>
                  <a:lnTo>
                    <a:pt x="372" y="474"/>
                  </a:lnTo>
                  <a:lnTo>
                    <a:pt x="372" y="474"/>
                  </a:lnTo>
                  <a:lnTo>
                    <a:pt x="372" y="474"/>
                  </a:lnTo>
                  <a:lnTo>
                    <a:pt x="367" y="474"/>
                  </a:lnTo>
                  <a:lnTo>
                    <a:pt x="363" y="474"/>
                  </a:lnTo>
                  <a:lnTo>
                    <a:pt x="363" y="478"/>
                  </a:lnTo>
                  <a:lnTo>
                    <a:pt x="358" y="478"/>
                  </a:lnTo>
                  <a:lnTo>
                    <a:pt x="358" y="482"/>
                  </a:lnTo>
                  <a:lnTo>
                    <a:pt x="358" y="482"/>
                  </a:lnTo>
                  <a:lnTo>
                    <a:pt x="358" y="487"/>
                  </a:lnTo>
                  <a:lnTo>
                    <a:pt x="358" y="491"/>
                  </a:lnTo>
                  <a:lnTo>
                    <a:pt x="358" y="491"/>
                  </a:lnTo>
                  <a:lnTo>
                    <a:pt x="358" y="491"/>
                  </a:lnTo>
                  <a:lnTo>
                    <a:pt x="358" y="491"/>
                  </a:lnTo>
                  <a:lnTo>
                    <a:pt x="358" y="496"/>
                  </a:lnTo>
                  <a:lnTo>
                    <a:pt x="358" y="496"/>
                  </a:lnTo>
                  <a:lnTo>
                    <a:pt x="358" y="496"/>
                  </a:lnTo>
                  <a:lnTo>
                    <a:pt x="363" y="496"/>
                  </a:lnTo>
                  <a:lnTo>
                    <a:pt x="363" y="500"/>
                  </a:lnTo>
                  <a:lnTo>
                    <a:pt x="363" y="500"/>
                  </a:lnTo>
                  <a:lnTo>
                    <a:pt x="363" y="500"/>
                  </a:lnTo>
                  <a:lnTo>
                    <a:pt x="358" y="505"/>
                  </a:lnTo>
                  <a:lnTo>
                    <a:pt x="358" y="505"/>
                  </a:lnTo>
                  <a:lnTo>
                    <a:pt x="358" y="505"/>
                  </a:lnTo>
                  <a:lnTo>
                    <a:pt x="358" y="509"/>
                  </a:lnTo>
                  <a:lnTo>
                    <a:pt x="358" y="513"/>
                  </a:lnTo>
                  <a:lnTo>
                    <a:pt x="358" y="513"/>
                  </a:lnTo>
                  <a:lnTo>
                    <a:pt x="358" y="513"/>
                  </a:lnTo>
                  <a:lnTo>
                    <a:pt x="350" y="518"/>
                  </a:lnTo>
                  <a:lnTo>
                    <a:pt x="350" y="518"/>
                  </a:lnTo>
                  <a:lnTo>
                    <a:pt x="345" y="518"/>
                  </a:lnTo>
                  <a:lnTo>
                    <a:pt x="345" y="518"/>
                  </a:lnTo>
                  <a:lnTo>
                    <a:pt x="350" y="522"/>
                  </a:lnTo>
                  <a:lnTo>
                    <a:pt x="350" y="522"/>
                  </a:lnTo>
                  <a:lnTo>
                    <a:pt x="350" y="527"/>
                  </a:lnTo>
                  <a:lnTo>
                    <a:pt x="350" y="527"/>
                  </a:lnTo>
                  <a:lnTo>
                    <a:pt x="345" y="527"/>
                  </a:lnTo>
                  <a:lnTo>
                    <a:pt x="345" y="527"/>
                  </a:lnTo>
                  <a:lnTo>
                    <a:pt x="345" y="527"/>
                  </a:lnTo>
                  <a:lnTo>
                    <a:pt x="345" y="527"/>
                  </a:lnTo>
                  <a:lnTo>
                    <a:pt x="345" y="527"/>
                  </a:lnTo>
                  <a:lnTo>
                    <a:pt x="345" y="527"/>
                  </a:lnTo>
                  <a:lnTo>
                    <a:pt x="345" y="531"/>
                  </a:lnTo>
                  <a:lnTo>
                    <a:pt x="345" y="531"/>
                  </a:lnTo>
                  <a:lnTo>
                    <a:pt x="341" y="531"/>
                  </a:lnTo>
                  <a:lnTo>
                    <a:pt x="341" y="531"/>
                  </a:lnTo>
                  <a:lnTo>
                    <a:pt x="336" y="531"/>
                  </a:lnTo>
                  <a:lnTo>
                    <a:pt x="336" y="536"/>
                  </a:lnTo>
                  <a:lnTo>
                    <a:pt x="341" y="536"/>
                  </a:lnTo>
                  <a:lnTo>
                    <a:pt x="336" y="536"/>
                  </a:lnTo>
                  <a:lnTo>
                    <a:pt x="336" y="536"/>
                  </a:lnTo>
                  <a:lnTo>
                    <a:pt x="336" y="536"/>
                  </a:lnTo>
                  <a:lnTo>
                    <a:pt x="336" y="536"/>
                  </a:lnTo>
                  <a:lnTo>
                    <a:pt x="336" y="540"/>
                  </a:lnTo>
                  <a:lnTo>
                    <a:pt x="332" y="540"/>
                  </a:lnTo>
                  <a:lnTo>
                    <a:pt x="336" y="540"/>
                  </a:lnTo>
                  <a:lnTo>
                    <a:pt x="336" y="540"/>
                  </a:lnTo>
                  <a:lnTo>
                    <a:pt x="336" y="540"/>
                  </a:lnTo>
                  <a:lnTo>
                    <a:pt x="336" y="540"/>
                  </a:lnTo>
                  <a:lnTo>
                    <a:pt x="336" y="544"/>
                  </a:lnTo>
                  <a:lnTo>
                    <a:pt x="336" y="544"/>
                  </a:lnTo>
                  <a:lnTo>
                    <a:pt x="336" y="544"/>
                  </a:lnTo>
                  <a:lnTo>
                    <a:pt x="336" y="544"/>
                  </a:lnTo>
                  <a:lnTo>
                    <a:pt x="336" y="544"/>
                  </a:lnTo>
                  <a:lnTo>
                    <a:pt x="336" y="544"/>
                  </a:lnTo>
                  <a:lnTo>
                    <a:pt x="336" y="549"/>
                  </a:lnTo>
                  <a:lnTo>
                    <a:pt x="336" y="549"/>
                  </a:lnTo>
                  <a:lnTo>
                    <a:pt x="336" y="549"/>
                  </a:lnTo>
                  <a:lnTo>
                    <a:pt x="336" y="549"/>
                  </a:lnTo>
                  <a:lnTo>
                    <a:pt x="336" y="549"/>
                  </a:lnTo>
                  <a:lnTo>
                    <a:pt x="336" y="549"/>
                  </a:lnTo>
                  <a:lnTo>
                    <a:pt x="332" y="549"/>
                  </a:lnTo>
                  <a:lnTo>
                    <a:pt x="327" y="549"/>
                  </a:lnTo>
                  <a:lnTo>
                    <a:pt x="323" y="549"/>
                  </a:lnTo>
                  <a:lnTo>
                    <a:pt x="319" y="553"/>
                  </a:lnTo>
                  <a:lnTo>
                    <a:pt x="319" y="553"/>
                  </a:lnTo>
                  <a:lnTo>
                    <a:pt x="319" y="553"/>
                  </a:lnTo>
                  <a:lnTo>
                    <a:pt x="319" y="553"/>
                  </a:lnTo>
                  <a:lnTo>
                    <a:pt x="319" y="553"/>
                  </a:lnTo>
                  <a:lnTo>
                    <a:pt x="319" y="553"/>
                  </a:lnTo>
                  <a:lnTo>
                    <a:pt x="319" y="553"/>
                  </a:lnTo>
                  <a:lnTo>
                    <a:pt x="323" y="553"/>
                  </a:lnTo>
                  <a:lnTo>
                    <a:pt x="323" y="558"/>
                  </a:lnTo>
                  <a:lnTo>
                    <a:pt x="323" y="558"/>
                  </a:lnTo>
                  <a:lnTo>
                    <a:pt x="323" y="558"/>
                  </a:lnTo>
                  <a:lnTo>
                    <a:pt x="323" y="562"/>
                  </a:lnTo>
                  <a:lnTo>
                    <a:pt x="327" y="567"/>
                  </a:lnTo>
                  <a:lnTo>
                    <a:pt x="327" y="567"/>
                  </a:lnTo>
                  <a:lnTo>
                    <a:pt x="327" y="567"/>
                  </a:lnTo>
                  <a:lnTo>
                    <a:pt x="332" y="567"/>
                  </a:lnTo>
                  <a:lnTo>
                    <a:pt x="336" y="567"/>
                  </a:lnTo>
                  <a:lnTo>
                    <a:pt x="341" y="571"/>
                  </a:lnTo>
                  <a:lnTo>
                    <a:pt x="345" y="571"/>
                  </a:lnTo>
                  <a:lnTo>
                    <a:pt x="350" y="571"/>
                  </a:lnTo>
                  <a:lnTo>
                    <a:pt x="350" y="571"/>
                  </a:lnTo>
                  <a:lnTo>
                    <a:pt x="350" y="571"/>
                  </a:lnTo>
                  <a:lnTo>
                    <a:pt x="350" y="571"/>
                  </a:lnTo>
                  <a:lnTo>
                    <a:pt x="350" y="571"/>
                  </a:lnTo>
                  <a:lnTo>
                    <a:pt x="350" y="571"/>
                  </a:lnTo>
                  <a:lnTo>
                    <a:pt x="350" y="567"/>
                  </a:lnTo>
                  <a:lnTo>
                    <a:pt x="350" y="567"/>
                  </a:lnTo>
                  <a:lnTo>
                    <a:pt x="350" y="567"/>
                  </a:lnTo>
                  <a:lnTo>
                    <a:pt x="350" y="567"/>
                  </a:lnTo>
                  <a:lnTo>
                    <a:pt x="350" y="567"/>
                  </a:lnTo>
                  <a:lnTo>
                    <a:pt x="350" y="567"/>
                  </a:lnTo>
                  <a:lnTo>
                    <a:pt x="354" y="562"/>
                  </a:lnTo>
                  <a:lnTo>
                    <a:pt x="354" y="567"/>
                  </a:lnTo>
                  <a:lnTo>
                    <a:pt x="354" y="567"/>
                  </a:lnTo>
                  <a:lnTo>
                    <a:pt x="354" y="567"/>
                  </a:lnTo>
                  <a:lnTo>
                    <a:pt x="354" y="567"/>
                  </a:lnTo>
                  <a:lnTo>
                    <a:pt x="358" y="567"/>
                  </a:lnTo>
                  <a:lnTo>
                    <a:pt x="358" y="567"/>
                  </a:lnTo>
                  <a:lnTo>
                    <a:pt x="358" y="567"/>
                  </a:lnTo>
                  <a:lnTo>
                    <a:pt x="358" y="567"/>
                  </a:lnTo>
                  <a:lnTo>
                    <a:pt x="358" y="567"/>
                  </a:lnTo>
                  <a:lnTo>
                    <a:pt x="358" y="567"/>
                  </a:lnTo>
                  <a:lnTo>
                    <a:pt x="358" y="562"/>
                  </a:lnTo>
                  <a:lnTo>
                    <a:pt x="358" y="562"/>
                  </a:lnTo>
                  <a:lnTo>
                    <a:pt x="363" y="562"/>
                  </a:lnTo>
                  <a:lnTo>
                    <a:pt x="363" y="562"/>
                  </a:lnTo>
                  <a:lnTo>
                    <a:pt x="367" y="562"/>
                  </a:lnTo>
                  <a:lnTo>
                    <a:pt x="367" y="562"/>
                  </a:lnTo>
                  <a:lnTo>
                    <a:pt x="367" y="562"/>
                  </a:lnTo>
                  <a:lnTo>
                    <a:pt x="367" y="558"/>
                  </a:lnTo>
                  <a:lnTo>
                    <a:pt x="367" y="558"/>
                  </a:lnTo>
                  <a:lnTo>
                    <a:pt x="372" y="558"/>
                  </a:lnTo>
                  <a:lnTo>
                    <a:pt x="372" y="558"/>
                  </a:lnTo>
                  <a:lnTo>
                    <a:pt x="372" y="558"/>
                  </a:lnTo>
                  <a:lnTo>
                    <a:pt x="372" y="558"/>
                  </a:lnTo>
                  <a:lnTo>
                    <a:pt x="372" y="558"/>
                  </a:lnTo>
                  <a:lnTo>
                    <a:pt x="372" y="558"/>
                  </a:lnTo>
                  <a:lnTo>
                    <a:pt x="376" y="558"/>
                  </a:lnTo>
                  <a:lnTo>
                    <a:pt x="376" y="558"/>
                  </a:lnTo>
                  <a:lnTo>
                    <a:pt x="376" y="558"/>
                  </a:lnTo>
                  <a:lnTo>
                    <a:pt x="376" y="558"/>
                  </a:lnTo>
                  <a:lnTo>
                    <a:pt x="376" y="558"/>
                  </a:lnTo>
                  <a:lnTo>
                    <a:pt x="376" y="558"/>
                  </a:lnTo>
                  <a:lnTo>
                    <a:pt x="376" y="558"/>
                  </a:lnTo>
                  <a:lnTo>
                    <a:pt x="381" y="553"/>
                  </a:lnTo>
                  <a:lnTo>
                    <a:pt x="381" y="553"/>
                  </a:lnTo>
                  <a:lnTo>
                    <a:pt x="381" y="558"/>
                  </a:lnTo>
                  <a:lnTo>
                    <a:pt x="381" y="558"/>
                  </a:lnTo>
                  <a:lnTo>
                    <a:pt x="385" y="558"/>
                  </a:lnTo>
                  <a:lnTo>
                    <a:pt x="389" y="558"/>
                  </a:lnTo>
                  <a:lnTo>
                    <a:pt x="394" y="562"/>
                  </a:lnTo>
                  <a:lnTo>
                    <a:pt x="394" y="562"/>
                  </a:lnTo>
                  <a:lnTo>
                    <a:pt x="394" y="562"/>
                  </a:lnTo>
                  <a:lnTo>
                    <a:pt x="398" y="567"/>
                  </a:lnTo>
                  <a:lnTo>
                    <a:pt x="398" y="567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398" y="571"/>
                  </a:lnTo>
                  <a:lnTo>
                    <a:pt x="403" y="567"/>
                  </a:lnTo>
                  <a:lnTo>
                    <a:pt x="403" y="567"/>
                  </a:lnTo>
                  <a:lnTo>
                    <a:pt x="403" y="567"/>
                  </a:lnTo>
                  <a:lnTo>
                    <a:pt x="403" y="567"/>
                  </a:lnTo>
                  <a:lnTo>
                    <a:pt x="403" y="567"/>
                  </a:lnTo>
                  <a:lnTo>
                    <a:pt x="403" y="562"/>
                  </a:lnTo>
                  <a:lnTo>
                    <a:pt x="403" y="558"/>
                  </a:lnTo>
                  <a:lnTo>
                    <a:pt x="403" y="558"/>
                  </a:lnTo>
                  <a:lnTo>
                    <a:pt x="398" y="558"/>
                  </a:lnTo>
                  <a:lnTo>
                    <a:pt x="403" y="558"/>
                  </a:lnTo>
                  <a:lnTo>
                    <a:pt x="403" y="558"/>
                  </a:lnTo>
                  <a:lnTo>
                    <a:pt x="403" y="553"/>
                  </a:lnTo>
                  <a:lnTo>
                    <a:pt x="403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8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8" y="553"/>
                  </a:lnTo>
                  <a:lnTo>
                    <a:pt x="394" y="553"/>
                  </a:lnTo>
                  <a:lnTo>
                    <a:pt x="398" y="553"/>
                  </a:lnTo>
                  <a:lnTo>
                    <a:pt x="394" y="553"/>
                  </a:lnTo>
                  <a:lnTo>
                    <a:pt x="394" y="553"/>
                  </a:lnTo>
                  <a:lnTo>
                    <a:pt x="394" y="553"/>
                  </a:lnTo>
                  <a:lnTo>
                    <a:pt x="394" y="553"/>
                  </a:lnTo>
                  <a:lnTo>
                    <a:pt x="394" y="553"/>
                  </a:lnTo>
                  <a:lnTo>
                    <a:pt x="394" y="553"/>
                  </a:lnTo>
                  <a:lnTo>
                    <a:pt x="394" y="553"/>
                  </a:lnTo>
                  <a:lnTo>
                    <a:pt x="394" y="553"/>
                  </a:lnTo>
                  <a:lnTo>
                    <a:pt x="394" y="549"/>
                  </a:lnTo>
                  <a:lnTo>
                    <a:pt x="394" y="549"/>
                  </a:lnTo>
                  <a:lnTo>
                    <a:pt x="394" y="549"/>
                  </a:lnTo>
                  <a:lnTo>
                    <a:pt x="398" y="549"/>
                  </a:lnTo>
                  <a:lnTo>
                    <a:pt x="398" y="544"/>
                  </a:lnTo>
                  <a:lnTo>
                    <a:pt x="398" y="544"/>
                  </a:lnTo>
                  <a:lnTo>
                    <a:pt x="398" y="549"/>
                  </a:lnTo>
                  <a:lnTo>
                    <a:pt x="398" y="549"/>
                  </a:lnTo>
                  <a:lnTo>
                    <a:pt x="394" y="549"/>
                  </a:lnTo>
                  <a:lnTo>
                    <a:pt x="394" y="549"/>
                  </a:lnTo>
                  <a:lnTo>
                    <a:pt x="394" y="549"/>
                  </a:lnTo>
                  <a:lnTo>
                    <a:pt x="394" y="549"/>
                  </a:lnTo>
                  <a:lnTo>
                    <a:pt x="394" y="544"/>
                  </a:lnTo>
                  <a:lnTo>
                    <a:pt x="394" y="540"/>
                  </a:lnTo>
                  <a:lnTo>
                    <a:pt x="394" y="536"/>
                  </a:lnTo>
                  <a:lnTo>
                    <a:pt x="394" y="536"/>
                  </a:lnTo>
                  <a:lnTo>
                    <a:pt x="394" y="536"/>
                  </a:lnTo>
                  <a:lnTo>
                    <a:pt x="394" y="536"/>
                  </a:lnTo>
                  <a:lnTo>
                    <a:pt x="394" y="536"/>
                  </a:lnTo>
                  <a:lnTo>
                    <a:pt x="394" y="531"/>
                  </a:lnTo>
                  <a:lnTo>
                    <a:pt x="394" y="531"/>
                  </a:lnTo>
                  <a:lnTo>
                    <a:pt x="394" y="531"/>
                  </a:lnTo>
                  <a:lnTo>
                    <a:pt x="394" y="531"/>
                  </a:lnTo>
                  <a:lnTo>
                    <a:pt x="394" y="531"/>
                  </a:lnTo>
                  <a:lnTo>
                    <a:pt x="394" y="527"/>
                  </a:lnTo>
                  <a:lnTo>
                    <a:pt x="394" y="527"/>
                  </a:lnTo>
                  <a:lnTo>
                    <a:pt x="394" y="527"/>
                  </a:lnTo>
                  <a:lnTo>
                    <a:pt x="394" y="527"/>
                  </a:lnTo>
                  <a:lnTo>
                    <a:pt x="394" y="527"/>
                  </a:lnTo>
                  <a:lnTo>
                    <a:pt x="394" y="527"/>
                  </a:lnTo>
                  <a:lnTo>
                    <a:pt x="394" y="527"/>
                  </a:lnTo>
                  <a:lnTo>
                    <a:pt x="398" y="527"/>
                  </a:lnTo>
                  <a:lnTo>
                    <a:pt x="398" y="527"/>
                  </a:lnTo>
                  <a:lnTo>
                    <a:pt x="398" y="527"/>
                  </a:lnTo>
                  <a:lnTo>
                    <a:pt x="398" y="531"/>
                  </a:lnTo>
                  <a:lnTo>
                    <a:pt x="398" y="531"/>
                  </a:lnTo>
                  <a:lnTo>
                    <a:pt x="398" y="531"/>
                  </a:lnTo>
                  <a:lnTo>
                    <a:pt x="398" y="531"/>
                  </a:lnTo>
                  <a:lnTo>
                    <a:pt x="398" y="531"/>
                  </a:lnTo>
                  <a:lnTo>
                    <a:pt x="398" y="536"/>
                  </a:lnTo>
                  <a:lnTo>
                    <a:pt x="398" y="536"/>
                  </a:lnTo>
                  <a:lnTo>
                    <a:pt x="398" y="536"/>
                  </a:lnTo>
                  <a:lnTo>
                    <a:pt x="398" y="540"/>
                  </a:lnTo>
                  <a:lnTo>
                    <a:pt x="398" y="540"/>
                  </a:lnTo>
                  <a:lnTo>
                    <a:pt x="398" y="544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7" y="540"/>
                  </a:lnTo>
                  <a:lnTo>
                    <a:pt x="407" y="540"/>
                  </a:lnTo>
                  <a:lnTo>
                    <a:pt x="407" y="540"/>
                  </a:lnTo>
                  <a:lnTo>
                    <a:pt x="407" y="540"/>
                  </a:lnTo>
                  <a:lnTo>
                    <a:pt x="407" y="536"/>
                  </a:lnTo>
                  <a:lnTo>
                    <a:pt x="407" y="536"/>
                  </a:lnTo>
                  <a:lnTo>
                    <a:pt x="403" y="536"/>
                  </a:lnTo>
                  <a:lnTo>
                    <a:pt x="403" y="536"/>
                  </a:lnTo>
                  <a:lnTo>
                    <a:pt x="403" y="536"/>
                  </a:lnTo>
                  <a:lnTo>
                    <a:pt x="403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07" y="531"/>
                  </a:lnTo>
                  <a:lnTo>
                    <a:pt x="412" y="531"/>
                  </a:lnTo>
                  <a:lnTo>
                    <a:pt x="412" y="536"/>
                  </a:lnTo>
                  <a:lnTo>
                    <a:pt x="412" y="536"/>
                  </a:lnTo>
                  <a:lnTo>
                    <a:pt x="412" y="531"/>
                  </a:lnTo>
                  <a:lnTo>
                    <a:pt x="412" y="531"/>
                  </a:lnTo>
                  <a:lnTo>
                    <a:pt x="412" y="531"/>
                  </a:lnTo>
                  <a:lnTo>
                    <a:pt x="412" y="531"/>
                  </a:lnTo>
                  <a:lnTo>
                    <a:pt x="412" y="527"/>
                  </a:lnTo>
                  <a:lnTo>
                    <a:pt x="412" y="527"/>
                  </a:lnTo>
                  <a:lnTo>
                    <a:pt x="412" y="527"/>
                  </a:lnTo>
                  <a:lnTo>
                    <a:pt x="412" y="527"/>
                  </a:lnTo>
                  <a:lnTo>
                    <a:pt x="412" y="527"/>
                  </a:lnTo>
                  <a:lnTo>
                    <a:pt x="412" y="531"/>
                  </a:lnTo>
                  <a:lnTo>
                    <a:pt x="412" y="531"/>
                  </a:lnTo>
                  <a:lnTo>
                    <a:pt x="412" y="531"/>
                  </a:lnTo>
                  <a:lnTo>
                    <a:pt x="412" y="531"/>
                  </a:lnTo>
                  <a:lnTo>
                    <a:pt x="412" y="527"/>
                  </a:lnTo>
                  <a:lnTo>
                    <a:pt x="412" y="527"/>
                  </a:lnTo>
                  <a:lnTo>
                    <a:pt x="412" y="527"/>
                  </a:lnTo>
                  <a:lnTo>
                    <a:pt x="416" y="527"/>
                  </a:lnTo>
                  <a:lnTo>
                    <a:pt x="416" y="527"/>
                  </a:lnTo>
                  <a:lnTo>
                    <a:pt x="416" y="527"/>
                  </a:lnTo>
                  <a:lnTo>
                    <a:pt x="416" y="527"/>
                  </a:lnTo>
                  <a:lnTo>
                    <a:pt x="420" y="527"/>
                  </a:lnTo>
                  <a:lnTo>
                    <a:pt x="420" y="527"/>
                  </a:lnTo>
                  <a:lnTo>
                    <a:pt x="420" y="527"/>
                  </a:lnTo>
                  <a:lnTo>
                    <a:pt x="420" y="527"/>
                  </a:lnTo>
                  <a:lnTo>
                    <a:pt x="420" y="527"/>
                  </a:lnTo>
                  <a:lnTo>
                    <a:pt x="420" y="527"/>
                  </a:lnTo>
                  <a:lnTo>
                    <a:pt x="420" y="527"/>
                  </a:lnTo>
                  <a:lnTo>
                    <a:pt x="420" y="527"/>
                  </a:lnTo>
                  <a:lnTo>
                    <a:pt x="420" y="522"/>
                  </a:lnTo>
                  <a:lnTo>
                    <a:pt x="420" y="522"/>
                  </a:lnTo>
                  <a:lnTo>
                    <a:pt x="420" y="522"/>
                  </a:lnTo>
                  <a:lnTo>
                    <a:pt x="420" y="522"/>
                  </a:lnTo>
                  <a:lnTo>
                    <a:pt x="420" y="522"/>
                  </a:lnTo>
                  <a:lnTo>
                    <a:pt x="420" y="527"/>
                  </a:lnTo>
                  <a:lnTo>
                    <a:pt x="420" y="527"/>
                  </a:lnTo>
                  <a:lnTo>
                    <a:pt x="425" y="522"/>
                  </a:lnTo>
                  <a:lnTo>
                    <a:pt x="429" y="522"/>
                  </a:lnTo>
                  <a:lnTo>
                    <a:pt x="434" y="513"/>
                  </a:lnTo>
                  <a:lnTo>
                    <a:pt x="438" y="509"/>
                  </a:lnTo>
                  <a:lnTo>
                    <a:pt x="443" y="505"/>
                  </a:lnTo>
                  <a:lnTo>
                    <a:pt x="443" y="505"/>
                  </a:lnTo>
                  <a:lnTo>
                    <a:pt x="443" y="505"/>
                  </a:lnTo>
                  <a:lnTo>
                    <a:pt x="443" y="500"/>
                  </a:lnTo>
                  <a:lnTo>
                    <a:pt x="443" y="500"/>
                  </a:lnTo>
                  <a:lnTo>
                    <a:pt x="447" y="500"/>
                  </a:lnTo>
                  <a:lnTo>
                    <a:pt x="447" y="496"/>
                  </a:lnTo>
                  <a:lnTo>
                    <a:pt x="451" y="491"/>
                  </a:lnTo>
                  <a:lnTo>
                    <a:pt x="451" y="491"/>
                  </a:lnTo>
                  <a:lnTo>
                    <a:pt x="451" y="491"/>
                  </a:lnTo>
                  <a:lnTo>
                    <a:pt x="451" y="487"/>
                  </a:lnTo>
                  <a:lnTo>
                    <a:pt x="447" y="487"/>
                  </a:lnTo>
                  <a:lnTo>
                    <a:pt x="447" y="487"/>
                  </a:lnTo>
                  <a:lnTo>
                    <a:pt x="447" y="487"/>
                  </a:lnTo>
                  <a:lnTo>
                    <a:pt x="451" y="487"/>
                  </a:lnTo>
                  <a:lnTo>
                    <a:pt x="451" y="487"/>
                  </a:lnTo>
                  <a:lnTo>
                    <a:pt x="456" y="482"/>
                  </a:lnTo>
                  <a:lnTo>
                    <a:pt x="456" y="482"/>
                  </a:lnTo>
                  <a:lnTo>
                    <a:pt x="456" y="482"/>
                  </a:lnTo>
                  <a:lnTo>
                    <a:pt x="456" y="482"/>
                  </a:lnTo>
                  <a:lnTo>
                    <a:pt x="456" y="478"/>
                  </a:lnTo>
                  <a:lnTo>
                    <a:pt x="456" y="478"/>
                  </a:lnTo>
                  <a:lnTo>
                    <a:pt x="456" y="478"/>
                  </a:lnTo>
                  <a:lnTo>
                    <a:pt x="456" y="478"/>
                  </a:lnTo>
                  <a:lnTo>
                    <a:pt x="456" y="478"/>
                  </a:lnTo>
                  <a:lnTo>
                    <a:pt x="456" y="478"/>
                  </a:lnTo>
                  <a:lnTo>
                    <a:pt x="456" y="478"/>
                  </a:lnTo>
                  <a:lnTo>
                    <a:pt x="456" y="474"/>
                  </a:lnTo>
                  <a:lnTo>
                    <a:pt x="456" y="474"/>
                  </a:lnTo>
                  <a:lnTo>
                    <a:pt x="456" y="474"/>
                  </a:lnTo>
                  <a:lnTo>
                    <a:pt x="456" y="474"/>
                  </a:lnTo>
                  <a:lnTo>
                    <a:pt x="456" y="469"/>
                  </a:lnTo>
                  <a:lnTo>
                    <a:pt x="456" y="469"/>
                  </a:lnTo>
                  <a:lnTo>
                    <a:pt x="460" y="474"/>
                  </a:lnTo>
                  <a:lnTo>
                    <a:pt x="460" y="469"/>
                  </a:lnTo>
                  <a:lnTo>
                    <a:pt x="465" y="469"/>
                  </a:lnTo>
                  <a:lnTo>
                    <a:pt x="465" y="469"/>
                  </a:lnTo>
                  <a:lnTo>
                    <a:pt x="465" y="469"/>
                  </a:lnTo>
                  <a:lnTo>
                    <a:pt x="465" y="469"/>
                  </a:lnTo>
                  <a:lnTo>
                    <a:pt x="465" y="469"/>
                  </a:lnTo>
                  <a:lnTo>
                    <a:pt x="465" y="469"/>
                  </a:lnTo>
                  <a:lnTo>
                    <a:pt x="469" y="469"/>
                  </a:lnTo>
                  <a:lnTo>
                    <a:pt x="469" y="465"/>
                  </a:lnTo>
                  <a:lnTo>
                    <a:pt x="474" y="465"/>
                  </a:lnTo>
                  <a:lnTo>
                    <a:pt x="474" y="465"/>
                  </a:lnTo>
                  <a:lnTo>
                    <a:pt x="478" y="465"/>
                  </a:lnTo>
                  <a:lnTo>
                    <a:pt x="482" y="465"/>
                  </a:lnTo>
                  <a:lnTo>
                    <a:pt x="482" y="469"/>
                  </a:lnTo>
                  <a:lnTo>
                    <a:pt x="482" y="465"/>
                  </a:lnTo>
                  <a:lnTo>
                    <a:pt x="482" y="469"/>
                  </a:lnTo>
                  <a:lnTo>
                    <a:pt x="482" y="469"/>
                  </a:lnTo>
                  <a:lnTo>
                    <a:pt x="487" y="469"/>
                  </a:lnTo>
                  <a:lnTo>
                    <a:pt x="487" y="469"/>
                  </a:lnTo>
                  <a:lnTo>
                    <a:pt x="487" y="465"/>
                  </a:lnTo>
                  <a:lnTo>
                    <a:pt x="487" y="465"/>
                  </a:lnTo>
                  <a:lnTo>
                    <a:pt x="491" y="465"/>
                  </a:lnTo>
                  <a:lnTo>
                    <a:pt x="491" y="460"/>
                  </a:lnTo>
                  <a:lnTo>
                    <a:pt x="491" y="460"/>
                  </a:lnTo>
                  <a:lnTo>
                    <a:pt x="491" y="460"/>
                  </a:lnTo>
                  <a:lnTo>
                    <a:pt x="491" y="460"/>
                  </a:lnTo>
                  <a:lnTo>
                    <a:pt x="496" y="460"/>
                  </a:lnTo>
                  <a:lnTo>
                    <a:pt x="491" y="456"/>
                  </a:lnTo>
                  <a:lnTo>
                    <a:pt x="491" y="456"/>
                  </a:lnTo>
                  <a:lnTo>
                    <a:pt x="491" y="456"/>
                  </a:lnTo>
                  <a:lnTo>
                    <a:pt x="491" y="456"/>
                  </a:lnTo>
                  <a:lnTo>
                    <a:pt x="491" y="456"/>
                  </a:lnTo>
                  <a:lnTo>
                    <a:pt x="491" y="456"/>
                  </a:lnTo>
                  <a:lnTo>
                    <a:pt x="491" y="451"/>
                  </a:lnTo>
                  <a:lnTo>
                    <a:pt x="491" y="451"/>
                  </a:lnTo>
                  <a:lnTo>
                    <a:pt x="491" y="456"/>
                  </a:lnTo>
                  <a:lnTo>
                    <a:pt x="491" y="456"/>
                  </a:lnTo>
                  <a:lnTo>
                    <a:pt x="491" y="456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6" y="451"/>
                  </a:lnTo>
                  <a:lnTo>
                    <a:pt x="496" y="451"/>
                  </a:lnTo>
                  <a:lnTo>
                    <a:pt x="500" y="451"/>
                  </a:lnTo>
                  <a:lnTo>
                    <a:pt x="500" y="451"/>
                  </a:lnTo>
                  <a:lnTo>
                    <a:pt x="500" y="451"/>
                  </a:lnTo>
                  <a:lnTo>
                    <a:pt x="500" y="451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6" y="456"/>
                  </a:lnTo>
                  <a:lnTo>
                    <a:pt x="491" y="465"/>
                  </a:lnTo>
                  <a:lnTo>
                    <a:pt x="491" y="465"/>
                  </a:lnTo>
                  <a:lnTo>
                    <a:pt x="491" y="465"/>
                  </a:lnTo>
                  <a:lnTo>
                    <a:pt x="491" y="465"/>
                  </a:lnTo>
                  <a:lnTo>
                    <a:pt x="496" y="465"/>
                  </a:lnTo>
                  <a:lnTo>
                    <a:pt x="496" y="465"/>
                  </a:lnTo>
                  <a:lnTo>
                    <a:pt x="496" y="465"/>
                  </a:lnTo>
                  <a:lnTo>
                    <a:pt x="496" y="465"/>
                  </a:lnTo>
                  <a:lnTo>
                    <a:pt x="496" y="465"/>
                  </a:lnTo>
                  <a:lnTo>
                    <a:pt x="496" y="465"/>
                  </a:lnTo>
                  <a:lnTo>
                    <a:pt x="500" y="465"/>
                  </a:lnTo>
                  <a:lnTo>
                    <a:pt x="500" y="465"/>
                  </a:lnTo>
                  <a:lnTo>
                    <a:pt x="500" y="465"/>
                  </a:lnTo>
                  <a:lnTo>
                    <a:pt x="505" y="465"/>
                  </a:lnTo>
                  <a:lnTo>
                    <a:pt x="509" y="465"/>
                  </a:lnTo>
                  <a:lnTo>
                    <a:pt x="509" y="465"/>
                  </a:lnTo>
                  <a:lnTo>
                    <a:pt x="513" y="465"/>
                  </a:lnTo>
                  <a:lnTo>
                    <a:pt x="513" y="465"/>
                  </a:lnTo>
                  <a:lnTo>
                    <a:pt x="513" y="465"/>
                  </a:lnTo>
                  <a:lnTo>
                    <a:pt x="513" y="465"/>
                  </a:lnTo>
                  <a:lnTo>
                    <a:pt x="513" y="465"/>
                  </a:lnTo>
                  <a:lnTo>
                    <a:pt x="513" y="460"/>
                  </a:lnTo>
                  <a:lnTo>
                    <a:pt x="513" y="460"/>
                  </a:lnTo>
                  <a:lnTo>
                    <a:pt x="513" y="460"/>
                  </a:lnTo>
                  <a:lnTo>
                    <a:pt x="513" y="456"/>
                  </a:lnTo>
                  <a:lnTo>
                    <a:pt x="513" y="456"/>
                  </a:lnTo>
                  <a:lnTo>
                    <a:pt x="513" y="456"/>
                  </a:lnTo>
                  <a:lnTo>
                    <a:pt x="513" y="451"/>
                  </a:lnTo>
                  <a:lnTo>
                    <a:pt x="513" y="451"/>
                  </a:lnTo>
                  <a:lnTo>
                    <a:pt x="513" y="447"/>
                  </a:lnTo>
                  <a:lnTo>
                    <a:pt x="518" y="447"/>
                  </a:lnTo>
                  <a:lnTo>
                    <a:pt x="518" y="447"/>
                  </a:lnTo>
                  <a:lnTo>
                    <a:pt x="518" y="447"/>
                  </a:lnTo>
                  <a:lnTo>
                    <a:pt x="518" y="443"/>
                  </a:lnTo>
                  <a:lnTo>
                    <a:pt x="518" y="443"/>
                  </a:lnTo>
                  <a:lnTo>
                    <a:pt x="518" y="443"/>
                  </a:lnTo>
                  <a:lnTo>
                    <a:pt x="518" y="443"/>
                  </a:lnTo>
                  <a:lnTo>
                    <a:pt x="513" y="443"/>
                  </a:lnTo>
                  <a:lnTo>
                    <a:pt x="513" y="443"/>
                  </a:lnTo>
                  <a:lnTo>
                    <a:pt x="513" y="438"/>
                  </a:lnTo>
                  <a:lnTo>
                    <a:pt x="513" y="438"/>
                  </a:lnTo>
                  <a:lnTo>
                    <a:pt x="518" y="438"/>
                  </a:lnTo>
                  <a:lnTo>
                    <a:pt x="513" y="438"/>
                  </a:lnTo>
                  <a:lnTo>
                    <a:pt x="513" y="438"/>
                  </a:lnTo>
                  <a:lnTo>
                    <a:pt x="509" y="438"/>
                  </a:lnTo>
                  <a:lnTo>
                    <a:pt x="513" y="434"/>
                  </a:lnTo>
                  <a:lnTo>
                    <a:pt x="513" y="434"/>
                  </a:lnTo>
                  <a:lnTo>
                    <a:pt x="513" y="429"/>
                  </a:lnTo>
                  <a:lnTo>
                    <a:pt x="513" y="429"/>
                  </a:lnTo>
                  <a:lnTo>
                    <a:pt x="513" y="429"/>
                  </a:lnTo>
                  <a:lnTo>
                    <a:pt x="513" y="429"/>
                  </a:lnTo>
                  <a:lnTo>
                    <a:pt x="513" y="429"/>
                  </a:lnTo>
                  <a:lnTo>
                    <a:pt x="513" y="429"/>
                  </a:lnTo>
                  <a:lnTo>
                    <a:pt x="509" y="429"/>
                  </a:lnTo>
                  <a:lnTo>
                    <a:pt x="509" y="429"/>
                  </a:lnTo>
                  <a:lnTo>
                    <a:pt x="509" y="425"/>
                  </a:lnTo>
                  <a:lnTo>
                    <a:pt x="509" y="420"/>
                  </a:lnTo>
                  <a:lnTo>
                    <a:pt x="509" y="420"/>
                  </a:lnTo>
                  <a:lnTo>
                    <a:pt x="505" y="420"/>
                  </a:lnTo>
                  <a:lnTo>
                    <a:pt x="505" y="420"/>
                  </a:lnTo>
                  <a:lnTo>
                    <a:pt x="505" y="420"/>
                  </a:lnTo>
                  <a:lnTo>
                    <a:pt x="505" y="420"/>
                  </a:lnTo>
                  <a:lnTo>
                    <a:pt x="505" y="416"/>
                  </a:lnTo>
                  <a:lnTo>
                    <a:pt x="505" y="416"/>
                  </a:lnTo>
                  <a:lnTo>
                    <a:pt x="505" y="416"/>
                  </a:lnTo>
                  <a:lnTo>
                    <a:pt x="505" y="416"/>
                  </a:lnTo>
                  <a:lnTo>
                    <a:pt x="505" y="420"/>
                  </a:lnTo>
                  <a:lnTo>
                    <a:pt x="509" y="420"/>
                  </a:lnTo>
                  <a:lnTo>
                    <a:pt x="509" y="420"/>
                  </a:lnTo>
                  <a:lnTo>
                    <a:pt x="509" y="425"/>
                  </a:lnTo>
                  <a:lnTo>
                    <a:pt x="509" y="425"/>
                  </a:lnTo>
                  <a:lnTo>
                    <a:pt x="509" y="425"/>
                  </a:lnTo>
                  <a:lnTo>
                    <a:pt x="509" y="425"/>
                  </a:lnTo>
                  <a:lnTo>
                    <a:pt x="513" y="425"/>
                  </a:lnTo>
                  <a:lnTo>
                    <a:pt x="513" y="429"/>
                  </a:lnTo>
                  <a:lnTo>
                    <a:pt x="513" y="429"/>
                  </a:lnTo>
                  <a:lnTo>
                    <a:pt x="513" y="429"/>
                  </a:lnTo>
                  <a:lnTo>
                    <a:pt x="513" y="429"/>
                  </a:lnTo>
                  <a:lnTo>
                    <a:pt x="513" y="434"/>
                  </a:lnTo>
                  <a:lnTo>
                    <a:pt x="513" y="434"/>
                  </a:lnTo>
                  <a:lnTo>
                    <a:pt x="513" y="434"/>
                  </a:lnTo>
                  <a:lnTo>
                    <a:pt x="513" y="438"/>
                  </a:lnTo>
                  <a:lnTo>
                    <a:pt x="518" y="434"/>
                  </a:lnTo>
                  <a:lnTo>
                    <a:pt x="518" y="434"/>
                  </a:lnTo>
                  <a:lnTo>
                    <a:pt x="518" y="438"/>
                  </a:lnTo>
                  <a:lnTo>
                    <a:pt x="518" y="438"/>
                  </a:lnTo>
                  <a:lnTo>
                    <a:pt x="518" y="438"/>
                  </a:lnTo>
                  <a:lnTo>
                    <a:pt x="518" y="443"/>
                  </a:lnTo>
                  <a:lnTo>
                    <a:pt x="518" y="443"/>
                  </a:lnTo>
                  <a:lnTo>
                    <a:pt x="518" y="443"/>
                  </a:lnTo>
                  <a:lnTo>
                    <a:pt x="522" y="443"/>
                  </a:lnTo>
                  <a:lnTo>
                    <a:pt x="522" y="443"/>
                  </a:lnTo>
                  <a:lnTo>
                    <a:pt x="518" y="447"/>
                  </a:lnTo>
                  <a:lnTo>
                    <a:pt x="518" y="447"/>
                  </a:lnTo>
                  <a:lnTo>
                    <a:pt x="518" y="451"/>
                  </a:lnTo>
                  <a:lnTo>
                    <a:pt x="518" y="451"/>
                  </a:lnTo>
                  <a:lnTo>
                    <a:pt x="518" y="456"/>
                  </a:lnTo>
                  <a:lnTo>
                    <a:pt x="518" y="456"/>
                  </a:lnTo>
                  <a:lnTo>
                    <a:pt x="518" y="456"/>
                  </a:lnTo>
                  <a:lnTo>
                    <a:pt x="518" y="460"/>
                  </a:lnTo>
                  <a:lnTo>
                    <a:pt x="518" y="460"/>
                  </a:lnTo>
                  <a:lnTo>
                    <a:pt x="518" y="460"/>
                  </a:lnTo>
                  <a:lnTo>
                    <a:pt x="518" y="465"/>
                  </a:lnTo>
                  <a:lnTo>
                    <a:pt x="522" y="465"/>
                  </a:lnTo>
                  <a:lnTo>
                    <a:pt x="522" y="465"/>
                  </a:lnTo>
                  <a:lnTo>
                    <a:pt x="522" y="465"/>
                  </a:lnTo>
                  <a:lnTo>
                    <a:pt x="527" y="465"/>
                  </a:lnTo>
                  <a:lnTo>
                    <a:pt x="527" y="469"/>
                  </a:lnTo>
                  <a:lnTo>
                    <a:pt x="527" y="469"/>
                  </a:lnTo>
                  <a:lnTo>
                    <a:pt x="527" y="469"/>
                  </a:lnTo>
                  <a:lnTo>
                    <a:pt x="527" y="469"/>
                  </a:lnTo>
                  <a:lnTo>
                    <a:pt x="531" y="469"/>
                  </a:lnTo>
                  <a:lnTo>
                    <a:pt x="531" y="469"/>
                  </a:lnTo>
                  <a:lnTo>
                    <a:pt x="531" y="469"/>
                  </a:lnTo>
                  <a:lnTo>
                    <a:pt x="531" y="469"/>
                  </a:lnTo>
                  <a:lnTo>
                    <a:pt x="531" y="469"/>
                  </a:lnTo>
                  <a:lnTo>
                    <a:pt x="531" y="469"/>
                  </a:lnTo>
                  <a:lnTo>
                    <a:pt x="531" y="469"/>
                  </a:lnTo>
                  <a:lnTo>
                    <a:pt x="536" y="469"/>
                  </a:lnTo>
                  <a:lnTo>
                    <a:pt x="536" y="469"/>
                  </a:lnTo>
                  <a:lnTo>
                    <a:pt x="540" y="469"/>
                  </a:lnTo>
                  <a:lnTo>
                    <a:pt x="549" y="465"/>
                  </a:lnTo>
                  <a:lnTo>
                    <a:pt x="549" y="465"/>
                  </a:lnTo>
                  <a:lnTo>
                    <a:pt x="553" y="465"/>
                  </a:lnTo>
                  <a:lnTo>
                    <a:pt x="553" y="465"/>
                  </a:lnTo>
                  <a:lnTo>
                    <a:pt x="553" y="465"/>
                  </a:lnTo>
                  <a:lnTo>
                    <a:pt x="553" y="465"/>
                  </a:lnTo>
                  <a:lnTo>
                    <a:pt x="553" y="465"/>
                  </a:lnTo>
                  <a:lnTo>
                    <a:pt x="553" y="465"/>
                  </a:lnTo>
                  <a:lnTo>
                    <a:pt x="549" y="469"/>
                  </a:lnTo>
                  <a:lnTo>
                    <a:pt x="549" y="469"/>
                  </a:lnTo>
                  <a:lnTo>
                    <a:pt x="549" y="469"/>
                  </a:lnTo>
                  <a:lnTo>
                    <a:pt x="544" y="469"/>
                  </a:lnTo>
                  <a:lnTo>
                    <a:pt x="544" y="474"/>
                  </a:lnTo>
                  <a:lnTo>
                    <a:pt x="540" y="474"/>
                  </a:lnTo>
                  <a:lnTo>
                    <a:pt x="544" y="474"/>
                  </a:lnTo>
                  <a:lnTo>
                    <a:pt x="540" y="478"/>
                  </a:lnTo>
                  <a:lnTo>
                    <a:pt x="540" y="478"/>
                  </a:lnTo>
                  <a:lnTo>
                    <a:pt x="536" y="478"/>
                  </a:lnTo>
                  <a:lnTo>
                    <a:pt x="536" y="478"/>
                  </a:lnTo>
                  <a:lnTo>
                    <a:pt x="531" y="478"/>
                  </a:lnTo>
                  <a:lnTo>
                    <a:pt x="527" y="474"/>
                  </a:lnTo>
                  <a:lnTo>
                    <a:pt x="527" y="474"/>
                  </a:lnTo>
                  <a:lnTo>
                    <a:pt x="522" y="474"/>
                  </a:lnTo>
                  <a:lnTo>
                    <a:pt x="518" y="474"/>
                  </a:lnTo>
                  <a:lnTo>
                    <a:pt x="513" y="474"/>
                  </a:lnTo>
                  <a:lnTo>
                    <a:pt x="513" y="474"/>
                  </a:lnTo>
                  <a:lnTo>
                    <a:pt x="513" y="474"/>
                  </a:lnTo>
                  <a:lnTo>
                    <a:pt x="509" y="474"/>
                  </a:lnTo>
                  <a:lnTo>
                    <a:pt x="509" y="469"/>
                  </a:lnTo>
                  <a:lnTo>
                    <a:pt x="496" y="474"/>
                  </a:lnTo>
                  <a:lnTo>
                    <a:pt x="496" y="474"/>
                  </a:lnTo>
                  <a:lnTo>
                    <a:pt x="496" y="469"/>
                  </a:lnTo>
                  <a:lnTo>
                    <a:pt x="496" y="469"/>
                  </a:lnTo>
                  <a:lnTo>
                    <a:pt x="496" y="469"/>
                  </a:lnTo>
                  <a:lnTo>
                    <a:pt x="500" y="478"/>
                  </a:lnTo>
                  <a:lnTo>
                    <a:pt x="500" y="478"/>
                  </a:lnTo>
                  <a:lnTo>
                    <a:pt x="500" y="478"/>
                  </a:lnTo>
                  <a:lnTo>
                    <a:pt x="505" y="482"/>
                  </a:lnTo>
                  <a:lnTo>
                    <a:pt x="505" y="478"/>
                  </a:lnTo>
                  <a:lnTo>
                    <a:pt x="505" y="478"/>
                  </a:lnTo>
                  <a:lnTo>
                    <a:pt x="505" y="478"/>
                  </a:lnTo>
                  <a:lnTo>
                    <a:pt x="505" y="478"/>
                  </a:lnTo>
                  <a:lnTo>
                    <a:pt x="505" y="478"/>
                  </a:lnTo>
                  <a:lnTo>
                    <a:pt x="505" y="474"/>
                  </a:lnTo>
                  <a:lnTo>
                    <a:pt x="505" y="474"/>
                  </a:lnTo>
                  <a:lnTo>
                    <a:pt x="509" y="474"/>
                  </a:lnTo>
                  <a:lnTo>
                    <a:pt x="513" y="478"/>
                  </a:lnTo>
                  <a:lnTo>
                    <a:pt x="518" y="478"/>
                  </a:lnTo>
                  <a:lnTo>
                    <a:pt x="518" y="478"/>
                  </a:lnTo>
                  <a:lnTo>
                    <a:pt x="522" y="478"/>
                  </a:lnTo>
                  <a:lnTo>
                    <a:pt x="522" y="482"/>
                  </a:lnTo>
                  <a:lnTo>
                    <a:pt x="522" y="482"/>
                  </a:lnTo>
                  <a:lnTo>
                    <a:pt x="522" y="482"/>
                  </a:lnTo>
                  <a:lnTo>
                    <a:pt x="522" y="482"/>
                  </a:lnTo>
                  <a:lnTo>
                    <a:pt x="522" y="482"/>
                  </a:lnTo>
                  <a:lnTo>
                    <a:pt x="518" y="487"/>
                  </a:lnTo>
                  <a:lnTo>
                    <a:pt x="518" y="487"/>
                  </a:lnTo>
                  <a:lnTo>
                    <a:pt x="513" y="487"/>
                  </a:lnTo>
                  <a:lnTo>
                    <a:pt x="509" y="487"/>
                  </a:lnTo>
                  <a:lnTo>
                    <a:pt x="509" y="487"/>
                  </a:lnTo>
                  <a:lnTo>
                    <a:pt x="509" y="487"/>
                  </a:lnTo>
                  <a:lnTo>
                    <a:pt x="509" y="487"/>
                  </a:lnTo>
                  <a:lnTo>
                    <a:pt x="509" y="491"/>
                  </a:lnTo>
                  <a:lnTo>
                    <a:pt x="509" y="491"/>
                  </a:lnTo>
                  <a:lnTo>
                    <a:pt x="509" y="491"/>
                  </a:lnTo>
                  <a:lnTo>
                    <a:pt x="509" y="491"/>
                  </a:lnTo>
                  <a:lnTo>
                    <a:pt x="509" y="491"/>
                  </a:lnTo>
                  <a:lnTo>
                    <a:pt x="513" y="491"/>
                  </a:lnTo>
                  <a:lnTo>
                    <a:pt x="513" y="491"/>
                  </a:lnTo>
                  <a:lnTo>
                    <a:pt x="513" y="491"/>
                  </a:lnTo>
                  <a:lnTo>
                    <a:pt x="513" y="491"/>
                  </a:lnTo>
                  <a:lnTo>
                    <a:pt x="513" y="491"/>
                  </a:lnTo>
                  <a:lnTo>
                    <a:pt x="518" y="491"/>
                  </a:lnTo>
                  <a:lnTo>
                    <a:pt x="522" y="496"/>
                  </a:lnTo>
                  <a:lnTo>
                    <a:pt x="522" y="491"/>
                  </a:lnTo>
                  <a:lnTo>
                    <a:pt x="522" y="496"/>
                  </a:lnTo>
                  <a:lnTo>
                    <a:pt x="527" y="496"/>
                  </a:lnTo>
                  <a:lnTo>
                    <a:pt x="527" y="496"/>
                  </a:lnTo>
                  <a:lnTo>
                    <a:pt x="527" y="496"/>
                  </a:lnTo>
                  <a:lnTo>
                    <a:pt x="531" y="500"/>
                  </a:lnTo>
                  <a:lnTo>
                    <a:pt x="531" y="500"/>
                  </a:lnTo>
                  <a:lnTo>
                    <a:pt x="531" y="500"/>
                  </a:lnTo>
                  <a:lnTo>
                    <a:pt x="536" y="500"/>
                  </a:lnTo>
                  <a:lnTo>
                    <a:pt x="536" y="500"/>
                  </a:lnTo>
                  <a:lnTo>
                    <a:pt x="536" y="500"/>
                  </a:lnTo>
                  <a:lnTo>
                    <a:pt x="531" y="500"/>
                  </a:lnTo>
                  <a:lnTo>
                    <a:pt x="531" y="500"/>
                  </a:lnTo>
                  <a:lnTo>
                    <a:pt x="531" y="500"/>
                  </a:lnTo>
                  <a:lnTo>
                    <a:pt x="531" y="500"/>
                  </a:lnTo>
                  <a:lnTo>
                    <a:pt x="531" y="505"/>
                  </a:lnTo>
                  <a:lnTo>
                    <a:pt x="536" y="505"/>
                  </a:lnTo>
                  <a:lnTo>
                    <a:pt x="536" y="505"/>
                  </a:lnTo>
                  <a:lnTo>
                    <a:pt x="536" y="505"/>
                  </a:lnTo>
                  <a:lnTo>
                    <a:pt x="536" y="505"/>
                  </a:lnTo>
                  <a:lnTo>
                    <a:pt x="536" y="505"/>
                  </a:lnTo>
                  <a:lnTo>
                    <a:pt x="544" y="509"/>
                  </a:lnTo>
                  <a:lnTo>
                    <a:pt x="549" y="509"/>
                  </a:lnTo>
                  <a:lnTo>
                    <a:pt x="549" y="509"/>
                  </a:lnTo>
                  <a:lnTo>
                    <a:pt x="549" y="505"/>
                  </a:lnTo>
                  <a:lnTo>
                    <a:pt x="549" y="505"/>
                  </a:lnTo>
                  <a:lnTo>
                    <a:pt x="549" y="505"/>
                  </a:lnTo>
                  <a:lnTo>
                    <a:pt x="558" y="505"/>
                  </a:lnTo>
                  <a:lnTo>
                    <a:pt x="558" y="505"/>
                  </a:lnTo>
                  <a:lnTo>
                    <a:pt x="562" y="505"/>
                  </a:lnTo>
                  <a:lnTo>
                    <a:pt x="562" y="505"/>
                  </a:lnTo>
                  <a:lnTo>
                    <a:pt x="562" y="505"/>
                  </a:lnTo>
                  <a:lnTo>
                    <a:pt x="567" y="505"/>
                  </a:lnTo>
                  <a:lnTo>
                    <a:pt x="567" y="505"/>
                  </a:lnTo>
                  <a:lnTo>
                    <a:pt x="567" y="505"/>
                  </a:lnTo>
                  <a:lnTo>
                    <a:pt x="567" y="505"/>
                  </a:lnTo>
                  <a:lnTo>
                    <a:pt x="567" y="505"/>
                  </a:lnTo>
                  <a:lnTo>
                    <a:pt x="567" y="505"/>
                  </a:lnTo>
                  <a:lnTo>
                    <a:pt x="575" y="505"/>
                  </a:lnTo>
                  <a:lnTo>
                    <a:pt x="575" y="505"/>
                  </a:lnTo>
                  <a:lnTo>
                    <a:pt x="575" y="500"/>
                  </a:lnTo>
                  <a:lnTo>
                    <a:pt x="575" y="500"/>
                  </a:lnTo>
                  <a:lnTo>
                    <a:pt x="580" y="505"/>
                  </a:lnTo>
                  <a:lnTo>
                    <a:pt x="580" y="505"/>
                  </a:lnTo>
                  <a:lnTo>
                    <a:pt x="580" y="505"/>
                  </a:lnTo>
                  <a:lnTo>
                    <a:pt x="580" y="505"/>
                  </a:lnTo>
                  <a:lnTo>
                    <a:pt x="580" y="505"/>
                  </a:lnTo>
                  <a:lnTo>
                    <a:pt x="580" y="500"/>
                  </a:lnTo>
                  <a:lnTo>
                    <a:pt x="584" y="500"/>
                  </a:lnTo>
                  <a:lnTo>
                    <a:pt x="584" y="496"/>
                  </a:lnTo>
                  <a:lnTo>
                    <a:pt x="584" y="496"/>
                  </a:lnTo>
                  <a:lnTo>
                    <a:pt x="584" y="500"/>
                  </a:lnTo>
                  <a:lnTo>
                    <a:pt x="584" y="505"/>
                  </a:lnTo>
                  <a:lnTo>
                    <a:pt x="584" y="505"/>
                  </a:lnTo>
                  <a:lnTo>
                    <a:pt x="589" y="505"/>
                  </a:lnTo>
                  <a:lnTo>
                    <a:pt x="589" y="505"/>
                  </a:lnTo>
                  <a:lnTo>
                    <a:pt x="589" y="505"/>
                  </a:lnTo>
                  <a:lnTo>
                    <a:pt x="589" y="505"/>
                  </a:lnTo>
                  <a:lnTo>
                    <a:pt x="589" y="505"/>
                  </a:lnTo>
                  <a:lnTo>
                    <a:pt x="589" y="505"/>
                  </a:lnTo>
                  <a:lnTo>
                    <a:pt x="589" y="505"/>
                  </a:lnTo>
                  <a:lnTo>
                    <a:pt x="589" y="505"/>
                  </a:lnTo>
                  <a:lnTo>
                    <a:pt x="589" y="509"/>
                  </a:lnTo>
                  <a:lnTo>
                    <a:pt x="589" y="505"/>
                  </a:lnTo>
                  <a:lnTo>
                    <a:pt x="593" y="505"/>
                  </a:lnTo>
                  <a:lnTo>
                    <a:pt x="593" y="509"/>
                  </a:lnTo>
                  <a:lnTo>
                    <a:pt x="593" y="509"/>
                  </a:lnTo>
                  <a:lnTo>
                    <a:pt x="593" y="509"/>
                  </a:lnTo>
                  <a:lnTo>
                    <a:pt x="597" y="509"/>
                  </a:lnTo>
                  <a:lnTo>
                    <a:pt x="597" y="509"/>
                  </a:lnTo>
                  <a:lnTo>
                    <a:pt x="597" y="509"/>
                  </a:lnTo>
                  <a:lnTo>
                    <a:pt x="597" y="509"/>
                  </a:lnTo>
                  <a:lnTo>
                    <a:pt x="597" y="509"/>
                  </a:lnTo>
                  <a:lnTo>
                    <a:pt x="602" y="509"/>
                  </a:lnTo>
                  <a:lnTo>
                    <a:pt x="602" y="509"/>
                  </a:lnTo>
                  <a:lnTo>
                    <a:pt x="602" y="505"/>
                  </a:lnTo>
                  <a:lnTo>
                    <a:pt x="602" y="505"/>
                  </a:lnTo>
                  <a:lnTo>
                    <a:pt x="602" y="505"/>
                  </a:lnTo>
                  <a:lnTo>
                    <a:pt x="602" y="505"/>
                  </a:lnTo>
                  <a:lnTo>
                    <a:pt x="602" y="500"/>
                  </a:lnTo>
                  <a:lnTo>
                    <a:pt x="602" y="500"/>
                  </a:lnTo>
                  <a:lnTo>
                    <a:pt x="606" y="505"/>
                  </a:lnTo>
                  <a:lnTo>
                    <a:pt x="606" y="505"/>
                  </a:lnTo>
                  <a:lnTo>
                    <a:pt x="606" y="505"/>
                  </a:lnTo>
                  <a:lnTo>
                    <a:pt x="606" y="509"/>
                  </a:lnTo>
                  <a:lnTo>
                    <a:pt x="606" y="509"/>
                  </a:lnTo>
                  <a:lnTo>
                    <a:pt x="606" y="509"/>
                  </a:lnTo>
                  <a:lnTo>
                    <a:pt x="606" y="513"/>
                  </a:lnTo>
                  <a:lnTo>
                    <a:pt x="606" y="513"/>
                  </a:lnTo>
                  <a:lnTo>
                    <a:pt x="606" y="513"/>
                  </a:lnTo>
                  <a:lnTo>
                    <a:pt x="606" y="513"/>
                  </a:lnTo>
                  <a:lnTo>
                    <a:pt x="606" y="513"/>
                  </a:lnTo>
                  <a:lnTo>
                    <a:pt x="606" y="513"/>
                  </a:lnTo>
                  <a:lnTo>
                    <a:pt x="606" y="513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11" y="518"/>
                  </a:lnTo>
                  <a:lnTo>
                    <a:pt x="611" y="518"/>
                  </a:lnTo>
                  <a:lnTo>
                    <a:pt x="615" y="518"/>
                  </a:lnTo>
                  <a:lnTo>
                    <a:pt x="611" y="518"/>
                  </a:lnTo>
                  <a:lnTo>
                    <a:pt x="611" y="518"/>
                  </a:lnTo>
                  <a:lnTo>
                    <a:pt x="611" y="522"/>
                  </a:lnTo>
                  <a:lnTo>
                    <a:pt x="611" y="518"/>
                  </a:lnTo>
                  <a:lnTo>
                    <a:pt x="611" y="522"/>
                  </a:lnTo>
                  <a:lnTo>
                    <a:pt x="611" y="522"/>
                  </a:lnTo>
                  <a:lnTo>
                    <a:pt x="611" y="522"/>
                  </a:lnTo>
                  <a:lnTo>
                    <a:pt x="606" y="522"/>
                  </a:lnTo>
                  <a:lnTo>
                    <a:pt x="606" y="522"/>
                  </a:lnTo>
                  <a:lnTo>
                    <a:pt x="606" y="522"/>
                  </a:lnTo>
                  <a:lnTo>
                    <a:pt x="606" y="522"/>
                  </a:lnTo>
                  <a:lnTo>
                    <a:pt x="606" y="522"/>
                  </a:lnTo>
                  <a:lnTo>
                    <a:pt x="606" y="522"/>
                  </a:lnTo>
                  <a:lnTo>
                    <a:pt x="606" y="522"/>
                  </a:lnTo>
                  <a:lnTo>
                    <a:pt x="606" y="522"/>
                  </a:lnTo>
                  <a:lnTo>
                    <a:pt x="602" y="522"/>
                  </a:lnTo>
                  <a:lnTo>
                    <a:pt x="602" y="522"/>
                  </a:lnTo>
                  <a:lnTo>
                    <a:pt x="602" y="527"/>
                  </a:lnTo>
                  <a:lnTo>
                    <a:pt x="602" y="527"/>
                  </a:lnTo>
                  <a:lnTo>
                    <a:pt x="602" y="527"/>
                  </a:lnTo>
                  <a:lnTo>
                    <a:pt x="597" y="527"/>
                  </a:lnTo>
                  <a:lnTo>
                    <a:pt x="597" y="527"/>
                  </a:lnTo>
                  <a:lnTo>
                    <a:pt x="597" y="522"/>
                  </a:lnTo>
                  <a:lnTo>
                    <a:pt x="597" y="527"/>
                  </a:lnTo>
                  <a:lnTo>
                    <a:pt x="593" y="527"/>
                  </a:lnTo>
                  <a:lnTo>
                    <a:pt x="593" y="527"/>
                  </a:lnTo>
                  <a:lnTo>
                    <a:pt x="593" y="527"/>
                  </a:lnTo>
                  <a:lnTo>
                    <a:pt x="593" y="527"/>
                  </a:lnTo>
                  <a:lnTo>
                    <a:pt x="589" y="531"/>
                  </a:lnTo>
                  <a:lnTo>
                    <a:pt x="584" y="531"/>
                  </a:lnTo>
                  <a:lnTo>
                    <a:pt x="584" y="531"/>
                  </a:lnTo>
                  <a:lnTo>
                    <a:pt x="584" y="531"/>
                  </a:lnTo>
                  <a:lnTo>
                    <a:pt x="580" y="531"/>
                  </a:lnTo>
                  <a:lnTo>
                    <a:pt x="580" y="531"/>
                  </a:lnTo>
                  <a:lnTo>
                    <a:pt x="580" y="531"/>
                  </a:lnTo>
                  <a:lnTo>
                    <a:pt x="580" y="531"/>
                  </a:lnTo>
                  <a:lnTo>
                    <a:pt x="580" y="531"/>
                  </a:lnTo>
                  <a:lnTo>
                    <a:pt x="580" y="531"/>
                  </a:lnTo>
                  <a:lnTo>
                    <a:pt x="580" y="531"/>
                  </a:lnTo>
                  <a:lnTo>
                    <a:pt x="580" y="531"/>
                  </a:lnTo>
                  <a:lnTo>
                    <a:pt x="580" y="536"/>
                  </a:lnTo>
                  <a:lnTo>
                    <a:pt x="571" y="540"/>
                  </a:lnTo>
                  <a:lnTo>
                    <a:pt x="567" y="540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9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62" y="544"/>
                  </a:lnTo>
                  <a:lnTo>
                    <a:pt x="558" y="544"/>
                  </a:lnTo>
                  <a:lnTo>
                    <a:pt x="558" y="549"/>
                  </a:lnTo>
                  <a:lnTo>
                    <a:pt x="558" y="549"/>
                  </a:lnTo>
                  <a:lnTo>
                    <a:pt x="558" y="549"/>
                  </a:lnTo>
                  <a:lnTo>
                    <a:pt x="558" y="549"/>
                  </a:lnTo>
                  <a:lnTo>
                    <a:pt x="558" y="549"/>
                  </a:lnTo>
                  <a:lnTo>
                    <a:pt x="558" y="549"/>
                  </a:lnTo>
                  <a:lnTo>
                    <a:pt x="553" y="549"/>
                  </a:lnTo>
                  <a:lnTo>
                    <a:pt x="553" y="549"/>
                  </a:lnTo>
                  <a:lnTo>
                    <a:pt x="549" y="553"/>
                  </a:lnTo>
                  <a:lnTo>
                    <a:pt x="544" y="558"/>
                  </a:lnTo>
                  <a:lnTo>
                    <a:pt x="544" y="558"/>
                  </a:lnTo>
                  <a:lnTo>
                    <a:pt x="544" y="558"/>
                  </a:lnTo>
                  <a:lnTo>
                    <a:pt x="549" y="562"/>
                  </a:lnTo>
                  <a:lnTo>
                    <a:pt x="549" y="562"/>
                  </a:lnTo>
                  <a:lnTo>
                    <a:pt x="549" y="562"/>
                  </a:lnTo>
                  <a:lnTo>
                    <a:pt x="549" y="567"/>
                  </a:lnTo>
                  <a:lnTo>
                    <a:pt x="553" y="567"/>
                  </a:lnTo>
                  <a:lnTo>
                    <a:pt x="553" y="562"/>
                  </a:lnTo>
                  <a:lnTo>
                    <a:pt x="558" y="562"/>
                  </a:lnTo>
                  <a:lnTo>
                    <a:pt x="558" y="562"/>
                  </a:lnTo>
                  <a:lnTo>
                    <a:pt x="558" y="562"/>
                  </a:lnTo>
                  <a:lnTo>
                    <a:pt x="567" y="562"/>
                  </a:lnTo>
                  <a:lnTo>
                    <a:pt x="571" y="562"/>
                  </a:lnTo>
                  <a:lnTo>
                    <a:pt x="571" y="562"/>
                  </a:lnTo>
                  <a:lnTo>
                    <a:pt x="575" y="567"/>
                  </a:lnTo>
                  <a:lnTo>
                    <a:pt x="575" y="567"/>
                  </a:lnTo>
                  <a:lnTo>
                    <a:pt x="575" y="567"/>
                  </a:lnTo>
                  <a:lnTo>
                    <a:pt x="575" y="567"/>
                  </a:lnTo>
                  <a:lnTo>
                    <a:pt x="575" y="571"/>
                  </a:lnTo>
                  <a:lnTo>
                    <a:pt x="580" y="571"/>
                  </a:lnTo>
                  <a:lnTo>
                    <a:pt x="580" y="571"/>
                  </a:lnTo>
                  <a:lnTo>
                    <a:pt x="580" y="571"/>
                  </a:lnTo>
                  <a:lnTo>
                    <a:pt x="580" y="575"/>
                  </a:lnTo>
                  <a:lnTo>
                    <a:pt x="584" y="575"/>
                  </a:lnTo>
                  <a:lnTo>
                    <a:pt x="584" y="575"/>
                  </a:lnTo>
                  <a:lnTo>
                    <a:pt x="584" y="575"/>
                  </a:lnTo>
                  <a:lnTo>
                    <a:pt x="584" y="575"/>
                  </a:lnTo>
                  <a:lnTo>
                    <a:pt x="589" y="575"/>
                  </a:lnTo>
                  <a:lnTo>
                    <a:pt x="589" y="575"/>
                  </a:lnTo>
                  <a:lnTo>
                    <a:pt x="593" y="575"/>
                  </a:lnTo>
                  <a:lnTo>
                    <a:pt x="593" y="575"/>
                  </a:lnTo>
                  <a:lnTo>
                    <a:pt x="593" y="575"/>
                  </a:lnTo>
                  <a:lnTo>
                    <a:pt x="597" y="575"/>
                  </a:lnTo>
                  <a:lnTo>
                    <a:pt x="602" y="580"/>
                  </a:lnTo>
                  <a:lnTo>
                    <a:pt x="602" y="580"/>
                  </a:lnTo>
                  <a:lnTo>
                    <a:pt x="602" y="584"/>
                  </a:lnTo>
                  <a:lnTo>
                    <a:pt x="602" y="584"/>
                  </a:lnTo>
                  <a:lnTo>
                    <a:pt x="602" y="589"/>
                  </a:lnTo>
                  <a:lnTo>
                    <a:pt x="606" y="589"/>
                  </a:lnTo>
                  <a:lnTo>
                    <a:pt x="606" y="589"/>
                  </a:lnTo>
                  <a:lnTo>
                    <a:pt x="606" y="589"/>
                  </a:lnTo>
                  <a:lnTo>
                    <a:pt x="606" y="593"/>
                  </a:lnTo>
                  <a:lnTo>
                    <a:pt x="606" y="593"/>
                  </a:lnTo>
                  <a:lnTo>
                    <a:pt x="606" y="598"/>
                  </a:lnTo>
                  <a:lnTo>
                    <a:pt x="606" y="598"/>
                  </a:lnTo>
                  <a:lnTo>
                    <a:pt x="602" y="598"/>
                  </a:lnTo>
                  <a:lnTo>
                    <a:pt x="602" y="598"/>
                  </a:lnTo>
                  <a:lnTo>
                    <a:pt x="602" y="602"/>
                  </a:lnTo>
                  <a:lnTo>
                    <a:pt x="602" y="602"/>
                  </a:lnTo>
                  <a:lnTo>
                    <a:pt x="602" y="602"/>
                  </a:lnTo>
                  <a:lnTo>
                    <a:pt x="602" y="602"/>
                  </a:lnTo>
                  <a:lnTo>
                    <a:pt x="602" y="602"/>
                  </a:lnTo>
                  <a:lnTo>
                    <a:pt x="597" y="606"/>
                  </a:lnTo>
                  <a:lnTo>
                    <a:pt x="602" y="606"/>
                  </a:lnTo>
                  <a:lnTo>
                    <a:pt x="602" y="606"/>
                  </a:lnTo>
                  <a:lnTo>
                    <a:pt x="602" y="606"/>
                  </a:lnTo>
                  <a:lnTo>
                    <a:pt x="602" y="611"/>
                  </a:lnTo>
                  <a:lnTo>
                    <a:pt x="602" y="611"/>
                  </a:lnTo>
                  <a:lnTo>
                    <a:pt x="602" y="611"/>
                  </a:lnTo>
                  <a:lnTo>
                    <a:pt x="602" y="611"/>
                  </a:lnTo>
                  <a:lnTo>
                    <a:pt x="602" y="615"/>
                  </a:lnTo>
                  <a:lnTo>
                    <a:pt x="597" y="615"/>
                  </a:lnTo>
                  <a:lnTo>
                    <a:pt x="597" y="615"/>
                  </a:lnTo>
                  <a:lnTo>
                    <a:pt x="602" y="615"/>
                  </a:lnTo>
                  <a:lnTo>
                    <a:pt x="602" y="615"/>
                  </a:lnTo>
                  <a:lnTo>
                    <a:pt x="602" y="615"/>
                  </a:lnTo>
                  <a:lnTo>
                    <a:pt x="602" y="615"/>
                  </a:lnTo>
                  <a:lnTo>
                    <a:pt x="597" y="615"/>
                  </a:lnTo>
                  <a:lnTo>
                    <a:pt x="597" y="615"/>
                  </a:lnTo>
                  <a:lnTo>
                    <a:pt x="597" y="620"/>
                  </a:lnTo>
                  <a:lnTo>
                    <a:pt x="597" y="620"/>
                  </a:lnTo>
                  <a:lnTo>
                    <a:pt x="597" y="620"/>
                  </a:lnTo>
                  <a:lnTo>
                    <a:pt x="597" y="620"/>
                  </a:lnTo>
                  <a:lnTo>
                    <a:pt x="593" y="620"/>
                  </a:lnTo>
                  <a:lnTo>
                    <a:pt x="593" y="620"/>
                  </a:lnTo>
                  <a:lnTo>
                    <a:pt x="593" y="620"/>
                  </a:lnTo>
                  <a:lnTo>
                    <a:pt x="593" y="620"/>
                  </a:lnTo>
                  <a:lnTo>
                    <a:pt x="593" y="620"/>
                  </a:lnTo>
                  <a:lnTo>
                    <a:pt x="593" y="620"/>
                  </a:lnTo>
                  <a:lnTo>
                    <a:pt x="593" y="620"/>
                  </a:lnTo>
                  <a:lnTo>
                    <a:pt x="597" y="624"/>
                  </a:lnTo>
                  <a:lnTo>
                    <a:pt x="597" y="624"/>
                  </a:lnTo>
                  <a:lnTo>
                    <a:pt x="602" y="624"/>
                  </a:lnTo>
                  <a:lnTo>
                    <a:pt x="602" y="624"/>
                  </a:lnTo>
                  <a:lnTo>
                    <a:pt x="602" y="624"/>
                  </a:lnTo>
                  <a:lnTo>
                    <a:pt x="602" y="624"/>
                  </a:lnTo>
                  <a:lnTo>
                    <a:pt x="602" y="624"/>
                  </a:lnTo>
                  <a:lnTo>
                    <a:pt x="606" y="629"/>
                  </a:lnTo>
                  <a:lnTo>
                    <a:pt x="606" y="629"/>
                  </a:lnTo>
                  <a:lnTo>
                    <a:pt x="606" y="629"/>
                  </a:lnTo>
                  <a:lnTo>
                    <a:pt x="606" y="633"/>
                  </a:lnTo>
                  <a:lnTo>
                    <a:pt x="611" y="633"/>
                  </a:lnTo>
                  <a:lnTo>
                    <a:pt x="611" y="633"/>
                  </a:lnTo>
                  <a:lnTo>
                    <a:pt x="615" y="633"/>
                  </a:lnTo>
                  <a:lnTo>
                    <a:pt x="615" y="633"/>
                  </a:lnTo>
                  <a:lnTo>
                    <a:pt x="615" y="633"/>
                  </a:lnTo>
                  <a:lnTo>
                    <a:pt x="615" y="633"/>
                  </a:lnTo>
                  <a:lnTo>
                    <a:pt x="620" y="633"/>
                  </a:lnTo>
                  <a:lnTo>
                    <a:pt x="624" y="633"/>
                  </a:lnTo>
                  <a:lnTo>
                    <a:pt x="624" y="633"/>
                  </a:lnTo>
                  <a:lnTo>
                    <a:pt x="628" y="633"/>
                  </a:lnTo>
                  <a:lnTo>
                    <a:pt x="628" y="633"/>
                  </a:lnTo>
                  <a:lnTo>
                    <a:pt x="628" y="633"/>
                  </a:lnTo>
                  <a:lnTo>
                    <a:pt x="633" y="629"/>
                  </a:lnTo>
                  <a:lnTo>
                    <a:pt x="633" y="629"/>
                  </a:lnTo>
                  <a:lnTo>
                    <a:pt x="633" y="629"/>
                  </a:lnTo>
                  <a:lnTo>
                    <a:pt x="633" y="629"/>
                  </a:lnTo>
                  <a:lnTo>
                    <a:pt x="633" y="624"/>
                  </a:lnTo>
                  <a:lnTo>
                    <a:pt x="637" y="624"/>
                  </a:lnTo>
                  <a:lnTo>
                    <a:pt x="637" y="624"/>
                  </a:lnTo>
                  <a:lnTo>
                    <a:pt x="637" y="624"/>
                  </a:lnTo>
                  <a:lnTo>
                    <a:pt x="637" y="624"/>
                  </a:lnTo>
                  <a:lnTo>
                    <a:pt x="637" y="624"/>
                  </a:lnTo>
                  <a:lnTo>
                    <a:pt x="637" y="624"/>
                  </a:lnTo>
                  <a:lnTo>
                    <a:pt x="637" y="624"/>
                  </a:lnTo>
                  <a:lnTo>
                    <a:pt x="642" y="624"/>
                  </a:lnTo>
                  <a:lnTo>
                    <a:pt x="642" y="624"/>
                  </a:lnTo>
                  <a:lnTo>
                    <a:pt x="642" y="624"/>
                  </a:lnTo>
                  <a:lnTo>
                    <a:pt x="642" y="624"/>
                  </a:lnTo>
                  <a:lnTo>
                    <a:pt x="642" y="624"/>
                  </a:lnTo>
                  <a:lnTo>
                    <a:pt x="642" y="620"/>
                  </a:lnTo>
                  <a:lnTo>
                    <a:pt x="646" y="615"/>
                  </a:lnTo>
                  <a:lnTo>
                    <a:pt x="646" y="611"/>
                  </a:lnTo>
                  <a:lnTo>
                    <a:pt x="646" y="611"/>
                  </a:lnTo>
                  <a:lnTo>
                    <a:pt x="646" y="611"/>
                  </a:lnTo>
                  <a:lnTo>
                    <a:pt x="651" y="606"/>
                  </a:lnTo>
                  <a:lnTo>
                    <a:pt x="651" y="606"/>
                  </a:lnTo>
                  <a:lnTo>
                    <a:pt x="651" y="606"/>
                  </a:lnTo>
                  <a:lnTo>
                    <a:pt x="651" y="611"/>
                  </a:lnTo>
                  <a:lnTo>
                    <a:pt x="651" y="611"/>
                  </a:lnTo>
                  <a:lnTo>
                    <a:pt x="651" y="606"/>
                  </a:lnTo>
                  <a:lnTo>
                    <a:pt x="655" y="606"/>
                  </a:lnTo>
                  <a:lnTo>
                    <a:pt x="659" y="606"/>
                  </a:lnTo>
                  <a:lnTo>
                    <a:pt x="659" y="606"/>
                  </a:lnTo>
                  <a:lnTo>
                    <a:pt x="664" y="602"/>
                  </a:lnTo>
                  <a:lnTo>
                    <a:pt x="664" y="602"/>
                  </a:lnTo>
                  <a:lnTo>
                    <a:pt x="668" y="602"/>
                  </a:lnTo>
                  <a:lnTo>
                    <a:pt x="668" y="602"/>
                  </a:lnTo>
                  <a:lnTo>
                    <a:pt x="668" y="602"/>
                  </a:lnTo>
                  <a:lnTo>
                    <a:pt x="673" y="602"/>
                  </a:lnTo>
                  <a:lnTo>
                    <a:pt x="673" y="602"/>
                  </a:lnTo>
                  <a:lnTo>
                    <a:pt x="673" y="602"/>
                  </a:lnTo>
                  <a:lnTo>
                    <a:pt x="673" y="602"/>
                  </a:lnTo>
                  <a:lnTo>
                    <a:pt x="673" y="602"/>
                  </a:lnTo>
                  <a:lnTo>
                    <a:pt x="673" y="602"/>
                  </a:lnTo>
                  <a:lnTo>
                    <a:pt x="677" y="602"/>
                  </a:lnTo>
                  <a:lnTo>
                    <a:pt x="677" y="602"/>
                  </a:lnTo>
                  <a:lnTo>
                    <a:pt x="677" y="602"/>
                  </a:lnTo>
                  <a:lnTo>
                    <a:pt x="677" y="602"/>
                  </a:lnTo>
                  <a:lnTo>
                    <a:pt x="677" y="602"/>
                  </a:lnTo>
                  <a:lnTo>
                    <a:pt x="682" y="602"/>
                  </a:lnTo>
                  <a:lnTo>
                    <a:pt x="682" y="602"/>
                  </a:lnTo>
                  <a:lnTo>
                    <a:pt x="682" y="602"/>
                  </a:lnTo>
                  <a:lnTo>
                    <a:pt x="686" y="598"/>
                  </a:lnTo>
                  <a:lnTo>
                    <a:pt x="686" y="598"/>
                  </a:lnTo>
                  <a:lnTo>
                    <a:pt x="686" y="593"/>
                  </a:lnTo>
                  <a:lnTo>
                    <a:pt x="690" y="593"/>
                  </a:lnTo>
                  <a:lnTo>
                    <a:pt x="690" y="593"/>
                  </a:lnTo>
                  <a:lnTo>
                    <a:pt x="690" y="593"/>
                  </a:lnTo>
                  <a:lnTo>
                    <a:pt x="690" y="589"/>
                  </a:lnTo>
                  <a:lnTo>
                    <a:pt x="695" y="593"/>
                  </a:lnTo>
                  <a:lnTo>
                    <a:pt x="695" y="593"/>
                  </a:lnTo>
                  <a:lnTo>
                    <a:pt x="695" y="593"/>
                  </a:lnTo>
                  <a:lnTo>
                    <a:pt x="695" y="589"/>
                  </a:lnTo>
                  <a:lnTo>
                    <a:pt x="699" y="593"/>
                  </a:lnTo>
                  <a:lnTo>
                    <a:pt x="695" y="589"/>
                  </a:lnTo>
                  <a:lnTo>
                    <a:pt x="695" y="589"/>
                  </a:lnTo>
                  <a:lnTo>
                    <a:pt x="699" y="589"/>
                  </a:lnTo>
                  <a:lnTo>
                    <a:pt x="699" y="589"/>
                  </a:lnTo>
                  <a:lnTo>
                    <a:pt x="699" y="589"/>
                  </a:lnTo>
                  <a:lnTo>
                    <a:pt x="699" y="589"/>
                  </a:lnTo>
                  <a:lnTo>
                    <a:pt x="699" y="589"/>
                  </a:lnTo>
                  <a:lnTo>
                    <a:pt x="699" y="589"/>
                  </a:lnTo>
                  <a:lnTo>
                    <a:pt x="699" y="589"/>
                  </a:lnTo>
                  <a:lnTo>
                    <a:pt x="699" y="584"/>
                  </a:lnTo>
                  <a:lnTo>
                    <a:pt x="699" y="584"/>
                  </a:lnTo>
                  <a:lnTo>
                    <a:pt x="699" y="584"/>
                  </a:lnTo>
                  <a:lnTo>
                    <a:pt x="699" y="584"/>
                  </a:lnTo>
                  <a:lnTo>
                    <a:pt x="699" y="584"/>
                  </a:lnTo>
                  <a:lnTo>
                    <a:pt x="704" y="580"/>
                  </a:lnTo>
                  <a:lnTo>
                    <a:pt x="704" y="580"/>
                  </a:lnTo>
                  <a:lnTo>
                    <a:pt x="708" y="580"/>
                  </a:lnTo>
                  <a:lnTo>
                    <a:pt x="708" y="580"/>
                  </a:lnTo>
                  <a:lnTo>
                    <a:pt x="713" y="580"/>
                  </a:lnTo>
                  <a:lnTo>
                    <a:pt x="717" y="580"/>
                  </a:lnTo>
                  <a:lnTo>
                    <a:pt x="717" y="584"/>
                  </a:lnTo>
                  <a:lnTo>
                    <a:pt x="717" y="584"/>
                  </a:lnTo>
                  <a:lnTo>
                    <a:pt x="721" y="584"/>
                  </a:lnTo>
                  <a:lnTo>
                    <a:pt x="721" y="589"/>
                  </a:lnTo>
                  <a:lnTo>
                    <a:pt x="721" y="589"/>
                  </a:lnTo>
                  <a:lnTo>
                    <a:pt x="721" y="589"/>
                  </a:lnTo>
                  <a:lnTo>
                    <a:pt x="726" y="589"/>
                  </a:lnTo>
                  <a:lnTo>
                    <a:pt x="730" y="589"/>
                  </a:lnTo>
                  <a:lnTo>
                    <a:pt x="730" y="589"/>
                  </a:lnTo>
                  <a:lnTo>
                    <a:pt x="730" y="584"/>
                  </a:lnTo>
                  <a:lnTo>
                    <a:pt x="735" y="584"/>
                  </a:lnTo>
                  <a:lnTo>
                    <a:pt x="735" y="584"/>
                  </a:lnTo>
                  <a:lnTo>
                    <a:pt x="735" y="584"/>
                  </a:lnTo>
                  <a:lnTo>
                    <a:pt x="739" y="589"/>
                  </a:lnTo>
                  <a:lnTo>
                    <a:pt x="744" y="589"/>
                  </a:lnTo>
                  <a:lnTo>
                    <a:pt x="744" y="589"/>
                  </a:lnTo>
                  <a:lnTo>
                    <a:pt x="744" y="589"/>
                  </a:lnTo>
                  <a:lnTo>
                    <a:pt x="744" y="584"/>
                  </a:lnTo>
                  <a:lnTo>
                    <a:pt x="744" y="584"/>
                  </a:lnTo>
                  <a:lnTo>
                    <a:pt x="744" y="584"/>
                  </a:lnTo>
                  <a:lnTo>
                    <a:pt x="744" y="584"/>
                  </a:lnTo>
                  <a:lnTo>
                    <a:pt x="748" y="584"/>
                  </a:lnTo>
                  <a:lnTo>
                    <a:pt x="752" y="584"/>
                  </a:lnTo>
                  <a:lnTo>
                    <a:pt x="752" y="584"/>
                  </a:lnTo>
                  <a:lnTo>
                    <a:pt x="752" y="580"/>
                  </a:lnTo>
                  <a:lnTo>
                    <a:pt x="752" y="580"/>
                  </a:lnTo>
                  <a:lnTo>
                    <a:pt x="752" y="580"/>
                  </a:lnTo>
                  <a:lnTo>
                    <a:pt x="752" y="575"/>
                  </a:lnTo>
                  <a:lnTo>
                    <a:pt x="752" y="575"/>
                  </a:lnTo>
                  <a:lnTo>
                    <a:pt x="752" y="571"/>
                  </a:lnTo>
                  <a:lnTo>
                    <a:pt x="752" y="571"/>
                  </a:lnTo>
                  <a:lnTo>
                    <a:pt x="752" y="567"/>
                  </a:lnTo>
                  <a:lnTo>
                    <a:pt x="752" y="567"/>
                  </a:lnTo>
                  <a:lnTo>
                    <a:pt x="757" y="567"/>
                  </a:lnTo>
                  <a:lnTo>
                    <a:pt x="757" y="567"/>
                  </a:lnTo>
                  <a:lnTo>
                    <a:pt x="757" y="567"/>
                  </a:lnTo>
                  <a:lnTo>
                    <a:pt x="757" y="567"/>
                  </a:lnTo>
                  <a:lnTo>
                    <a:pt x="757" y="567"/>
                  </a:lnTo>
                  <a:lnTo>
                    <a:pt x="757" y="567"/>
                  </a:lnTo>
                  <a:lnTo>
                    <a:pt x="757" y="567"/>
                  </a:lnTo>
                  <a:lnTo>
                    <a:pt x="757" y="562"/>
                  </a:lnTo>
                  <a:lnTo>
                    <a:pt x="757" y="562"/>
                  </a:lnTo>
                  <a:lnTo>
                    <a:pt x="757" y="562"/>
                  </a:lnTo>
                  <a:lnTo>
                    <a:pt x="761" y="562"/>
                  </a:lnTo>
                  <a:lnTo>
                    <a:pt x="761" y="562"/>
                  </a:lnTo>
                  <a:lnTo>
                    <a:pt x="761" y="562"/>
                  </a:lnTo>
                  <a:lnTo>
                    <a:pt x="761" y="562"/>
                  </a:lnTo>
                  <a:lnTo>
                    <a:pt x="766" y="562"/>
                  </a:lnTo>
                  <a:lnTo>
                    <a:pt x="766" y="562"/>
                  </a:lnTo>
                  <a:lnTo>
                    <a:pt x="766" y="562"/>
                  </a:lnTo>
                  <a:lnTo>
                    <a:pt x="761" y="558"/>
                  </a:lnTo>
                  <a:lnTo>
                    <a:pt x="761" y="558"/>
                  </a:lnTo>
                  <a:lnTo>
                    <a:pt x="761" y="558"/>
                  </a:lnTo>
                  <a:lnTo>
                    <a:pt x="761" y="558"/>
                  </a:lnTo>
                  <a:lnTo>
                    <a:pt x="761" y="558"/>
                  </a:lnTo>
                  <a:lnTo>
                    <a:pt x="757" y="558"/>
                  </a:lnTo>
                  <a:lnTo>
                    <a:pt x="757" y="558"/>
                  </a:lnTo>
                  <a:lnTo>
                    <a:pt x="757" y="553"/>
                  </a:lnTo>
                  <a:lnTo>
                    <a:pt x="757" y="553"/>
                  </a:lnTo>
                  <a:lnTo>
                    <a:pt x="752" y="558"/>
                  </a:lnTo>
                  <a:lnTo>
                    <a:pt x="752" y="558"/>
                  </a:lnTo>
                  <a:lnTo>
                    <a:pt x="748" y="553"/>
                  </a:lnTo>
                  <a:lnTo>
                    <a:pt x="748" y="553"/>
                  </a:lnTo>
                  <a:lnTo>
                    <a:pt x="748" y="553"/>
                  </a:lnTo>
                  <a:lnTo>
                    <a:pt x="748" y="553"/>
                  </a:lnTo>
                  <a:lnTo>
                    <a:pt x="748" y="553"/>
                  </a:lnTo>
                  <a:lnTo>
                    <a:pt x="748" y="553"/>
                  </a:lnTo>
                  <a:lnTo>
                    <a:pt x="748" y="553"/>
                  </a:lnTo>
                  <a:lnTo>
                    <a:pt x="748" y="553"/>
                  </a:lnTo>
                  <a:lnTo>
                    <a:pt x="744" y="553"/>
                  </a:lnTo>
                  <a:lnTo>
                    <a:pt x="744" y="553"/>
                  </a:lnTo>
                  <a:lnTo>
                    <a:pt x="744" y="553"/>
                  </a:lnTo>
                  <a:lnTo>
                    <a:pt x="739" y="553"/>
                  </a:lnTo>
                  <a:lnTo>
                    <a:pt x="735" y="553"/>
                  </a:lnTo>
                  <a:lnTo>
                    <a:pt x="735" y="553"/>
                  </a:lnTo>
                  <a:lnTo>
                    <a:pt x="735" y="558"/>
                  </a:lnTo>
                  <a:lnTo>
                    <a:pt x="735" y="558"/>
                  </a:lnTo>
                  <a:lnTo>
                    <a:pt x="735" y="558"/>
                  </a:lnTo>
                  <a:lnTo>
                    <a:pt x="730" y="562"/>
                  </a:lnTo>
                  <a:lnTo>
                    <a:pt x="730" y="562"/>
                  </a:lnTo>
                  <a:lnTo>
                    <a:pt x="726" y="562"/>
                  </a:lnTo>
                  <a:lnTo>
                    <a:pt x="726" y="558"/>
                  </a:lnTo>
                  <a:lnTo>
                    <a:pt x="721" y="558"/>
                  </a:lnTo>
                  <a:lnTo>
                    <a:pt x="721" y="558"/>
                  </a:lnTo>
                  <a:lnTo>
                    <a:pt x="721" y="553"/>
                  </a:lnTo>
                  <a:lnTo>
                    <a:pt x="721" y="553"/>
                  </a:lnTo>
                  <a:lnTo>
                    <a:pt x="721" y="553"/>
                  </a:lnTo>
                  <a:lnTo>
                    <a:pt x="721" y="553"/>
                  </a:lnTo>
                  <a:lnTo>
                    <a:pt x="721" y="553"/>
                  </a:lnTo>
                  <a:lnTo>
                    <a:pt x="721" y="553"/>
                  </a:lnTo>
                  <a:lnTo>
                    <a:pt x="721" y="558"/>
                  </a:lnTo>
                  <a:lnTo>
                    <a:pt x="721" y="558"/>
                  </a:lnTo>
                  <a:lnTo>
                    <a:pt x="721" y="558"/>
                  </a:lnTo>
                  <a:lnTo>
                    <a:pt x="717" y="558"/>
                  </a:lnTo>
                  <a:lnTo>
                    <a:pt x="717" y="558"/>
                  </a:lnTo>
                  <a:lnTo>
                    <a:pt x="717" y="558"/>
                  </a:lnTo>
                  <a:lnTo>
                    <a:pt x="717" y="562"/>
                  </a:lnTo>
                  <a:lnTo>
                    <a:pt x="717" y="562"/>
                  </a:lnTo>
                  <a:lnTo>
                    <a:pt x="717" y="562"/>
                  </a:lnTo>
                  <a:lnTo>
                    <a:pt x="717" y="562"/>
                  </a:lnTo>
                  <a:lnTo>
                    <a:pt x="713" y="562"/>
                  </a:lnTo>
                  <a:lnTo>
                    <a:pt x="704" y="567"/>
                  </a:lnTo>
                  <a:lnTo>
                    <a:pt x="704" y="567"/>
                  </a:lnTo>
                  <a:lnTo>
                    <a:pt x="695" y="562"/>
                  </a:lnTo>
                  <a:lnTo>
                    <a:pt x="682" y="540"/>
                  </a:lnTo>
                  <a:lnTo>
                    <a:pt x="677" y="531"/>
                  </a:lnTo>
                  <a:lnTo>
                    <a:pt x="673" y="522"/>
                  </a:lnTo>
                  <a:lnTo>
                    <a:pt x="673" y="522"/>
                  </a:lnTo>
                  <a:lnTo>
                    <a:pt x="673" y="518"/>
                  </a:lnTo>
                  <a:lnTo>
                    <a:pt x="673" y="518"/>
                  </a:lnTo>
                  <a:lnTo>
                    <a:pt x="668" y="509"/>
                  </a:lnTo>
                  <a:lnTo>
                    <a:pt x="668" y="509"/>
                  </a:lnTo>
                  <a:lnTo>
                    <a:pt x="668" y="509"/>
                  </a:lnTo>
                  <a:lnTo>
                    <a:pt x="668" y="505"/>
                  </a:lnTo>
                  <a:lnTo>
                    <a:pt x="668" y="500"/>
                  </a:lnTo>
                  <a:lnTo>
                    <a:pt x="668" y="500"/>
                  </a:lnTo>
                  <a:lnTo>
                    <a:pt x="668" y="500"/>
                  </a:lnTo>
                  <a:lnTo>
                    <a:pt x="668" y="500"/>
                  </a:lnTo>
                  <a:lnTo>
                    <a:pt x="668" y="500"/>
                  </a:lnTo>
                  <a:lnTo>
                    <a:pt x="668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73" y="496"/>
                  </a:lnTo>
                  <a:lnTo>
                    <a:pt x="682" y="496"/>
                  </a:lnTo>
                  <a:lnTo>
                    <a:pt x="682" y="491"/>
                  </a:lnTo>
                  <a:lnTo>
                    <a:pt x="682" y="491"/>
                  </a:lnTo>
                  <a:lnTo>
                    <a:pt x="682" y="491"/>
                  </a:lnTo>
                  <a:lnTo>
                    <a:pt x="686" y="487"/>
                  </a:lnTo>
                  <a:lnTo>
                    <a:pt x="690" y="482"/>
                  </a:lnTo>
                  <a:lnTo>
                    <a:pt x="690" y="482"/>
                  </a:lnTo>
                  <a:lnTo>
                    <a:pt x="690" y="482"/>
                  </a:lnTo>
                  <a:lnTo>
                    <a:pt x="690" y="482"/>
                  </a:lnTo>
                  <a:lnTo>
                    <a:pt x="690" y="482"/>
                  </a:lnTo>
                  <a:lnTo>
                    <a:pt x="690" y="478"/>
                  </a:lnTo>
                  <a:lnTo>
                    <a:pt x="686" y="478"/>
                  </a:lnTo>
                  <a:lnTo>
                    <a:pt x="686" y="478"/>
                  </a:lnTo>
                  <a:lnTo>
                    <a:pt x="686" y="478"/>
                  </a:lnTo>
                  <a:lnTo>
                    <a:pt x="686" y="474"/>
                  </a:lnTo>
                  <a:lnTo>
                    <a:pt x="686" y="478"/>
                  </a:lnTo>
                  <a:lnTo>
                    <a:pt x="690" y="478"/>
                  </a:lnTo>
                  <a:lnTo>
                    <a:pt x="690" y="478"/>
                  </a:lnTo>
                  <a:lnTo>
                    <a:pt x="690" y="478"/>
                  </a:lnTo>
                  <a:lnTo>
                    <a:pt x="690" y="478"/>
                  </a:lnTo>
                  <a:lnTo>
                    <a:pt x="690" y="478"/>
                  </a:lnTo>
                  <a:lnTo>
                    <a:pt x="690" y="478"/>
                  </a:lnTo>
                  <a:lnTo>
                    <a:pt x="690" y="478"/>
                  </a:lnTo>
                  <a:lnTo>
                    <a:pt x="695" y="482"/>
                  </a:lnTo>
                  <a:lnTo>
                    <a:pt x="690" y="482"/>
                  </a:lnTo>
                  <a:lnTo>
                    <a:pt x="690" y="487"/>
                  </a:lnTo>
                  <a:lnTo>
                    <a:pt x="690" y="487"/>
                  </a:lnTo>
                  <a:lnTo>
                    <a:pt x="695" y="487"/>
                  </a:lnTo>
                  <a:lnTo>
                    <a:pt x="695" y="487"/>
                  </a:lnTo>
                  <a:lnTo>
                    <a:pt x="695" y="487"/>
                  </a:lnTo>
                  <a:lnTo>
                    <a:pt x="695" y="487"/>
                  </a:lnTo>
                  <a:lnTo>
                    <a:pt x="695" y="487"/>
                  </a:lnTo>
                  <a:lnTo>
                    <a:pt x="695" y="491"/>
                  </a:lnTo>
                  <a:lnTo>
                    <a:pt x="695" y="491"/>
                  </a:lnTo>
                  <a:lnTo>
                    <a:pt x="690" y="496"/>
                  </a:lnTo>
                  <a:lnTo>
                    <a:pt x="690" y="496"/>
                  </a:lnTo>
                  <a:lnTo>
                    <a:pt x="690" y="496"/>
                  </a:lnTo>
                  <a:lnTo>
                    <a:pt x="690" y="500"/>
                  </a:lnTo>
                  <a:lnTo>
                    <a:pt x="686" y="500"/>
                  </a:lnTo>
                  <a:lnTo>
                    <a:pt x="682" y="505"/>
                  </a:lnTo>
                  <a:lnTo>
                    <a:pt x="682" y="505"/>
                  </a:lnTo>
                  <a:lnTo>
                    <a:pt x="682" y="505"/>
                  </a:lnTo>
                  <a:lnTo>
                    <a:pt x="677" y="505"/>
                  </a:lnTo>
                  <a:lnTo>
                    <a:pt x="677" y="509"/>
                  </a:lnTo>
                  <a:lnTo>
                    <a:pt x="677" y="509"/>
                  </a:lnTo>
                  <a:lnTo>
                    <a:pt x="677" y="509"/>
                  </a:lnTo>
                  <a:lnTo>
                    <a:pt x="682" y="509"/>
                  </a:lnTo>
                  <a:lnTo>
                    <a:pt x="682" y="505"/>
                  </a:lnTo>
                  <a:lnTo>
                    <a:pt x="682" y="505"/>
                  </a:lnTo>
                  <a:lnTo>
                    <a:pt x="686" y="505"/>
                  </a:lnTo>
                  <a:lnTo>
                    <a:pt x="686" y="505"/>
                  </a:lnTo>
                  <a:lnTo>
                    <a:pt x="686" y="505"/>
                  </a:lnTo>
                  <a:lnTo>
                    <a:pt x="690" y="500"/>
                  </a:lnTo>
                  <a:lnTo>
                    <a:pt x="690" y="496"/>
                  </a:lnTo>
                  <a:lnTo>
                    <a:pt x="690" y="496"/>
                  </a:lnTo>
                  <a:lnTo>
                    <a:pt x="695" y="496"/>
                  </a:lnTo>
                  <a:lnTo>
                    <a:pt x="699" y="487"/>
                  </a:lnTo>
                  <a:lnTo>
                    <a:pt x="699" y="487"/>
                  </a:lnTo>
                  <a:lnTo>
                    <a:pt x="699" y="482"/>
                  </a:lnTo>
                  <a:lnTo>
                    <a:pt x="699" y="482"/>
                  </a:lnTo>
                  <a:lnTo>
                    <a:pt x="704" y="482"/>
                  </a:lnTo>
                  <a:lnTo>
                    <a:pt x="704" y="478"/>
                  </a:lnTo>
                  <a:lnTo>
                    <a:pt x="704" y="478"/>
                  </a:lnTo>
                  <a:lnTo>
                    <a:pt x="713" y="474"/>
                  </a:lnTo>
                  <a:lnTo>
                    <a:pt x="713" y="474"/>
                  </a:lnTo>
                  <a:lnTo>
                    <a:pt x="717" y="469"/>
                  </a:lnTo>
                  <a:lnTo>
                    <a:pt x="717" y="469"/>
                  </a:lnTo>
                  <a:lnTo>
                    <a:pt x="721" y="465"/>
                  </a:lnTo>
                  <a:lnTo>
                    <a:pt x="726" y="465"/>
                  </a:lnTo>
                  <a:lnTo>
                    <a:pt x="726" y="465"/>
                  </a:lnTo>
                  <a:lnTo>
                    <a:pt x="735" y="460"/>
                  </a:lnTo>
                  <a:lnTo>
                    <a:pt x="739" y="465"/>
                  </a:lnTo>
                  <a:lnTo>
                    <a:pt x="739" y="465"/>
                  </a:lnTo>
                  <a:lnTo>
                    <a:pt x="739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9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5"/>
                  </a:lnTo>
                  <a:lnTo>
                    <a:pt x="744" y="469"/>
                  </a:lnTo>
                  <a:lnTo>
                    <a:pt x="744" y="469"/>
                  </a:lnTo>
                  <a:lnTo>
                    <a:pt x="744" y="465"/>
                  </a:lnTo>
                  <a:lnTo>
                    <a:pt x="748" y="465"/>
                  </a:lnTo>
                  <a:lnTo>
                    <a:pt x="748" y="460"/>
                  </a:lnTo>
                  <a:lnTo>
                    <a:pt x="752" y="460"/>
                  </a:lnTo>
                  <a:lnTo>
                    <a:pt x="752" y="456"/>
                  </a:lnTo>
                  <a:lnTo>
                    <a:pt x="757" y="456"/>
                  </a:lnTo>
                  <a:lnTo>
                    <a:pt x="757" y="456"/>
                  </a:lnTo>
                  <a:lnTo>
                    <a:pt x="761" y="456"/>
                  </a:lnTo>
                  <a:lnTo>
                    <a:pt x="761" y="456"/>
                  </a:lnTo>
                  <a:lnTo>
                    <a:pt x="761" y="456"/>
                  </a:lnTo>
                  <a:lnTo>
                    <a:pt x="761" y="456"/>
                  </a:lnTo>
                  <a:lnTo>
                    <a:pt x="766" y="456"/>
                  </a:lnTo>
                  <a:lnTo>
                    <a:pt x="766" y="456"/>
                  </a:lnTo>
                  <a:lnTo>
                    <a:pt x="766" y="456"/>
                  </a:lnTo>
                  <a:lnTo>
                    <a:pt x="766" y="456"/>
                  </a:lnTo>
                  <a:lnTo>
                    <a:pt x="770" y="456"/>
                  </a:lnTo>
                  <a:lnTo>
                    <a:pt x="770" y="456"/>
                  </a:lnTo>
                  <a:lnTo>
                    <a:pt x="770" y="456"/>
                  </a:lnTo>
                  <a:lnTo>
                    <a:pt x="775" y="456"/>
                  </a:lnTo>
                  <a:lnTo>
                    <a:pt x="775" y="460"/>
                  </a:lnTo>
                  <a:lnTo>
                    <a:pt x="775" y="460"/>
                  </a:lnTo>
                  <a:lnTo>
                    <a:pt x="770" y="460"/>
                  </a:lnTo>
                  <a:lnTo>
                    <a:pt x="770" y="465"/>
                  </a:lnTo>
                  <a:lnTo>
                    <a:pt x="770" y="465"/>
                  </a:lnTo>
                  <a:lnTo>
                    <a:pt x="770" y="465"/>
                  </a:lnTo>
                  <a:lnTo>
                    <a:pt x="770" y="465"/>
                  </a:lnTo>
                  <a:lnTo>
                    <a:pt x="770" y="465"/>
                  </a:lnTo>
                  <a:lnTo>
                    <a:pt x="775" y="465"/>
                  </a:lnTo>
                  <a:lnTo>
                    <a:pt x="775" y="460"/>
                  </a:lnTo>
                  <a:lnTo>
                    <a:pt x="775" y="460"/>
                  </a:lnTo>
                  <a:lnTo>
                    <a:pt x="775" y="456"/>
                  </a:lnTo>
                  <a:lnTo>
                    <a:pt x="775" y="456"/>
                  </a:lnTo>
                  <a:lnTo>
                    <a:pt x="775" y="456"/>
                  </a:lnTo>
                  <a:lnTo>
                    <a:pt x="775" y="451"/>
                  </a:lnTo>
                  <a:lnTo>
                    <a:pt x="779" y="451"/>
                  </a:lnTo>
                  <a:lnTo>
                    <a:pt x="779" y="451"/>
                  </a:lnTo>
                  <a:lnTo>
                    <a:pt x="783" y="447"/>
                  </a:lnTo>
                  <a:lnTo>
                    <a:pt x="783" y="447"/>
                  </a:lnTo>
                  <a:lnTo>
                    <a:pt x="783" y="447"/>
                  </a:lnTo>
                  <a:lnTo>
                    <a:pt x="783" y="447"/>
                  </a:lnTo>
                  <a:lnTo>
                    <a:pt x="788" y="447"/>
                  </a:lnTo>
                  <a:lnTo>
                    <a:pt x="792" y="443"/>
                  </a:lnTo>
                  <a:lnTo>
                    <a:pt x="792" y="443"/>
                  </a:lnTo>
                  <a:lnTo>
                    <a:pt x="797" y="443"/>
                  </a:lnTo>
                  <a:lnTo>
                    <a:pt x="797" y="443"/>
                  </a:lnTo>
                  <a:lnTo>
                    <a:pt x="797" y="443"/>
                  </a:lnTo>
                  <a:lnTo>
                    <a:pt x="801" y="443"/>
                  </a:lnTo>
                  <a:lnTo>
                    <a:pt x="801" y="447"/>
                  </a:lnTo>
                  <a:lnTo>
                    <a:pt x="801" y="447"/>
                  </a:lnTo>
                  <a:lnTo>
                    <a:pt x="801" y="447"/>
                  </a:lnTo>
                  <a:lnTo>
                    <a:pt x="801" y="443"/>
                  </a:lnTo>
                  <a:lnTo>
                    <a:pt x="810" y="434"/>
                  </a:lnTo>
                  <a:lnTo>
                    <a:pt x="810" y="429"/>
                  </a:lnTo>
                  <a:lnTo>
                    <a:pt x="814" y="429"/>
                  </a:lnTo>
                  <a:lnTo>
                    <a:pt x="819" y="429"/>
                  </a:lnTo>
                  <a:lnTo>
                    <a:pt x="823" y="429"/>
                  </a:lnTo>
                  <a:lnTo>
                    <a:pt x="828" y="429"/>
                  </a:lnTo>
                  <a:lnTo>
                    <a:pt x="832" y="429"/>
                  </a:lnTo>
                  <a:lnTo>
                    <a:pt x="832" y="429"/>
                  </a:lnTo>
                  <a:lnTo>
                    <a:pt x="836" y="429"/>
                  </a:lnTo>
                  <a:lnTo>
                    <a:pt x="836" y="429"/>
                  </a:lnTo>
                  <a:lnTo>
                    <a:pt x="836" y="429"/>
                  </a:lnTo>
                  <a:lnTo>
                    <a:pt x="841" y="429"/>
                  </a:lnTo>
                  <a:lnTo>
                    <a:pt x="841" y="429"/>
                  </a:lnTo>
                  <a:lnTo>
                    <a:pt x="841" y="429"/>
                  </a:lnTo>
                  <a:lnTo>
                    <a:pt x="841" y="429"/>
                  </a:lnTo>
                  <a:lnTo>
                    <a:pt x="841" y="429"/>
                  </a:lnTo>
                  <a:lnTo>
                    <a:pt x="841" y="434"/>
                  </a:lnTo>
                  <a:lnTo>
                    <a:pt x="841" y="434"/>
                  </a:lnTo>
                  <a:lnTo>
                    <a:pt x="845" y="434"/>
                  </a:lnTo>
                  <a:lnTo>
                    <a:pt x="845" y="429"/>
                  </a:lnTo>
                  <a:lnTo>
                    <a:pt x="845" y="429"/>
                  </a:lnTo>
                  <a:lnTo>
                    <a:pt x="845" y="429"/>
                  </a:lnTo>
                  <a:lnTo>
                    <a:pt x="845" y="425"/>
                  </a:lnTo>
                  <a:lnTo>
                    <a:pt x="845" y="425"/>
                  </a:lnTo>
                  <a:lnTo>
                    <a:pt x="845" y="420"/>
                  </a:lnTo>
                  <a:lnTo>
                    <a:pt x="850" y="420"/>
                  </a:lnTo>
                  <a:lnTo>
                    <a:pt x="850" y="420"/>
                  </a:lnTo>
                  <a:lnTo>
                    <a:pt x="850" y="420"/>
                  </a:lnTo>
                  <a:lnTo>
                    <a:pt x="850" y="420"/>
                  </a:lnTo>
                  <a:lnTo>
                    <a:pt x="850" y="416"/>
                  </a:lnTo>
                  <a:lnTo>
                    <a:pt x="850" y="416"/>
                  </a:lnTo>
                  <a:lnTo>
                    <a:pt x="850" y="416"/>
                  </a:lnTo>
                  <a:lnTo>
                    <a:pt x="850" y="416"/>
                  </a:lnTo>
                  <a:lnTo>
                    <a:pt x="850" y="416"/>
                  </a:lnTo>
                  <a:lnTo>
                    <a:pt x="850" y="416"/>
                  </a:lnTo>
                  <a:lnTo>
                    <a:pt x="845" y="416"/>
                  </a:lnTo>
                  <a:lnTo>
                    <a:pt x="845" y="416"/>
                  </a:lnTo>
                  <a:lnTo>
                    <a:pt x="845" y="412"/>
                  </a:lnTo>
                  <a:lnTo>
                    <a:pt x="845" y="412"/>
                  </a:lnTo>
                  <a:lnTo>
                    <a:pt x="850" y="407"/>
                  </a:lnTo>
                  <a:lnTo>
                    <a:pt x="850" y="407"/>
                  </a:lnTo>
                  <a:lnTo>
                    <a:pt x="850" y="403"/>
                  </a:lnTo>
                  <a:lnTo>
                    <a:pt x="850" y="398"/>
                  </a:lnTo>
                  <a:lnTo>
                    <a:pt x="850" y="398"/>
                  </a:lnTo>
                  <a:lnTo>
                    <a:pt x="850" y="394"/>
                  </a:lnTo>
                  <a:lnTo>
                    <a:pt x="854" y="389"/>
                  </a:lnTo>
                  <a:lnTo>
                    <a:pt x="854" y="389"/>
                  </a:lnTo>
                  <a:lnTo>
                    <a:pt x="867" y="389"/>
                  </a:lnTo>
                  <a:lnTo>
                    <a:pt x="867" y="389"/>
                  </a:lnTo>
                  <a:lnTo>
                    <a:pt x="867" y="385"/>
                  </a:lnTo>
                  <a:lnTo>
                    <a:pt x="872" y="385"/>
                  </a:lnTo>
                  <a:lnTo>
                    <a:pt x="872" y="385"/>
                  </a:lnTo>
                  <a:lnTo>
                    <a:pt x="872" y="385"/>
                  </a:lnTo>
                  <a:lnTo>
                    <a:pt x="872" y="385"/>
                  </a:lnTo>
                  <a:lnTo>
                    <a:pt x="876" y="385"/>
                  </a:lnTo>
                  <a:lnTo>
                    <a:pt x="876" y="385"/>
                  </a:lnTo>
                  <a:lnTo>
                    <a:pt x="876" y="381"/>
                  </a:lnTo>
                  <a:lnTo>
                    <a:pt x="876" y="376"/>
                  </a:lnTo>
                  <a:lnTo>
                    <a:pt x="876" y="372"/>
                  </a:lnTo>
                  <a:lnTo>
                    <a:pt x="881" y="372"/>
                  </a:lnTo>
                  <a:lnTo>
                    <a:pt x="881" y="372"/>
                  </a:lnTo>
                  <a:lnTo>
                    <a:pt x="890" y="372"/>
                  </a:lnTo>
                  <a:lnTo>
                    <a:pt x="890" y="372"/>
                  </a:lnTo>
                  <a:lnTo>
                    <a:pt x="894" y="372"/>
                  </a:lnTo>
                  <a:lnTo>
                    <a:pt x="894" y="372"/>
                  </a:lnTo>
                  <a:lnTo>
                    <a:pt x="894" y="372"/>
                  </a:lnTo>
                  <a:lnTo>
                    <a:pt x="898" y="372"/>
                  </a:lnTo>
                  <a:lnTo>
                    <a:pt x="907" y="372"/>
                  </a:lnTo>
                  <a:lnTo>
                    <a:pt x="907" y="372"/>
                  </a:lnTo>
                  <a:lnTo>
                    <a:pt x="907" y="372"/>
                  </a:lnTo>
                  <a:lnTo>
                    <a:pt x="907" y="372"/>
                  </a:lnTo>
                  <a:lnTo>
                    <a:pt x="912" y="372"/>
                  </a:lnTo>
                  <a:lnTo>
                    <a:pt x="912" y="372"/>
                  </a:lnTo>
                  <a:lnTo>
                    <a:pt x="916" y="372"/>
                  </a:lnTo>
                  <a:lnTo>
                    <a:pt x="916" y="372"/>
                  </a:lnTo>
                  <a:lnTo>
                    <a:pt x="921" y="372"/>
                  </a:lnTo>
                  <a:lnTo>
                    <a:pt x="921" y="372"/>
                  </a:lnTo>
                  <a:lnTo>
                    <a:pt x="925" y="376"/>
                  </a:lnTo>
                  <a:lnTo>
                    <a:pt x="929" y="372"/>
                  </a:lnTo>
                  <a:lnTo>
                    <a:pt x="929" y="372"/>
                  </a:lnTo>
                  <a:lnTo>
                    <a:pt x="929" y="372"/>
                  </a:lnTo>
                  <a:lnTo>
                    <a:pt x="929" y="367"/>
                  </a:lnTo>
                  <a:lnTo>
                    <a:pt x="929" y="367"/>
                  </a:lnTo>
                  <a:lnTo>
                    <a:pt x="929" y="367"/>
                  </a:lnTo>
                  <a:lnTo>
                    <a:pt x="929" y="367"/>
                  </a:lnTo>
                  <a:lnTo>
                    <a:pt x="929" y="367"/>
                  </a:lnTo>
                  <a:lnTo>
                    <a:pt x="929" y="363"/>
                  </a:lnTo>
                  <a:lnTo>
                    <a:pt x="929" y="363"/>
                  </a:lnTo>
                  <a:lnTo>
                    <a:pt x="929" y="363"/>
                  </a:lnTo>
                  <a:lnTo>
                    <a:pt x="929" y="363"/>
                  </a:lnTo>
                  <a:lnTo>
                    <a:pt x="929" y="358"/>
                  </a:lnTo>
                  <a:lnTo>
                    <a:pt x="929" y="358"/>
                  </a:lnTo>
                  <a:lnTo>
                    <a:pt x="929" y="358"/>
                  </a:lnTo>
                  <a:lnTo>
                    <a:pt x="929" y="358"/>
                  </a:lnTo>
                  <a:lnTo>
                    <a:pt x="929" y="358"/>
                  </a:lnTo>
                  <a:lnTo>
                    <a:pt x="929" y="358"/>
                  </a:lnTo>
                  <a:lnTo>
                    <a:pt x="934" y="358"/>
                  </a:lnTo>
                  <a:lnTo>
                    <a:pt x="934" y="358"/>
                  </a:lnTo>
                  <a:lnTo>
                    <a:pt x="934" y="358"/>
                  </a:lnTo>
                  <a:lnTo>
                    <a:pt x="934" y="354"/>
                  </a:lnTo>
                  <a:lnTo>
                    <a:pt x="934" y="354"/>
                  </a:lnTo>
                  <a:lnTo>
                    <a:pt x="934" y="350"/>
                  </a:lnTo>
                  <a:lnTo>
                    <a:pt x="934" y="350"/>
                  </a:lnTo>
                  <a:lnTo>
                    <a:pt x="934" y="345"/>
                  </a:lnTo>
                  <a:lnTo>
                    <a:pt x="938" y="345"/>
                  </a:lnTo>
                  <a:lnTo>
                    <a:pt x="938" y="341"/>
                  </a:lnTo>
                  <a:lnTo>
                    <a:pt x="938" y="341"/>
                  </a:lnTo>
                  <a:lnTo>
                    <a:pt x="943" y="341"/>
                  </a:lnTo>
                  <a:lnTo>
                    <a:pt x="943" y="336"/>
                  </a:lnTo>
                  <a:lnTo>
                    <a:pt x="938" y="336"/>
                  </a:lnTo>
                  <a:lnTo>
                    <a:pt x="938" y="336"/>
                  </a:lnTo>
                  <a:lnTo>
                    <a:pt x="938" y="336"/>
                  </a:lnTo>
                  <a:lnTo>
                    <a:pt x="934" y="336"/>
                  </a:lnTo>
                  <a:lnTo>
                    <a:pt x="934" y="336"/>
                  </a:lnTo>
                  <a:lnTo>
                    <a:pt x="934" y="332"/>
                  </a:lnTo>
                  <a:lnTo>
                    <a:pt x="938" y="332"/>
                  </a:lnTo>
                  <a:lnTo>
                    <a:pt x="938" y="327"/>
                  </a:lnTo>
                  <a:lnTo>
                    <a:pt x="938" y="327"/>
                  </a:lnTo>
                  <a:lnTo>
                    <a:pt x="938" y="327"/>
                  </a:lnTo>
                  <a:lnTo>
                    <a:pt x="934" y="327"/>
                  </a:lnTo>
                  <a:lnTo>
                    <a:pt x="934" y="323"/>
                  </a:lnTo>
                  <a:lnTo>
                    <a:pt x="934" y="323"/>
                  </a:lnTo>
                  <a:lnTo>
                    <a:pt x="934" y="323"/>
                  </a:lnTo>
                  <a:lnTo>
                    <a:pt x="934" y="319"/>
                  </a:lnTo>
                  <a:lnTo>
                    <a:pt x="934" y="319"/>
                  </a:lnTo>
                  <a:lnTo>
                    <a:pt x="934" y="319"/>
                  </a:lnTo>
                  <a:lnTo>
                    <a:pt x="934" y="319"/>
                  </a:lnTo>
                  <a:lnTo>
                    <a:pt x="934" y="319"/>
                  </a:lnTo>
                  <a:lnTo>
                    <a:pt x="934" y="319"/>
                  </a:lnTo>
                  <a:lnTo>
                    <a:pt x="934" y="319"/>
                  </a:lnTo>
                  <a:lnTo>
                    <a:pt x="934" y="319"/>
                  </a:lnTo>
                  <a:lnTo>
                    <a:pt x="934" y="319"/>
                  </a:lnTo>
                  <a:lnTo>
                    <a:pt x="934" y="314"/>
                  </a:lnTo>
                  <a:lnTo>
                    <a:pt x="934" y="314"/>
                  </a:lnTo>
                  <a:lnTo>
                    <a:pt x="929" y="314"/>
                  </a:lnTo>
                  <a:lnTo>
                    <a:pt x="925" y="314"/>
                  </a:lnTo>
                  <a:lnTo>
                    <a:pt x="925" y="314"/>
                  </a:lnTo>
                  <a:lnTo>
                    <a:pt x="921" y="314"/>
                  </a:lnTo>
                  <a:lnTo>
                    <a:pt x="921" y="310"/>
                  </a:lnTo>
                  <a:lnTo>
                    <a:pt x="925" y="301"/>
                  </a:lnTo>
                  <a:lnTo>
                    <a:pt x="925" y="301"/>
                  </a:lnTo>
                  <a:lnTo>
                    <a:pt x="929" y="301"/>
                  </a:lnTo>
                  <a:lnTo>
                    <a:pt x="929" y="297"/>
                  </a:lnTo>
                  <a:lnTo>
                    <a:pt x="929" y="297"/>
                  </a:lnTo>
                  <a:lnTo>
                    <a:pt x="929" y="297"/>
                  </a:lnTo>
                  <a:lnTo>
                    <a:pt x="929" y="297"/>
                  </a:lnTo>
                  <a:lnTo>
                    <a:pt x="929" y="297"/>
                  </a:lnTo>
                  <a:lnTo>
                    <a:pt x="934" y="297"/>
                  </a:lnTo>
                  <a:lnTo>
                    <a:pt x="938" y="297"/>
                  </a:lnTo>
                  <a:lnTo>
                    <a:pt x="938" y="297"/>
                  </a:lnTo>
                  <a:lnTo>
                    <a:pt x="943" y="297"/>
                  </a:lnTo>
                  <a:lnTo>
                    <a:pt x="943" y="292"/>
                  </a:lnTo>
                  <a:lnTo>
                    <a:pt x="943" y="292"/>
                  </a:lnTo>
                  <a:lnTo>
                    <a:pt x="943" y="292"/>
                  </a:lnTo>
                  <a:lnTo>
                    <a:pt x="943" y="288"/>
                  </a:lnTo>
                  <a:lnTo>
                    <a:pt x="943" y="288"/>
                  </a:lnTo>
                  <a:lnTo>
                    <a:pt x="943" y="292"/>
                  </a:lnTo>
                  <a:lnTo>
                    <a:pt x="938" y="292"/>
                  </a:lnTo>
                  <a:lnTo>
                    <a:pt x="938" y="292"/>
                  </a:lnTo>
                  <a:lnTo>
                    <a:pt x="938" y="292"/>
                  </a:lnTo>
                  <a:lnTo>
                    <a:pt x="938" y="292"/>
                  </a:lnTo>
                  <a:lnTo>
                    <a:pt x="938" y="288"/>
                  </a:lnTo>
                  <a:lnTo>
                    <a:pt x="934" y="288"/>
                  </a:lnTo>
                  <a:lnTo>
                    <a:pt x="934" y="288"/>
                  </a:lnTo>
                  <a:lnTo>
                    <a:pt x="929" y="288"/>
                  </a:lnTo>
                  <a:lnTo>
                    <a:pt x="929" y="288"/>
                  </a:lnTo>
                  <a:lnTo>
                    <a:pt x="929" y="288"/>
                  </a:lnTo>
                  <a:lnTo>
                    <a:pt x="929" y="288"/>
                  </a:lnTo>
                  <a:lnTo>
                    <a:pt x="925" y="283"/>
                  </a:lnTo>
                  <a:lnTo>
                    <a:pt x="925" y="283"/>
                  </a:lnTo>
                  <a:lnTo>
                    <a:pt x="925" y="283"/>
                  </a:lnTo>
                  <a:lnTo>
                    <a:pt x="925" y="283"/>
                  </a:lnTo>
                  <a:lnTo>
                    <a:pt x="925" y="279"/>
                  </a:lnTo>
                  <a:lnTo>
                    <a:pt x="925" y="279"/>
                  </a:lnTo>
                  <a:lnTo>
                    <a:pt x="929" y="279"/>
                  </a:lnTo>
                  <a:lnTo>
                    <a:pt x="934" y="274"/>
                  </a:lnTo>
                  <a:lnTo>
                    <a:pt x="934" y="274"/>
                  </a:lnTo>
                  <a:lnTo>
                    <a:pt x="934" y="279"/>
                  </a:lnTo>
                  <a:lnTo>
                    <a:pt x="938" y="274"/>
                  </a:lnTo>
                  <a:lnTo>
                    <a:pt x="938" y="274"/>
                  </a:lnTo>
                  <a:lnTo>
                    <a:pt x="938" y="274"/>
                  </a:lnTo>
                  <a:lnTo>
                    <a:pt x="938" y="274"/>
                  </a:lnTo>
                  <a:lnTo>
                    <a:pt x="938" y="270"/>
                  </a:lnTo>
                  <a:lnTo>
                    <a:pt x="938" y="270"/>
                  </a:lnTo>
                  <a:lnTo>
                    <a:pt x="938" y="270"/>
                  </a:lnTo>
                  <a:lnTo>
                    <a:pt x="943" y="266"/>
                  </a:lnTo>
                  <a:lnTo>
                    <a:pt x="943" y="266"/>
                  </a:lnTo>
                  <a:lnTo>
                    <a:pt x="947" y="261"/>
                  </a:lnTo>
                  <a:lnTo>
                    <a:pt x="947" y="261"/>
                  </a:lnTo>
                  <a:lnTo>
                    <a:pt x="947" y="261"/>
                  </a:lnTo>
                  <a:lnTo>
                    <a:pt x="947" y="261"/>
                  </a:lnTo>
                  <a:lnTo>
                    <a:pt x="947" y="257"/>
                  </a:lnTo>
                  <a:lnTo>
                    <a:pt x="952" y="257"/>
                  </a:lnTo>
                  <a:lnTo>
                    <a:pt x="952" y="252"/>
                  </a:lnTo>
                  <a:lnTo>
                    <a:pt x="947" y="252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77" name="Freeform 8"/>
            <p:cNvSpPr>
              <a:spLocks noEditPoints="1"/>
            </p:cNvSpPr>
            <p:nvPr/>
          </p:nvSpPr>
          <p:spPr bwMode="auto">
            <a:xfrm>
              <a:off x="2881313" y="865188"/>
              <a:ext cx="2206625" cy="2622550"/>
            </a:xfrm>
            <a:custGeom>
              <a:avLst/>
              <a:gdLst>
                <a:gd name="T0" fmla="*/ 31 w 1390"/>
                <a:gd name="T1" fmla="*/ 1466 h 1652"/>
                <a:gd name="T2" fmla="*/ 22 w 1390"/>
                <a:gd name="T3" fmla="*/ 1426 h 1652"/>
                <a:gd name="T4" fmla="*/ 9 w 1390"/>
                <a:gd name="T5" fmla="*/ 1355 h 1652"/>
                <a:gd name="T6" fmla="*/ 58 w 1390"/>
                <a:gd name="T7" fmla="*/ 1200 h 1652"/>
                <a:gd name="T8" fmla="*/ 160 w 1390"/>
                <a:gd name="T9" fmla="*/ 1112 h 1652"/>
                <a:gd name="T10" fmla="*/ 235 w 1390"/>
                <a:gd name="T11" fmla="*/ 1045 h 1652"/>
                <a:gd name="T12" fmla="*/ 350 w 1390"/>
                <a:gd name="T13" fmla="*/ 921 h 1652"/>
                <a:gd name="T14" fmla="*/ 399 w 1390"/>
                <a:gd name="T15" fmla="*/ 811 h 1652"/>
                <a:gd name="T16" fmla="*/ 434 w 1390"/>
                <a:gd name="T17" fmla="*/ 696 h 1652"/>
                <a:gd name="T18" fmla="*/ 443 w 1390"/>
                <a:gd name="T19" fmla="*/ 492 h 1652"/>
                <a:gd name="T20" fmla="*/ 496 w 1390"/>
                <a:gd name="T21" fmla="*/ 452 h 1652"/>
                <a:gd name="T22" fmla="*/ 620 w 1390"/>
                <a:gd name="T23" fmla="*/ 403 h 1652"/>
                <a:gd name="T24" fmla="*/ 536 w 1390"/>
                <a:gd name="T25" fmla="*/ 350 h 1652"/>
                <a:gd name="T26" fmla="*/ 611 w 1390"/>
                <a:gd name="T27" fmla="*/ 355 h 1652"/>
                <a:gd name="T28" fmla="*/ 527 w 1390"/>
                <a:gd name="T29" fmla="*/ 381 h 1652"/>
                <a:gd name="T30" fmla="*/ 669 w 1390"/>
                <a:gd name="T31" fmla="*/ 328 h 1652"/>
                <a:gd name="T32" fmla="*/ 686 w 1390"/>
                <a:gd name="T33" fmla="*/ 244 h 1652"/>
                <a:gd name="T34" fmla="*/ 748 w 1390"/>
                <a:gd name="T35" fmla="*/ 204 h 1652"/>
                <a:gd name="T36" fmla="*/ 859 w 1390"/>
                <a:gd name="T37" fmla="*/ 178 h 1652"/>
                <a:gd name="T38" fmla="*/ 850 w 1390"/>
                <a:gd name="T39" fmla="*/ 151 h 1652"/>
                <a:gd name="T40" fmla="*/ 939 w 1390"/>
                <a:gd name="T41" fmla="*/ 133 h 1652"/>
                <a:gd name="T42" fmla="*/ 930 w 1390"/>
                <a:gd name="T43" fmla="*/ 107 h 1652"/>
                <a:gd name="T44" fmla="*/ 948 w 1390"/>
                <a:gd name="T45" fmla="*/ 85 h 1652"/>
                <a:gd name="T46" fmla="*/ 1297 w 1390"/>
                <a:gd name="T47" fmla="*/ 76 h 1652"/>
                <a:gd name="T48" fmla="*/ 1231 w 1390"/>
                <a:gd name="T49" fmla="*/ 54 h 1652"/>
                <a:gd name="T50" fmla="*/ 1164 w 1390"/>
                <a:gd name="T51" fmla="*/ 116 h 1652"/>
                <a:gd name="T52" fmla="*/ 1107 w 1390"/>
                <a:gd name="T53" fmla="*/ 67 h 1652"/>
                <a:gd name="T54" fmla="*/ 1005 w 1390"/>
                <a:gd name="T55" fmla="*/ 111 h 1652"/>
                <a:gd name="T56" fmla="*/ 886 w 1390"/>
                <a:gd name="T57" fmla="*/ 142 h 1652"/>
                <a:gd name="T58" fmla="*/ 832 w 1390"/>
                <a:gd name="T59" fmla="*/ 248 h 1652"/>
                <a:gd name="T60" fmla="*/ 757 w 1390"/>
                <a:gd name="T61" fmla="*/ 271 h 1652"/>
                <a:gd name="T62" fmla="*/ 678 w 1390"/>
                <a:gd name="T63" fmla="*/ 328 h 1652"/>
                <a:gd name="T64" fmla="*/ 651 w 1390"/>
                <a:gd name="T65" fmla="*/ 430 h 1652"/>
                <a:gd name="T66" fmla="*/ 598 w 1390"/>
                <a:gd name="T67" fmla="*/ 452 h 1652"/>
                <a:gd name="T68" fmla="*/ 531 w 1390"/>
                <a:gd name="T69" fmla="*/ 514 h 1652"/>
                <a:gd name="T70" fmla="*/ 549 w 1390"/>
                <a:gd name="T71" fmla="*/ 541 h 1652"/>
                <a:gd name="T72" fmla="*/ 509 w 1390"/>
                <a:gd name="T73" fmla="*/ 594 h 1652"/>
                <a:gd name="T74" fmla="*/ 452 w 1390"/>
                <a:gd name="T75" fmla="*/ 687 h 1652"/>
                <a:gd name="T76" fmla="*/ 443 w 1390"/>
                <a:gd name="T77" fmla="*/ 753 h 1652"/>
                <a:gd name="T78" fmla="*/ 412 w 1390"/>
                <a:gd name="T79" fmla="*/ 842 h 1652"/>
                <a:gd name="T80" fmla="*/ 377 w 1390"/>
                <a:gd name="T81" fmla="*/ 890 h 1652"/>
                <a:gd name="T82" fmla="*/ 315 w 1390"/>
                <a:gd name="T83" fmla="*/ 943 h 1652"/>
                <a:gd name="T84" fmla="*/ 284 w 1390"/>
                <a:gd name="T85" fmla="*/ 1028 h 1652"/>
                <a:gd name="T86" fmla="*/ 323 w 1390"/>
                <a:gd name="T87" fmla="*/ 1067 h 1652"/>
                <a:gd name="T88" fmla="*/ 191 w 1390"/>
                <a:gd name="T89" fmla="*/ 1103 h 1652"/>
                <a:gd name="T90" fmla="*/ 124 w 1390"/>
                <a:gd name="T91" fmla="*/ 1134 h 1652"/>
                <a:gd name="T92" fmla="*/ 142 w 1390"/>
                <a:gd name="T93" fmla="*/ 1196 h 1652"/>
                <a:gd name="T94" fmla="*/ 22 w 1390"/>
                <a:gd name="T95" fmla="*/ 1209 h 1652"/>
                <a:gd name="T96" fmla="*/ 18 w 1390"/>
                <a:gd name="T97" fmla="*/ 1258 h 1652"/>
                <a:gd name="T98" fmla="*/ 45 w 1390"/>
                <a:gd name="T99" fmla="*/ 1324 h 1652"/>
                <a:gd name="T100" fmla="*/ 124 w 1390"/>
                <a:gd name="T101" fmla="*/ 1338 h 1652"/>
                <a:gd name="T102" fmla="*/ 36 w 1390"/>
                <a:gd name="T103" fmla="*/ 1377 h 1652"/>
                <a:gd name="T104" fmla="*/ 58 w 1390"/>
                <a:gd name="T105" fmla="*/ 1426 h 1652"/>
                <a:gd name="T106" fmla="*/ 76 w 1390"/>
                <a:gd name="T107" fmla="*/ 1435 h 1652"/>
                <a:gd name="T108" fmla="*/ 40 w 1390"/>
                <a:gd name="T109" fmla="*/ 1519 h 1652"/>
                <a:gd name="T110" fmla="*/ 67 w 1390"/>
                <a:gd name="T111" fmla="*/ 1546 h 1652"/>
                <a:gd name="T112" fmla="*/ 115 w 1390"/>
                <a:gd name="T113" fmla="*/ 1639 h 1652"/>
                <a:gd name="T114" fmla="*/ 248 w 1390"/>
                <a:gd name="T115" fmla="*/ 1568 h 1652"/>
                <a:gd name="T116" fmla="*/ 301 w 1390"/>
                <a:gd name="T117" fmla="*/ 1479 h 1652"/>
                <a:gd name="T118" fmla="*/ 381 w 1390"/>
                <a:gd name="T119" fmla="*/ 1475 h 1652"/>
                <a:gd name="T120" fmla="*/ 863 w 1390"/>
                <a:gd name="T121" fmla="*/ 302 h 1652"/>
                <a:gd name="T122" fmla="*/ 1297 w 1390"/>
                <a:gd name="T123" fmla="*/ 302 h 1652"/>
                <a:gd name="T124" fmla="*/ 1279 w 1390"/>
                <a:gd name="T125" fmla="*/ 173 h 1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90" h="1652">
                  <a:moveTo>
                    <a:pt x="337" y="1541"/>
                  </a:moveTo>
                  <a:lnTo>
                    <a:pt x="337" y="1541"/>
                  </a:lnTo>
                  <a:lnTo>
                    <a:pt x="337" y="1541"/>
                  </a:lnTo>
                  <a:lnTo>
                    <a:pt x="337" y="1541"/>
                  </a:lnTo>
                  <a:lnTo>
                    <a:pt x="337" y="1541"/>
                  </a:lnTo>
                  <a:lnTo>
                    <a:pt x="337" y="1541"/>
                  </a:lnTo>
                  <a:lnTo>
                    <a:pt x="337" y="1541"/>
                  </a:lnTo>
                  <a:lnTo>
                    <a:pt x="337" y="1541"/>
                  </a:lnTo>
                  <a:lnTo>
                    <a:pt x="332" y="1541"/>
                  </a:lnTo>
                  <a:lnTo>
                    <a:pt x="332" y="1541"/>
                  </a:lnTo>
                  <a:lnTo>
                    <a:pt x="332" y="1541"/>
                  </a:lnTo>
                  <a:lnTo>
                    <a:pt x="332" y="1546"/>
                  </a:lnTo>
                  <a:lnTo>
                    <a:pt x="332" y="1546"/>
                  </a:lnTo>
                  <a:lnTo>
                    <a:pt x="332" y="1546"/>
                  </a:lnTo>
                  <a:lnTo>
                    <a:pt x="332" y="1546"/>
                  </a:lnTo>
                  <a:lnTo>
                    <a:pt x="332" y="1546"/>
                  </a:lnTo>
                  <a:lnTo>
                    <a:pt x="332" y="1546"/>
                  </a:lnTo>
                  <a:lnTo>
                    <a:pt x="337" y="1546"/>
                  </a:lnTo>
                  <a:lnTo>
                    <a:pt x="337" y="1546"/>
                  </a:lnTo>
                  <a:lnTo>
                    <a:pt x="337" y="1546"/>
                  </a:lnTo>
                  <a:lnTo>
                    <a:pt x="337" y="1546"/>
                  </a:lnTo>
                  <a:lnTo>
                    <a:pt x="337" y="1546"/>
                  </a:lnTo>
                  <a:lnTo>
                    <a:pt x="337" y="1546"/>
                  </a:lnTo>
                  <a:lnTo>
                    <a:pt x="337" y="1546"/>
                  </a:lnTo>
                  <a:lnTo>
                    <a:pt x="337" y="1546"/>
                  </a:lnTo>
                  <a:lnTo>
                    <a:pt x="337" y="1541"/>
                  </a:lnTo>
                  <a:lnTo>
                    <a:pt x="337" y="1541"/>
                  </a:lnTo>
                  <a:lnTo>
                    <a:pt x="337" y="1541"/>
                  </a:lnTo>
                  <a:lnTo>
                    <a:pt x="337" y="1541"/>
                  </a:lnTo>
                  <a:close/>
                  <a:moveTo>
                    <a:pt x="328" y="1537"/>
                  </a:moveTo>
                  <a:lnTo>
                    <a:pt x="328" y="1537"/>
                  </a:lnTo>
                  <a:lnTo>
                    <a:pt x="328" y="1537"/>
                  </a:lnTo>
                  <a:lnTo>
                    <a:pt x="328" y="1541"/>
                  </a:lnTo>
                  <a:lnTo>
                    <a:pt x="328" y="1541"/>
                  </a:lnTo>
                  <a:lnTo>
                    <a:pt x="328" y="1537"/>
                  </a:lnTo>
                  <a:lnTo>
                    <a:pt x="328" y="1537"/>
                  </a:lnTo>
                  <a:lnTo>
                    <a:pt x="328" y="1537"/>
                  </a:lnTo>
                  <a:lnTo>
                    <a:pt x="328" y="1537"/>
                  </a:lnTo>
                  <a:lnTo>
                    <a:pt x="328" y="1537"/>
                  </a:lnTo>
                  <a:lnTo>
                    <a:pt x="323" y="1537"/>
                  </a:lnTo>
                  <a:lnTo>
                    <a:pt x="323" y="1537"/>
                  </a:lnTo>
                  <a:lnTo>
                    <a:pt x="323" y="1541"/>
                  </a:lnTo>
                  <a:lnTo>
                    <a:pt x="323" y="1541"/>
                  </a:lnTo>
                  <a:lnTo>
                    <a:pt x="323" y="1541"/>
                  </a:lnTo>
                  <a:lnTo>
                    <a:pt x="323" y="1541"/>
                  </a:lnTo>
                  <a:lnTo>
                    <a:pt x="328" y="1541"/>
                  </a:lnTo>
                  <a:lnTo>
                    <a:pt x="328" y="1541"/>
                  </a:lnTo>
                  <a:lnTo>
                    <a:pt x="328" y="1541"/>
                  </a:lnTo>
                  <a:lnTo>
                    <a:pt x="328" y="1541"/>
                  </a:lnTo>
                  <a:lnTo>
                    <a:pt x="328" y="1541"/>
                  </a:lnTo>
                  <a:lnTo>
                    <a:pt x="328" y="1541"/>
                  </a:lnTo>
                  <a:lnTo>
                    <a:pt x="328" y="1541"/>
                  </a:lnTo>
                  <a:lnTo>
                    <a:pt x="328" y="1537"/>
                  </a:lnTo>
                  <a:lnTo>
                    <a:pt x="328" y="1537"/>
                  </a:lnTo>
                  <a:close/>
                  <a:moveTo>
                    <a:pt x="58" y="1541"/>
                  </a:moveTo>
                  <a:lnTo>
                    <a:pt x="58" y="1541"/>
                  </a:lnTo>
                  <a:lnTo>
                    <a:pt x="58" y="1541"/>
                  </a:lnTo>
                  <a:lnTo>
                    <a:pt x="58" y="1537"/>
                  </a:lnTo>
                  <a:lnTo>
                    <a:pt x="58" y="1537"/>
                  </a:lnTo>
                  <a:lnTo>
                    <a:pt x="58" y="1537"/>
                  </a:lnTo>
                  <a:lnTo>
                    <a:pt x="53" y="1537"/>
                  </a:lnTo>
                  <a:lnTo>
                    <a:pt x="53" y="1537"/>
                  </a:lnTo>
                  <a:lnTo>
                    <a:pt x="53" y="1537"/>
                  </a:lnTo>
                  <a:lnTo>
                    <a:pt x="53" y="1537"/>
                  </a:lnTo>
                  <a:lnTo>
                    <a:pt x="49" y="1537"/>
                  </a:lnTo>
                  <a:lnTo>
                    <a:pt x="49" y="1537"/>
                  </a:lnTo>
                  <a:lnTo>
                    <a:pt x="49" y="1537"/>
                  </a:lnTo>
                  <a:lnTo>
                    <a:pt x="49" y="1537"/>
                  </a:lnTo>
                  <a:lnTo>
                    <a:pt x="49" y="1537"/>
                  </a:lnTo>
                  <a:lnTo>
                    <a:pt x="49" y="1537"/>
                  </a:lnTo>
                  <a:lnTo>
                    <a:pt x="49" y="1537"/>
                  </a:lnTo>
                  <a:lnTo>
                    <a:pt x="53" y="1541"/>
                  </a:lnTo>
                  <a:lnTo>
                    <a:pt x="58" y="1541"/>
                  </a:lnTo>
                  <a:close/>
                  <a:moveTo>
                    <a:pt x="40" y="1528"/>
                  </a:moveTo>
                  <a:lnTo>
                    <a:pt x="40" y="1528"/>
                  </a:lnTo>
                  <a:lnTo>
                    <a:pt x="40" y="1528"/>
                  </a:lnTo>
                  <a:lnTo>
                    <a:pt x="40" y="1523"/>
                  </a:lnTo>
                  <a:lnTo>
                    <a:pt x="40" y="1523"/>
                  </a:lnTo>
                  <a:lnTo>
                    <a:pt x="40" y="1523"/>
                  </a:lnTo>
                  <a:lnTo>
                    <a:pt x="40" y="1523"/>
                  </a:lnTo>
                  <a:lnTo>
                    <a:pt x="40" y="1523"/>
                  </a:lnTo>
                  <a:lnTo>
                    <a:pt x="36" y="1523"/>
                  </a:lnTo>
                  <a:lnTo>
                    <a:pt x="36" y="1528"/>
                  </a:lnTo>
                  <a:lnTo>
                    <a:pt x="36" y="1528"/>
                  </a:lnTo>
                  <a:lnTo>
                    <a:pt x="36" y="1528"/>
                  </a:lnTo>
                  <a:lnTo>
                    <a:pt x="36" y="1528"/>
                  </a:lnTo>
                  <a:lnTo>
                    <a:pt x="40" y="1532"/>
                  </a:lnTo>
                  <a:lnTo>
                    <a:pt x="40" y="1532"/>
                  </a:lnTo>
                  <a:lnTo>
                    <a:pt x="40" y="1532"/>
                  </a:lnTo>
                  <a:lnTo>
                    <a:pt x="40" y="1532"/>
                  </a:lnTo>
                  <a:lnTo>
                    <a:pt x="40" y="1532"/>
                  </a:lnTo>
                  <a:lnTo>
                    <a:pt x="40" y="1532"/>
                  </a:lnTo>
                  <a:lnTo>
                    <a:pt x="40" y="1532"/>
                  </a:lnTo>
                  <a:lnTo>
                    <a:pt x="40" y="1532"/>
                  </a:lnTo>
                  <a:lnTo>
                    <a:pt x="40" y="1532"/>
                  </a:lnTo>
                  <a:lnTo>
                    <a:pt x="40" y="1532"/>
                  </a:lnTo>
                  <a:lnTo>
                    <a:pt x="40" y="1528"/>
                  </a:lnTo>
                  <a:lnTo>
                    <a:pt x="40" y="1528"/>
                  </a:lnTo>
                  <a:lnTo>
                    <a:pt x="40" y="1528"/>
                  </a:lnTo>
                  <a:close/>
                  <a:moveTo>
                    <a:pt x="71" y="1523"/>
                  </a:moveTo>
                  <a:lnTo>
                    <a:pt x="76" y="1523"/>
                  </a:lnTo>
                  <a:lnTo>
                    <a:pt x="76" y="1519"/>
                  </a:lnTo>
                  <a:lnTo>
                    <a:pt x="76" y="1519"/>
                  </a:lnTo>
                  <a:lnTo>
                    <a:pt x="71" y="1519"/>
                  </a:lnTo>
                  <a:lnTo>
                    <a:pt x="71" y="1519"/>
                  </a:lnTo>
                  <a:lnTo>
                    <a:pt x="67" y="1519"/>
                  </a:lnTo>
                  <a:lnTo>
                    <a:pt x="67" y="1523"/>
                  </a:lnTo>
                  <a:lnTo>
                    <a:pt x="67" y="1523"/>
                  </a:lnTo>
                  <a:lnTo>
                    <a:pt x="67" y="1528"/>
                  </a:lnTo>
                  <a:lnTo>
                    <a:pt x="71" y="1528"/>
                  </a:lnTo>
                  <a:lnTo>
                    <a:pt x="71" y="1523"/>
                  </a:lnTo>
                  <a:close/>
                  <a:moveTo>
                    <a:pt x="31" y="1519"/>
                  </a:moveTo>
                  <a:lnTo>
                    <a:pt x="31" y="1519"/>
                  </a:lnTo>
                  <a:lnTo>
                    <a:pt x="31" y="1519"/>
                  </a:lnTo>
                  <a:lnTo>
                    <a:pt x="31" y="1519"/>
                  </a:lnTo>
                  <a:lnTo>
                    <a:pt x="31" y="1519"/>
                  </a:lnTo>
                  <a:lnTo>
                    <a:pt x="31" y="1515"/>
                  </a:lnTo>
                  <a:lnTo>
                    <a:pt x="31" y="1515"/>
                  </a:lnTo>
                  <a:lnTo>
                    <a:pt x="31" y="1515"/>
                  </a:lnTo>
                  <a:lnTo>
                    <a:pt x="31" y="1515"/>
                  </a:lnTo>
                  <a:lnTo>
                    <a:pt x="31" y="1515"/>
                  </a:lnTo>
                  <a:lnTo>
                    <a:pt x="31" y="1510"/>
                  </a:lnTo>
                  <a:lnTo>
                    <a:pt x="27" y="1506"/>
                  </a:lnTo>
                  <a:lnTo>
                    <a:pt x="27" y="1506"/>
                  </a:lnTo>
                  <a:lnTo>
                    <a:pt x="27" y="1510"/>
                  </a:lnTo>
                  <a:lnTo>
                    <a:pt x="27" y="1510"/>
                  </a:lnTo>
                  <a:lnTo>
                    <a:pt x="27" y="1510"/>
                  </a:lnTo>
                  <a:lnTo>
                    <a:pt x="27" y="1510"/>
                  </a:lnTo>
                  <a:lnTo>
                    <a:pt x="27" y="1515"/>
                  </a:lnTo>
                  <a:lnTo>
                    <a:pt x="27" y="1515"/>
                  </a:lnTo>
                  <a:lnTo>
                    <a:pt x="27" y="1515"/>
                  </a:lnTo>
                  <a:lnTo>
                    <a:pt x="27" y="1515"/>
                  </a:lnTo>
                  <a:lnTo>
                    <a:pt x="31" y="1519"/>
                  </a:lnTo>
                  <a:lnTo>
                    <a:pt x="27" y="1519"/>
                  </a:lnTo>
                  <a:lnTo>
                    <a:pt x="27" y="1523"/>
                  </a:lnTo>
                  <a:lnTo>
                    <a:pt x="27" y="1523"/>
                  </a:lnTo>
                  <a:lnTo>
                    <a:pt x="27" y="1523"/>
                  </a:lnTo>
                  <a:lnTo>
                    <a:pt x="27" y="1523"/>
                  </a:lnTo>
                  <a:lnTo>
                    <a:pt x="27" y="1528"/>
                  </a:lnTo>
                  <a:lnTo>
                    <a:pt x="27" y="1528"/>
                  </a:lnTo>
                  <a:lnTo>
                    <a:pt x="27" y="1532"/>
                  </a:lnTo>
                  <a:lnTo>
                    <a:pt x="27" y="1532"/>
                  </a:lnTo>
                  <a:lnTo>
                    <a:pt x="27" y="1537"/>
                  </a:lnTo>
                  <a:lnTo>
                    <a:pt x="31" y="1537"/>
                  </a:lnTo>
                  <a:lnTo>
                    <a:pt x="31" y="1532"/>
                  </a:lnTo>
                  <a:lnTo>
                    <a:pt x="31" y="1532"/>
                  </a:lnTo>
                  <a:lnTo>
                    <a:pt x="31" y="1528"/>
                  </a:lnTo>
                  <a:lnTo>
                    <a:pt x="36" y="1528"/>
                  </a:lnTo>
                  <a:lnTo>
                    <a:pt x="36" y="1523"/>
                  </a:lnTo>
                  <a:lnTo>
                    <a:pt x="36" y="1523"/>
                  </a:lnTo>
                  <a:lnTo>
                    <a:pt x="31" y="1519"/>
                  </a:lnTo>
                  <a:close/>
                  <a:moveTo>
                    <a:pt x="27" y="1488"/>
                  </a:moveTo>
                  <a:lnTo>
                    <a:pt x="27" y="1488"/>
                  </a:lnTo>
                  <a:lnTo>
                    <a:pt x="27" y="1488"/>
                  </a:lnTo>
                  <a:lnTo>
                    <a:pt x="27" y="1484"/>
                  </a:lnTo>
                  <a:lnTo>
                    <a:pt x="27" y="1484"/>
                  </a:lnTo>
                  <a:lnTo>
                    <a:pt x="27" y="1484"/>
                  </a:lnTo>
                  <a:lnTo>
                    <a:pt x="27" y="1484"/>
                  </a:lnTo>
                  <a:lnTo>
                    <a:pt x="27" y="1484"/>
                  </a:lnTo>
                  <a:lnTo>
                    <a:pt x="27" y="1479"/>
                  </a:lnTo>
                  <a:lnTo>
                    <a:pt x="27" y="1479"/>
                  </a:lnTo>
                  <a:lnTo>
                    <a:pt x="27" y="1479"/>
                  </a:lnTo>
                  <a:lnTo>
                    <a:pt x="27" y="1479"/>
                  </a:lnTo>
                  <a:lnTo>
                    <a:pt x="27" y="1484"/>
                  </a:lnTo>
                  <a:lnTo>
                    <a:pt x="27" y="1479"/>
                  </a:lnTo>
                  <a:lnTo>
                    <a:pt x="27" y="1479"/>
                  </a:lnTo>
                  <a:lnTo>
                    <a:pt x="27" y="1475"/>
                  </a:lnTo>
                  <a:lnTo>
                    <a:pt x="27" y="1475"/>
                  </a:lnTo>
                  <a:lnTo>
                    <a:pt x="27" y="1475"/>
                  </a:lnTo>
                  <a:lnTo>
                    <a:pt x="27" y="1475"/>
                  </a:lnTo>
                  <a:lnTo>
                    <a:pt x="27" y="1475"/>
                  </a:lnTo>
                  <a:lnTo>
                    <a:pt x="27" y="1470"/>
                  </a:lnTo>
                  <a:lnTo>
                    <a:pt x="27" y="1470"/>
                  </a:lnTo>
                  <a:lnTo>
                    <a:pt x="27" y="1470"/>
                  </a:lnTo>
                  <a:lnTo>
                    <a:pt x="27" y="1470"/>
                  </a:lnTo>
                  <a:lnTo>
                    <a:pt x="31" y="1470"/>
                  </a:lnTo>
                  <a:lnTo>
                    <a:pt x="31" y="1475"/>
                  </a:lnTo>
                  <a:lnTo>
                    <a:pt x="31" y="1475"/>
                  </a:lnTo>
                  <a:lnTo>
                    <a:pt x="31" y="1475"/>
                  </a:lnTo>
                  <a:lnTo>
                    <a:pt x="31" y="1470"/>
                  </a:lnTo>
                  <a:lnTo>
                    <a:pt x="31" y="1470"/>
                  </a:lnTo>
                  <a:lnTo>
                    <a:pt x="31" y="1475"/>
                  </a:lnTo>
                  <a:lnTo>
                    <a:pt x="31" y="1475"/>
                  </a:lnTo>
                  <a:lnTo>
                    <a:pt x="36" y="1475"/>
                  </a:lnTo>
                  <a:lnTo>
                    <a:pt x="31" y="1479"/>
                  </a:lnTo>
                  <a:lnTo>
                    <a:pt x="31" y="1479"/>
                  </a:lnTo>
                  <a:lnTo>
                    <a:pt x="31" y="1479"/>
                  </a:lnTo>
                  <a:lnTo>
                    <a:pt x="31" y="1479"/>
                  </a:lnTo>
                  <a:lnTo>
                    <a:pt x="36" y="1479"/>
                  </a:lnTo>
                  <a:lnTo>
                    <a:pt x="36" y="1475"/>
                  </a:lnTo>
                  <a:lnTo>
                    <a:pt x="36" y="1475"/>
                  </a:lnTo>
                  <a:lnTo>
                    <a:pt x="36" y="1470"/>
                  </a:lnTo>
                  <a:lnTo>
                    <a:pt x="36" y="1470"/>
                  </a:lnTo>
                  <a:lnTo>
                    <a:pt x="31" y="1470"/>
                  </a:lnTo>
                  <a:lnTo>
                    <a:pt x="31" y="1470"/>
                  </a:lnTo>
                  <a:lnTo>
                    <a:pt x="31" y="1466"/>
                  </a:lnTo>
                  <a:lnTo>
                    <a:pt x="31" y="1466"/>
                  </a:lnTo>
                  <a:lnTo>
                    <a:pt x="31" y="1466"/>
                  </a:lnTo>
                  <a:lnTo>
                    <a:pt x="31" y="1466"/>
                  </a:lnTo>
                  <a:lnTo>
                    <a:pt x="31" y="1466"/>
                  </a:lnTo>
                  <a:lnTo>
                    <a:pt x="27" y="1466"/>
                  </a:lnTo>
                  <a:lnTo>
                    <a:pt x="27" y="1461"/>
                  </a:lnTo>
                  <a:lnTo>
                    <a:pt x="27" y="1461"/>
                  </a:lnTo>
                  <a:lnTo>
                    <a:pt x="27" y="1461"/>
                  </a:lnTo>
                  <a:lnTo>
                    <a:pt x="27" y="1461"/>
                  </a:lnTo>
                  <a:lnTo>
                    <a:pt x="27" y="1461"/>
                  </a:lnTo>
                  <a:lnTo>
                    <a:pt x="27" y="1457"/>
                  </a:lnTo>
                  <a:lnTo>
                    <a:pt x="22" y="1457"/>
                  </a:lnTo>
                  <a:lnTo>
                    <a:pt x="22" y="1457"/>
                  </a:lnTo>
                  <a:lnTo>
                    <a:pt x="22" y="1461"/>
                  </a:lnTo>
                  <a:lnTo>
                    <a:pt x="27" y="1461"/>
                  </a:lnTo>
                  <a:lnTo>
                    <a:pt x="27" y="1466"/>
                  </a:lnTo>
                  <a:lnTo>
                    <a:pt x="22" y="1461"/>
                  </a:lnTo>
                  <a:lnTo>
                    <a:pt x="22" y="1461"/>
                  </a:lnTo>
                  <a:lnTo>
                    <a:pt x="22" y="1466"/>
                  </a:lnTo>
                  <a:lnTo>
                    <a:pt x="22" y="1466"/>
                  </a:lnTo>
                  <a:lnTo>
                    <a:pt x="22" y="1466"/>
                  </a:lnTo>
                  <a:lnTo>
                    <a:pt x="22" y="1466"/>
                  </a:lnTo>
                  <a:lnTo>
                    <a:pt x="22" y="1466"/>
                  </a:lnTo>
                  <a:lnTo>
                    <a:pt x="22" y="1466"/>
                  </a:lnTo>
                  <a:lnTo>
                    <a:pt x="22" y="1466"/>
                  </a:lnTo>
                  <a:lnTo>
                    <a:pt x="22" y="1466"/>
                  </a:lnTo>
                  <a:lnTo>
                    <a:pt x="22" y="1470"/>
                  </a:lnTo>
                  <a:lnTo>
                    <a:pt x="22" y="1470"/>
                  </a:lnTo>
                  <a:lnTo>
                    <a:pt x="22" y="1470"/>
                  </a:lnTo>
                  <a:lnTo>
                    <a:pt x="22" y="1470"/>
                  </a:lnTo>
                  <a:lnTo>
                    <a:pt x="22" y="1470"/>
                  </a:lnTo>
                  <a:lnTo>
                    <a:pt x="22" y="1470"/>
                  </a:lnTo>
                  <a:lnTo>
                    <a:pt x="27" y="1470"/>
                  </a:lnTo>
                  <a:lnTo>
                    <a:pt x="27" y="1470"/>
                  </a:lnTo>
                  <a:lnTo>
                    <a:pt x="27" y="1475"/>
                  </a:lnTo>
                  <a:lnTo>
                    <a:pt x="22" y="1475"/>
                  </a:lnTo>
                  <a:lnTo>
                    <a:pt x="22" y="1479"/>
                  </a:lnTo>
                  <a:lnTo>
                    <a:pt x="22" y="1484"/>
                  </a:lnTo>
                  <a:lnTo>
                    <a:pt x="22" y="1484"/>
                  </a:lnTo>
                  <a:lnTo>
                    <a:pt x="22" y="1484"/>
                  </a:lnTo>
                  <a:lnTo>
                    <a:pt x="22" y="1488"/>
                  </a:lnTo>
                  <a:lnTo>
                    <a:pt x="27" y="1488"/>
                  </a:lnTo>
                  <a:lnTo>
                    <a:pt x="27" y="1488"/>
                  </a:lnTo>
                  <a:lnTo>
                    <a:pt x="27" y="1488"/>
                  </a:lnTo>
                  <a:lnTo>
                    <a:pt x="27" y="1488"/>
                  </a:lnTo>
                  <a:lnTo>
                    <a:pt x="27" y="1488"/>
                  </a:lnTo>
                  <a:lnTo>
                    <a:pt x="27" y="1488"/>
                  </a:lnTo>
                  <a:close/>
                  <a:moveTo>
                    <a:pt x="36" y="1448"/>
                  </a:moveTo>
                  <a:lnTo>
                    <a:pt x="36" y="1448"/>
                  </a:lnTo>
                  <a:lnTo>
                    <a:pt x="36" y="1448"/>
                  </a:lnTo>
                  <a:lnTo>
                    <a:pt x="31" y="1448"/>
                  </a:lnTo>
                  <a:lnTo>
                    <a:pt x="31" y="1448"/>
                  </a:lnTo>
                  <a:lnTo>
                    <a:pt x="31" y="1448"/>
                  </a:lnTo>
                  <a:lnTo>
                    <a:pt x="31" y="1448"/>
                  </a:lnTo>
                  <a:lnTo>
                    <a:pt x="31" y="1448"/>
                  </a:lnTo>
                  <a:lnTo>
                    <a:pt x="31" y="1453"/>
                  </a:lnTo>
                  <a:lnTo>
                    <a:pt x="31" y="1453"/>
                  </a:lnTo>
                  <a:lnTo>
                    <a:pt x="31" y="1457"/>
                  </a:lnTo>
                  <a:lnTo>
                    <a:pt x="31" y="1457"/>
                  </a:lnTo>
                  <a:lnTo>
                    <a:pt x="31" y="1457"/>
                  </a:lnTo>
                  <a:lnTo>
                    <a:pt x="31" y="1457"/>
                  </a:lnTo>
                  <a:lnTo>
                    <a:pt x="31" y="1457"/>
                  </a:lnTo>
                  <a:lnTo>
                    <a:pt x="31" y="1461"/>
                  </a:lnTo>
                  <a:lnTo>
                    <a:pt x="31" y="1461"/>
                  </a:lnTo>
                  <a:lnTo>
                    <a:pt x="31" y="1466"/>
                  </a:lnTo>
                  <a:lnTo>
                    <a:pt x="36" y="1466"/>
                  </a:lnTo>
                  <a:lnTo>
                    <a:pt x="36" y="1466"/>
                  </a:lnTo>
                  <a:lnTo>
                    <a:pt x="36" y="1470"/>
                  </a:lnTo>
                  <a:lnTo>
                    <a:pt x="36" y="1470"/>
                  </a:lnTo>
                  <a:lnTo>
                    <a:pt x="36" y="1470"/>
                  </a:lnTo>
                  <a:lnTo>
                    <a:pt x="36" y="1470"/>
                  </a:lnTo>
                  <a:lnTo>
                    <a:pt x="36" y="1466"/>
                  </a:lnTo>
                  <a:lnTo>
                    <a:pt x="36" y="1466"/>
                  </a:lnTo>
                  <a:lnTo>
                    <a:pt x="40" y="1466"/>
                  </a:lnTo>
                  <a:lnTo>
                    <a:pt x="40" y="1466"/>
                  </a:lnTo>
                  <a:lnTo>
                    <a:pt x="40" y="1470"/>
                  </a:lnTo>
                  <a:lnTo>
                    <a:pt x="40" y="1470"/>
                  </a:lnTo>
                  <a:lnTo>
                    <a:pt x="36" y="1470"/>
                  </a:lnTo>
                  <a:lnTo>
                    <a:pt x="36" y="1470"/>
                  </a:lnTo>
                  <a:lnTo>
                    <a:pt x="36" y="1470"/>
                  </a:lnTo>
                  <a:lnTo>
                    <a:pt x="36" y="1470"/>
                  </a:lnTo>
                  <a:lnTo>
                    <a:pt x="40" y="1470"/>
                  </a:lnTo>
                  <a:lnTo>
                    <a:pt x="40" y="1470"/>
                  </a:lnTo>
                  <a:lnTo>
                    <a:pt x="45" y="1466"/>
                  </a:lnTo>
                  <a:lnTo>
                    <a:pt x="45" y="1466"/>
                  </a:lnTo>
                  <a:lnTo>
                    <a:pt x="45" y="1466"/>
                  </a:lnTo>
                  <a:lnTo>
                    <a:pt x="45" y="1461"/>
                  </a:lnTo>
                  <a:lnTo>
                    <a:pt x="45" y="1461"/>
                  </a:lnTo>
                  <a:lnTo>
                    <a:pt x="40" y="1457"/>
                  </a:lnTo>
                  <a:lnTo>
                    <a:pt x="40" y="1457"/>
                  </a:lnTo>
                  <a:lnTo>
                    <a:pt x="40" y="1453"/>
                  </a:lnTo>
                  <a:lnTo>
                    <a:pt x="36" y="1448"/>
                  </a:lnTo>
                  <a:lnTo>
                    <a:pt x="36" y="1448"/>
                  </a:lnTo>
                  <a:lnTo>
                    <a:pt x="36" y="1448"/>
                  </a:lnTo>
                  <a:close/>
                  <a:moveTo>
                    <a:pt x="36" y="1444"/>
                  </a:moveTo>
                  <a:lnTo>
                    <a:pt x="36" y="1448"/>
                  </a:lnTo>
                  <a:lnTo>
                    <a:pt x="36" y="1448"/>
                  </a:lnTo>
                  <a:lnTo>
                    <a:pt x="36" y="1448"/>
                  </a:lnTo>
                  <a:lnTo>
                    <a:pt x="40" y="1448"/>
                  </a:lnTo>
                  <a:lnTo>
                    <a:pt x="40" y="1453"/>
                  </a:lnTo>
                  <a:lnTo>
                    <a:pt x="40" y="1453"/>
                  </a:lnTo>
                  <a:lnTo>
                    <a:pt x="40" y="1453"/>
                  </a:lnTo>
                  <a:lnTo>
                    <a:pt x="40" y="1448"/>
                  </a:lnTo>
                  <a:lnTo>
                    <a:pt x="45" y="1448"/>
                  </a:lnTo>
                  <a:lnTo>
                    <a:pt x="45" y="1453"/>
                  </a:lnTo>
                  <a:lnTo>
                    <a:pt x="45" y="1453"/>
                  </a:lnTo>
                  <a:lnTo>
                    <a:pt x="45" y="1457"/>
                  </a:lnTo>
                  <a:lnTo>
                    <a:pt x="45" y="1457"/>
                  </a:lnTo>
                  <a:lnTo>
                    <a:pt x="49" y="1453"/>
                  </a:lnTo>
                  <a:lnTo>
                    <a:pt x="49" y="1453"/>
                  </a:lnTo>
                  <a:lnTo>
                    <a:pt x="49" y="1457"/>
                  </a:lnTo>
                  <a:lnTo>
                    <a:pt x="49" y="1453"/>
                  </a:lnTo>
                  <a:lnTo>
                    <a:pt x="49" y="1453"/>
                  </a:lnTo>
                  <a:lnTo>
                    <a:pt x="49" y="1453"/>
                  </a:lnTo>
                  <a:lnTo>
                    <a:pt x="49" y="1448"/>
                  </a:lnTo>
                  <a:lnTo>
                    <a:pt x="53" y="1444"/>
                  </a:lnTo>
                  <a:lnTo>
                    <a:pt x="53" y="1444"/>
                  </a:lnTo>
                  <a:lnTo>
                    <a:pt x="53" y="1439"/>
                  </a:lnTo>
                  <a:lnTo>
                    <a:pt x="53" y="1439"/>
                  </a:lnTo>
                  <a:lnTo>
                    <a:pt x="53" y="1439"/>
                  </a:lnTo>
                  <a:lnTo>
                    <a:pt x="49" y="1439"/>
                  </a:lnTo>
                  <a:lnTo>
                    <a:pt x="49" y="1439"/>
                  </a:lnTo>
                  <a:lnTo>
                    <a:pt x="49" y="1439"/>
                  </a:lnTo>
                  <a:lnTo>
                    <a:pt x="49" y="1439"/>
                  </a:lnTo>
                  <a:lnTo>
                    <a:pt x="49" y="1439"/>
                  </a:lnTo>
                  <a:lnTo>
                    <a:pt x="49" y="1439"/>
                  </a:lnTo>
                  <a:lnTo>
                    <a:pt x="49" y="1439"/>
                  </a:lnTo>
                  <a:lnTo>
                    <a:pt x="49" y="1439"/>
                  </a:lnTo>
                  <a:lnTo>
                    <a:pt x="49" y="1439"/>
                  </a:lnTo>
                  <a:lnTo>
                    <a:pt x="45" y="1439"/>
                  </a:lnTo>
                  <a:lnTo>
                    <a:pt x="45" y="1439"/>
                  </a:lnTo>
                  <a:lnTo>
                    <a:pt x="45" y="1439"/>
                  </a:lnTo>
                  <a:lnTo>
                    <a:pt x="45" y="1439"/>
                  </a:lnTo>
                  <a:lnTo>
                    <a:pt x="45" y="1439"/>
                  </a:lnTo>
                  <a:lnTo>
                    <a:pt x="45" y="1439"/>
                  </a:lnTo>
                  <a:lnTo>
                    <a:pt x="40" y="1439"/>
                  </a:lnTo>
                  <a:lnTo>
                    <a:pt x="40" y="1439"/>
                  </a:lnTo>
                  <a:lnTo>
                    <a:pt x="40" y="1439"/>
                  </a:lnTo>
                  <a:lnTo>
                    <a:pt x="40" y="1439"/>
                  </a:lnTo>
                  <a:lnTo>
                    <a:pt x="40" y="1444"/>
                  </a:lnTo>
                  <a:lnTo>
                    <a:pt x="40" y="1444"/>
                  </a:lnTo>
                  <a:lnTo>
                    <a:pt x="40" y="1444"/>
                  </a:lnTo>
                  <a:lnTo>
                    <a:pt x="40" y="1444"/>
                  </a:lnTo>
                  <a:lnTo>
                    <a:pt x="36" y="1444"/>
                  </a:lnTo>
                  <a:close/>
                  <a:moveTo>
                    <a:pt x="31" y="1439"/>
                  </a:moveTo>
                  <a:lnTo>
                    <a:pt x="31" y="1439"/>
                  </a:lnTo>
                  <a:lnTo>
                    <a:pt x="27" y="1439"/>
                  </a:lnTo>
                  <a:lnTo>
                    <a:pt x="27" y="1439"/>
                  </a:lnTo>
                  <a:lnTo>
                    <a:pt x="27" y="1439"/>
                  </a:lnTo>
                  <a:lnTo>
                    <a:pt x="27" y="1439"/>
                  </a:lnTo>
                  <a:lnTo>
                    <a:pt x="27" y="1435"/>
                  </a:lnTo>
                  <a:lnTo>
                    <a:pt x="27" y="1435"/>
                  </a:lnTo>
                  <a:lnTo>
                    <a:pt x="27" y="1435"/>
                  </a:lnTo>
                  <a:lnTo>
                    <a:pt x="27" y="1439"/>
                  </a:lnTo>
                  <a:lnTo>
                    <a:pt x="27" y="1439"/>
                  </a:lnTo>
                  <a:lnTo>
                    <a:pt x="27" y="1439"/>
                  </a:lnTo>
                  <a:lnTo>
                    <a:pt x="27" y="1439"/>
                  </a:lnTo>
                  <a:lnTo>
                    <a:pt x="27" y="1444"/>
                  </a:lnTo>
                  <a:lnTo>
                    <a:pt x="27" y="1444"/>
                  </a:lnTo>
                  <a:lnTo>
                    <a:pt x="27" y="1444"/>
                  </a:lnTo>
                  <a:lnTo>
                    <a:pt x="27" y="1444"/>
                  </a:lnTo>
                  <a:lnTo>
                    <a:pt x="27" y="1444"/>
                  </a:lnTo>
                  <a:lnTo>
                    <a:pt x="31" y="1444"/>
                  </a:lnTo>
                  <a:lnTo>
                    <a:pt x="31" y="1444"/>
                  </a:lnTo>
                  <a:lnTo>
                    <a:pt x="31" y="1444"/>
                  </a:lnTo>
                  <a:lnTo>
                    <a:pt x="31" y="1444"/>
                  </a:lnTo>
                  <a:lnTo>
                    <a:pt x="31" y="1448"/>
                  </a:lnTo>
                  <a:lnTo>
                    <a:pt x="31" y="1448"/>
                  </a:lnTo>
                  <a:lnTo>
                    <a:pt x="31" y="1444"/>
                  </a:lnTo>
                  <a:lnTo>
                    <a:pt x="31" y="1444"/>
                  </a:lnTo>
                  <a:lnTo>
                    <a:pt x="31" y="1444"/>
                  </a:lnTo>
                  <a:lnTo>
                    <a:pt x="31" y="1444"/>
                  </a:lnTo>
                  <a:lnTo>
                    <a:pt x="31" y="1439"/>
                  </a:lnTo>
                  <a:lnTo>
                    <a:pt x="31" y="1439"/>
                  </a:lnTo>
                  <a:lnTo>
                    <a:pt x="31" y="1439"/>
                  </a:lnTo>
                  <a:lnTo>
                    <a:pt x="31" y="1439"/>
                  </a:lnTo>
                  <a:lnTo>
                    <a:pt x="31" y="1439"/>
                  </a:lnTo>
                  <a:lnTo>
                    <a:pt x="31" y="1435"/>
                  </a:lnTo>
                  <a:lnTo>
                    <a:pt x="31" y="1435"/>
                  </a:lnTo>
                  <a:lnTo>
                    <a:pt x="31" y="1439"/>
                  </a:lnTo>
                  <a:lnTo>
                    <a:pt x="31" y="1439"/>
                  </a:lnTo>
                  <a:lnTo>
                    <a:pt x="31" y="1435"/>
                  </a:lnTo>
                  <a:lnTo>
                    <a:pt x="31" y="1435"/>
                  </a:lnTo>
                  <a:lnTo>
                    <a:pt x="31" y="1435"/>
                  </a:lnTo>
                  <a:lnTo>
                    <a:pt x="31" y="1435"/>
                  </a:lnTo>
                  <a:lnTo>
                    <a:pt x="31" y="1435"/>
                  </a:lnTo>
                  <a:lnTo>
                    <a:pt x="31" y="1435"/>
                  </a:lnTo>
                  <a:lnTo>
                    <a:pt x="27" y="1435"/>
                  </a:lnTo>
                  <a:lnTo>
                    <a:pt x="27" y="1435"/>
                  </a:lnTo>
                  <a:lnTo>
                    <a:pt x="27" y="1435"/>
                  </a:lnTo>
                  <a:lnTo>
                    <a:pt x="27" y="1435"/>
                  </a:lnTo>
                  <a:lnTo>
                    <a:pt x="27" y="1435"/>
                  </a:lnTo>
                  <a:lnTo>
                    <a:pt x="27" y="1435"/>
                  </a:lnTo>
                  <a:lnTo>
                    <a:pt x="31" y="1439"/>
                  </a:lnTo>
                  <a:lnTo>
                    <a:pt x="31" y="1439"/>
                  </a:lnTo>
                  <a:lnTo>
                    <a:pt x="31" y="1439"/>
                  </a:lnTo>
                  <a:lnTo>
                    <a:pt x="31" y="1439"/>
                  </a:lnTo>
                  <a:lnTo>
                    <a:pt x="31" y="1439"/>
                  </a:lnTo>
                  <a:lnTo>
                    <a:pt x="31" y="1439"/>
                  </a:lnTo>
                  <a:lnTo>
                    <a:pt x="31" y="1439"/>
                  </a:lnTo>
                  <a:lnTo>
                    <a:pt x="31" y="1439"/>
                  </a:lnTo>
                  <a:lnTo>
                    <a:pt x="31" y="1439"/>
                  </a:lnTo>
                  <a:close/>
                  <a:moveTo>
                    <a:pt x="22" y="1426"/>
                  </a:moveTo>
                  <a:lnTo>
                    <a:pt x="22" y="1426"/>
                  </a:lnTo>
                  <a:lnTo>
                    <a:pt x="22" y="1422"/>
                  </a:lnTo>
                  <a:lnTo>
                    <a:pt x="22" y="1422"/>
                  </a:lnTo>
                  <a:lnTo>
                    <a:pt x="22" y="1422"/>
                  </a:lnTo>
                  <a:lnTo>
                    <a:pt x="22" y="1417"/>
                  </a:lnTo>
                  <a:lnTo>
                    <a:pt x="22" y="1417"/>
                  </a:lnTo>
                  <a:lnTo>
                    <a:pt x="22" y="1417"/>
                  </a:lnTo>
                  <a:lnTo>
                    <a:pt x="18" y="1417"/>
                  </a:lnTo>
                  <a:lnTo>
                    <a:pt x="22" y="1417"/>
                  </a:lnTo>
                  <a:lnTo>
                    <a:pt x="22" y="1413"/>
                  </a:lnTo>
                  <a:lnTo>
                    <a:pt x="22" y="1413"/>
                  </a:lnTo>
                  <a:lnTo>
                    <a:pt x="22" y="1408"/>
                  </a:lnTo>
                  <a:lnTo>
                    <a:pt x="18" y="1404"/>
                  </a:lnTo>
                  <a:lnTo>
                    <a:pt x="18" y="1400"/>
                  </a:lnTo>
                  <a:lnTo>
                    <a:pt x="18" y="1400"/>
                  </a:lnTo>
                  <a:lnTo>
                    <a:pt x="14" y="1400"/>
                  </a:lnTo>
                  <a:lnTo>
                    <a:pt x="14" y="1400"/>
                  </a:lnTo>
                  <a:lnTo>
                    <a:pt x="14" y="1400"/>
                  </a:lnTo>
                  <a:lnTo>
                    <a:pt x="14" y="1404"/>
                  </a:lnTo>
                  <a:lnTo>
                    <a:pt x="14" y="1404"/>
                  </a:lnTo>
                  <a:lnTo>
                    <a:pt x="14" y="1404"/>
                  </a:lnTo>
                  <a:lnTo>
                    <a:pt x="18" y="1404"/>
                  </a:lnTo>
                  <a:lnTo>
                    <a:pt x="14" y="1408"/>
                  </a:lnTo>
                  <a:lnTo>
                    <a:pt x="14" y="1408"/>
                  </a:lnTo>
                  <a:lnTo>
                    <a:pt x="18" y="1408"/>
                  </a:lnTo>
                  <a:lnTo>
                    <a:pt x="18" y="1413"/>
                  </a:lnTo>
                  <a:lnTo>
                    <a:pt x="18" y="1413"/>
                  </a:lnTo>
                  <a:lnTo>
                    <a:pt x="18" y="1413"/>
                  </a:lnTo>
                  <a:lnTo>
                    <a:pt x="18" y="1413"/>
                  </a:lnTo>
                  <a:lnTo>
                    <a:pt x="18" y="1413"/>
                  </a:lnTo>
                  <a:lnTo>
                    <a:pt x="18" y="1417"/>
                  </a:lnTo>
                  <a:lnTo>
                    <a:pt x="18" y="1413"/>
                  </a:lnTo>
                  <a:lnTo>
                    <a:pt x="18" y="1413"/>
                  </a:lnTo>
                  <a:lnTo>
                    <a:pt x="14" y="1413"/>
                  </a:lnTo>
                  <a:lnTo>
                    <a:pt x="14" y="1417"/>
                  </a:lnTo>
                  <a:lnTo>
                    <a:pt x="14" y="1417"/>
                  </a:lnTo>
                  <a:lnTo>
                    <a:pt x="14" y="1417"/>
                  </a:lnTo>
                  <a:lnTo>
                    <a:pt x="14" y="1422"/>
                  </a:lnTo>
                  <a:lnTo>
                    <a:pt x="18" y="1422"/>
                  </a:lnTo>
                  <a:lnTo>
                    <a:pt x="18" y="1422"/>
                  </a:lnTo>
                  <a:lnTo>
                    <a:pt x="18" y="1422"/>
                  </a:lnTo>
                  <a:lnTo>
                    <a:pt x="18" y="1422"/>
                  </a:lnTo>
                  <a:lnTo>
                    <a:pt x="18" y="1422"/>
                  </a:lnTo>
                  <a:lnTo>
                    <a:pt x="22" y="1422"/>
                  </a:lnTo>
                  <a:lnTo>
                    <a:pt x="22" y="1426"/>
                  </a:lnTo>
                  <a:lnTo>
                    <a:pt x="22" y="1426"/>
                  </a:lnTo>
                  <a:lnTo>
                    <a:pt x="22" y="1426"/>
                  </a:lnTo>
                  <a:lnTo>
                    <a:pt x="22" y="1426"/>
                  </a:lnTo>
                  <a:close/>
                  <a:moveTo>
                    <a:pt x="22" y="1400"/>
                  </a:moveTo>
                  <a:lnTo>
                    <a:pt x="22" y="1404"/>
                  </a:lnTo>
                  <a:lnTo>
                    <a:pt x="22" y="1404"/>
                  </a:lnTo>
                  <a:lnTo>
                    <a:pt x="27" y="1404"/>
                  </a:lnTo>
                  <a:lnTo>
                    <a:pt x="27" y="1400"/>
                  </a:lnTo>
                  <a:lnTo>
                    <a:pt x="27" y="1400"/>
                  </a:lnTo>
                  <a:lnTo>
                    <a:pt x="27" y="1400"/>
                  </a:lnTo>
                  <a:lnTo>
                    <a:pt x="27" y="1395"/>
                  </a:lnTo>
                  <a:lnTo>
                    <a:pt x="27" y="1391"/>
                  </a:lnTo>
                  <a:lnTo>
                    <a:pt x="18" y="1391"/>
                  </a:lnTo>
                  <a:lnTo>
                    <a:pt x="18" y="1386"/>
                  </a:lnTo>
                  <a:lnTo>
                    <a:pt x="18" y="1386"/>
                  </a:lnTo>
                  <a:lnTo>
                    <a:pt x="18" y="1386"/>
                  </a:lnTo>
                  <a:lnTo>
                    <a:pt x="14" y="1386"/>
                  </a:lnTo>
                  <a:lnTo>
                    <a:pt x="18" y="1391"/>
                  </a:lnTo>
                  <a:lnTo>
                    <a:pt x="18" y="1391"/>
                  </a:lnTo>
                  <a:lnTo>
                    <a:pt x="18" y="1391"/>
                  </a:lnTo>
                  <a:lnTo>
                    <a:pt x="18" y="1391"/>
                  </a:lnTo>
                  <a:lnTo>
                    <a:pt x="18" y="1391"/>
                  </a:lnTo>
                  <a:lnTo>
                    <a:pt x="18" y="1391"/>
                  </a:lnTo>
                  <a:lnTo>
                    <a:pt x="22" y="1391"/>
                  </a:lnTo>
                  <a:lnTo>
                    <a:pt x="22" y="1395"/>
                  </a:lnTo>
                  <a:lnTo>
                    <a:pt x="22" y="1395"/>
                  </a:lnTo>
                  <a:lnTo>
                    <a:pt x="22" y="1395"/>
                  </a:lnTo>
                  <a:lnTo>
                    <a:pt x="22" y="1395"/>
                  </a:lnTo>
                  <a:lnTo>
                    <a:pt x="22" y="1395"/>
                  </a:lnTo>
                  <a:lnTo>
                    <a:pt x="22" y="1395"/>
                  </a:lnTo>
                  <a:lnTo>
                    <a:pt x="22" y="1395"/>
                  </a:lnTo>
                  <a:lnTo>
                    <a:pt x="22" y="1395"/>
                  </a:lnTo>
                  <a:lnTo>
                    <a:pt x="22" y="1400"/>
                  </a:lnTo>
                  <a:lnTo>
                    <a:pt x="22" y="1400"/>
                  </a:lnTo>
                  <a:lnTo>
                    <a:pt x="22" y="1400"/>
                  </a:lnTo>
                  <a:lnTo>
                    <a:pt x="22" y="1400"/>
                  </a:lnTo>
                  <a:close/>
                  <a:moveTo>
                    <a:pt x="9" y="1377"/>
                  </a:moveTo>
                  <a:lnTo>
                    <a:pt x="9" y="1377"/>
                  </a:lnTo>
                  <a:lnTo>
                    <a:pt x="9" y="1377"/>
                  </a:lnTo>
                  <a:lnTo>
                    <a:pt x="9" y="1377"/>
                  </a:lnTo>
                  <a:lnTo>
                    <a:pt x="9" y="1377"/>
                  </a:lnTo>
                  <a:lnTo>
                    <a:pt x="9" y="1377"/>
                  </a:lnTo>
                  <a:lnTo>
                    <a:pt x="9" y="1377"/>
                  </a:lnTo>
                  <a:lnTo>
                    <a:pt x="9" y="1377"/>
                  </a:lnTo>
                  <a:lnTo>
                    <a:pt x="9" y="1377"/>
                  </a:lnTo>
                  <a:lnTo>
                    <a:pt x="9" y="1377"/>
                  </a:lnTo>
                  <a:lnTo>
                    <a:pt x="9" y="1377"/>
                  </a:lnTo>
                  <a:lnTo>
                    <a:pt x="5" y="1373"/>
                  </a:lnTo>
                  <a:lnTo>
                    <a:pt x="5" y="1373"/>
                  </a:lnTo>
                  <a:lnTo>
                    <a:pt x="5" y="1377"/>
                  </a:lnTo>
                  <a:lnTo>
                    <a:pt x="5" y="1377"/>
                  </a:lnTo>
                  <a:lnTo>
                    <a:pt x="5" y="1377"/>
                  </a:lnTo>
                  <a:lnTo>
                    <a:pt x="5" y="1377"/>
                  </a:lnTo>
                  <a:lnTo>
                    <a:pt x="5" y="1377"/>
                  </a:lnTo>
                  <a:lnTo>
                    <a:pt x="5" y="1382"/>
                  </a:lnTo>
                  <a:lnTo>
                    <a:pt x="5" y="1382"/>
                  </a:lnTo>
                  <a:lnTo>
                    <a:pt x="5" y="1382"/>
                  </a:lnTo>
                  <a:lnTo>
                    <a:pt x="5" y="1382"/>
                  </a:lnTo>
                  <a:lnTo>
                    <a:pt x="5" y="1382"/>
                  </a:lnTo>
                  <a:lnTo>
                    <a:pt x="5" y="1382"/>
                  </a:lnTo>
                  <a:lnTo>
                    <a:pt x="5" y="1382"/>
                  </a:lnTo>
                  <a:lnTo>
                    <a:pt x="5" y="1382"/>
                  </a:lnTo>
                  <a:lnTo>
                    <a:pt x="5" y="1382"/>
                  </a:lnTo>
                  <a:lnTo>
                    <a:pt x="5" y="1382"/>
                  </a:lnTo>
                  <a:lnTo>
                    <a:pt x="9" y="1382"/>
                  </a:lnTo>
                  <a:lnTo>
                    <a:pt x="9" y="1382"/>
                  </a:lnTo>
                  <a:lnTo>
                    <a:pt x="9" y="1382"/>
                  </a:lnTo>
                  <a:lnTo>
                    <a:pt x="9" y="1382"/>
                  </a:lnTo>
                  <a:lnTo>
                    <a:pt x="9" y="1382"/>
                  </a:lnTo>
                  <a:lnTo>
                    <a:pt x="9" y="1382"/>
                  </a:lnTo>
                  <a:lnTo>
                    <a:pt x="9" y="1382"/>
                  </a:lnTo>
                  <a:lnTo>
                    <a:pt x="9" y="1382"/>
                  </a:lnTo>
                  <a:lnTo>
                    <a:pt x="9" y="1377"/>
                  </a:lnTo>
                  <a:close/>
                  <a:moveTo>
                    <a:pt x="53" y="1382"/>
                  </a:moveTo>
                  <a:lnTo>
                    <a:pt x="53" y="1373"/>
                  </a:lnTo>
                  <a:lnTo>
                    <a:pt x="53" y="1373"/>
                  </a:lnTo>
                  <a:lnTo>
                    <a:pt x="49" y="1373"/>
                  </a:lnTo>
                  <a:lnTo>
                    <a:pt x="49" y="1373"/>
                  </a:lnTo>
                  <a:lnTo>
                    <a:pt x="49" y="1373"/>
                  </a:lnTo>
                  <a:lnTo>
                    <a:pt x="49" y="1373"/>
                  </a:lnTo>
                  <a:lnTo>
                    <a:pt x="49" y="1377"/>
                  </a:lnTo>
                  <a:lnTo>
                    <a:pt x="49" y="1377"/>
                  </a:lnTo>
                  <a:lnTo>
                    <a:pt x="49" y="1377"/>
                  </a:lnTo>
                  <a:lnTo>
                    <a:pt x="45" y="1382"/>
                  </a:lnTo>
                  <a:lnTo>
                    <a:pt x="45" y="1382"/>
                  </a:lnTo>
                  <a:lnTo>
                    <a:pt x="45" y="1382"/>
                  </a:lnTo>
                  <a:lnTo>
                    <a:pt x="40" y="1386"/>
                  </a:lnTo>
                  <a:lnTo>
                    <a:pt x="40" y="1386"/>
                  </a:lnTo>
                  <a:lnTo>
                    <a:pt x="40" y="1386"/>
                  </a:lnTo>
                  <a:lnTo>
                    <a:pt x="40" y="1386"/>
                  </a:lnTo>
                  <a:lnTo>
                    <a:pt x="36" y="1386"/>
                  </a:lnTo>
                  <a:lnTo>
                    <a:pt x="36" y="1386"/>
                  </a:lnTo>
                  <a:lnTo>
                    <a:pt x="36" y="1386"/>
                  </a:lnTo>
                  <a:lnTo>
                    <a:pt x="40" y="1391"/>
                  </a:lnTo>
                  <a:lnTo>
                    <a:pt x="40" y="1395"/>
                  </a:lnTo>
                  <a:lnTo>
                    <a:pt x="40" y="1395"/>
                  </a:lnTo>
                  <a:lnTo>
                    <a:pt x="40" y="1395"/>
                  </a:lnTo>
                  <a:lnTo>
                    <a:pt x="45" y="1400"/>
                  </a:lnTo>
                  <a:lnTo>
                    <a:pt x="45" y="1400"/>
                  </a:lnTo>
                  <a:lnTo>
                    <a:pt x="45" y="1400"/>
                  </a:lnTo>
                  <a:lnTo>
                    <a:pt x="49" y="1400"/>
                  </a:lnTo>
                  <a:lnTo>
                    <a:pt x="49" y="1400"/>
                  </a:lnTo>
                  <a:lnTo>
                    <a:pt x="49" y="1395"/>
                  </a:lnTo>
                  <a:lnTo>
                    <a:pt x="49" y="1395"/>
                  </a:lnTo>
                  <a:lnTo>
                    <a:pt x="49" y="1395"/>
                  </a:lnTo>
                  <a:lnTo>
                    <a:pt x="53" y="1395"/>
                  </a:lnTo>
                  <a:lnTo>
                    <a:pt x="53" y="1395"/>
                  </a:lnTo>
                  <a:lnTo>
                    <a:pt x="53" y="1395"/>
                  </a:lnTo>
                  <a:lnTo>
                    <a:pt x="53" y="1391"/>
                  </a:lnTo>
                  <a:lnTo>
                    <a:pt x="53" y="1386"/>
                  </a:lnTo>
                  <a:lnTo>
                    <a:pt x="53" y="1382"/>
                  </a:lnTo>
                  <a:lnTo>
                    <a:pt x="53" y="1382"/>
                  </a:lnTo>
                  <a:close/>
                  <a:moveTo>
                    <a:pt x="14" y="1355"/>
                  </a:moveTo>
                  <a:lnTo>
                    <a:pt x="14" y="1355"/>
                  </a:lnTo>
                  <a:lnTo>
                    <a:pt x="14" y="1355"/>
                  </a:lnTo>
                  <a:lnTo>
                    <a:pt x="14" y="1355"/>
                  </a:lnTo>
                  <a:lnTo>
                    <a:pt x="14" y="1351"/>
                  </a:lnTo>
                  <a:lnTo>
                    <a:pt x="14" y="1351"/>
                  </a:lnTo>
                  <a:lnTo>
                    <a:pt x="14" y="1351"/>
                  </a:lnTo>
                  <a:lnTo>
                    <a:pt x="9" y="1346"/>
                  </a:lnTo>
                  <a:lnTo>
                    <a:pt x="9" y="1346"/>
                  </a:lnTo>
                  <a:lnTo>
                    <a:pt x="9" y="1346"/>
                  </a:lnTo>
                  <a:lnTo>
                    <a:pt x="9" y="1346"/>
                  </a:lnTo>
                  <a:lnTo>
                    <a:pt x="9" y="1346"/>
                  </a:lnTo>
                  <a:lnTo>
                    <a:pt x="9" y="1346"/>
                  </a:lnTo>
                  <a:lnTo>
                    <a:pt x="9" y="1346"/>
                  </a:lnTo>
                  <a:lnTo>
                    <a:pt x="9" y="1346"/>
                  </a:lnTo>
                  <a:lnTo>
                    <a:pt x="9" y="1346"/>
                  </a:lnTo>
                  <a:lnTo>
                    <a:pt x="9" y="1346"/>
                  </a:lnTo>
                  <a:lnTo>
                    <a:pt x="9" y="1346"/>
                  </a:lnTo>
                  <a:lnTo>
                    <a:pt x="9" y="1346"/>
                  </a:lnTo>
                  <a:lnTo>
                    <a:pt x="9" y="1346"/>
                  </a:lnTo>
                  <a:lnTo>
                    <a:pt x="5" y="1346"/>
                  </a:lnTo>
                  <a:lnTo>
                    <a:pt x="5" y="1346"/>
                  </a:lnTo>
                  <a:lnTo>
                    <a:pt x="5" y="1346"/>
                  </a:lnTo>
                  <a:lnTo>
                    <a:pt x="5" y="1346"/>
                  </a:lnTo>
                  <a:lnTo>
                    <a:pt x="5" y="1346"/>
                  </a:lnTo>
                  <a:lnTo>
                    <a:pt x="5" y="1346"/>
                  </a:lnTo>
                  <a:lnTo>
                    <a:pt x="5" y="1346"/>
                  </a:lnTo>
                  <a:lnTo>
                    <a:pt x="5" y="1346"/>
                  </a:lnTo>
                  <a:lnTo>
                    <a:pt x="5" y="1346"/>
                  </a:lnTo>
                  <a:lnTo>
                    <a:pt x="9" y="1346"/>
                  </a:lnTo>
                  <a:lnTo>
                    <a:pt x="9" y="1346"/>
                  </a:lnTo>
                  <a:lnTo>
                    <a:pt x="9" y="1346"/>
                  </a:lnTo>
                  <a:lnTo>
                    <a:pt x="9" y="1346"/>
                  </a:lnTo>
                  <a:lnTo>
                    <a:pt x="9" y="1346"/>
                  </a:lnTo>
                  <a:lnTo>
                    <a:pt x="9" y="1351"/>
                  </a:lnTo>
                  <a:lnTo>
                    <a:pt x="9" y="1351"/>
                  </a:lnTo>
                  <a:lnTo>
                    <a:pt x="9" y="1351"/>
                  </a:lnTo>
                  <a:lnTo>
                    <a:pt x="9" y="1351"/>
                  </a:lnTo>
                  <a:lnTo>
                    <a:pt x="9" y="1351"/>
                  </a:lnTo>
                  <a:lnTo>
                    <a:pt x="9" y="1351"/>
                  </a:lnTo>
                  <a:lnTo>
                    <a:pt x="9" y="1351"/>
                  </a:lnTo>
                  <a:lnTo>
                    <a:pt x="9" y="1351"/>
                  </a:lnTo>
                  <a:lnTo>
                    <a:pt x="9" y="1351"/>
                  </a:lnTo>
                  <a:lnTo>
                    <a:pt x="9" y="1355"/>
                  </a:lnTo>
                  <a:lnTo>
                    <a:pt x="14" y="1355"/>
                  </a:lnTo>
                  <a:lnTo>
                    <a:pt x="14" y="1355"/>
                  </a:lnTo>
                  <a:lnTo>
                    <a:pt x="14" y="1355"/>
                  </a:lnTo>
                  <a:lnTo>
                    <a:pt x="14" y="1355"/>
                  </a:lnTo>
                  <a:lnTo>
                    <a:pt x="14" y="1355"/>
                  </a:lnTo>
                  <a:close/>
                  <a:moveTo>
                    <a:pt x="5" y="1333"/>
                  </a:moveTo>
                  <a:lnTo>
                    <a:pt x="0" y="1333"/>
                  </a:lnTo>
                  <a:lnTo>
                    <a:pt x="0" y="1333"/>
                  </a:lnTo>
                  <a:lnTo>
                    <a:pt x="0" y="1333"/>
                  </a:lnTo>
                  <a:lnTo>
                    <a:pt x="0" y="1333"/>
                  </a:lnTo>
                  <a:lnTo>
                    <a:pt x="0" y="1329"/>
                  </a:lnTo>
                  <a:lnTo>
                    <a:pt x="0" y="1329"/>
                  </a:lnTo>
                  <a:lnTo>
                    <a:pt x="0" y="1329"/>
                  </a:lnTo>
                  <a:lnTo>
                    <a:pt x="0" y="1329"/>
                  </a:lnTo>
                  <a:lnTo>
                    <a:pt x="0" y="1329"/>
                  </a:lnTo>
                  <a:lnTo>
                    <a:pt x="0" y="1333"/>
                  </a:lnTo>
                  <a:lnTo>
                    <a:pt x="0" y="1333"/>
                  </a:lnTo>
                  <a:lnTo>
                    <a:pt x="0" y="1333"/>
                  </a:lnTo>
                  <a:lnTo>
                    <a:pt x="0" y="1333"/>
                  </a:lnTo>
                  <a:lnTo>
                    <a:pt x="0" y="1333"/>
                  </a:lnTo>
                  <a:lnTo>
                    <a:pt x="0" y="1333"/>
                  </a:lnTo>
                  <a:lnTo>
                    <a:pt x="0" y="1333"/>
                  </a:lnTo>
                  <a:lnTo>
                    <a:pt x="0" y="1333"/>
                  </a:lnTo>
                  <a:lnTo>
                    <a:pt x="0" y="1333"/>
                  </a:lnTo>
                  <a:lnTo>
                    <a:pt x="0" y="1338"/>
                  </a:lnTo>
                  <a:lnTo>
                    <a:pt x="0" y="1338"/>
                  </a:lnTo>
                  <a:lnTo>
                    <a:pt x="0" y="1338"/>
                  </a:lnTo>
                  <a:lnTo>
                    <a:pt x="0" y="1338"/>
                  </a:lnTo>
                  <a:lnTo>
                    <a:pt x="0" y="1338"/>
                  </a:lnTo>
                  <a:lnTo>
                    <a:pt x="0" y="1338"/>
                  </a:lnTo>
                  <a:lnTo>
                    <a:pt x="0" y="1338"/>
                  </a:lnTo>
                  <a:lnTo>
                    <a:pt x="0" y="1338"/>
                  </a:lnTo>
                  <a:lnTo>
                    <a:pt x="0" y="1338"/>
                  </a:lnTo>
                  <a:lnTo>
                    <a:pt x="0" y="1338"/>
                  </a:lnTo>
                  <a:lnTo>
                    <a:pt x="0" y="1338"/>
                  </a:lnTo>
                  <a:lnTo>
                    <a:pt x="0" y="1338"/>
                  </a:lnTo>
                  <a:lnTo>
                    <a:pt x="0" y="1338"/>
                  </a:lnTo>
                  <a:lnTo>
                    <a:pt x="0" y="1338"/>
                  </a:lnTo>
                  <a:lnTo>
                    <a:pt x="0" y="1342"/>
                  </a:lnTo>
                  <a:lnTo>
                    <a:pt x="5" y="1342"/>
                  </a:lnTo>
                  <a:lnTo>
                    <a:pt x="5" y="1338"/>
                  </a:lnTo>
                  <a:lnTo>
                    <a:pt x="5" y="1338"/>
                  </a:lnTo>
                  <a:lnTo>
                    <a:pt x="5" y="1338"/>
                  </a:lnTo>
                  <a:lnTo>
                    <a:pt x="5" y="1333"/>
                  </a:lnTo>
                  <a:lnTo>
                    <a:pt x="5" y="1333"/>
                  </a:lnTo>
                  <a:close/>
                  <a:moveTo>
                    <a:pt x="5" y="1324"/>
                  </a:moveTo>
                  <a:lnTo>
                    <a:pt x="5" y="1324"/>
                  </a:lnTo>
                  <a:lnTo>
                    <a:pt x="5" y="1329"/>
                  </a:lnTo>
                  <a:lnTo>
                    <a:pt x="5" y="1333"/>
                  </a:lnTo>
                  <a:lnTo>
                    <a:pt x="9" y="1333"/>
                  </a:lnTo>
                  <a:lnTo>
                    <a:pt x="9" y="1333"/>
                  </a:lnTo>
                  <a:lnTo>
                    <a:pt x="9" y="1333"/>
                  </a:lnTo>
                  <a:lnTo>
                    <a:pt x="9" y="1333"/>
                  </a:lnTo>
                  <a:lnTo>
                    <a:pt x="9" y="1329"/>
                  </a:lnTo>
                  <a:lnTo>
                    <a:pt x="9" y="1329"/>
                  </a:lnTo>
                  <a:lnTo>
                    <a:pt x="9" y="1329"/>
                  </a:lnTo>
                  <a:lnTo>
                    <a:pt x="9" y="1329"/>
                  </a:lnTo>
                  <a:lnTo>
                    <a:pt x="9" y="1329"/>
                  </a:lnTo>
                  <a:lnTo>
                    <a:pt x="9" y="1333"/>
                  </a:lnTo>
                  <a:lnTo>
                    <a:pt x="14" y="1333"/>
                  </a:lnTo>
                  <a:lnTo>
                    <a:pt x="14" y="1333"/>
                  </a:lnTo>
                  <a:lnTo>
                    <a:pt x="14" y="1329"/>
                  </a:lnTo>
                  <a:lnTo>
                    <a:pt x="14" y="1329"/>
                  </a:lnTo>
                  <a:lnTo>
                    <a:pt x="18" y="1329"/>
                  </a:lnTo>
                  <a:lnTo>
                    <a:pt x="18" y="1324"/>
                  </a:lnTo>
                  <a:lnTo>
                    <a:pt x="14" y="1320"/>
                  </a:lnTo>
                  <a:lnTo>
                    <a:pt x="14" y="1320"/>
                  </a:lnTo>
                  <a:lnTo>
                    <a:pt x="14" y="1320"/>
                  </a:lnTo>
                  <a:lnTo>
                    <a:pt x="14" y="1320"/>
                  </a:lnTo>
                  <a:lnTo>
                    <a:pt x="14" y="1320"/>
                  </a:lnTo>
                  <a:lnTo>
                    <a:pt x="14" y="1320"/>
                  </a:lnTo>
                  <a:lnTo>
                    <a:pt x="14" y="1320"/>
                  </a:lnTo>
                  <a:lnTo>
                    <a:pt x="14" y="1320"/>
                  </a:lnTo>
                  <a:lnTo>
                    <a:pt x="14" y="1320"/>
                  </a:lnTo>
                  <a:lnTo>
                    <a:pt x="14" y="1320"/>
                  </a:lnTo>
                  <a:lnTo>
                    <a:pt x="14" y="1320"/>
                  </a:lnTo>
                  <a:lnTo>
                    <a:pt x="14" y="1320"/>
                  </a:lnTo>
                  <a:lnTo>
                    <a:pt x="14" y="1320"/>
                  </a:lnTo>
                  <a:lnTo>
                    <a:pt x="14" y="1320"/>
                  </a:lnTo>
                  <a:lnTo>
                    <a:pt x="14" y="1324"/>
                  </a:lnTo>
                  <a:lnTo>
                    <a:pt x="14" y="1324"/>
                  </a:lnTo>
                  <a:lnTo>
                    <a:pt x="14" y="1324"/>
                  </a:lnTo>
                  <a:lnTo>
                    <a:pt x="14" y="1324"/>
                  </a:lnTo>
                  <a:lnTo>
                    <a:pt x="14" y="1320"/>
                  </a:lnTo>
                  <a:lnTo>
                    <a:pt x="9" y="1320"/>
                  </a:lnTo>
                  <a:lnTo>
                    <a:pt x="9" y="1315"/>
                  </a:lnTo>
                  <a:lnTo>
                    <a:pt x="9" y="1315"/>
                  </a:lnTo>
                  <a:lnTo>
                    <a:pt x="9" y="1324"/>
                  </a:lnTo>
                  <a:lnTo>
                    <a:pt x="9" y="1324"/>
                  </a:lnTo>
                  <a:lnTo>
                    <a:pt x="9" y="1324"/>
                  </a:lnTo>
                  <a:lnTo>
                    <a:pt x="9" y="1324"/>
                  </a:lnTo>
                  <a:lnTo>
                    <a:pt x="9" y="1320"/>
                  </a:lnTo>
                  <a:lnTo>
                    <a:pt x="9" y="1320"/>
                  </a:lnTo>
                  <a:lnTo>
                    <a:pt x="5" y="1324"/>
                  </a:lnTo>
                  <a:lnTo>
                    <a:pt x="5" y="1324"/>
                  </a:lnTo>
                  <a:lnTo>
                    <a:pt x="5" y="1324"/>
                  </a:lnTo>
                  <a:lnTo>
                    <a:pt x="5" y="1324"/>
                  </a:lnTo>
                  <a:close/>
                  <a:moveTo>
                    <a:pt x="9" y="1262"/>
                  </a:moveTo>
                  <a:lnTo>
                    <a:pt x="9" y="1262"/>
                  </a:lnTo>
                  <a:lnTo>
                    <a:pt x="9" y="1262"/>
                  </a:lnTo>
                  <a:lnTo>
                    <a:pt x="9" y="1262"/>
                  </a:lnTo>
                  <a:lnTo>
                    <a:pt x="9" y="1262"/>
                  </a:lnTo>
                  <a:lnTo>
                    <a:pt x="9" y="1262"/>
                  </a:lnTo>
                  <a:lnTo>
                    <a:pt x="9" y="1262"/>
                  </a:lnTo>
                  <a:lnTo>
                    <a:pt x="9" y="1262"/>
                  </a:lnTo>
                  <a:lnTo>
                    <a:pt x="9" y="1267"/>
                  </a:lnTo>
                  <a:lnTo>
                    <a:pt x="9" y="1267"/>
                  </a:lnTo>
                  <a:lnTo>
                    <a:pt x="9" y="1267"/>
                  </a:lnTo>
                  <a:lnTo>
                    <a:pt x="9" y="1267"/>
                  </a:lnTo>
                  <a:lnTo>
                    <a:pt x="9" y="1267"/>
                  </a:lnTo>
                  <a:lnTo>
                    <a:pt x="9" y="1267"/>
                  </a:lnTo>
                  <a:lnTo>
                    <a:pt x="9" y="1267"/>
                  </a:lnTo>
                  <a:lnTo>
                    <a:pt x="14" y="1267"/>
                  </a:lnTo>
                  <a:lnTo>
                    <a:pt x="14" y="1267"/>
                  </a:lnTo>
                  <a:lnTo>
                    <a:pt x="14" y="1267"/>
                  </a:lnTo>
                  <a:lnTo>
                    <a:pt x="14" y="1267"/>
                  </a:lnTo>
                  <a:lnTo>
                    <a:pt x="14" y="1267"/>
                  </a:lnTo>
                  <a:lnTo>
                    <a:pt x="14" y="1267"/>
                  </a:lnTo>
                  <a:lnTo>
                    <a:pt x="14" y="1262"/>
                  </a:lnTo>
                  <a:lnTo>
                    <a:pt x="14" y="1262"/>
                  </a:lnTo>
                  <a:lnTo>
                    <a:pt x="9" y="1262"/>
                  </a:lnTo>
                  <a:lnTo>
                    <a:pt x="9" y="1262"/>
                  </a:lnTo>
                  <a:lnTo>
                    <a:pt x="9" y="1262"/>
                  </a:lnTo>
                  <a:lnTo>
                    <a:pt x="9" y="1262"/>
                  </a:lnTo>
                  <a:close/>
                  <a:moveTo>
                    <a:pt x="14" y="1249"/>
                  </a:moveTo>
                  <a:lnTo>
                    <a:pt x="14" y="1249"/>
                  </a:lnTo>
                  <a:lnTo>
                    <a:pt x="14" y="1249"/>
                  </a:lnTo>
                  <a:lnTo>
                    <a:pt x="14" y="1249"/>
                  </a:lnTo>
                  <a:lnTo>
                    <a:pt x="14" y="1249"/>
                  </a:lnTo>
                  <a:lnTo>
                    <a:pt x="9" y="1249"/>
                  </a:lnTo>
                  <a:lnTo>
                    <a:pt x="9" y="1249"/>
                  </a:lnTo>
                  <a:lnTo>
                    <a:pt x="9" y="1249"/>
                  </a:lnTo>
                  <a:lnTo>
                    <a:pt x="14" y="1253"/>
                  </a:lnTo>
                  <a:lnTo>
                    <a:pt x="14" y="1253"/>
                  </a:lnTo>
                  <a:lnTo>
                    <a:pt x="18" y="1253"/>
                  </a:lnTo>
                  <a:lnTo>
                    <a:pt x="18" y="1249"/>
                  </a:lnTo>
                  <a:lnTo>
                    <a:pt x="22" y="1249"/>
                  </a:lnTo>
                  <a:lnTo>
                    <a:pt x="22" y="1245"/>
                  </a:lnTo>
                  <a:lnTo>
                    <a:pt x="22" y="1245"/>
                  </a:lnTo>
                  <a:lnTo>
                    <a:pt x="27" y="1245"/>
                  </a:lnTo>
                  <a:lnTo>
                    <a:pt x="22" y="1249"/>
                  </a:lnTo>
                  <a:lnTo>
                    <a:pt x="22" y="1249"/>
                  </a:lnTo>
                  <a:lnTo>
                    <a:pt x="27" y="1249"/>
                  </a:lnTo>
                  <a:lnTo>
                    <a:pt x="27" y="1249"/>
                  </a:lnTo>
                  <a:lnTo>
                    <a:pt x="31" y="1245"/>
                  </a:lnTo>
                  <a:lnTo>
                    <a:pt x="14" y="1240"/>
                  </a:lnTo>
                  <a:lnTo>
                    <a:pt x="14" y="1240"/>
                  </a:lnTo>
                  <a:lnTo>
                    <a:pt x="9" y="1240"/>
                  </a:lnTo>
                  <a:lnTo>
                    <a:pt x="9" y="1245"/>
                  </a:lnTo>
                  <a:lnTo>
                    <a:pt x="9" y="1245"/>
                  </a:lnTo>
                  <a:lnTo>
                    <a:pt x="9" y="1245"/>
                  </a:lnTo>
                  <a:lnTo>
                    <a:pt x="9" y="1245"/>
                  </a:lnTo>
                  <a:lnTo>
                    <a:pt x="9" y="1249"/>
                  </a:lnTo>
                  <a:lnTo>
                    <a:pt x="14" y="1249"/>
                  </a:lnTo>
                  <a:close/>
                  <a:moveTo>
                    <a:pt x="18" y="1227"/>
                  </a:moveTo>
                  <a:lnTo>
                    <a:pt x="18" y="1227"/>
                  </a:lnTo>
                  <a:lnTo>
                    <a:pt x="18" y="1227"/>
                  </a:lnTo>
                  <a:lnTo>
                    <a:pt x="22" y="1231"/>
                  </a:lnTo>
                  <a:lnTo>
                    <a:pt x="22" y="1231"/>
                  </a:lnTo>
                  <a:lnTo>
                    <a:pt x="18" y="1236"/>
                  </a:lnTo>
                  <a:lnTo>
                    <a:pt x="18" y="1231"/>
                  </a:lnTo>
                  <a:lnTo>
                    <a:pt x="18" y="1231"/>
                  </a:lnTo>
                  <a:lnTo>
                    <a:pt x="18" y="1231"/>
                  </a:lnTo>
                  <a:lnTo>
                    <a:pt x="18" y="1236"/>
                  </a:lnTo>
                  <a:lnTo>
                    <a:pt x="18" y="1236"/>
                  </a:lnTo>
                  <a:lnTo>
                    <a:pt x="18" y="1236"/>
                  </a:lnTo>
                  <a:lnTo>
                    <a:pt x="18" y="1236"/>
                  </a:lnTo>
                  <a:lnTo>
                    <a:pt x="18" y="1236"/>
                  </a:lnTo>
                  <a:lnTo>
                    <a:pt x="22" y="1236"/>
                  </a:lnTo>
                  <a:lnTo>
                    <a:pt x="22" y="1236"/>
                  </a:lnTo>
                  <a:lnTo>
                    <a:pt x="22" y="1236"/>
                  </a:lnTo>
                  <a:lnTo>
                    <a:pt x="22" y="1236"/>
                  </a:lnTo>
                  <a:lnTo>
                    <a:pt x="22" y="1231"/>
                  </a:lnTo>
                  <a:lnTo>
                    <a:pt x="22" y="1231"/>
                  </a:lnTo>
                  <a:lnTo>
                    <a:pt x="27" y="1231"/>
                  </a:lnTo>
                  <a:lnTo>
                    <a:pt x="27" y="1231"/>
                  </a:lnTo>
                  <a:lnTo>
                    <a:pt x="27" y="1227"/>
                  </a:lnTo>
                  <a:lnTo>
                    <a:pt x="22" y="1227"/>
                  </a:lnTo>
                  <a:lnTo>
                    <a:pt x="22" y="1227"/>
                  </a:lnTo>
                  <a:lnTo>
                    <a:pt x="22" y="1227"/>
                  </a:lnTo>
                  <a:lnTo>
                    <a:pt x="22" y="1227"/>
                  </a:lnTo>
                  <a:lnTo>
                    <a:pt x="22" y="1227"/>
                  </a:lnTo>
                  <a:lnTo>
                    <a:pt x="22" y="1227"/>
                  </a:lnTo>
                  <a:lnTo>
                    <a:pt x="22" y="1227"/>
                  </a:lnTo>
                  <a:lnTo>
                    <a:pt x="18" y="1227"/>
                  </a:lnTo>
                  <a:lnTo>
                    <a:pt x="18" y="1222"/>
                  </a:lnTo>
                  <a:lnTo>
                    <a:pt x="18" y="1227"/>
                  </a:lnTo>
                  <a:lnTo>
                    <a:pt x="18" y="1227"/>
                  </a:lnTo>
                  <a:lnTo>
                    <a:pt x="18" y="1227"/>
                  </a:lnTo>
                  <a:lnTo>
                    <a:pt x="18" y="1227"/>
                  </a:lnTo>
                  <a:close/>
                  <a:moveTo>
                    <a:pt x="45" y="1205"/>
                  </a:moveTo>
                  <a:lnTo>
                    <a:pt x="45" y="1205"/>
                  </a:lnTo>
                  <a:lnTo>
                    <a:pt x="45" y="1205"/>
                  </a:lnTo>
                  <a:lnTo>
                    <a:pt x="45" y="1205"/>
                  </a:lnTo>
                  <a:lnTo>
                    <a:pt x="45" y="1205"/>
                  </a:lnTo>
                  <a:lnTo>
                    <a:pt x="53" y="1209"/>
                  </a:lnTo>
                  <a:lnTo>
                    <a:pt x="58" y="1205"/>
                  </a:lnTo>
                  <a:lnTo>
                    <a:pt x="58" y="1205"/>
                  </a:lnTo>
                  <a:lnTo>
                    <a:pt x="58" y="1205"/>
                  </a:lnTo>
                  <a:lnTo>
                    <a:pt x="58" y="1200"/>
                  </a:lnTo>
                  <a:lnTo>
                    <a:pt x="58" y="1200"/>
                  </a:lnTo>
                  <a:lnTo>
                    <a:pt x="58" y="1200"/>
                  </a:lnTo>
                  <a:lnTo>
                    <a:pt x="58" y="1200"/>
                  </a:lnTo>
                  <a:lnTo>
                    <a:pt x="58" y="1200"/>
                  </a:lnTo>
                  <a:lnTo>
                    <a:pt x="58" y="1200"/>
                  </a:lnTo>
                  <a:lnTo>
                    <a:pt x="58" y="1200"/>
                  </a:lnTo>
                  <a:lnTo>
                    <a:pt x="58" y="1200"/>
                  </a:lnTo>
                  <a:lnTo>
                    <a:pt x="58" y="1200"/>
                  </a:lnTo>
                  <a:lnTo>
                    <a:pt x="58" y="1196"/>
                  </a:lnTo>
                  <a:lnTo>
                    <a:pt x="58" y="1196"/>
                  </a:lnTo>
                  <a:lnTo>
                    <a:pt x="58" y="1196"/>
                  </a:lnTo>
                  <a:lnTo>
                    <a:pt x="58" y="1196"/>
                  </a:lnTo>
                  <a:lnTo>
                    <a:pt x="53" y="1196"/>
                  </a:lnTo>
                  <a:lnTo>
                    <a:pt x="53" y="1196"/>
                  </a:lnTo>
                  <a:lnTo>
                    <a:pt x="53" y="1196"/>
                  </a:lnTo>
                  <a:lnTo>
                    <a:pt x="53" y="1196"/>
                  </a:lnTo>
                  <a:lnTo>
                    <a:pt x="53" y="1196"/>
                  </a:lnTo>
                  <a:lnTo>
                    <a:pt x="53" y="1196"/>
                  </a:lnTo>
                  <a:lnTo>
                    <a:pt x="53" y="1196"/>
                  </a:lnTo>
                  <a:lnTo>
                    <a:pt x="49" y="1196"/>
                  </a:lnTo>
                  <a:lnTo>
                    <a:pt x="49" y="1196"/>
                  </a:lnTo>
                  <a:lnTo>
                    <a:pt x="45" y="1196"/>
                  </a:lnTo>
                  <a:lnTo>
                    <a:pt x="45" y="1200"/>
                  </a:lnTo>
                  <a:lnTo>
                    <a:pt x="45" y="1200"/>
                  </a:lnTo>
                  <a:lnTo>
                    <a:pt x="45" y="1200"/>
                  </a:lnTo>
                  <a:lnTo>
                    <a:pt x="49" y="1200"/>
                  </a:lnTo>
                  <a:lnTo>
                    <a:pt x="45" y="1200"/>
                  </a:lnTo>
                  <a:lnTo>
                    <a:pt x="45" y="1200"/>
                  </a:lnTo>
                  <a:lnTo>
                    <a:pt x="45" y="1200"/>
                  </a:lnTo>
                  <a:lnTo>
                    <a:pt x="45" y="1200"/>
                  </a:lnTo>
                  <a:lnTo>
                    <a:pt x="49" y="1200"/>
                  </a:lnTo>
                  <a:lnTo>
                    <a:pt x="49" y="1200"/>
                  </a:lnTo>
                  <a:lnTo>
                    <a:pt x="49" y="1205"/>
                  </a:lnTo>
                  <a:lnTo>
                    <a:pt x="49" y="1205"/>
                  </a:lnTo>
                  <a:lnTo>
                    <a:pt x="45" y="1205"/>
                  </a:lnTo>
                  <a:lnTo>
                    <a:pt x="45" y="1205"/>
                  </a:lnTo>
                  <a:lnTo>
                    <a:pt x="45" y="1205"/>
                  </a:lnTo>
                  <a:close/>
                  <a:moveTo>
                    <a:pt x="49" y="1191"/>
                  </a:moveTo>
                  <a:lnTo>
                    <a:pt x="53" y="1191"/>
                  </a:lnTo>
                  <a:lnTo>
                    <a:pt x="53" y="1191"/>
                  </a:lnTo>
                  <a:lnTo>
                    <a:pt x="53" y="1191"/>
                  </a:lnTo>
                  <a:lnTo>
                    <a:pt x="53" y="1191"/>
                  </a:lnTo>
                  <a:lnTo>
                    <a:pt x="53" y="1191"/>
                  </a:lnTo>
                  <a:lnTo>
                    <a:pt x="53" y="1191"/>
                  </a:lnTo>
                  <a:lnTo>
                    <a:pt x="53" y="1191"/>
                  </a:lnTo>
                  <a:lnTo>
                    <a:pt x="58" y="1191"/>
                  </a:lnTo>
                  <a:lnTo>
                    <a:pt x="58" y="1191"/>
                  </a:lnTo>
                  <a:lnTo>
                    <a:pt x="58" y="1191"/>
                  </a:lnTo>
                  <a:lnTo>
                    <a:pt x="58" y="1191"/>
                  </a:lnTo>
                  <a:lnTo>
                    <a:pt x="58" y="1187"/>
                  </a:lnTo>
                  <a:lnTo>
                    <a:pt x="58" y="1187"/>
                  </a:lnTo>
                  <a:lnTo>
                    <a:pt x="58" y="1187"/>
                  </a:lnTo>
                  <a:lnTo>
                    <a:pt x="53" y="1187"/>
                  </a:lnTo>
                  <a:lnTo>
                    <a:pt x="53" y="1187"/>
                  </a:lnTo>
                  <a:lnTo>
                    <a:pt x="53" y="1187"/>
                  </a:lnTo>
                  <a:lnTo>
                    <a:pt x="53" y="1187"/>
                  </a:lnTo>
                  <a:lnTo>
                    <a:pt x="53" y="1187"/>
                  </a:lnTo>
                  <a:lnTo>
                    <a:pt x="53" y="1187"/>
                  </a:lnTo>
                  <a:lnTo>
                    <a:pt x="53" y="1191"/>
                  </a:lnTo>
                  <a:lnTo>
                    <a:pt x="53" y="1191"/>
                  </a:lnTo>
                  <a:lnTo>
                    <a:pt x="53" y="1191"/>
                  </a:lnTo>
                  <a:lnTo>
                    <a:pt x="49" y="1191"/>
                  </a:lnTo>
                  <a:lnTo>
                    <a:pt x="49" y="1191"/>
                  </a:lnTo>
                  <a:lnTo>
                    <a:pt x="49" y="1191"/>
                  </a:lnTo>
                  <a:lnTo>
                    <a:pt x="49" y="1191"/>
                  </a:lnTo>
                  <a:lnTo>
                    <a:pt x="49" y="1191"/>
                  </a:lnTo>
                  <a:close/>
                  <a:moveTo>
                    <a:pt x="45" y="1191"/>
                  </a:moveTo>
                  <a:lnTo>
                    <a:pt x="45" y="1191"/>
                  </a:lnTo>
                  <a:lnTo>
                    <a:pt x="45" y="1191"/>
                  </a:lnTo>
                  <a:lnTo>
                    <a:pt x="45" y="1191"/>
                  </a:lnTo>
                  <a:lnTo>
                    <a:pt x="49" y="1191"/>
                  </a:lnTo>
                  <a:lnTo>
                    <a:pt x="49" y="1191"/>
                  </a:lnTo>
                  <a:lnTo>
                    <a:pt x="49" y="1191"/>
                  </a:lnTo>
                  <a:lnTo>
                    <a:pt x="49" y="1187"/>
                  </a:lnTo>
                  <a:lnTo>
                    <a:pt x="49" y="1187"/>
                  </a:lnTo>
                  <a:lnTo>
                    <a:pt x="49" y="1187"/>
                  </a:lnTo>
                  <a:lnTo>
                    <a:pt x="45" y="1187"/>
                  </a:lnTo>
                  <a:lnTo>
                    <a:pt x="45" y="1187"/>
                  </a:lnTo>
                  <a:lnTo>
                    <a:pt x="45" y="1187"/>
                  </a:lnTo>
                  <a:lnTo>
                    <a:pt x="45" y="1187"/>
                  </a:lnTo>
                  <a:lnTo>
                    <a:pt x="45" y="1191"/>
                  </a:lnTo>
                  <a:close/>
                  <a:moveTo>
                    <a:pt x="62" y="1191"/>
                  </a:moveTo>
                  <a:lnTo>
                    <a:pt x="62" y="1191"/>
                  </a:lnTo>
                  <a:lnTo>
                    <a:pt x="62" y="1196"/>
                  </a:lnTo>
                  <a:lnTo>
                    <a:pt x="62" y="1196"/>
                  </a:lnTo>
                  <a:lnTo>
                    <a:pt x="62" y="1196"/>
                  </a:lnTo>
                  <a:lnTo>
                    <a:pt x="62" y="1196"/>
                  </a:lnTo>
                  <a:lnTo>
                    <a:pt x="62" y="1200"/>
                  </a:lnTo>
                  <a:lnTo>
                    <a:pt x="62" y="1200"/>
                  </a:lnTo>
                  <a:lnTo>
                    <a:pt x="62" y="1200"/>
                  </a:lnTo>
                  <a:lnTo>
                    <a:pt x="62" y="1200"/>
                  </a:lnTo>
                  <a:lnTo>
                    <a:pt x="71" y="1191"/>
                  </a:lnTo>
                  <a:lnTo>
                    <a:pt x="71" y="1191"/>
                  </a:lnTo>
                  <a:lnTo>
                    <a:pt x="76" y="1191"/>
                  </a:lnTo>
                  <a:lnTo>
                    <a:pt x="76" y="1191"/>
                  </a:lnTo>
                  <a:lnTo>
                    <a:pt x="76" y="1187"/>
                  </a:lnTo>
                  <a:lnTo>
                    <a:pt x="71" y="1187"/>
                  </a:lnTo>
                  <a:lnTo>
                    <a:pt x="71" y="1187"/>
                  </a:lnTo>
                  <a:lnTo>
                    <a:pt x="71" y="1187"/>
                  </a:lnTo>
                  <a:lnTo>
                    <a:pt x="71" y="1187"/>
                  </a:lnTo>
                  <a:lnTo>
                    <a:pt x="71" y="1187"/>
                  </a:lnTo>
                  <a:lnTo>
                    <a:pt x="71" y="1183"/>
                  </a:lnTo>
                  <a:lnTo>
                    <a:pt x="67" y="1183"/>
                  </a:lnTo>
                  <a:lnTo>
                    <a:pt x="67" y="1178"/>
                  </a:lnTo>
                  <a:lnTo>
                    <a:pt x="67" y="1178"/>
                  </a:lnTo>
                  <a:lnTo>
                    <a:pt x="62" y="1183"/>
                  </a:lnTo>
                  <a:lnTo>
                    <a:pt x="62" y="1183"/>
                  </a:lnTo>
                  <a:lnTo>
                    <a:pt x="62" y="1183"/>
                  </a:lnTo>
                  <a:lnTo>
                    <a:pt x="62" y="1187"/>
                  </a:lnTo>
                  <a:lnTo>
                    <a:pt x="58" y="1187"/>
                  </a:lnTo>
                  <a:lnTo>
                    <a:pt x="62" y="1191"/>
                  </a:lnTo>
                  <a:lnTo>
                    <a:pt x="62" y="1191"/>
                  </a:lnTo>
                  <a:close/>
                  <a:moveTo>
                    <a:pt x="80" y="1183"/>
                  </a:moveTo>
                  <a:lnTo>
                    <a:pt x="89" y="1183"/>
                  </a:lnTo>
                  <a:lnTo>
                    <a:pt x="89" y="1183"/>
                  </a:lnTo>
                  <a:lnTo>
                    <a:pt x="89" y="1183"/>
                  </a:lnTo>
                  <a:lnTo>
                    <a:pt x="89" y="1183"/>
                  </a:lnTo>
                  <a:lnTo>
                    <a:pt x="89" y="1183"/>
                  </a:lnTo>
                  <a:lnTo>
                    <a:pt x="89" y="1183"/>
                  </a:lnTo>
                  <a:lnTo>
                    <a:pt x="84" y="1183"/>
                  </a:lnTo>
                  <a:lnTo>
                    <a:pt x="84" y="1183"/>
                  </a:lnTo>
                  <a:lnTo>
                    <a:pt x="80" y="1178"/>
                  </a:lnTo>
                  <a:lnTo>
                    <a:pt x="80" y="1178"/>
                  </a:lnTo>
                  <a:lnTo>
                    <a:pt x="71" y="1178"/>
                  </a:lnTo>
                  <a:lnTo>
                    <a:pt x="76" y="1183"/>
                  </a:lnTo>
                  <a:lnTo>
                    <a:pt x="80" y="1183"/>
                  </a:lnTo>
                  <a:close/>
                  <a:moveTo>
                    <a:pt x="107" y="1152"/>
                  </a:moveTo>
                  <a:lnTo>
                    <a:pt x="107" y="1152"/>
                  </a:lnTo>
                  <a:lnTo>
                    <a:pt x="107" y="1152"/>
                  </a:lnTo>
                  <a:lnTo>
                    <a:pt x="107" y="1156"/>
                  </a:lnTo>
                  <a:lnTo>
                    <a:pt x="107" y="1156"/>
                  </a:lnTo>
                  <a:lnTo>
                    <a:pt x="111" y="1152"/>
                  </a:lnTo>
                  <a:lnTo>
                    <a:pt x="120" y="1147"/>
                  </a:lnTo>
                  <a:lnTo>
                    <a:pt x="120" y="1147"/>
                  </a:lnTo>
                  <a:lnTo>
                    <a:pt x="120" y="1147"/>
                  </a:lnTo>
                  <a:lnTo>
                    <a:pt x="115" y="1143"/>
                  </a:lnTo>
                  <a:lnTo>
                    <a:pt x="115" y="1143"/>
                  </a:lnTo>
                  <a:lnTo>
                    <a:pt x="111" y="1147"/>
                  </a:lnTo>
                  <a:lnTo>
                    <a:pt x="107" y="1147"/>
                  </a:lnTo>
                  <a:lnTo>
                    <a:pt x="107" y="1147"/>
                  </a:lnTo>
                  <a:lnTo>
                    <a:pt x="107" y="1147"/>
                  </a:lnTo>
                  <a:lnTo>
                    <a:pt x="107" y="1147"/>
                  </a:lnTo>
                  <a:lnTo>
                    <a:pt x="107" y="1147"/>
                  </a:lnTo>
                  <a:lnTo>
                    <a:pt x="107" y="1147"/>
                  </a:lnTo>
                  <a:lnTo>
                    <a:pt x="107" y="1152"/>
                  </a:lnTo>
                  <a:lnTo>
                    <a:pt x="107" y="1152"/>
                  </a:lnTo>
                  <a:lnTo>
                    <a:pt x="107" y="1152"/>
                  </a:lnTo>
                  <a:lnTo>
                    <a:pt x="102" y="1152"/>
                  </a:lnTo>
                  <a:lnTo>
                    <a:pt x="102" y="1152"/>
                  </a:lnTo>
                  <a:lnTo>
                    <a:pt x="107" y="1152"/>
                  </a:lnTo>
                  <a:lnTo>
                    <a:pt x="107" y="1152"/>
                  </a:lnTo>
                  <a:close/>
                  <a:moveTo>
                    <a:pt x="115" y="1138"/>
                  </a:moveTo>
                  <a:lnTo>
                    <a:pt x="115" y="1138"/>
                  </a:lnTo>
                  <a:lnTo>
                    <a:pt x="115" y="1138"/>
                  </a:lnTo>
                  <a:lnTo>
                    <a:pt x="115" y="1138"/>
                  </a:lnTo>
                  <a:lnTo>
                    <a:pt x="120" y="1138"/>
                  </a:lnTo>
                  <a:lnTo>
                    <a:pt x="115" y="1138"/>
                  </a:lnTo>
                  <a:lnTo>
                    <a:pt x="115" y="1138"/>
                  </a:lnTo>
                  <a:lnTo>
                    <a:pt x="115" y="1138"/>
                  </a:lnTo>
                  <a:lnTo>
                    <a:pt x="115" y="1134"/>
                  </a:lnTo>
                  <a:lnTo>
                    <a:pt x="120" y="1134"/>
                  </a:lnTo>
                  <a:lnTo>
                    <a:pt x="120" y="1134"/>
                  </a:lnTo>
                  <a:lnTo>
                    <a:pt x="120" y="1129"/>
                  </a:lnTo>
                  <a:lnTo>
                    <a:pt x="115" y="1129"/>
                  </a:lnTo>
                  <a:lnTo>
                    <a:pt x="115" y="1134"/>
                  </a:lnTo>
                  <a:lnTo>
                    <a:pt x="115" y="1134"/>
                  </a:lnTo>
                  <a:lnTo>
                    <a:pt x="111" y="1129"/>
                  </a:lnTo>
                  <a:lnTo>
                    <a:pt x="111" y="1129"/>
                  </a:lnTo>
                  <a:lnTo>
                    <a:pt x="111" y="1134"/>
                  </a:lnTo>
                  <a:lnTo>
                    <a:pt x="111" y="1134"/>
                  </a:lnTo>
                  <a:lnTo>
                    <a:pt x="111" y="1134"/>
                  </a:lnTo>
                  <a:lnTo>
                    <a:pt x="111" y="1134"/>
                  </a:lnTo>
                  <a:lnTo>
                    <a:pt x="111" y="1134"/>
                  </a:lnTo>
                  <a:lnTo>
                    <a:pt x="111" y="1134"/>
                  </a:lnTo>
                  <a:lnTo>
                    <a:pt x="111" y="1134"/>
                  </a:lnTo>
                  <a:lnTo>
                    <a:pt x="111" y="1138"/>
                  </a:lnTo>
                  <a:lnTo>
                    <a:pt x="115" y="1138"/>
                  </a:lnTo>
                  <a:close/>
                  <a:moveTo>
                    <a:pt x="164" y="1112"/>
                  </a:moveTo>
                  <a:lnTo>
                    <a:pt x="164" y="1112"/>
                  </a:lnTo>
                  <a:lnTo>
                    <a:pt x="164" y="1112"/>
                  </a:lnTo>
                  <a:lnTo>
                    <a:pt x="164" y="1112"/>
                  </a:lnTo>
                  <a:lnTo>
                    <a:pt x="164" y="1112"/>
                  </a:lnTo>
                  <a:lnTo>
                    <a:pt x="164" y="1112"/>
                  </a:lnTo>
                  <a:lnTo>
                    <a:pt x="169" y="1112"/>
                  </a:lnTo>
                  <a:lnTo>
                    <a:pt x="169" y="1107"/>
                  </a:lnTo>
                  <a:lnTo>
                    <a:pt x="169" y="1107"/>
                  </a:lnTo>
                  <a:lnTo>
                    <a:pt x="173" y="1103"/>
                  </a:lnTo>
                  <a:lnTo>
                    <a:pt x="169" y="1103"/>
                  </a:lnTo>
                  <a:lnTo>
                    <a:pt x="169" y="1103"/>
                  </a:lnTo>
                  <a:lnTo>
                    <a:pt x="164" y="1103"/>
                  </a:lnTo>
                  <a:lnTo>
                    <a:pt x="160" y="1103"/>
                  </a:lnTo>
                  <a:lnTo>
                    <a:pt x="160" y="1103"/>
                  </a:lnTo>
                  <a:lnTo>
                    <a:pt x="160" y="1103"/>
                  </a:lnTo>
                  <a:lnTo>
                    <a:pt x="160" y="1103"/>
                  </a:lnTo>
                  <a:lnTo>
                    <a:pt x="160" y="1103"/>
                  </a:lnTo>
                  <a:lnTo>
                    <a:pt x="160" y="1107"/>
                  </a:lnTo>
                  <a:lnTo>
                    <a:pt x="160" y="1107"/>
                  </a:lnTo>
                  <a:lnTo>
                    <a:pt x="160" y="1107"/>
                  </a:lnTo>
                  <a:lnTo>
                    <a:pt x="160" y="1107"/>
                  </a:lnTo>
                  <a:lnTo>
                    <a:pt x="160" y="1112"/>
                  </a:lnTo>
                  <a:lnTo>
                    <a:pt x="164" y="1112"/>
                  </a:lnTo>
                  <a:close/>
                  <a:moveTo>
                    <a:pt x="142" y="1116"/>
                  </a:moveTo>
                  <a:lnTo>
                    <a:pt x="146" y="1121"/>
                  </a:lnTo>
                  <a:lnTo>
                    <a:pt x="146" y="1121"/>
                  </a:lnTo>
                  <a:lnTo>
                    <a:pt x="151" y="1121"/>
                  </a:lnTo>
                  <a:lnTo>
                    <a:pt x="151" y="1121"/>
                  </a:lnTo>
                  <a:lnTo>
                    <a:pt x="151" y="1121"/>
                  </a:lnTo>
                  <a:lnTo>
                    <a:pt x="151" y="1121"/>
                  </a:lnTo>
                  <a:lnTo>
                    <a:pt x="155" y="1116"/>
                  </a:lnTo>
                  <a:lnTo>
                    <a:pt x="155" y="1116"/>
                  </a:lnTo>
                  <a:lnTo>
                    <a:pt x="155" y="1116"/>
                  </a:lnTo>
                  <a:lnTo>
                    <a:pt x="160" y="1116"/>
                  </a:lnTo>
                  <a:lnTo>
                    <a:pt x="160" y="1116"/>
                  </a:lnTo>
                  <a:lnTo>
                    <a:pt x="160" y="1112"/>
                  </a:lnTo>
                  <a:lnTo>
                    <a:pt x="160" y="1112"/>
                  </a:lnTo>
                  <a:lnTo>
                    <a:pt x="160" y="1112"/>
                  </a:lnTo>
                  <a:lnTo>
                    <a:pt x="160" y="1107"/>
                  </a:lnTo>
                  <a:lnTo>
                    <a:pt x="155" y="1107"/>
                  </a:lnTo>
                  <a:lnTo>
                    <a:pt x="155" y="1107"/>
                  </a:lnTo>
                  <a:lnTo>
                    <a:pt x="155" y="1107"/>
                  </a:lnTo>
                  <a:lnTo>
                    <a:pt x="155" y="1103"/>
                  </a:lnTo>
                  <a:lnTo>
                    <a:pt x="155" y="1103"/>
                  </a:lnTo>
                  <a:lnTo>
                    <a:pt x="155" y="1103"/>
                  </a:lnTo>
                  <a:lnTo>
                    <a:pt x="155" y="1103"/>
                  </a:lnTo>
                  <a:lnTo>
                    <a:pt x="155" y="1103"/>
                  </a:lnTo>
                  <a:lnTo>
                    <a:pt x="155" y="1103"/>
                  </a:lnTo>
                  <a:lnTo>
                    <a:pt x="155" y="1103"/>
                  </a:lnTo>
                  <a:lnTo>
                    <a:pt x="155" y="1107"/>
                  </a:lnTo>
                  <a:lnTo>
                    <a:pt x="155" y="1107"/>
                  </a:lnTo>
                  <a:lnTo>
                    <a:pt x="155" y="1107"/>
                  </a:lnTo>
                  <a:lnTo>
                    <a:pt x="155" y="1107"/>
                  </a:lnTo>
                  <a:lnTo>
                    <a:pt x="151" y="1107"/>
                  </a:lnTo>
                  <a:lnTo>
                    <a:pt x="155" y="1107"/>
                  </a:lnTo>
                  <a:lnTo>
                    <a:pt x="155" y="1112"/>
                  </a:lnTo>
                  <a:lnTo>
                    <a:pt x="151" y="1112"/>
                  </a:lnTo>
                  <a:lnTo>
                    <a:pt x="151" y="1112"/>
                  </a:lnTo>
                  <a:lnTo>
                    <a:pt x="151" y="1107"/>
                  </a:lnTo>
                  <a:lnTo>
                    <a:pt x="151" y="1107"/>
                  </a:lnTo>
                  <a:lnTo>
                    <a:pt x="146" y="1107"/>
                  </a:lnTo>
                  <a:lnTo>
                    <a:pt x="151" y="1107"/>
                  </a:lnTo>
                  <a:lnTo>
                    <a:pt x="146" y="1107"/>
                  </a:lnTo>
                  <a:lnTo>
                    <a:pt x="142" y="1107"/>
                  </a:lnTo>
                  <a:lnTo>
                    <a:pt x="142" y="1107"/>
                  </a:lnTo>
                  <a:lnTo>
                    <a:pt x="146" y="1107"/>
                  </a:lnTo>
                  <a:lnTo>
                    <a:pt x="146" y="1107"/>
                  </a:lnTo>
                  <a:lnTo>
                    <a:pt x="146" y="1107"/>
                  </a:lnTo>
                  <a:lnTo>
                    <a:pt x="146" y="1107"/>
                  </a:lnTo>
                  <a:lnTo>
                    <a:pt x="146" y="1112"/>
                  </a:lnTo>
                  <a:lnTo>
                    <a:pt x="146" y="1112"/>
                  </a:lnTo>
                  <a:lnTo>
                    <a:pt x="146" y="1112"/>
                  </a:lnTo>
                  <a:lnTo>
                    <a:pt x="142" y="1112"/>
                  </a:lnTo>
                  <a:lnTo>
                    <a:pt x="142" y="1112"/>
                  </a:lnTo>
                  <a:lnTo>
                    <a:pt x="142" y="1116"/>
                  </a:lnTo>
                  <a:lnTo>
                    <a:pt x="142" y="1116"/>
                  </a:lnTo>
                  <a:lnTo>
                    <a:pt x="142" y="1116"/>
                  </a:lnTo>
                  <a:close/>
                  <a:moveTo>
                    <a:pt x="186" y="1090"/>
                  </a:moveTo>
                  <a:lnTo>
                    <a:pt x="186" y="1090"/>
                  </a:lnTo>
                  <a:lnTo>
                    <a:pt x="186" y="1090"/>
                  </a:lnTo>
                  <a:lnTo>
                    <a:pt x="186" y="1094"/>
                  </a:lnTo>
                  <a:lnTo>
                    <a:pt x="186" y="1094"/>
                  </a:lnTo>
                  <a:lnTo>
                    <a:pt x="186" y="1094"/>
                  </a:lnTo>
                  <a:lnTo>
                    <a:pt x="186" y="1094"/>
                  </a:lnTo>
                  <a:lnTo>
                    <a:pt x="191" y="1094"/>
                  </a:lnTo>
                  <a:lnTo>
                    <a:pt x="191" y="1094"/>
                  </a:lnTo>
                  <a:lnTo>
                    <a:pt x="191" y="1094"/>
                  </a:lnTo>
                  <a:lnTo>
                    <a:pt x="191" y="1094"/>
                  </a:lnTo>
                  <a:lnTo>
                    <a:pt x="191" y="1094"/>
                  </a:lnTo>
                  <a:lnTo>
                    <a:pt x="191" y="1090"/>
                  </a:lnTo>
                  <a:lnTo>
                    <a:pt x="191" y="1090"/>
                  </a:lnTo>
                  <a:lnTo>
                    <a:pt x="186" y="1090"/>
                  </a:lnTo>
                  <a:lnTo>
                    <a:pt x="186" y="1090"/>
                  </a:lnTo>
                  <a:lnTo>
                    <a:pt x="186" y="1090"/>
                  </a:lnTo>
                  <a:lnTo>
                    <a:pt x="186" y="1090"/>
                  </a:lnTo>
                  <a:lnTo>
                    <a:pt x="186" y="1090"/>
                  </a:lnTo>
                  <a:close/>
                  <a:moveTo>
                    <a:pt x="182" y="1090"/>
                  </a:moveTo>
                  <a:lnTo>
                    <a:pt x="182" y="1090"/>
                  </a:lnTo>
                  <a:lnTo>
                    <a:pt x="182" y="1085"/>
                  </a:lnTo>
                  <a:lnTo>
                    <a:pt x="182" y="1085"/>
                  </a:lnTo>
                  <a:lnTo>
                    <a:pt x="177" y="1090"/>
                  </a:lnTo>
                  <a:lnTo>
                    <a:pt x="173" y="1090"/>
                  </a:lnTo>
                  <a:lnTo>
                    <a:pt x="173" y="1094"/>
                  </a:lnTo>
                  <a:lnTo>
                    <a:pt x="173" y="1094"/>
                  </a:lnTo>
                  <a:lnTo>
                    <a:pt x="173" y="1098"/>
                  </a:lnTo>
                  <a:lnTo>
                    <a:pt x="177" y="1098"/>
                  </a:lnTo>
                  <a:lnTo>
                    <a:pt x="186" y="1094"/>
                  </a:lnTo>
                  <a:lnTo>
                    <a:pt x="186" y="1094"/>
                  </a:lnTo>
                  <a:lnTo>
                    <a:pt x="186" y="1094"/>
                  </a:lnTo>
                  <a:lnTo>
                    <a:pt x="186" y="1094"/>
                  </a:lnTo>
                  <a:lnTo>
                    <a:pt x="186" y="1094"/>
                  </a:lnTo>
                  <a:lnTo>
                    <a:pt x="182" y="1090"/>
                  </a:lnTo>
                  <a:close/>
                  <a:moveTo>
                    <a:pt x="195" y="1094"/>
                  </a:moveTo>
                  <a:lnTo>
                    <a:pt x="195" y="1094"/>
                  </a:lnTo>
                  <a:lnTo>
                    <a:pt x="199" y="1094"/>
                  </a:lnTo>
                  <a:lnTo>
                    <a:pt x="204" y="1094"/>
                  </a:lnTo>
                  <a:lnTo>
                    <a:pt x="204" y="1090"/>
                  </a:lnTo>
                  <a:lnTo>
                    <a:pt x="204" y="1090"/>
                  </a:lnTo>
                  <a:lnTo>
                    <a:pt x="199" y="1085"/>
                  </a:lnTo>
                  <a:lnTo>
                    <a:pt x="199" y="1081"/>
                  </a:lnTo>
                  <a:lnTo>
                    <a:pt x="199" y="1081"/>
                  </a:lnTo>
                  <a:lnTo>
                    <a:pt x="199" y="1081"/>
                  </a:lnTo>
                  <a:lnTo>
                    <a:pt x="195" y="1081"/>
                  </a:lnTo>
                  <a:lnTo>
                    <a:pt x="195" y="1081"/>
                  </a:lnTo>
                  <a:lnTo>
                    <a:pt x="195" y="1085"/>
                  </a:lnTo>
                  <a:lnTo>
                    <a:pt x="195" y="1085"/>
                  </a:lnTo>
                  <a:lnTo>
                    <a:pt x="195" y="1090"/>
                  </a:lnTo>
                  <a:lnTo>
                    <a:pt x="195" y="1085"/>
                  </a:lnTo>
                  <a:lnTo>
                    <a:pt x="195" y="1085"/>
                  </a:lnTo>
                  <a:lnTo>
                    <a:pt x="195" y="1085"/>
                  </a:lnTo>
                  <a:lnTo>
                    <a:pt x="195" y="1085"/>
                  </a:lnTo>
                  <a:lnTo>
                    <a:pt x="195" y="1085"/>
                  </a:lnTo>
                  <a:lnTo>
                    <a:pt x="191" y="1085"/>
                  </a:lnTo>
                  <a:lnTo>
                    <a:pt x="191" y="1085"/>
                  </a:lnTo>
                  <a:lnTo>
                    <a:pt x="191" y="1081"/>
                  </a:lnTo>
                  <a:lnTo>
                    <a:pt x="191" y="1081"/>
                  </a:lnTo>
                  <a:lnTo>
                    <a:pt x="191" y="1081"/>
                  </a:lnTo>
                  <a:lnTo>
                    <a:pt x="191" y="1081"/>
                  </a:lnTo>
                  <a:lnTo>
                    <a:pt x="191" y="1085"/>
                  </a:lnTo>
                  <a:lnTo>
                    <a:pt x="191" y="1085"/>
                  </a:lnTo>
                  <a:lnTo>
                    <a:pt x="191" y="1085"/>
                  </a:lnTo>
                  <a:lnTo>
                    <a:pt x="191" y="1090"/>
                  </a:lnTo>
                  <a:lnTo>
                    <a:pt x="195" y="1094"/>
                  </a:lnTo>
                  <a:close/>
                  <a:moveTo>
                    <a:pt x="164" y="1067"/>
                  </a:moveTo>
                  <a:lnTo>
                    <a:pt x="164" y="1072"/>
                  </a:lnTo>
                  <a:lnTo>
                    <a:pt x="164" y="1072"/>
                  </a:lnTo>
                  <a:lnTo>
                    <a:pt x="173" y="1072"/>
                  </a:lnTo>
                  <a:lnTo>
                    <a:pt x="177" y="1076"/>
                  </a:lnTo>
                  <a:lnTo>
                    <a:pt x="173" y="1072"/>
                  </a:lnTo>
                  <a:lnTo>
                    <a:pt x="173" y="1076"/>
                  </a:lnTo>
                  <a:lnTo>
                    <a:pt x="173" y="1076"/>
                  </a:lnTo>
                  <a:lnTo>
                    <a:pt x="173" y="1076"/>
                  </a:lnTo>
                  <a:lnTo>
                    <a:pt x="173" y="1076"/>
                  </a:lnTo>
                  <a:lnTo>
                    <a:pt x="177" y="1076"/>
                  </a:lnTo>
                  <a:lnTo>
                    <a:pt x="177" y="1076"/>
                  </a:lnTo>
                  <a:lnTo>
                    <a:pt x="177" y="1076"/>
                  </a:lnTo>
                  <a:lnTo>
                    <a:pt x="182" y="1076"/>
                  </a:lnTo>
                  <a:lnTo>
                    <a:pt x="182" y="1076"/>
                  </a:lnTo>
                  <a:lnTo>
                    <a:pt x="182" y="1076"/>
                  </a:lnTo>
                  <a:lnTo>
                    <a:pt x="182" y="1076"/>
                  </a:lnTo>
                  <a:lnTo>
                    <a:pt x="182" y="1072"/>
                  </a:lnTo>
                  <a:lnTo>
                    <a:pt x="182" y="1072"/>
                  </a:lnTo>
                  <a:lnTo>
                    <a:pt x="182" y="1072"/>
                  </a:lnTo>
                  <a:lnTo>
                    <a:pt x="186" y="1067"/>
                  </a:lnTo>
                  <a:lnTo>
                    <a:pt x="186" y="1067"/>
                  </a:lnTo>
                  <a:lnTo>
                    <a:pt x="182" y="1063"/>
                  </a:lnTo>
                  <a:lnTo>
                    <a:pt x="182" y="1059"/>
                  </a:lnTo>
                  <a:lnTo>
                    <a:pt x="177" y="1059"/>
                  </a:lnTo>
                  <a:lnTo>
                    <a:pt x="177" y="1059"/>
                  </a:lnTo>
                  <a:lnTo>
                    <a:pt x="173" y="1059"/>
                  </a:lnTo>
                  <a:lnTo>
                    <a:pt x="173" y="1063"/>
                  </a:lnTo>
                  <a:lnTo>
                    <a:pt x="169" y="1063"/>
                  </a:lnTo>
                  <a:lnTo>
                    <a:pt x="169" y="1063"/>
                  </a:lnTo>
                  <a:lnTo>
                    <a:pt x="164" y="1063"/>
                  </a:lnTo>
                  <a:lnTo>
                    <a:pt x="164" y="1067"/>
                  </a:lnTo>
                  <a:lnTo>
                    <a:pt x="164" y="1067"/>
                  </a:lnTo>
                  <a:lnTo>
                    <a:pt x="164" y="1067"/>
                  </a:lnTo>
                  <a:close/>
                  <a:moveTo>
                    <a:pt x="208" y="1041"/>
                  </a:moveTo>
                  <a:lnTo>
                    <a:pt x="208" y="1041"/>
                  </a:lnTo>
                  <a:lnTo>
                    <a:pt x="204" y="1041"/>
                  </a:lnTo>
                  <a:lnTo>
                    <a:pt x="204" y="1045"/>
                  </a:lnTo>
                  <a:lnTo>
                    <a:pt x="208" y="1045"/>
                  </a:lnTo>
                  <a:lnTo>
                    <a:pt x="213" y="1045"/>
                  </a:lnTo>
                  <a:lnTo>
                    <a:pt x="213" y="1050"/>
                  </a:lnTo>
                  <a:lnTo>
                    <a:pt x="213" y="1050"/>
                  </a:lnTo>
                  <a:lnTo>
                    <a:pt x="213" y="1050"/>
                  </a:lnTo>
                  <a:lnTo>
                    <a:pt x="208" y="1050"/>
                  </a:lnTo>
                  <a:lnTo>
                    <a:pt x="199" y="1050"/>
                  </a:lnTo>
                  <a:lnTo>
                    <a:pt x="199" y="1050"/>
                  </a:lnTo>
                  <a:lnTo>
                    <a:pt x="191" y="1054"/>
                  </a:lnTo>
                  <a:lnTo>
                    <a:pt x="191" y="1054"/>
                  </a:lnTo>
                  <a:lnTo>
                    <a:pt x="191" y="1059"/>
                  </a:lnTo>
                  <a:lnTo>
                    <a:pt x="191" y="1059"/>
                  </a:lnTo>
                  <a:lnTo>
                    <a:pt x="191" y="1059"/>
                  </a:lnTo>
                  <a:lnTo>
                    <a:pt x="191" y="1063"/>
                  </a:lnTo>
                  <a:lnTo>
                    <a:pt x="191" y="1063"/>
                  </a:lnTo>
                  <a:lnTo>
                    <a:pt x="191" y="1063"/>
                  </a:lnTo>
                  <a:lnTo>
                    <a:pt x="191" y="1063"/>
                  </a:lnTo>
                  <a:lnTo>
                    <a:pt x="191" y="1063"/>
                  </a:lnTo>
                  <a:lnTo>
                    <a:pt x="191" y="1063"/>
                  </a:lnTo>
                  <a:lnTo>
                    <a:pt x="191" y="1063"/>
                  </a:lnTo>
                  <a:lnTo>
                    <a:pt x="195" y="1059"/>
                  </a:lnTo>
                  <a:lnTo>
                    <a:pt x="195" y="1063"/>
                  </a:lnTo>
                  <a:lnTo>
                    <a:pt x="195" y="1063"/>
                  </a:lnTo>
                  <a:lnTo>
                    <a:pt x="195" y="1063"/>
                  </a:lnTo>
                  <a:lnTo>
                    <a:pt x="195" y="1063"/>
                  </a:lnTo>
                  <a:lnTo>
                    <a:pt x="195" y="1063"/>
                  </a:lnTo>
                  <a:lnTo>
                    <a:pt x="195" y="1063"/>
                  </a:lnTo>
                  <a:lnTo>
                    <a:pt x="199" y="1063"/>
                  </a:lnTo>
                  <a:lnTo>
                    <a:pt x="204" y="1063"/>
                  </a:lnTo>
                  <a:lnTo>
                    <a:pt x="204" y="1059"/>
                  </a:lnTo>
                  <a:lnTo>
                    <a:pt x="208" y="1059"/>
                  </a:lnTo>
                  <a:lnTo>
                    <a:pt x="213" y="1059"/>
                  </a:lnTo>
                  <a:lnTo>
                    <a:pt x="222" y="1059"/>
                  </a:lnTo>
                  <a:lnTo>
                    <a:pt x="235" y="1054"/>
                  </a:lnTo>
                  <a:lnTo>
                    <a:pt x="235" y="1050"/>
                  </a:lnTo>
                  <a:lnTo>
                    <a:pt x="239" y="1050"/>
                  </a:lnTo>
                  <a:lnTo>
                    <a:pt x="239" y="1050"/>
                  </a:lnTo>
                  <a:lnTo>
                    <a:pt x="235" y="1050"/>
                  </a:lnTo>
                  <a:lnTo>
                    <a:pt x="235" y="1050"/>
                  </a:lnTo>
                  <a:lnTo>
                    <a:pt x="235" y="1045"/>
                  </a:lnTo>
                  <a:lnTo>
                    <a:pt x="235" y="1045"/>
                  </a:lnTo>
                  <a:lnTo>
                    <a:pt x="235" y="1045"/>
                  </a:lnTo>
                  <a:lnTo>
                    <a:pt x="230" y="1045"/>
                  </a:lnTo>
                  <a:lnTo>
                    <a:pt x="230" y="1045"/>
                  </a:lnTo>
                  <a:lnTo>
                    <a:pt x="230" y="1045"/>
                  </a:lnTo>
                  <a:lnTo>
                    <a:pt x="226" y="1045"/>
                  </a:lnTo>
                  <a:lnTo>
                    <a:pt x="226" y="1041"/>
                  </a:lnTo>
                  <a:lnTo>
                    <a:pt x="226" y="1041"/>
                  </a:lnTo>
                  <a:lnTo>
                    <a:pt x="226" y="1041"/>
                  </a:lnTo>
                  <a:lnTo>
                    <a:pt x="226" y="1041"/>
                  </a:lnTo>
                  <a:lnTo>
                    <a:pt x="226" y="1041"/>
                  </a:lnTo>
                  <a:lnTo>
                    <a:pt x="226" y="1041"/>
                  </a:lnTo>
                  <a:lnTo>
                    <a:pt x="226" y="1041"/>
                  </a:lnTo>
                  <a:lnTo>
                    <a:pt x="226" y="1036"/>
                  </a:lnTo>
                  <a:lnTo>
                    <a:pt x="226" y="1036"/>
                  </a:lnTo>
                  <a:lnTo>
                    <a:pt x="226" y="1036"/>
                  </a:lnTo>
                  <a:lnTo>
                    <a:pt x="222" y="1036"/>
                  </a:lnTo>
                  <a:lnTo>
                    <a:pt x="222" y="1036"/>
                  </a:lnTo>
                  <a:lnTo>
                    <a:pt x="222" y="1041"/>
                  </a:lnTo>
                  <a:lnTo>
                    <a:pt x="222" y="1041"/>
                  </a:lnTo>
                  <a:lnTo>
                    <a:pt x="222" y="1041"/>
                  </a:lnTo>
                  <a:lnTo>
                    <a:pt x="222" y="1041"/>
                  </a:lnTo>
                  <a:lnTo>
                    <a:pt x="222" y="1041"/>
                  </a:lnTo>
                  <a:lnTo>
                    <a:pt x="217" y="1041"/>
                  </a:lnTo>
                  <a:lnTo>
                    <a:pt x="217" y="1041"/>
                  </a:lnTo>
                  <a:lnTo>
                    <a:pt x="208" y="1041"/>
                  </a:lnTo>
                  <a:close/>
                  <a:moveTo>
                    <a:pt x="230" y="1041"/>
                  </a:moveTo>
                  <a:lnTo>
                    <a:pt x="235" y="1041"/>
                  </a:lnTo>
                  <a:lnTo>
                    <a:pt x="235" y="1041"/>
                  </a:lnTo>
                  <a:lnTo>
                    <a:pt x="235" y="1041"/>
                  </a:lnTo>
                  <a:lnTo>
                    <a:pt x="239" y="1041"/>
                  </a:lnTo>
                  <a:lnTo>
                    <a:pt x="235" y="1036"/>
                  </a:lnTo>
                  <a:lnTo>
                    <a:pt x="235" y="1036"/>
                  </a:lnTo>
                  <a:lnTo>
                    <a:pt x="235" y="1036"/>
                  </a:lnTo>
                  <a:lnTo>
                    <a:pt x="235" y="1036"/>
                  </a:lnTo>
                  <a:lnTo>
                    <a:pt x="235" y="1036"/>
                  </a:lnTo>
                  <a:lnTo>
                    <a:pt x="235" y="1036"/>
                  </a:lnTo>
                  <a:lnTo>
                    <a:pt x="235" y="1036"/>
                  </a:lnTo>
                  <a:lnTo>
                    <a:pt x="235" y="1036"/>
                  </a:lnTo>
                  <a:lnTo>
                    <a:pt x="235" y="1036"/>
                  </a:lnTo>
                  <a:lnTo>
                    <a:pt x="235" y="1036"/>
                  </a:lnTo>
                  <a:lnTo>
                    <a:pt x="230" y="1036"/>
                  </a:lnTo>
                  <a:lnTo>
                    <a:pt x="230" y="1036"/>
                  </a:lnTo>
                  <a:lnTo>
                    <a:pt x="230" y="1036"/>
                  </a:lnTo>
                  <a:lnTo>
                    <a:pt x="230" y="1036"/>
                  </a:lnTo>
                  <a:lnTo>
                    <a:pt x="230" y="1041"/>
                  </a:lnTo>
                  <a:lnTo>
                    <a:pt x="230" y="1041"/>
                  </a:lnTo>
                  <a:lnTo>
                    <a:pt x="230" y="1041"/>
                  </a:lnTo>
                  <a:lnTo>
                    <a:pt x="230" y="1041"/>
                  </a:lnTo>
                  <a:lnTo>
                    <a:pt x="230" y="1041"/>
                  </a:lnTo>
                  <a:lnTo>
                    <a:pt x="230" y="1041"/>
                  </a:lnTo>
                  <a:lnTo>
                    <a:pt x="230" y="1041"/>
                  </a:lnTo>
                  <a:close/>
                  <a:moveTo>
                    <a:pt x="191" y="1036"/>
                  </a:moveTo>
                  <a:lnTo>
                    <a:pt x="195" y="1036"/>
                  </a:lnTo>
                  <a:lnTo>
                    <a:pt x="195" y="1036"/>
                  </a:lnTo>
                  <a:lnTo>
                    <a:pt x="199" y="1036"/>
                  </a:lnTo>
                  <a:lnTo>
                    <a:pt x="199" y="1032"/>
                  </a:lnTo>
                  <a:lnTo>
                    <a:pt x="199" y="1036"/>
                  </a:lnTo>
                  <a:lnTo>
                    <a:pt x="199" y="1032"/>
                  </a:lnTo>
                  <a:lnTo>
                    <a:pt x="204" y="1032"/>
                  </a:lnTo>
                  <a:lnTo>
                    <a:pt x="199" y="1036"/>
                  </a:lnTo>
                  <a:lnTo>
                    <a:pt x="199" y="1036"/>
                  </a:lnTo>
                  <a:lnTo>
                    <a:pt x="204" y="1036"/>
                  </a:lnTo>
                  <a:lnTo>
                    <a:pt x="213" y="1032"/>
                  </a:lnTo>
                  <a:lnTo>
                    <a:pt x="217" y="1032"/>
                  </a:lnTo>
                  <a:lnTo>
                    <a:pt x="217" y="1032"/>
                  </a:lnTo>
                  <a:lnTo>
                    <a:pt x="217" y="1028"/>
                  </a:lnTo>
                  <a:lnTo>
                    <a:pt x="217" y="1028"/>
                  </a:lnTo>
                  <a:lnTo>
                    <a:pt x="217" y="1028"/>
                  </a:lnTo>
                  <a:lnTo>
                    <a:pt x="217" y="1023"/>
                  </a:lnTo>
                  <a:lnTo>
                    <a:pt x="217" y="1023"/>
                  </a:lnTo>
                  <a:lnTo>
                    <a:pt x="217" y="1023"/>
                  </a:lnTo>
                  <a:lnTo>
                    <a:pt x="217" y="1019"/>
                  </a:lnTo>
                  <a:lnTo>
                    <a:pt x="217" y="1019"/>
                  </a:lnTo>
                  <a:lnTo>
                    <a:pt x="217" y="1019"/>
                  </a:lnTo>
                  <a:lnTo>
                    <a:pt x="217" y="1019"/>
                  </a:lnTo>
                  <a:lnTo>
                    <a:pt x="217" y="1019"/>
                  </a:lnTo>
                  <a:lnTo>
                    <a:pt x="217" y="1019"/>
                  </a:lnTo>
                  <a:lnTo>
                    <a:pt x="217" y="1019"/>
                  </a:lnTo>
                  <a:lnTo>
                    <a:pt x="217" y="1019"/>
                  </a:lnTo>
                  <a:lnTo>
                    <a:pt x="217" y="1019"/>
                  </a:lnTo>
                  <a:lnTo>
                    <a:pt x="213" y="1019"/>
                  </a:lnTo>
                  <a:lnTo>
                    <a:pt x="213" y="1023"/>
                  </a:lnTo>
                  <a:lnTo>
                    <a:pt x="213" y="1023"/>
                  </a:lnTo>
                  <a:lnTo>
                    <a:pt x="213" y="1023"/>
                  </a:lnTo>
                  <a:lnTo>
                    <a:pt x="213" y="1023"/>
                  </a:lnTo>
                  <a:lnTo>
                    <a:pt x="213" y="1023"/>
                  </a:lnTo>
                  <a:lnTo>
                    <a:pt x="213" y="1023"/>
                  </a:lnTo>
                  <a:lnTo>
                    <a:pt x="204" y="1032"/>
                  </a:lnTo>
                  <a:lnTo>
                    <a:pt x="195" y="1032"/>
                  </a:lnTo>
                  <a:lnTo>
                    <a:pt x="191" y="1032"/>
                  </a:lnTo>
                  <a:lnTo>
                    <a:pt x="191" y="1036"/>
                  </a:lnTo>
                  <a:lnTo>
                    <a:pt x="191" y="1036"/>
                  </a:lnTo>
                  <a:close/>
                  <a:moveTo>
                    <a:pt x="275" y="992"/>
                  </a:moveTo>
                  <a:lnTo>
                    <a:pt x="275" y="992"/>
                  </a:lnTo>
                  <a:lnTo>
                    <a:pt x="275" y="992"/>
                  </a:lnTo>
                  <a:lnTo>
                    <a:pt x="275" y="992"/>
                  </a:lnTo>
                  <a:lnTo>
                    <a:pt x="275" y="997"/>
                  </a:lnTo>
                  <a:lnTo>
                    <a:pt x="275" y="997"/>
                  </a:lnTo>
                  <a:lnTo>
                    <a:pt x="275" y="997"/>
                  </a:lnTo>
                  <a:lnTo>
                    <a:pt x="275" y="997"/>
                  </a:lnTo>
                  <a:lnTo>
                    <a:pt x="275" y="997"/>
                  </a:lnTo>
                  <a:lnTo>
                    <a:pt x="275" y="997"/>
                  </a:lnTo>
                  <a:lnTo>
                    <a:pt x="275" y="997"/>
                  </a:lnTo>
                  <a:lnTo>
                    <a:pt x="279" y="997"/>
                  </a:lnTo>
                  <a:lnTo>
                    <a:pt x="279" y="997"/>
                  </a:lnTo>
                  <a:lnTo>
                    <a:pt x="279" y="992"/>
                  </a:lnTo>
                  <a:lnTo>
                    <a:pt x="279" y="992"/>
                  </a:lnTo>
                  <a:lnTo>
                    <a:pt x="275" y="992"/>
                  </a:lnTo>
                  <a:lnTo>
                    <a:pt x="275" y="992"/>
                  </a:lnTo>
                  <a:lnTo>
                    <a:pt x="275" y="992"/>
                  </a:lnTo>
                  <a:lnTo>
                    <a:pt x="275" y="992"/>
                  </a:lnTo>
                  <a:lnTo>
                    <a:pt x="275" y="992"/>
                  </a:lnTo>
                  <a:lnTo>
                    <a:pt x="275" y="992"/>
                  </a:lnTo>
                  <a:lnTo>
                    <a:pt x="275" y="992"/>
                  </a:lnTo>
                  <a:lnTo>
                    <a:pt x="275" y="992"/>
                  </a:lnTo>
                  <a:lnTo>
                    <a:pt x="275" y="992"/>
                  </a:lnTo>
                  <a:lnTo>
                    <a:pt x="275" y="992"/>
                  </a:lnTo>
                  <a:lnTo>
                    <a:pt x="275" y="992"/>
                  </a:lnTo>
                  <a:close/>
                  <a:moveTo>
                    <a:pt x="350" y="926"/>
                  </a:moveTo>
                  <a:lnTo>
                    <a:pt x="350" y="926"/>
                  </a:lnTo>
                  <a:lnTo>
                    <a:pt x="354" y="926"/>
                  </a:lnTo>
                  <a:lnTo>
                    <a:pt x="354" y="930"/>
                  </a:lnTo>
                  <a:lnTo>
                    <a:pt x="354" y="930"/>
                  </a:lnTo>
                  <a:lnTo>
                    <a:pt x="354" y="930"/>
                  </a:lnTo>
                  <a:lnTo>
                    <a:pt x="359" y="930"/>
                  </a:lnTo>
                  <a:lnTo>
                    <a:pt x="354" y="930"/>
                  </a:lnTo>
                  <a:lnTo>
                    <a:pt x="359" y="930"/>
                  </a:lnTo>
                  <a:lnTo>
                    <a:pt x="359" y="930"/>
                  </a:lnTo>
                  <a:lnTo>
                    <a:pt x="359" y="930"/>
                  </a:lnTo>
                  <a:lnTo>
                    <a:pt x="359" y="930"/>
                  </a:lnTo>
                  <a:lnTo>
                    <a:pt x="359" y="926"/>
                  </a:lnTo>
                  <a:lnTo>
                    <a:pt x="359" y="926"/>
                  </a:lnTo>
                  <a:lnTo>
                    <a:pt x="359" y="926"/>
                  </a:lnTo>
                  <a:lnTo>
                    <a:pt x="359" y="926"/>
                  </a:lnTo>
                  <a:lnTo>
                    <a:pt x="354" y="921"/>
                  </a:lnTo>
                  <a:lnTo>
                    <a:pt x="354" y="921"/>
                  </a:lnTo>
                  <a:lnTo>
                    <a:pt x="354" y="921"/>
                  </a:lnTo>
                  <a:lnTo>
                    <a:pt x="354" y="921"/>
                  </a:lnTo>
                  <a:lnTo>
                    <a:pt x="354" y="921"/>
                  </a:lnTo>
                  <a:lnTo>
                    <a:pt x="354" y="921"/>
                  </a:lnTo>
                  <a:lnTo>
                    <a:pt x="354" y="921"/>
                  </a:lnTo>
                  <a:lnTo>
                    <a:pt x="354" y="926"/>
                  </a:lnTo>
                  <a:lnTo>
                    <a:pt x="354" y="926"/>
                  </a:lnTo>
                  <a:lnTo>
                    <a:pt x="350" y="926"/>
                  </a:lnTo>
                  <a:close/>
                  <a:moveTo>
                    <a:pt x="341" y="926"/>
                  </a:moveTo>
                  <a:lnTo>
                    <a:pt x="341" y="930"/>
                  </a:lnTo>
                  <a:lnTo>
                    <a:pt x="341" y="935"/>
                  </a:lnTo>
                  <a:lnTo>
                    <a:pt x="346" y="935"/>
                  </a:lnTo>
                  <a:lnTo>
                    <a:pt x="350" y="935"/>
                  </a:lnTo>
                  <a:lnTo>
                    <a:pt x="350" y="935"/>
                  </a:lnTo>
                  <a:lnTo>
                    <a:pt x="350" y="939"/>
                  </a:lnTo>
                  <a:lnTo>
                    <a:pt x="354" y="939"/>
                  </a:lnTo>
                  <a:lnTo>
                    <a:pt x="354" y="939"/>
                  </a:lnTo>
                  <a:lnTo>
                    <a:pt x="354" y="935"/>
                  </a:lnTo>
                  <a:lnTo>
                    <a:pt x="359" y="935"/>
                  </a:lnTo>
                  <a:lnTo>
                    <a:pt x="359" y="935"/>
                  </a:lnTo>
                  <a:lnTo>
                    <a:pt x="354" y="930"/>
                  </a:lnTo>
                  <a:lnTo>
                    <a:pt x="350" y="930"/>
                  </a:lnTo>
                  <a:lnTo>
                    <a:pt x="350" y="930"/>
                  </a:lnTo>
                  <a:lnTo>
                    <a:pt x="350" y="926"/>
                  </a:lnTo>
                  <a:lnTo>
                    <a:pt x="346" y="921"/>
                  </a:lnTo>
                  <a:lnTo>
                    <a:pt x="341" y="921"/>
                  </a:lnTo>
                  <a:lnTo>
                    <a:pt x="341" y="917"/>
                  </a:lnTo>
                  <a:lnTo>
                    <a:pt x="337" y="917"/>
                  </a:lnTo>
                  <a:lnTo>
                    <a:pt x="337" y="917"/>
                  </a:lnTo>
                  <a:lnTo>
                    <a:pt x="337" y="917"/>
                  </a:lnTo>
                  <a:lnTo>
                    <a:pt x="337" y="921"/>
                  </a:lnTo>
                  <a:lnTo>
                    <a:pt x="337" y="921"/>
                  </a:lnTo>
                  <a:lnTo>
                    <a:pt x="337" y="921"/>
                  </a:lnTo>
                  <a:lnTo>
                    <a:pt x="337" y="926"/>
                  </a:lnTo>
                  <a:lnTo>
                    <a:pt x="346" y="926"/>
                  </a:lnTo>
                  <a:lnTo>
                    <a:pt x="346" y="926"/>
                  </a:lnTo>
                  <a:lnTo>
                    <a:pt x="341" y="926"/>
                  </a:lnTo>
                  <a:lnTo>
                    <a:pt x="341" y="926"/>
                  </a:lnTo>
                  <a:close/>
                  <a:moveTo>
                    <a:pt x="350" y="912"/>
                  </a:moveTo>
                  <a:lnTo>
                    <a:pt x="346" y="912"/>
                  </a:lnTo>
                  <a:lnTo>
                    <a:pt x="341" y="917"/>
                  </a:lnTo>
                  <a:lnTo>
                    <a:pt x="341" y="917"/>
                  </a:lnTo>
                  <a:lnTo>
                    <a:pt x="341" y="917"/>
                  </a:lnTo>
                  <a:lnTo>
                    <a:pt x="341" y="917"/>
                  </a:lnTo>
                  <a:lnTo>
                    <a:pt x="341" y="917"/>
                  </a:lnTo>
                  <a:lnTo>
                    <a:pt x="341" y="917"/>
                  </a:lnTo>
                  <a:lnTo>
                    <a:pt x="341" y="917"/>
                  </a:lnTo>
                  <a:lnTo>
                    <a:pt x="346" y="921"/>
                  </a:lnTo>
                  <a:lnTo>
                    <a:pt x="346" y="921"/>
                  </a:lnTo>
                  <a:lnTo>
                    <a:pt x="346" y="917"/>
                  </a:lnTo>
                  <a:lnTo>
                    <a:pt x="346" y="917"/>
                  </a:lnTo>
                  <a:lnTo>
                    <a:pt x="346" y="917"/>
                  </a:lnTo>
                  <a:lnTo>
                    <a:pt x="346" y="921"/>
                  </a:lnTo>
                  <a:lnTo>
                    <a:pt x="346" y="921"/>
                  </a:lnTo>
                  <a:lnTo>
                    <a:pt x="350" y="921"/>
                  </a:lnTo>
                  <a:lnTo>
                    <a:pt x="350" y="921"/>
                  </a:lnTo>
                  <a:lnTo>
                    <a:pt x="350" y="926"/>
                  </a:lnTo>
                  <a:lnTo>
                    <a:pt x="350" y="921"/>
                  </a:lnTo>
                  <a:lnTo>
                    <a:pt x="350" y="921"/>
                  </a:lnTo>
                  <a:lnTo>
                    <a:pt x="350" y="921"/>
                  </a:lnTo>
                  <a:lnTo>
                    <a:pt x="350" y="921"/>
                  </a:lnTo>
                  <a:lnTo>
                    <a:pt x="350" y="921"/>
                  </a:lnTo>
                  <a:lnTo>
                    <a:pt x="350" y="921"/>
                  </a:lnTo>
                  <a:lnTo>
                    <a:pt x="350" y="921"/>
                  </a:lnTo>
                  <a:lnTo>
                    <a:pt x="350" y="917"/>
                  </a:lnTo>
                  <a:lnTo>
                    <a:pt x="350" y="917"/>
                  </a:lnTo>
                  <a:lnTo>
                    <a:pt x="354" y="917"/>
                  </a:lnTo>
                  <a:lnTo>
                    <a:pt x="350" y="912"/>
                  </a:lnTo>
                  <a:lnTo>
                    <a:pt x="350" y="912"/>
                  </a:lnTo>
                  <a:lnTo>
                    <a:pt x="350" y="912"/>
                  </a:lnTo>
                  <a:lnTo>
                    <a:pt x="350" y="912"/>
                  </a:lnTo>
                  <a:close/>
                  <a:moveTo>
                    <a:pt x="337" y="881"/>
                  </a:moveTo>
                  <a:lnTo>
                    <a:pt x="323" y="890"/>
                  </a:lnTo>
                  <a:lnTo>
                    <a:pt x="323" y="895"/>
                  </a:lnTo>
                  <a:lnTo>
                    <a:pt x="328" y="895"/>
                  </a:lnTo>
                  <a:lnTo>
                    <a:pt x="328" y="890"/>
                  </a:lnTo>
                  <a:lnTo>
                    <a:pt x="328" y="890"/>
                  </a:lnTo>
                  <a:lnTo>
                    <a:pt x="332" y="890"/>
                  </a:lnTo>
                  <a:lnTo>
                    <a:pt x="332" y="886"/>
                  </a:lnTo>
                  <a:lnTo>
                    <a:pt x="337" y="886"/>
                  </a:lnTo>
                  <a:lnTo>
                    <a:pt x="337" y="886"/>
                  </a:lnTo>
                  <a:lnTo>
                    <a:pt x="337" y="886"/>
                  </a:lnTo>
                  <a:lnTo>
                    <a:pt x="337" y="890"/>
                  </a:lnTo>
                  <a:lnTo>
                    <a:pt x="337" y="890"/>
                  </a:lnTo>
                  <a:lnTo>
                    <a:pt x="337" y="890"/>
                  </a:lnTo>
                  <a:lnTo>
                    <a:pt x="337" y="895"/>
                  </a:lnTo>
                  <a:lnTo>
                    <a:pt x="337" y="890"/>
                  </a:lnTo>
                  <a:lnTo>
                    <a:pt x="337" y="890"/>
                  </a:lnTo>
                  <a:lnTo>
                    <a:pt x="337" y="890"/>
                  </a:lnTo>
                  <a:lnTo>
                    <a:pt x="337" y="895"/>
                  </a:lnTo>
                  <a:lnTo>
                    <a:pt x="337" y="895"/>
                  </a:lnTo>
                  <a:lnTo>
                    <a:pt x="337" y="895"/>
                  </a:lnTo>
                  <a:lnTo>
                    <a:pt x="341" y="895"/>
                  </a:lnTo>
                  <a:lnTo>
                    <a:pt x="341" y="895"/>
                  </a:lnTo>
                  <a:lnTo>
                    <a:pt x="346" y="890"/>
                  </a:lnTo>
                  <a:lnTo>
                    <a:pt x="346" y="886"/>
                  </a:lnTo>
                  <a:lnTo>
                    <a:pt x="346" y="886"/>
                  </a:lnTo>
                  <a:lnTo>
                    <a:pt x="346" y="886"/>
                  </a:lnTo>
                  <a:lnTo>
                    <a:pt x="346" y="886"/>
                  </a:lnTo>
                  <a:lnTo>
                    <a:pt x="346" y="886"/>
                  </a:lnTo>
                  <a:lnTo>
                    <a:pt x="346" y="886"/>
                  </a:lnTo>
                  <a:lnTo>
                    <a:pt x="346" y="886"/>
                  </a:lnTo>
                  <a:lnTo>
                    <a:pt x="346" y="881"/>
                  </a:lnTo>
                  <a:lnTo>
                    <a:pt x="341" y="881"/>
                  </a:lnTo>
                  <a:lnTo>
                    <a:pt x="341" y="881"/>
                  </a:lnTo>
                  <a:lnTo>
                    <a:pt x="341" y="881"/>
                  </a:lnTo>
                  <a:lnTo>
                    <a:pt x="341" y="881"/>
                  </a:lnTo>
                  <a:lnTo>
                    <a:pt x="341" y="881"/>
                  </a:lnTo>
                  <a:lnTo>
                    <a:pt x="337" y="881"/>
                  </a:lnTo>
                  <a:close/>
                  <a:moveTo>
                    <a:pt x="319" y="890"/>
                  </a:moveTo>
                  <a:lnTo>
                    <a:pt x="319" y="895"/>
                  </a:lnTo>
                  <a:lnTo>
                    <a:pt x="323" y="890"/>
                  </a:lnTo>
                  <a:lnTo>
                    <a:pt x="323" y="890"/>
                  </a:lnTo>
                  <a:lnTo>
                    <a:pt x="328" y="886"/>
                  </a:lnTo>
                  <a:lnTo>
                    <a:pt x="332" y="886"/>
                  </a:lnTo>
                  <a:lnTo>
                    <a:pt x="341" y="877"/>
                  </a:lnTo>
                  <a:lnTo>
                    <a:pt x="341" y="877"/>
                  </a:lnTo>
                  <a:lnTo>
                    <a:pt x="341" y="877"/>
                  </a:lnTo>
                  <a:lnTo>
                    <a:pt x="341" y="877"/>
                  </a:lnTo>
                  <a:lnTo>
                    <a:pt x="337" y="877"/>
                  </a:lnTo>
                  <a:lnTo>
                    <a:pt x="337" y="877"/>
                  </a:lnTo>
                  <a:lnTo>
                    <a:pt x="337" y="877"/>
                  </a:lnTo>
                  <a:lnTo>
                    <a:pt x="337" y="877"/>
                  </a:lnTo>
                  <a:lnTo>
                    <a:pt x="332" y="881"/>
                  </a:lnTo>
                  <a:lnTo>
                    <a:pt x="328" y="881"/>
                  </a:lnTo>
                  <a:lnTo>
                    <a:pt x="328" y="881"/>
                  </a:lnTo>
                  <a:lnTo>
                    <a:pt x="328" y="881"/>
                  </a:lnTo>
                  <a:lnTo>
                    <a:pt x="323" y="881"/>
                  </a:lnTo>
                  <a:lnTo>
                    <a:pt x="323" y="886"/>
                  </a:lnTo>
                  <a:lnTo>
                    <a:pt x="319" y="886"/>
                  </a:lnTo>
                  <a:lnTo>
                    <a:pt x="319" y="886"/>
                  </a:lnTo>
                  <a:lnTo>
                    <a:pt x="319" y="890"/>
                  </a:lnTo>
                  <a:lnTo>
                    <a:pt x="319" y="890"/>
                  </a:lnTo>
                  <a:lnTo>
                    <a:pt x="319" y="890"/>
                  </a:lnTo>
                  <a:lnTo>
                    <a:pt x="319" y="890"/>
                  </a:lnTo>
                  <a:close/>
                  <a:moveTo>
                    <a:pt x="363" y="868"/>
                  </a:moveTo>
                  <a:lnTo>
                    <a:pt x="368" y="868"/>
                  </a:lnTo>
                  <a:lnTo>
                    <a:pt x="368" y="868"/>
                  </a:lnTo>
                  <a:lnTo>
                    <a:pt x="368" y="864"/>
                  </a:lnTo>
                  <a:lnTo>
                    <a:pt x="368" y="864"/>
                  </a:lnTo>
                  <a:lnTo>
                    <a:pt x="368" y="868"/>
                  </a:lnTo>
                  <a:lnTo>
                    <a:pt x="368" y="868"/>
                  </a:lnTo>
                  <a:lnTo>
                    <a:pt x="368" y="868"/>
                  </a:lnTo>
                  <a:lnTo>
                    <a:pt x="368" y="868"/>
                  </a:lnTo>
                  <a:lnTo>
                    <a:pt x="368" y="868"/>
                  </a:lnTo>
                  <a:lnTo>
                    <a:pt x="368" y="868"/>
                  </a:lnTo>
                  <a:lnTo>
                    <a:pt x="368" y="868"/>
                  </a:lnTo>
                  <a:lnTo>
                    <a:pt x="372" y="868"/>
                  </a:lnTo>
                  <a:lnTo>
                    <a:pt x="372" y="864"/>
                  </a:lnTo>
                  <a:lnTo>
                    <a:pt x="372" y="864"/>
                  </a:lnTo>
                  <a:lnTo>
                    <a:pt x="368" y="864"/>
                  </a:lnTo>
                  <a:lnTo>
                    <a:pt x="368" y="864"/>
                  </a:lnTo>
                  <a:lnTo>
                    <a:pt x="372" y="864"/>
                  </a:lnTo>
                  <a:lnTo>
                    <a:pt x="372" y="864"/>
                  </a:lnTo>
                  <a:lnTo>
                    <a:pt x="372" y="864"/>
                  </a:lnTo>
                  <a:lnTo>
                    <a:pt x="372" y="859"/>
                  </a:lnTo>
                  <a:lnTo>
                    <a:pt x="377" y="859"/>
                  </a:lnTo>
                  <a:lnTo>
                    <a:pt x="377" y="859"/>
                  </a:lnTo>
                  <a:lnTo>
                    <a:pt x="372" y="859"/>
                  </a:lnTo>
                  <a:lnTo>
                    <a:pt x="372" y="859"/>
                  </a:lnTo>
                  <a:lnTo>
                    <a:pt x="372" y="859"/>
                  </a:lnTo>
                  <a:lnTo>
                    <a:pt x="372" y="859"/>
                  </a:lnTo>
                  <a:lnTo>
                    <a:pt x="372" y="859"/>
                  </a:lnTo>
                  <a:lnTo>
                    <a:pt x="372" y="859"/>
                  </a:lnTo>
                  <a:lnTo>
                    <a:pt x="372" y="859"/>
                  </a:lnTo>
                  <a:lnTo>
                    <a:pt x="372" y="859"/>
                  </a:lnTo>
                  <a:lnTo>
                    <a:pt x="368" y="859"/>
                  </a:lnTo>
                  <a:lnTo>
                    <a:pt x="363" y="859"/>
                  </a:lnTo>
                  <a:lnTo>
                    <a:pt x="363" y="859"/>
                  </a:lnTo>
                  <a:lnTo>
                    <a:pt x="363" y="864"/>
                  </a:lnTo>
                  <a:lnTo>
                    <a:pt x="363" y="864"/>
                  </a:lnTo>
                  <a:lnTo>
                    <a:pt x="363" y="864"/>
                  </a:lnTo>
                  <a:lnTo>
                    <a:pt x="363" y="864"/>
                  </a:lnTo>
                  <a:lnTo>
                    <a:pt x="363" y="864"/>
                  </a:lnTo>
                  <a:lnTo>
                    <a:pt x="363" y="868"/>
                  </a:lnTo>
                  <a:lnTo>
                    <a:pt x="363" y="868"/>
                  </a:lnTo>
                  <a:lnTo>
                    <a:pt x="363" y="868"/>
                  </a:lnTo>
                  <a:lnTo>
                    <a:pt x="359" y="868"/>
                  </a:lnTo>
                  <a:lnTo>
                    <a:pt x="363" y="868"/>
                  </a:lnTo>
                  <a:lnTo>
                    <a:pt x="363" y="868"/>
                  </a:lnTo>
                  <a:close/>
                  <a:moveTo>
                    <a:pt x="385" y="864"/>
                  </a:moveTo>
                  <a:lnTo>
                    <a:pt x="385" y="864"/>
                  </a:lnTo>
                  <a:lnTo>
                    <a:pt x="385" y="864"/>
                  </a:lnTo>
                  <a:lnTo>
                    <a:pt x="390" y="864"/>
                  </a:lnTo>
                  <a:lnTo>
                    <a:pt x="390" y="864"/>
                  </a:lnTo>
                  <a:lnTo>
                    <a:pt x="390" y="864"/>
                  </a:lnTo>
                  <a:lnTo>
                    <a:pt x="394" y="868"/>
                  </a:lnTo>
                  <a:lnTo>
                    <a:pt x="394" y="868"/>
                  </a:lnTo>
                  <a:lnTo>
                    <a:pt x="399" y="864"/>
                  </a:lnTo>
                  <a:lnTo>
                    <a:pt x="399" y="864"/>
                  </a:lnTo>
                  <a:lnTo>
                    <a:pt x="403" y="864"/>
                  </a:lnTo>
                  <a:lnTo>
                    <a:pt x="403" y="859"/>
                  </a:lnTo>
                  <a:lnTo>
                    <a:pt x="403" y="859"/>
                  </a:lnTo>
                  <a:lnTo>
                    <a:pt x="399" y="859"/>
                  </a:lnTo>
                  <a:lnTo>
                    <a:pt x="399" y="859"/>
                  </a:lnTo>
                  <a:lnTo>
                    <a:pt x="399" y="855"/>
                  </a:lnTo>
                  <a:lnTo>
                    <a:pt x="399" y="855"/>
                  </a:lnTo>
                  <a:lnTo>
                    <a:pt x="399" y="851"/>
                  </a:lnTo>
                  <a:lnTo>
                    <a:pt x="399" y="846"/>
                  </a:lnTo>
                  <a:lnTo>
                    <a:pt x="399" y="846"/>
                  </a:lnTo>
                  <a:lnTo>
                    <a:pt x="394" y="846"/>
                  </a:lnTo>
                  <a:lnTo>
                    <a:pt x="394" y="851"/>
                  </a:lnTo>
                  <a:lnTo>
                    <a:pt x="394" y="851"/>
                  </a:lnTo>
                  <a:lnTo>
                    <a:pt x="390" y="851"/>
                  </a:lnTo>
                  <a:lnTo>
                    <a:pt x="390" y="851"/>
                  </a:lnTo>
                  <a:lnTo>
                    <a:pt x="390" y="855"/>
                  </a:lnTo>
                  <a:lnTo>
                    <a:pt x="390" y="855"/>
                  </a:lnTo>
                  <a:lnTo>
                    <a:pt x="390" y="855"/>
                  </a:lnTo>
                  <a:lnTo>
                    <a:pt x="390" y="855"/>
                  </a:lnTo>
                  <a:lnTo>
                    <a:pt x="390" y="859"/>
                  </a:lnTo>
                  <a:lnTo>
                    <a:pt x="394" y="859"/>
                  </a:lnTo>
                  <a:lnTo>
                    <a:pt x="394" y="859"/>
                  </a:lnTo>
                  <a:lnTo>
                    <a:pt x="390" y="859"/>
                  </a:lnTo>
                  <a:lnTo>
                    <a:pt x="390" y="859"/>
                  </a:lnTo>
                  <a:lnTo>
                    <a:pt x="390" y="859"/>
                  </a:lnTo>
                  <a:lnTo>
                    <a:pt x="390" y="864"/>
                  </a:lnTo>
                  <a:lnTo>
                    <a:pt x="390" y="864"/>
                  </a:lnTo>
                  <a:lnTo>
                    <a:pt x="390" y="864"/>
                  </a:lnTo>
                  <a:lnTo>
                    <a:pt x="390" y="864"/>
                  </a:lnTo>
                  <a:lnTo>
                    <a:pt x="385" y="864"/>
                  </a:lnTo>
                  <a:close/>
                  <a:moveTo>
                    <a:pt x="394" y="842"/>
                  </a:moveTo>
                  <a:lnTo>
                    <a:pt x="399" y="842"/>
                  </a:lnTo>
                  <a:lnTo>
                    <a:pt x="399" y="842"/>
                  </a:lnTo>
                  <a:lnTo>
                    <a:pt x="399" y="842"/>
                  </a:lnTo>
                  <a:lnTo>
                    <a:pt x="399" y="837"/>
                  </a:lnTo>
                  <a:lnTo>
                    <a:pt x="399" y="837"/>
                  </a:lnTo>
                  <a:lnTo>
                    <a:pt x="399" y="837"/>
                  </a:lnTo>
                  <a:lnTo>
                    <a:pt x="399" y="837"/>
                  </a:lnTo>
                  <a:lnTo>
                    <a:pt x="399" y="833"/>
                  </a:lnTo>
                  <a:lnTo>
                    <a:pt x="399" y="833"/>
                  </a:lnTo>
                  <a:lnTo>
                    <a:pt x="399" y="833"/>
                  </a:lnTo>
                  <a:lnTo>
                    <a:pt x="403" y="833"/>
                  </a:lnTo>
                  <a:lnTo>
                    <a:pt x="403" y="833"/>
                  </a:lnTo>
                  <a:lnTo>
                    <a:pt x="408" y="833"/>
                  </a:lnTo>
                  <a:lnTo>
                    <a:pt x="408" y="828"/>
                  </a:lnTo>
                  <a:lnTo>
                    <a:pt x="408" y="828"/>
                  </a:lnTo>
                  <a:lnTo>
                    <a:pt x="412" y="828"/>
                  </a:lnTo>
                  <a:lnTo>
                    <a:pt x="412" y="824"/>
                  </a:lnTo>
                  <a:lnTo>
                    <a:pt x="412" y="824"/>
                  </a:lnTo>
                  <a:lnTo>
                    <a:pt x="412" y="824"/>
                  </a:lnTo>
                  <a:lnTo>
                    <a:pt x="412" y="824"/>
                  </a:lnTo>
                  <a:lnTo>
                    <a:pt x="412" y="824"/>
                  </a:lnTo>
                  <a:lnTo>
                    <a:pt x="412" y="824"/>
                  </a:lnTo>
                  <a:lnTo>
                    <a:pt x="412" y="820"/>
                  </a:lnTo>
                  <a:lnTo>
                    <a:pt x="412" y="820"/>
                  </a:lnTo>
                  <a:lnTo>
                    <a:pt x="412" y="815"/>
                  </a:lnTo>
                  <a:lnTo>
                    <a:pt x="412" y="815"/>
                  </a:lnTo>
                  <a:lnTo>
                    <a:pt x="408" y="811"/>
                  </a:lnTo>
                  <a:lnTo>
                    <a:pt x="408" y="811"/>
                  </a:lnTo>
                  <a:lnTo>
                    <a:pt x="403" y="806"/>
                  </a:lnTo>
                  <a:lnTo>
                    <a:pt x="403" y="806"/>
                  </a:lnTo>
                  <a:lnTo>
                    <a:pt x="403" y="806"/>
                  </a:lnTo>
                  <a:lnTo>
                    <a:pt x="403" y="802"/>
                  </a:lnTo>
                  <a:lnTo>
                    <a:pt x="399" y="802"/>
                  </a:lnTo>
                  <a:lnTo>
                    <a:pt x="399" y="802"/>
                  </a:lnTo>
                  <a:lnTo>
                    <a:pt x="399" y="802"/>
                  </a:lnTo>
                  <a:lnTo>
                    <a:pt x="399" y="806"/>
                  </a:lnTo>
                  <a:lnTo>
                    <a:pt x="399" y="806"/>
                  </a:lnTo>
                  <a:lnTo>
                    <a:pt x="399" y="806"/>
                  </a:lnTo>
                  <a:lnTo>
                    <a:pt x="399" y="806"/>
                  </a:lnTo>
                  <a:lnTo>
                    <a:pt x="399" y="806"/>
                  </a:lnTo>
                  <a:lnTo>
                    <a:pt x="399" y="811"/>
                  </a:lnTo>
                  <a:lnTo>
                    <a:pt x="399" y="811"/>
                  </a:lnTo>
                  <a:lnTo>
                    <a:pt x="399" y="811"/>
                  </a:lnTo>
                  <a:lnTo>
                    <a:pt x="399" y="815"/>
                  </a:lnTo>
                  <a:lnTo>
                    <a:pt x="399" y="815"/>
                  </a:lnTo>
                  <a:lnTo>
                    <a:pt x="399" y="815"/>
                  </a:lnTo>
                  <a:lnTo>
                    <a:pt x="403" y="811"/>
                  </a:lnTo>
                  <a:lnTo>
                    <a:pt x="403" y="811"/>
                  </a:lnTo>
                  <a:lnTo>
                    <a:pt x="403" y="815"/>
                  </a:lnTo>
                  <a:lnTo>
                    <a:pt x="403" y="815"/>
                  </a:lnTo>
                  <a:lnTo>
                    <a:pt x="403" y="815"/>
                  </a:lnTo>
                  <a:lnTo>
                    <a:pt x="399" y="820"/>
                  </a:lnTo>
                  <a:lnTo>
                    <a:pt x="399" y="820"/>
                  </a:lnTo>
                  <a:lnTo>
                    <a:pt x="394" y="824"/>
                  </a:lnTo>
                  <a:lnTo>
                    <a:pt x="394" y="824"/>
                  </a:lnTo>
                  <a:lnTo>
                    <a:pt x="394" y="824"/>
                  </a:lnTo>
                  <a:lnTo>
                    <a:pt x="394" y="824"/>
                  </a:lnTo>
                  <a:lnTo>
                    <a:pt x="394" y="824"/>
                  </a:lnTo>
                  <a:lnTo>
                    <a:pt x="394" y="824"/>
                  </a:lnTo>
                  <a:lnTo>
                    <a:pt x="399" y="824"/>
                  </a:lnTo>
                  <a:lnTo>
                    <a:pt x="399" y="828"/>
                  </a:lnTo>
                  <a:lnTo>
                    <a:pt x="399" y="828"/>
                  </a:lnTo>
                  <a:lnTo>
                    <a:pt x="394" y="828"/>
                  </a:lnTo>
                  <a:lnTo>
                    <a:pt x="394" y="828"/>
                  </a:lnTo>
                  <a:lnTo>
                    <a:pt x="394" y="828"/>
                  </a:lnTo>
                  <a:lnTo>
                    <a:pt x="394" y="828"/>
                  </a:lnTo>
                  <a:lnTo>
                    <a:pt x="394" y="828"/>
                  </a:lnTo>
                  <a:lnTo>
                    <a:pt x="394" y="828"/>
                  </a:lnTo>
                  <a:lnTo>
                    <a:pt x="394" y="833"/>
                  </a:lnTo>
                  <a:lnTo>
                    <a:pt x="390" y="833"/>
                  </a:lnTo>
                  <a:lnTo>
                    <a:pt x="390" y="837"/>
                  </a:lnTo>
                  <a:lnTo>
                    <a:pt x="390" y="837"/>
                  </a:lnTo>
                  <a:lnTo>
                    <a:pt x="390" y="837"/>
                  </a:lnTo>
                  <a:lnTo>
                    <a:pt x="394" y="837"/>
                  </a:lnTo>
                  <a:lnTo>
                    <a:pt x="394" y="837"/>
                  </a:lnTo>
                  <a:lnTo>
                    <a:pt x="390" y="842"/>
                  </a:lnTo>
                  <a:lnTo>
                    <a:pt x="390" y="846"/>
                  </a:lnTo>
                  <a:lnTo>
                    <a:pt x="390" y="846"/>
                  </a:lnTo>
                  <a:lnTo>
                    <a:pt x="390" y="846"/>
                  </a:lnTo>
                  <a:lnTo>
                    <a:pt x="394" y="842"/>
                  </a:lnTo>
                  <a:close/>
                  <a:moveTo>
                    <a:pt x="377" y="797"/>
                  </a:moveTo>
                  <a:lnTo>
                    <a:pt x="381" y="797"/>
                  </a:lnTo>
                  <a:lnTo>
                    <a:pt x="377" y="797"/>
                  </a:lnTo>
                  <a:lnTo>
                    <a:pt x="381" y="797"/>
                  </a:lnTo>
                  <a:lnTo>
                    <a:pt x="381" y="797"/>
                  </a:lnTo>
                  <a:lnTo>
                    <a:pt x="381" y="797"/>
                  </a:lnTo>
                  <a:lnTo>
                    <a:pt x="381" y="797"/>
                  </a:lnTo>
                  <a:lnTo>
                    <a:pt x="381" y="797"/>
                  </a:lnTo>
                  <a:lnTo>
                    <a:pt x="381" y="797"/>
                  </a:lnTo>
                  <a:lnTo>
                    <a:pt x="381" y="802"/>
                  </a:lnTo>
                  <a:lnTo>
                    <a:pt x="381" y="802"/>
                  </a:lnTo>
                  <a:lnTo>
                    <a:pt x="381" y="797"/>
                  </a:lnTo>
                  <a:lnTo>
                    <a:pt x="385" y="797"/>
                  </a:lnTo>
                  <a:lnTo>
                    <a:pt x="385" y="793"/>
                  </a:lnTo>
                  <a:lnTo>
                    <a:pt x="385" y="793"/>
                  </a:lnTo>
                  <a:lnTo>
                    <a:pt x="385" y="793"/>
                  </a:lnTo>
                  <a:lnTo>
                    <a:pt x="385" y="789"/>
                  </a:lnTo>
                  <a:lnTo>
                    <a:pt x="385" y="789"/>
                  </a:lnTo>
                  <a:lnTo>
                    <a:pt x="385" y="789"/>
                  </a:lnTo>
                  <a:lnTo>
                    <a:pt x="385" y="789"/>
                  </a:lnTo>
                  <a:lnTo>
                    <a:pt x="385" y="784"/>
                  </a:lnTo>
                  <a:lnTo>
                    <a:pt x="385" y="784"/>
                  </a:lnTo>
                  <a:lnTo>
                    <a:pt x="385" y="784"/>
                  </a:lnTo>
                  <a:lnTo>
                    <a:pt x="385" y="784"/>
                  </a:lnTo>
                  <a:lnTo>
                    <a:pt x="381" y="784"/>
                  </a:lnTo>
                  <a:lnTo>
                    <a:pt x="381" y="784"/>
                  </a:lnTo>
                  <a:lnTo>
                    <a:pt x="377" y="789"/>
                  </a:lnTo>
                  <a:lnTo>
                    <a:pt x="377" y="789"/>
                  </a:lnTo>
                  <a:lnTo>
                    <a:pt x="377" y="789"/>
                  </a:lnTo>
                  <a:lnTo>
                    <a:pt x="372" y="793"/>
                  </a:lnTo>
                  <a:lnTo>
                    <a:pt x="372" y="797"/>
                  </a:lnTo>
                  <a:lnTo>
                    <a:pt x="377" y="797"/>
                  </a:lnTo>
                  <a:lnTo>
                    <a:pt x="377" y="797"/>
                  </a:lnTo>
                  <a:close/>
                  <a:moveTo>
                    <a:pt x="412" y="762"/>
                  </a:moveTo>
                  <a:lnTo>
                    <a:pt x="412" y="762"/>
                  </a:lnTo>
                  <a:lnTo>
                    <a:pt x="408" y="762"/>
                  </a:lnTo>
                  <a:lnTo>
                    <a:pt x="412" y="762"/>
                  </a:lnTo>
                  <a:lnTo>
                    <a:pt x="412" y="762"/>
                  </a:lnTo>
                  <a:lnTo>
                    <a:pt x="421" y="753"/>
                  </a:lnTo>
                  <a:lnTo>
                    <a:pt x="421" y="753"/>
                  </a:lnTo>
                  <a:lnTo>
                    <a:pt x="425" y="749"/>
                  </a:lnTo>
                  <a:lnTo>
                    <a:pt x="430" y="749"/>
                  </a:lnTo>
                  <a:lnTo>
                    <a:pt x="434" y="749"/>
                  </a:lnTo>
                  <a:lnTo>
                    <a:pt x="434" y="744"/>
                  </a:lnTo>
                  <a:lnTo>
                    <a:pt x="430" y="744"/>
                  </a:lnTo>
                  <a:lnTo>
                    <a:pt x="430" y="744"/>
                  </a:lnTo>
                  <a:lnTo>
                    <a:pt x="425" y="744"/>
                  </a:lnTo>
                  <a:lnTo>
                    <a:pt x="425" y="749"/>
                  </a:lnTo>
                  <a:lnTo>
                    <a:pt x="421" y="749"/>
                  </a:lnTo>
                  <a:lnTo>
                    <a:pt x="421" y="749"/>
                  </a:lnTo>
                  <a:lnTo>
                    <a:pt x="421" y="749"/>
                  </a:lnTo>
                  <a:lnTo>
                    <a:pt x="421" y="749"/>
                  </a:lnTo>
                  <a:lnTo>
                    <a:pt x="416" y="749"/>
                  </a:lnTo>
                  <a:lnTo>
                    <a:pt x="421" y="749"/>
                  </a:lnTo>
                  <a:lnTo>
                    <a:pt x="421" y="744"/>
                  </a:lnTo>
                  <a:lnTo>
                    <a:pt x="421" y="744"/>
                  </a:lnTo>
                  <a:lnTo>
                    <a:pt x="416" y="744"/>
                  </a:lnTo>
                  <a:lnTo>
                    <a:pt x="412" y="749"/>
                  </a:lnTo>
                  <a:lnTo>
                    <a:pt x="412" y="749"/>
                  </a:lnTo>
                  <a:lnTo>
                    <a:pt x="412" y="753"/>
                  </a:lnTo>
                  <a:lnTo>
                    <a:pt x="412" y="753"/>
                  </a:lnTo>
                  <a:lnTo>
                    <a:pt x="408" y="758"/>
                  </a:lnTo>
                  <a:lnTo>
                    <a:pt x="408" y="758"/>
                  </a:lnTo>
                  <a:lnTo>
                    <a:pt x="408" y="762"/>
                  </a:lnTo>
                  <a:lnTo>
                    <a:pt x="412" y="762"/>
                  </a:lnTo>
                  <a:lnTo>
                    <a:pt x="412" y="762"/>
                  </a:lnTo>
                  <a:lnTo>
                    <a:pt x="412" y="762"/>
                  </a:lnTo>
                  <a:close/>
                  <a:moveTo>
                    <a:pt x="416" y="735"/>
                  </a:moveTo>
                  <a:lnTo>
                    <a:pt x="416" y="735"/>
                  </a:lnTo>
                  <a:lnTo>
                    <a:pt x="416" y="735"/>
                  </a:lnTo>
                  <a:lnTo>
                    <a:pt x="421" y="735"/>
                  </a:lnTo>
                  <a:lnTo>
                    <a:pt x="421" y="735"/>
                  </a:lnTo>
                  <a:lnTo>
                    <a:pt x="421" y="735"/>
                  </a:lnTo>
                  <a:lnTo>
                    <a:pt x="421" y="731"/>
                  </a:lnTo>
                  <a:lnTo>
                    <a:pt x="421" y="731"/>
                  </a:lnTo>
                  <a:lnTo>
                    <a:pt x="416" y="731"/>
                  </a:lnTo>
                  <a:lnTo>
                    <a:pt x="416" y="731"/>
                  </a:lnTo>
                  <a:lnTo>
                    <a:pt x="416" y="731"/>
                  </a:lnTo>
                  <a:lnTo>
                    <a:pt x="421" y="731"/>
                  </a:lnTo>
                  <a:lnTo>
                    <a:pt x="416" y="731"/>
                  </a:lnTo>
                  <a:lnTo>
                    <a:pt x="416" y="731"/>
                  </a:lnTo>
                  <a:lnTo>
                    <a:pt x="416" y="727"/>
                  </a:lnTo>
                  <a:lnTo>
                    <a:pt x="421" y="727"/>
                  </a:lnTo>
                  <a:lnTo>
                    <a:pt x="421" y="727"/>
                  </a:lnTo>
                  <a:lnTo>
                    <a:pt x="416" y="722"/>
                  </a:lnTo>
                  <a:lnTo>
                    <a:pt x="416" y="722"/>
                  </a:lnTo>
                  <a:lnTo>
                    <a:pt x="416" y="722"/>
                  </a:lnTo>
                  <a:lnTo>
                    <a:pt x="416" y="718"/>
                  </a:lnTo>
                  <a:lnTo>
                    <a:pt x="416" y="718"/>
                  </a:lnTo>
                  <a:lnTo>
                    <a:pt x="416" y="718"/>
                  </a:lnTo>
                  <a:lnTo>
                    <a:pt x="416" y="722"/>
                  </a:lnTo>
                  <a:lnTo>
                    <a:pt x="416" y="722"/>
                  </a:lnTo>
                  <a:lnTo>
                    <a:pt x="412" y="722"/>
                  </a:lnTo>
                  <a:lnTo>
                    <a:pt x="408" y="727"/>
                  </a:lnTo>
                  <a:lnTo>
                    <a:pt x="408" y="727"/>
                  </a:lnTo>
                  <a:lnTo>
                    <a:pt x="412" y="727"/>
                  </a:lnTo>
                  <a:lnTo>
                    <a:pt x="412" y="722"/>
                  </a:lnTo>
                  <a:lnTo>
                    <a:pt x="416" y="727"/>
                  </a:lnTo>
                  <a:lnTo>
                    <a:pt x="416" y="727"/>
                  </a:lnTo>
                  <a:lnTo>
                    <a:pt x="412" y="731"/>
                  </a:lnTo>
                  <a:lnTo>
                    <a:pt x="412" y="731"/>
                  </a:lnTo>
                  <a:lnTo>
                    <a:pt x="412" y="731"/>
                  </a:lnTo>
                  <a:lnTo>
                    <a:pt x="412" y="731"/>
                  </a:lnTo>
                  <a:lnTo>
                    <a:pt x="412" y="731"/>
                  </a:lnTo>
                  <a:lnTo>
                    <a:pt x="412" y="731"/>
                  </a:lnTo>
                  <a:lnTo>
                    <a:pt x="408" y="735"/>
                  </a:lnTo>
                  <a:lnTo>
                    <a:pt x="408" y="735"/>
                  </a:lnTo>
                  <a:lnTo>
                    <a:pt x="403" y="735"/>
                  </a:lnTo>
                  <a:lnTo>
                    <a:pt x="403" y="735"/>
                  </a:lnTo>
                  <a:lnTo>
                    <a:pt x="403" y="735"/>
                  </a:lnTo>
                  <a:lnTo>
                    <a:pt x="408" y="735"/>
                  </a:lnTo>
                  <a:lnTo>
                    <a:pt x="408" y="735"/>
                  </a:lnTo>
                  <a:lnTo>
                    <a:pt x="408" y="735"/>
                  </a:lnTo>
                  <a:lnTo>
                    <a:pt x="408" y="735"/>
                  </a:lnTo>
                  <a:lnTo>
                    <a:pt x="408" y="735"/>
                  </a:lnTo>
                  <a:lnTo>
                    <a:pt x="408" y="740"/>
                  </a:lnTo>
                  <a:lnTo>
                    <a:pt x="408" y="740"/>
                  </a:lnTo>
                  <a:lnTo>
                    <a:pt x="408" y="740"/>
                  </a:lnTo>
                  <a:lnTo>
                    <a:pt x="403" y="740"/>
                  </a:lnTo>
                  <a:lnTo>
                    <a:pt x="403" y="740"/>
                  </a:lnTo>
                  <a:lnTo>
                    <a:pt x="403" y="744"/>
                  </a:lnTo>
                  <a:lnTo>
                    <a:pt x="416" y="740"/>
                  </a:lnTo>
                  <a:lnTo>
                    <a:pt x="416" y="735"/>
                  </a:lnTo>
                  <a:close/>
                  <a:moveTo>
                    <a:pt x="425" y="713"/>
                  </a:moveTo>
                  <a:lnTo>
                    <a:pt x="425" y="718"/>
                  </a:lnTo>
                  <a:lnTo>
                    <a:pt x="425" y="718"/>
                  </a:lnTo>
                  <a:lnTo>
                    <a:pt x="425" y="718"/>
                  </a:lnTo>
                  <a:lnTo>
                    <a:pt x="430" y="718"/>
                  </a:lnTo>
                  <a:lnTo>
                    <a:pt x="430" y="718"/>
                  </a:lnTo>
                  <a:lnTo>
                    <a:pt x="430" y="718"/>
                  </a:lnTo>
                  <a:lnTo>
                    <a:pt x="430" y="718"/>
                  </a:lnTo>
                  <a:lnTo>
                    <a:pt x="430" y="718"/>
                  </a:lnTo>
                  <a:lnTo>
                    <a:pt x="434" y="718"/>
                  </a:lnTo>
                  <a:lnTo>
                    <a:pt x="434" y="713"/>
                  </a:lnTo>
                  <a:lnTo>
                    <a:pt x="434" y="713"/>
                  </a:lnTo>
                  <a:lnTo>
                    <a:pt x="434" y="709"/>
                  </a:lnTo>
                  <a:lnTo>
                    <a:pt x="434" y="709"/>
                  </a:lnTo>
                  <a:lnTo>
                    <a:pt x="434" y="709"/>
                  </a:lnTo>
                  <a:lnTo>
                    <a:pt x="434" y="709"/>
                  </a:lnTo>
                  <a:lnTo>
                    <a:pt x="430" y="709"/>
                  </a:lnTo>
                  <a:lnTo>
                    <a:pt x="430" y="709"/>
                  </a:lnTo>
                  <a:lnTo>
                    <a:pt x="430" y="709"/>
                  </a:lnTo>
                  <a:lnTo>
                    <a:pt x="430" y="709"/>
                  </a:lnTo>
                  <a:lnTo>
                    <a:pt x="430" y="709"/>
                  </a:lnTo>
                  <a:lnTo>
                    <a:pt x="430" y="709"/>
                  </a:lnTo>
                  <a:lnTo>
                    <a:pt x="430" y="709"/>
                  </a:lnTo>
                  <a:lnTo>
                    <a:pt x="430" y="704"/>
                  </a:lnTo>
                  <a:lnTo>
                    <a:pt x="430" y="704"/>
                  </a:lnTo>
                  <a:lnTo>
                    <a:pt x="430" y="709"/>
                  </a:lnTo>
                  <a:lnTo>
                    <a:pt x="430" y="709"/>
                  </a:lnTo>
                  <a:lnTo>
                    <a:pt x="430" y="709"/>
                  </a:lnTo>
                  <a:lnTo>
                    <a:pt x="425" y="709"/>
                  </a:lnTo>
                  <a:lnTo>
                    <a:pt x="425" y="713"/>
                  </a:lnTo>
                  <a:lnTo>
                    <a:pt x="425" y="713"/>
                  </a:lnTo>
                  <a:lnTo>
                    <a:pt x="425" y="713"/>
                  </a:lnTo>
                  <a:lnTo>
                    <a:pt x="425" y="713"/>
                  </a:lnTo>
                  <a:lnTo>
                    <a:pt x="425" y="718"/>
                  </a:lnTo>
                  <a:lnTo>
                    <a:pt x="425" y="713"/>
                  </a:lnTo>
                  <a:close/>
                  <a:moveTo>
                    <a:pt x="434" y="696"/>
                  </a:moveTo>
                  <a:lnTo>
                    <a:pt x="434" y="691"/>
                  </a:lnTo>
                  <a:lnTo>
                    <a:pt x="434" y="696"/>
                  </a:lnTo>
                  <a:lnTo>
                    <a:pt x="434" y="696"/>
                  </a:lnTo>
                  <a:lnTo>
                    <a:pt x="434" y="696"/>
                  </a:lnTo>
                  <a:lnTo>
                    <a:pt x="434" y="696"/>
                  </a:lnTo>
                  <a:lnTo>
                    <a:pt x="434" y="696"/>
                  </a:lnTo>
                  <a:lnTo>
                    <a:pt x="439" y="696"/>
                  </a:lnTo>
                  <a:lnTo>
                    <a:pt x="439" y="691"/>
                  </a:lnTo>
                  <a:lnTo>
                    <a:pt x="439" y="687"/>
                  </a:lnTo>
                  <a:lnTo>
                    <a:pt x="439" y="687"/>
                  </a:lnTo>
                  <a:lnTo>
                    <a:pt x="434" y="687"/>
                  </a:lnTo>
                  <a:lnTo>
                    <a:pt x="434" y="687"/>
                  </a:lnTo>
                  <a:lnTo>
                    <a:pt x="434" y="687"/>
                  </a:lnTo>
                  <a:lnTo>
                    <a:pt x="434" y="691"/>
                  </a:lnTo>
                  <a:lnTo>
                    <a:pt x="434" y="691"/>
                  </a:lnTo>
                  <a:lnTo>
                    <a:pt x="434" y="691"/>
                  </a:lnTo>
                  <a:lnTo>
                    <a:pt x="434" y="691"/>
                  </a:lnTo>
                  <a:lnTo>
                    <a:pt x="434" y="691"/>
                  </a:lnTo>
                  <a:lnTo>
                    <a:pt x="434" y="687"/>
                  </a:lnTo>
                  <a:lnTo>
                    <a:pt x="434" y="687"/>
                  </a:lnTo>
                  <a:lnTo>
                    <a:pt x="434" y="687"/>
                  </a:lnTo>
                  <a:lnTo>
                    <a:pt x="434" y="687"/>
                  </a:lnTo>
                  <a:lnTo>
                    <a:pt x="430" y="687"/>
                  </a:lnTo>
                  <a:lnTo>
                    <a:pt x="430" y="691"/>
                  </a:lnTo>
                  <a:lnTo>
                    <a:pt x="430" y="691"/>
                  </a:lnTo>
                  <a:lnTo>
                    <a:pt x="430" y="691"/>
                  </a:lnTo>
                  <a:lnTo>
                    <a:pt x="430" y="691"/>
                  </a:lnTo>
                  <a:lnTo>
                    <a:pt x="430" y="696"/>
                  </a:lnTo>
                  <a:lnTo>
                    <a:pt x="430" y="696"/>
                  </a:lnTo>
                  <a:lnTo>
                    <a:pt x="430" y="696"/>
                  </a:lnTo>
                  <a:lnTo>
                    <a:pt x="430" y="696"/>
                  </a:lnTo>
                  <a:lnTo>
                    <a:pt x="430" y="696"/>
                  </a:lnTo>
                  <a:lnTo>
                    <a:pt x="430" y="700"/>
                  </a:lnTo>
                  <a:lnTo>
                    <a:pt x="430" y="700"/>
                  </a:lnTo>
                  <a:lnTo>
                    <a:pt x="430" y="700"/>
                  </a:lnTo>
                  <a:lnTo>
                    <a:pt x="430" y="700"/>
                  </a:lnTo>
                  <a:lnTo>
                    <a:pt x="430" y="700"/>
                  </a:lnTo>
                  <a:lnTo>
                    <a:pt x="434" y="700"/>
                  </a:lnTo>
                  <a:lnTo>
                    <a:pt x="434" y="700"/>
                  </a:lnTo>
                  <a:lnTo>
                    <a:pt x="434" y="700"/>
                  </a:lnTo>
                  <a:lnTo>
                    <a:pt x="434" y="700"/>
                  </a:lnTo>
                  <a:lnTo>
                    <a:pt x="434" y="700"/>
                  </a:lnTo>
                  <a:lnTo>
                    <a:pt x="434" y="696"/>
                  </a:lnTo>
                  <a:lnTo>
                    <a:pt x="434" y="696"/>
                  </a:lnTo>
                  <a:lnTo>
                    <a:pt x="434" y="696"/>
                  </a:lnTo>
                  <a:close/>
                  <a:moveTo>
                    <a:pt x="505" y="598"/>
                  </a:moveTo>
                  <a:lnTo>
                    <a:pt x="505" y="598"/>
                  </a:lnTo>
                  <a:lnTo>
                    <a:pt x="505" y="594"/>
                  </a:lnTo>
                  <a:lnTo>
                    <a:pt x="505" y="589"/>
                  </a:lnTo>
                  <a:lnTo>
                    <a:pt x="505" y="594"/>
                  </a:lnTo>
                  <a:lnTo>
                    <a:pt x="500" y="598"/>
                  </a:lnTo>
                  <a:lnTo>
                    <a:pt x="500" y="598"/>
                  </a:lnTo>
                  <a:lnTo>
                    <a:pt x="500" y="603"/>
                  </a:lnTo>
                  <a:lnTo>
                    <a:pt x="500" y="598"/>
                  </a:lnTo>
                  <a:lnTo>
                    <a:pt x="496" y="598"/>
                  </a:lnTo>
                  <a:lnTo>
                    <a:pt x="496" y="598"/>
                  </a:lnTo>
                  <a:lnTo>
                    <a:pt x="496" y="598"/>
                  </a:lnTo>
                  <a:lnTo>
                    <a:pt x="492" y="603"/>
                  </a:lnTo>
                  <a:lnTo>
                    <a:pt x="492" y="603"/>
                  </a:lnTo>
                  <a:lnTo>
                    <a:pt x="492" y="603"/>
                  </a:lnTo>
                  <a:lnTo>
                    <a:pt x="492" y="603"/>
                  </a:lnTo>
                  <a:lnTo>
                    <a:pt x="496" y="607"/>
                  </a:lnTo>
                  <a:lnTo>
                    <a:pt x="496" y="607"/>
                  </a:lnTo>
                  <a:lnTo>
                    <a:pt x="500" y="611"/>
                  </a:lnTo>
                  <a:lnTo>
                    <a:pt x="500" y="611"/>
                  </a:lnTo>
                  <a:lnTo>
                    <a:pt x="500" y="611"/>
                  </a:lnTo>
                  <a:lnTo>
                    <a:pt x="500" y="611"/>
                  </a:lnTo>
                  <a:lnTo>
                    <a:pt x="500" y="616"/>
                  </a:lnTo>
                  <a:lnTo>
                    <a:pt x="500" y="616"/>
                  </a:lnTo>
                  <a:lnTo>
                    <a:pt x="500" y="616"/>
                  </a:lnTo>
                  <a:lnTo>
                    <a:pt x="505" y="616"/>
                  </a:lnTo>
                  <a:lnTo>
                    <a:pt x="500" y="611"/>
                  </a:lnTo>
                  <a:lnTo>
                    <a:pt x="500" y="611"/>
                  </a:lnTo>
                  <a:lnTo>
                    <a:pt x="500" y="611"/>
                  </a:lnTo>
                  <a:lnTo>
                    <a:pt x="505" y="611"/>
                  </a:lnTo>
                  <a:lnTo>
                    <a:pt x="505" y="607"/>
                  </a:lnTo>
                  <a:lnTo>
                    <a:pt x="500" y="603"/>
                  </a:lnTo>
                  <a:lnTo>
                    <a:pt x="505" y="603"/>
                  </a:lnTo>
                  <a:lnTo>
                    <a:pt x="505" y="598"/>
                  </a:lnTo>
                  <a:close/>
                  <a:moveTo>
                    <a:pt x="505" y="563"/>
                  </a:moveTo>
                  <a:lnTo>
                    <a:pt x="509" y="563"/>
                  </a:lnTo>
                  <a:lnTo>
                    <a:pt x="514" y="563"/>
                  </a:lnTo>
                  <a:lnTo>
                    <a:pt x="514" y="558"/>
                  </a:lnTo>
                  <a:lnTo>
                    <a:pt x="514" y="558"/>
                  </a:lnTo>
                  <a:lnTo>
                    <a:pt x="514" y="558"/>
                  </a:lnTo>
                  <a:lnTo>
                    <a:pt x="514" y="558"/>
                  </a:lnTo>
                  <a:lnTo>
                    <a:pt x="514" y="558"/>
                  </a:lnTo>
                  <a:lnTo>
                    <a:pt x="514" y="558"/>
                  </a:lnTo>
                  <a:lnTo>
                    <a:pt x="514" y="558"/>
                  </a:lnTo>
                  <a:lnTo>
                    <a:pt x="514" y="554"/>
                  </a:lnTo>
                  <a:lnTo>
                    <a:pt x="514" y="554"/>
                  </a:lnTo>
                  <a:lnTo>
                    <a:pt x="509" y="554"/>
                  </a:lnTo>
                  <a:lnTo>
                    <a:pt x="509" y="558"/>
                  </a:lnTo>
                  <a:lnTo>
                    <a:pt x="505" y="558"/>
                  </a:lnTo>
                  <a:lnTo>
                    <a:pt x="505" y="558"/>
                  </a:lnTo>
                  <a:lnTo>
                    <a:pt x="505" y="563"/>
                  </a:lnTo>
                  <a:lnTo>
                    <a:pt x="505" y="563"/>
                  </a:lnTo>
                  <a:lnTo>
                    <a:pt x="505" y="563"/>
                  </a:lnTo>
                  <a:lnTo>
                    <a:pt x="505" y="563"/>
                  </a:lnTo>
                  <a:lnTo>
                    <a:pt x="505" y="563"/>
                  </a:lnTo>
                  <a:lnTo>
                    <a:pt x="505" y="563"/>
                  </a:lnTo>
                  <a:lnTo>
                    <a:pt x="505" y="563"/>
                  </a:lnTo>
                  <a:lnTo>
                    <a:pt x="505" y="563"/>
                  </a:lnTo>
                  <a:lnTo>
                    <a:pt x="505" y="563"/>
                  </a:lnTo>
                  <a:lnTo>
                    <a:pt x="505" y="563"/>
                  </a:lnTo>
                  <a:close/>
                  <a:moveTo>
                    <a:pt x="545" y="483"/>
                  </a:moveTo>
                  <a:lnTo>
                    <a:pt x="540" y="487"/>
                  </a:lnTo>
                  <a:lnTo>
                    <a:pt x="545" y="487"/>
                  </a:lnTo>
                  <a:lnTo>
                    <a:pt x="545" y="487"/>
                  </a:lnTo>
                  <a:lnTo>
                    <a:pt x="545" y="487"/>
                  </a:lnTo>
                  <a:lnTo>
                    <a:pt x="545" y="487"/>
                  </a:lnTo>
                  <a:lnTo>
                    <a:pt x="549" y="487"/>
                  </a:lnTo>
                  <a:lnTo>
                    <a:pt x="554" y="492"/>
                  </a:lnTo>
                  <a:lnTo>
                    <a:pt x="554" y="492"/>
                  </a:lnTo>
                  <a:lnTo>
                    <a:pt x="558" y="487"/>
                  </a:lnTo>
                  <a:lnTo>
                    <a:pt x="558" y="487"/>
                  </a:lnTo>
                  <a:lnTo>
                    <a:pt x="558" y="487"/>
                  </a:lnTo>
                  <a:lnTo>
                    <a:pt x="558" y="487"/>
                  </a:lnTo>
                  <a:lnTo>
                    <a:pt x="562" y="487"/>
                  </a:lnTo>
                  <a:lnTo>
                    <a:pt x="562" y="483"/>
                  </a:lnTo>
                  <a:lnTo>
                    <a:pt x="558" y="483"/>
                  </a:lnTo>
                  <a:lnTo>
                    <a:pt x="558" y="487"/>
                  </a:lnTo>
                  <a:lnTo>
                    <a:pt x="558" y="487"/>
                  </a:lnTo>
                  <a:lnTo>
                    <a:pt x="558" y="487"/>
                  </a:lnTo>
                  <a:lnTo>
                    <a:pt x="558" y="487"/>
                  </a:lnTo>
                  <a:lnTo>
                    <a:pt x="558" y="487"/>
                  </a:lnTo>
                  <a:lnTo>
                    <a:pt x="558" y="487"/>
                  </a:lnTo>
                  <a:lnTo>
                    <a:pt x="558" y="483"/>
                  </a:lnTo>
                  <a:lnTo>
                    <a:pt x="554" y="483"/>
                  </a:lnTo>
                  <a:lnTo>
                    <a:pt x="554" y="483"/>
                  </a:lnTo>
                  <a:lnTo>
                    <a:pt x="554" y="483"/>
                  </a:lnTo>
                  <a:lnTo>
                    <a:pt x="549" y="479"/>
                  </a:lnTo>
                  <a:lnTo>
                    <a:pt x="549" y="479"/>
                  </a:lnTo>
                  <a:lnTo>
                    <a:pt x="549" y="479"/>
                  </a:lnTo>
                  <a:lnTo>
                    <a:pt x="549" y="479"/>
                  </a:lnTo>
                  <a:lnTo>
                    <a:pt x="549" y="479"/>
                  </a:lnTo>
                  <a:lnTo>
                    <a:pt x="549" y="479"/>
                  </a:lnTo>
                  <a:lnTo>
                    <a:pt x="549" y="479"/>
                  </a:lnTo>
                  <a:lnTo>
                    <a:pt x="549" y="479"/>
                  </a:lnTo>
                  <a:lnTo>
                    <a:pt x="549" y="483"/>
                  </a:lnTo>
                  <a:lnTo>
                    <a:pt x="549" y="483"/>
                  </a:lnTo>
                  <a:lnTo>
                    <a:pt x="545" y="483"/>
                  </a:lnTo>
                  <a:lnTo>
                    <a:pt x="545" y="483"/>
                  </a:lnTo>
                  <a:lnTo>
                    <a:pt x="545" y="483"/>
                  </a:lnTo>
                  <a:lnTo>
                    <a:pt x="545" y="483"/>
                  </a:lnTo>
                  <a:lnTo>
                    <a:pt x="545" y="483"/>
                  </a:lnTo>
                  <a:lnTo>
                    <a:pt x="545" y="483"/>
                  </a:lnTo>
                  <a:lnTo>
                    <a:pt x="545" y="483"/>
                  </a:lnTo>
                  <a:close/>
                  <a:moveTo>
                    <a:pt x="571" y="479"/>
                  </a:moveTo>
                  <a:lnTo>
                    <a:pt x="571" y="479"/>
                  </a:lnTo>
                  <a:lnTo>
                    <a:pt x="571" y="479"/>
                  </a:lnTo>
                  <a:lnTo>
                    <a:pt x="576" y="479"/>
                  </a:lnTo>
                  <a:lnTo>
                    <a:pt x="580" y="479"/>
                  </a:lnTo>
                  <a:lnTo>
                    <a:pt x="580" y="479"/>
                  </a:lnTo>
                  <a:lnTo>
                    <a:pt x="580" y="479"/>
                  </a:lnTo>
                  <a:lnTo>
                    <a:pt x="580" y="474"/>
                  </a:lnTo>
                  <a:lnTo>
                    <a:pt x="585" y="474"/>
                  </a:lnTo>
                  <a:lnTo>
                    <a:pt x="585" y="479"/>
                  </a:lnTo>
                  <a:lnTo>
                    <a:pt x="589" y="479"/>
                  </a:lnTo>
                  <a:lnTo>
                    <a:pt x="589" y="479"/>
                  </a:lnTo>
                  <a:lnTo>
                    <a:pt x="593" y="479"/>
                  </a:lnTo>
                  <a:lnTo>
                    <a:pt x="593" y="479"/>
                  </a:lnTo>
                  <a:lnTo>
                    <a:pt x="593" y="479"/>
                  </a:lnTo>
                  <a:lnTo>
                    <a:pt x="593" y="474"/>
                  </a:lnTo>
                  <a:lnTo>
                    <a:pt x="593" y="474"/>
                  </a:lnTo>
                  <a:lnTo>
                    <a:pt x="593" y="474"/>
                  </a:lnTo>
                  <a:lnTo>
                    <a:pt x="589" y="474"/>
                  </a:lnTo>
                  <a:lnTo>
                    <a:pt x="576" y="474"/>
                  </a:lnTo>
                  <a:lnTo>
                    <a:pt x="571" y="474"/>
                  </a:lnTo>
                  <a:lnTo>
                    <a:pt x="571" y="474"/>
                  </a:lnTo>
                  <a:lnTo>
                    <a:pt x="571" y="474"/>
                  </a:lnTo>
                  <a:lnTo>
                    <a:pt x="571" y="479"/>
                  </a:lnTo>
                  <a:lnTo>
                    <a:pt x="571" y="474"/>
                  </a:lnTo>
                  <a:lnTo>
                    <a:pt x="571" y="479"/>
                  </a:lnTo>
                  <a:lnTo>
                    <a:pt x="571" y="479"/>
                  </a:lnTo>
                  <a:lnTo>
                    <a:pt x="571" y="479"/>
                  </a:lnTo>
                  <a:close/>
                  <a:moveTo>
                    <a:pt x="558" y="474"/>
                  </a:moveTo>
                  <a:lnTo>
                    <a:pt x="558" y="474"/>
                  </a:lnTo>
                  <a:lnTo>
                    <a:pt x="558" y="474"/>
                  </a:lnTo>
                  <a:lnTo>
                    <a:pt x="558" y="474"/>
                  </a:lnTo>
                  <a:lnTo>
                    <a:pt x="558" y="474"/>
                  </a:lnTo>
                  <a:lnTo>
                    <a:pt x="554" y="474"/>
                  </a:lnTo>
                  <a:lnTo>
                    <a:pt x="554" y="474"/>
                  </a:lnTo>
                  <a:lnTo>
                    <a:pt x="554" y="474"/>
                  </a:lnTo>
                  <a:lnTo>
                    <a:pt x="554" y="479"/>
                  </a:lnTo>
                  <a:lnTo>
                    <a:pt x="554" y="479"/>
                  </a:lnTo>
                  <a:lnTo>
                    <a:pt x="554" y="479"/>
                  </a:lnTo>
                  <a:lnTo>
                    <a:pt x="554" y="479"/>
                  </a:lnTo>
                  <a:lnTo>
                    <a:pt x="554" y="479"/>
                  </a:lnTo>
                  <a:lnTo>
                    <a:pt x="554" y="479"/>
                  </a:lnTo>
                  <a:lnTo>
                    <a:pt x="554" y="483"/>
                  </a:lnTo>
                  <a:lnTo>
                    <a:pt x="558" y="483"/>
                  </a:lnTo>
                  <a:lnTo>
                    <a:pt x="558" y="479"/>
                  </a:lnTo>
                  <a:lnTo>
                    <a:pt x="558" y="479"/>
                  </a:lnTo>
                  <a:lnTo>
                    <a:pt x="558" y="474"/>
                  </a:lnTo>
                  <a:close/>
                  <a:moveTo>
                    <a:pt x="434" y="501"/>
                  </a:moveTo>
                  <a:lnTo>
                    <a:pt x="434" y="501"/>
                  </a:lnTo>
                  <a:lnTo>
                    <a:pt x="434" y="496"/>
                  </a:lnTo>
                  <a:lnTo>
                    <a:pt x="439" y="496"/>
                  </a:lnTo>
                  <a:lnTo>
                    <a:pt x="439" y="496"/>
                  </a:lnTo>
                  <a:lnTo>
                    <a:pt x="439" y="492"/>
                  </a:lnTo>
                  <a:lnTo>
                    <a:pt x="439" y="492"/>
                  </a:lnTo>
                  <a:lnTo>
                    <a:pt x="439" y="492"/>
                  </a:lnTo>
                  <a:lnTo>
                    <a:pt x="443" y="492"/>
                  </a:lnTo>
                  <a:lnTo>
                    <a:pt x="443" y="492"/>
                  </a:lnTo>
                  <a:lnTo>
                    <a:pt x="443" y="487"/>
                  </a:lnTo>
                  <a:lnTo>
                    <a:pt x="443" y="487"/>
                  </a:lnTo>
                  <a:lnTo>
                    <a:pt x="439" y="487"/>
                  </a:lnTo>
                  <a:lnTo>
                    <a:pt x="439" y="487"/>
                  </a:lnTo>
                  <a:lnTo>
                    <a:pt x="439" y="487"/>
                  </a:lnTo>
                  <a:lnTo>
                    <a:pt x="439" y="487"/>
                  </a:lnTo>
                  <a:lnTo>
                    <a:pt x="439" y="483"/>
                  </a:lnTo>
                  <a:lnTo>
                    <a:pt x="439" y="483"/>
                  </a:lnTo>
                  <a:lnTo>
                    <a:pt x="439" y="483"/>
                  </a:lnTo>
                  <a:lnTo>
                    <a:pt x="439" y="483"/>
                  </a:lnTo>
                  <a:lnTo>
                    <a:pt x="439" y="483"/>
                  </a:lnTo>
                  <a:lnTo>
                    <a:pt x="443" y="487"/>
                  </a:lnTo>
                  <a:lnTo>
                    <a:pt x="443" y="487"/>
                  </a:lnTo>
                  <a:lnTo>
                    <a:pt x="443" y="487"/>
                  </a:lnTo>
                  <a:lnTo>
                    <a:pt x="447" y="483"/>
                  </a:lnTo>
                  <a:lnTo>
                    <a:pt x="447" y="483"/>
                  </a:lnTo>
                  <a:lnTo>
                    <a:pt x="447" y="483"/>
                  </a:lnTo>
                  <a:lnTo>
                    <a:pt x="447" y="479"/>
                  </a:lnTo>
                  <a:lnTo>
                    <a:pt x="447" y="479"/>
                  </a:lnTo>
                  <a:lnTo>
                    <a:pt x="443" y="474"/>
                  </a:lnTo>
                  <a:lnTo>
                    <a:pt x="443" y="474"/>
                  </a:lnTo>
                  <a:lnTo>
                    <a:pt x="443" y="474"/>
                  </a:lnTo>
                  <a:lnTo>
                    <a:pt x="443" y="474"/>
                  </a:lnTo>
                  <a:lnTo>
                    <a:pt x="443" y="474"/>
                  </a:lnTo>
                  <a:lnTo>
                    <a:pt x="443" y="474"/>
                  </a:lnTo>
                  <a:lnTo>
                    <a:pt x="443" y="474"/>
                  </a:lnTo>
                  <a:lnTo>
                    <a:pt x="443" y="474"/>
                  </a:lnTo>
                  <a:lnTo>
                    <a:pt x="443" y="474"/>
                  </a:lnTo>
                  <a:lnTo>
                    <a:pt x="443" y="474"/>
                  </a:lnTo>
                  <a:lnTo>
                    <a:pt x="447" y="470"/>
                  </a:lnTo>
                  <a:lnTo>
                    <a:pt x="447" y="470"/>
                  </a:lnTo>
                  <a:lnTo>
                    <a:pt x="443" y="470"/>
                  </a:lnTo>
                  <a:lnTo>
                    <a:pt x="443" y="470"/>
                  </a:lnTo>
                  <a:lnTo>
                    <a:pt x="443" y="470"/>
                  </a:lnTo>
                  <a:lnTo>
                    <a:pt x="447" y="470"/>
                  </a:lnTo>
                  <a:lnTo>
                    <a:pt x="447" y="470"/>
                  </a:lnTo>
                  <a:lnTo>
                    <a:pt x="447" y="465"/>
                  </a:lnTo>
                  <a:lnTo>
                    <a:pt x="447" y="465"/>
                  </a:lnTo>
                  <a:lnTo>
                    <a:pt x="447" y="465"/>
                  </a:lnTo>
                  <a:lnTo>
                    <a:pt x="443" y="461"/>
                  </a:lnTo>
                  <a:lnTo>
                    <a:pt x="443" y="461"/>
                  </a:lnTo>
                  <a:lnTo>
                    <a:pt x="443" y="465"/>
                  </a:lnTo>
                  <a:lnTo>
                    <a:pt x="443" y="465"/>
                  </a:lnTo>
                  <a:lnTo>
                    <a:pt x="443" y="465"/>
                  </a:lnTo>
                  <a:lnTo>
                    <a:pt x="443" y="465"/>
                  </a:lnTo>
                  <a:lnTo>
                    <a:pt x="443" y="465"/>
                  </a:lnTo>
                  <a:lnTo>
                    <a:pt x="443" y="470"/>
                  </a:lnTo>
                  <a:lnTo>
                    <a:pt x="439" y="470"/>
                  </a:lnTo>
                  <a:lnTo>
                    <a:pt x="439" y="470"/>
                  </a:lnTo>
                  <a:lnTo>
                    <a:pt x="439" y="474"/>
                  </a:lnTo>
                  <a:lnTo>
                    <a:pt x="434" y="479"/>
                  </a:lnTo>
                  <a:lnTo>
                    <a:pt x="434" y="479"/>
                  </a:lnTo>
                  <a:lnTo>
                    <a:pt x="434" y="483"/>
                  </a:lnTo>
                  <a:lnTo>
                    <a:pt x="434" y="483"/>
                  </a:lnTo>
                  <a:lnTo>
                    <a:pt x="434" y="483"/>
                  </a:lnTo>
                  <a:lnTo>
                    <a:pt x="434" y="483"/>
                  </a:lnTo>
                  <a:lnTo>
                    <a:pt x="434" y="483"/>
                  </a:lnTo>
                  <a:lnTo>
                    <a:pt x="434" y="483"/>
                  </a:lnTo>
                  <a:lnTo>
                    <a:pt x="434" y="487"/>
                  </a:lnTo>
                  <a:lnTo>
                    <a:pt x="434" y="487"/>
                  </a:lnTo>
                  <a:lnTo>
                    <a:pt x="430" y="492"/>
                  </a:lnTo>
                  <a:lnTo>
                    <a:pt x="430" y="492"/>
                  </a:lnTo>
                  <a:lnTo>
                    <a:pt x="430" y="496"/>
                  </a:lnTo>
                  <a:lnTo>
                    <a:pt x="430" y="496"/>
                  </a:lnTo>
                  <a:lnTo>
                    <a:pt x="430" y="496"/>
                  </a:lnTo>
                  <a:lnTo>
                    <a:pt x="430" y="496"/>
                  </a:lnTo>
                  <a:lnTo>
                    <a:pt x="430" y="496"/>
                  </a:lnTo>
                  <a:lnTo>
                    <a:pt x="430" y="501"/>
                  </a:lnTo>
                  <a:lnTo>
                    <a:pt x="430" y="501"/>
                  </a:lnTo>
                  <a:lnTo>
                    <a:pt x="430" y="505"/>
                  </a:lnTo>
                  <a:lnTo>
                    <a:pt x="430" y="505"/>
                  </a:lnTo>
                  <a:lnTo>
                    <a:pt x="434" y="501"/>
                  </a:lnTo>
                  <a:close/>
                  <a:moveTo>
                    <a:pt x="447" y="474"/>
                  </a:moveTo>
                  <a:lnTo>
                    <a:pt x="447" y="474"/>
                  </a:lnTo>
                  <a:lnTo>
                    <a:pt x="447" y="474"/>
                  </a:lnTo>
                  <a:lnTo>
                    <a:pt x="447" y="474"/>
                  </a:lnTo>
                  <a:lnTo>
                    <a:pt x="447" y="474"/>
                  </a:lnTo>
                  <a:lnTo>
                    <a:pt x="452" y="474"/>
                  </a:lnTo>
                  <a:lnTo>
                    <a:pt x="452" y="474"/>
                  </a:lnTo>
                  <a:lnTo>
                    <a:pt x="452" y="474"/>
                  </a:lnTo>
                  <a:lnTo>
                    <a:pt x="452" y="479"/>
                  </a:lnTo>
                  <a:lnTo>
                    <a:pt x="452" y="479"/>
                  </a:lnTo>
                  <a:lnTo>
                    <a:pt x="452" y="479"/>
                  </a:lnTo>
                  <a:lnTo>
                    <a:pt x="456" y="474"/>
                  </a:lnTo>
                  <a:lnTo>
                    <a:pt x="456" y="474"/>
                  </a:lnTo>
                  <a:lnTo>
                    <a:pt x="456" y="474"/>
                  </a:lnTo>
                  <a:lnTo>
                    <a:pt x="461" y="474"/>
                  </a:lnTo>
                  <a:lnTo>
                    <a:pt x="461" y="474"/>
                  </a:lnTo>
                  <a:lnTo>
                    <a:pt x="461" y="470"/>
                  </a:lnTo>
                  <a:lnTo>
                    <a:pt x="461" y="470"/>
                  </a:lnTo>
                  <a:lnTo>
                    <a:pt x="461" y="470"/>
                  </a:lnTo>
                  <a:lnTo>
                    <a:pt x="461" y="465"/>
                  </a:lnTo>
                  <a:lnTo>
                    <a:pt x="461" y="461"/>
                  </a:lnTo>
                  <a:lnTo>
                    <a:pt x="461" y="461"/>
                  </a:lnTo>
                  <a:lnTo>
                    <a:pt x="461" y="456"/>
                  </a:lnTo>
                  <a:lnTo>
                    <a:pt x="461" y="456"/>
                  </a:lnTo>
                  <a:lnTo>
                    <a:pt x="456" y="456"/>
                  </a:lnTo>
                  <a:lnTo>
                    <a:pt x="456" y="456"/>
                  </a:lnTo>
                  <a:lnTo>
                    <a:pt x="452" y="461"/>
                  </a:lnTo>
                  <a:lnTo>
                    <a:pt x="456" y="461"/>
                  </a:lnTo>
                  <a:lnTo>
                    <a:pt x="456" y="461"/>
                  </a:lnTo>
                  <a:lnTo>
                    <a:pt x="456" y="465"/>
                  </a:lnTo>
                  <a:lnTo>
                    <a:pt x="456" y="470"/>
                  </a:lnTo>
                  <a:lnTo>
                    <a:pt x="456" y="470"/>
                  </a:lnTo>
                  <a:lnTo>
                    <a:pt x="456" y="470"/>
                  </a:lnTo>
                  <a:lnTo>
                    <a:pt x="452" y="465"/>
                  </a:lnTo>
                  <a:lnTo>
                    <a:pt x="452" y="465"/>
                  </a:lnTo>
                  <a:lnTo>
                    <a:pt x="452" y="465"/>
                  </a:lnTo>
                  <a:lnTo>
                    <a:pt x="447" y="470"/>
                  </a:lnTo>
                  <a:lnTo>
                    <a:pt x="447" y="470"/>
                  </a:lnTo>
                  <a:lnTo>
                    <a:pt x="447" y="474"/>
                  </a:lnTo>
                  <a:lnTo>
                    <a:pt x="447" y="474"/>
                  </a:lnTo>
                  <a:lnTo>
                    <a:pt x="447" y="474"/>
                  </a:lnTo>
                  <a:lnTo>
                    <a:pt x="447" y="474"/>
                  </a:lnTo>
                  <a:close/>
                  <a:moveTo>
                    <a:pt x="536" y="439"/>
                  </a:moveTo>
                  <a:lnTo>
                    <a:pt x="536" y="443"/>
                  </a:lnTo>
                  <a:lnTo>
                    <a:pt x="536" y="443"/>
                  </a:lnTo>
                  <a:lnTo>
                    <a:pt x="536" y="443"/>
                  </a:lnTo>
                  <a:lnTo>
                    <a:pt x="536" y="448"/>
                  </a:lnTo>
                  <a:lnTo>
                    <a:pt x="540" y="443"/>
                  </a:lnTo>
                  <a:lnTo>
                    <a:pt x="540" y="439"/>
                  </a:lnTo>
                  <a:lnTo>
                    <a:pt x="540" y="434"/>
                  </a:lnTo>
                  <a:lnTo>
                    <a:pt x="540" y="434"/>
                  </a:lnTo>
                  <a:lnTo>
                    <a:pt x="536" y="439"/>
                  </a:lnTo>
                  <a:close/>
                  <a:moveTo>
                    <a:pt x="496" y="434"/>
                  </a:moveTo>
                  <a:lnTo>
                    <a:pt x="496" y="434"/>
                  </a:lnTo>
                  <a:lnTo>
                    <a:pt x="500" y="434"/>
                  </a:lnTo>
                  <a:lnTo>
                    <a:pt x="500" y="439"/>
                  </a:lnTo>
                  <a:lnTo>
                    <a:pt x="500" y="439"/>
                  </a:lnTo>
                  <a:lnTo>
                    <a:pt x="500" y="439"/>
                  </a:lnTo>
                  <a:lnTo>
                    <a:pt x="500" y="443"/>
                  </a:lnTo>
                  <a:lnTo>
                    <a:pt x="505" y="439"/>
                  </a:lnTo>
                  <a:lnTo>
                    <a:pt x="505" y="439"/>
                  </a:lnTo>
                  <a:lnTo>
                    <a:pt x="505" y="434"/>
                  </a:lnTo>
                  <a:lnTo>
                    <a:pt x="500" y="434"/>
                  </a:lnTo>
                  <a:lnTo>
                    <a:pt x="500" y="430"/>
                  </a:lnTo>
                  <a:lnTo>
                    <a:pt x="500" y="430"/>
                  </a:lnTo>
                  <a:lnTo>
                    <a:pt x="496" y="430"/>
                  </a:lnTo>
                  <a:lnTo>
                    <a:pt x="496" y="430"/>
                  </a:lnTo>
                  <a:lnTo>
                    <a:pt x="496" y="434"/>
                  </a:lnTo>
                  <a:lnTo>
                    <a:pt x="496" y="434"/>
                  </a:lnTo>
                  <a:lnTo>
                    <a:pt x="496" y="434"/>
                  </a:lnTo>
                  <a:close/>
                  <a:moveTo>
                    <a:pt x="465" y="465"/>
                  </a:moveTo>
                  <a:lnTo>
                    <a:pt x="465" y="470"/>
                  </a:lnTo>
                  <a:lnTo>
                    <a:pt x="465" y="470"/>
                  </a:lnTo>
                  <a:lnTo>
                    <a:pt x="469" y="470"/>
                  </a:lnTo>
                  <a:lnTo>
                    <a:pt x="469" y="465"/>
                  </a:lnTo>
                  <a:lnTo>
                    <a:pt x="469" y="465"/>
                  </a:lnTo>
                  <a:lnTo>
                    <a:pt x="469" y="465"/>
                  </a:lnTo>
                  <a:lnTo>
                    <a:pt x="469" y="465"/>
                  </a:lnTo>
                  <a:lnTo>
                    <a:pt x="469" y="465"/>
                  </a:lnTo>
                  <a:lnTo>
                    <a:pt x="469" y="465"/>
                  </a:lnTo>
                  <a:lnTo>
                    <a:pt x="469" y="465"/>
                  </a:lnTo>
                  <a:lnTo>
                    <a:pt x="469" y="465"/>
                  </a:lnTo>
                  <a:lnTo>
                    <a:pt x="469" y="461"/>
                  </a:lnTo>
                  <a:lnTo>
                    <a:pt x="469" y="461"/>
                  </a:lnTo>
                  <a:lnTo>
                    <a:pt x="469" y="461"/>
                  </a:lnTo>
                  <a:lnTo>
                    <a:pt x="474" y="461"/>
                  </a:lnTo>
                  <a:lnTo>
                    <a:pt x="474" y="465"/>
                  </a:lnTo>
                  <a:lnTo>
                    <a:pt x="474" y="465"/>
                  </a:lnTo>
                  <a:lnTo>
                    <a:pt x="474" y="465"/>
                  </a:lnTo>
                  <a:lnTo>
                    <a:pt x="474" y="465"/>
                  </a:lnTo>
                  <a:lnTo>
                    <a:pt x="474" y="465"/>
                  </a:lnTo>
                  <a:lnTo>
                    <a:pt x="474" y="465"/>
                  </a:lnTo>
                  <a:lnTo>
                    <a:pt x="474" y="465"/>
                  </a:lnTo>
                  <a:lnTo>
                    <a:pt x="474" y="465"/>
                  </a:lnTo>
                  <a:lnTo>
                    <a:pt x="478" y="465"/>
                  </a:lnTo>
                  <a:lnTo>
                    <a:pt x="478" y="465"/>
                  </a:lnTo>
                  <a:lnTo>
                    <a:pt x="478" y="465"/>
                  </a:lnTo>
                  <a:lnTo>
                    <a:pt x="474" y="465"/>
                  </a:lnTo>
                  <a:lnTo>
                    <a:pt x="478" y="461"/>
                  </a:lnTo>
                  <a:lnTo>
                    <a:pt x="478" y="461"/>
                  </a:lnTo>
                  <a:lnTo>
                    <a:pt x="478" y="461"/>
                  </a:lnTo>
                  <a:lnTo>
                    <a:pt x="478" y="461"/>
                  </a:lnTo>
                  <a:lnTo>
                    <a:pt x="478" y="461"/>
                  </a:lnTo>
                  <a:lnTo>
                    <a:pt x="478" y="461"/>
                  </a:lnTo>
                  <a:lnTo>
                    <a:pt x="478" y="461"/>
                  </a:lnTo>
                  <a:lnTo>
                    <a:pt x="478" y="461"/>
                  </a:lnTo>
                  <a:lnTo>
                    <a:pt x="483" y="461"/>
                  </a:lnTo>
                  <a:lnTo>
                    <a:pt x="483" y="461"/>
                  </a:lnTo>
                  <a:lnTo>
                    <a:pt x="483" y="461"/>
                  </a:lnTo>
                  <a:lnTo>
                    <a:pt x="483" y="456"/>
                  </a:lnTo>
                  <a:lnTo>
                    <a:pt x="483" y="456"/>
                  </a:lnTo>
                  <a:lnTo>
                    <a:pt x="478" y="456"/>
                  </a:lnTo>
                  <a:lnTo>
                    <a:pt x="478" y="456"/>
                  </a:lnTo>
                  <a:lnTo>
                    <a:pt x="483" y="456"/>
                  </a:lnTo>
                  <a:lnTo>
                    <a:pt x="483" y="456"/>
                  </a:lnTo>
                  <a:lnTo>
                    <a:pt x="483" y="452"/>
                  </a:lnTo>
                  <a:lnTo>
                    <a:pt x="483" y="452"/>
                  </a:lnTo>
                  <a:lnTo>
                    <a:pt x="487" y="452"/>
                  </a:lnTo>
                  <a:lnTo>
                    <a:pt x="487" y="452"/>
                  </a:lnTo>
                  <a:lnTo>
                    <a:pt x="487" y="452"/>
                  </a:lnTo>
                  <a:lnTo>
                    <a:pt x="487" y="452"/>
                  </a:lnTo>
                  <a:lnTo>
                    <a:pt x="487" y="452"/>
                  </a:lnTo>
                  <a:lnTo>
                    <a:pt x="487" y="452"/>
                  </a:lnTo>
                  <a:lnTo>
                    <a:pt x="487" y="452"/>
                  </a:lnTo>
                  <a:lnTo>
                    <a:pt x="492" y="452"/>
                  </a:lnTo>
                  <a:lnTo>
                    <a:pt x="496" y="452"/>
                  </a:lnTo>
                  <a:lnTo>
                    <a:pt x="496" y="452"/>
                  </a:lnTo>
                  <a:lnTo>
                    <a:pt x="496" y="448"/>
                  </a:lnTo>
                  <a:lnTo>
                    <a:pt x="496" y="448"/>
                  </a:lnTo>
                  <a:lnTo>
                    <a:pt x="500" y="443"/>
                  </a:lnTo>
                  <a:lnTo>
                    <a:pt x="500" y="439"/>
                  </a:lnTo>
                  <a:lnTo>
                    <a:pt x="496" y="439"/>
                  </a:lnTo>
                  <a:lnTo>
                    <a:pt x="492" y="439"/>
                  </a:lnTo>
                  <a:lnTo>
                    <a:pt x="492" y="439"/>
                  </a:lnTo>
                  <a:lnTo>
                    <a:pt x="492" y="439"/>
                  </a:lnTo>
                  <a:lnTo>
                    <a:pt x="492" y="434"/>
                  </a:lnTo>
                  <a:lnTo>
                    <a:pt x="492" y="430"/>
                  </a:lnTo>
                  <a:lnTo>
                    <a:pt x="487" y="430"/>
                  </a:lnTo>
                  <a:lnTo>
                    <a:pt x="487" y="430"/>
                  </a:lnTo>
                  <a:lnTo>
                    <a:pt x="483" y="434"/>
                  </a:lnTo>
                  <a:lnTo>
                    <a:pt x="483" y="434"/>
                  </a:lnTo>
                  <a:lnTo>
                    <a:pt x="483" y="434"/>
                  </a:lnTo>
                  <a:lnTo>
                    <a:pt x="483" y="439"/>
                  </a:lnTo>
                  <a:lnTo>
                    <a:pt x="483" y="439"/>
                  </a:lnTo>
                  <a:lnTo>
                    <a:pt x="483" y="439"/>
                  </a:lnTo>
                  <a:lnTo>
                    <a:pt x="478" y="439"/>
                  </a:lnTo>
                  <a:lnTo>
                    <a:pt x="478" y="439"/>
                  </a:lnTo>
                  <a:lnTo>
                    <a:pt x="478" y="439"/>
                  </a:lnTo>
                  <a:lnTo>
                    <a:pt x="478" y="439"/>
                  </a:lnTo>
                  <a:lnTo>
                    <a:pt x="474" y="439"/>
                  </a:lnTo>
                  <a:lnTo>
                    <a:pt x="474" y="434"/>
                  </a:lnTo>
                  <a:lnTo>
                    <a:pt x="474" y="434"/>
                  </a:lnTo>
                  <a:lnTo>
                    <a:pt x="474" y="434"/>
                  </a:lnTo>
                  <a:lnTo>
                    <a:pt x="474" y="434"/>
                  </a:lnTo>
                  <a:lnTo>
                    <a:pt x="465" y="443"/>
                  </a:lnTo>
                  <a:lnTo>
                    <a:pt x="469" y="443"/>
                  </a:lnTo>
                  <a:lnTo>
                    <a:pt x="469" y="443"/>
                  </a:lnTo>
                  <a:lnTo>
                    <a:pt x="469" y="443"/>
                  </a:lnTo>
                  <a:lnTo>
                    <a:pt x="469" y="443"/>
                  </a:lnTo>
                  <a:lnTo>
                    <a:pt x="469" y="448"/>
                  </a:lnTo>
                  <a:lnTo>
                    <a:pt x="465" y="448"/>
                  </a:lnTo>
                  <a:lnTo>
                    <a:pt x="465" y="452"/>
                  </a:lnTo>
                  <a:lnTo>
                    <a:pt x="465" y="452"/>
                  </a:lnTo>
                  <a:lnTo>
                    <a:pt x="465" y="452"/>
                  </a:lnTo>
                  <a:lnTo>
                    <a:pt x="465" y="452"/>
                  </a:lnTo>
                  <a:lnTo>
                    <a:pt x="465" y="456"/>
                  </a:lnTo>
                  <a:lnTo>
                    <a:pt x="465" y="456"/>
                  </a:lnTo>
                  <a:lnTo>
                    <a:pt x="465" y="456"/>
                  </a:lnTo>
                  <a:lnTo>
                    <a:pt x="465" y="456"/>
                  </a:lnTo>
                  <a:lnTo>
                    <a:pt x="465" y="456"/>
                  </a:lnTo>
                  <a:lnTo>
                    <a:pt x="465" y="456"/>
                  </a:lnTo>
                  <a:lnTo>
                    <a:pt x="465" y="456"/>
                  </a:lnTo>
                  <a:lnTo>
                    <a:pt x="465" y="456"/>
                  </a:lnTo>
                  <a:lnTo>
                    <a:pt x="465" y="456"/>
                  </a:lnTo>
                  <a:lnTo>
                    <a:pt x="469" y="452"/>
                  </a:lnTo>
                  <a:lnTo>
                    <a:pt x="469" y="456"/>
                  </a:lnTo>
                  <a:lnTo>
                    <a:pt x="465" y="461"/>
                  </a:lnTo>
                  <a:lnTo>
                    <a:pt x="465" y="465"/>
                  </a:lnTo>
                  <a:close/>
                  <a:moveTo>
                    <a:pt x="505" y="443"/>
                  </a:moveTo>
                  <a:lnTo>
                    <a:pt x="509" y="443"/>
                  </a:lnTo>
                  <a:lnTo>
                    <a:pt x="509" y="443"/>
                  </a:lnTo>
                  <a:lnTo>
                    <a:pt x="509" y="443"/>
                  </a:lnTo>
                  <a:lnTo>
                    <a:pt x="505" y="448"/>
                  </a:lnTo>
                  <a:lnTo>
                    <a:pt x="500" y="448"/>
                  </a:lnTo>
                  <a:lnTo>
                    <a:pt x="500" y="448"/>
                  </a:lnTo>
                  <a:lnTo>
                    <a:pt x="505" y="452"/>
                  </a:lnTo>
                  <a:lnTo>
                    <a:pt x="505" y="452"/>
                  </a:lnTo>
                  <a:lnTo>
                    <a:pt x="505" y="452"/>
                  </a:lnTo>
                  <a:lnTo>
                    <a:pt x="505" y="452"/>
                  </a:lnTo>
                  <a:lnTo>
                    <a:pt x="505" y="452"/>
                  </a:lnTo>
                  <a:lnTo>
                    <a:pt x="505" y="452"/>
                  </a:lnTo>
                  <a:lnTo>
                    <a:pt x="505" y="452"/>
                  </a:lnTo>
                  <a:lnTo>
                    <a:pt x="505" y="452"/>
                  </a:lnTo>
                  <a:lnTo>
                    <a:pt x="500" y="456"/>
                  </a:lnTo>
                  <a:lnTo>
                    <a:pt x="505" y="456"/>
                  </a:lnTo>
                  <a:lnTo>
                    <a:pt x="505" y="456"/>
                  </a:lnTo>
                  <a:lnTo>
                    <a:pt x="505" y="452"/>
                  </a:lnTo>
                  <a:lnTo>
                    <a:pt x="509" y="452"/>
                  </a:lnTo>
                  <a:lnTo>
                    <a:pt x="509" y="452"/>
                  </a:lnTo>
                  <a:lnTo>
                    <a:pt x="509" y="452"/>
                  </a:lnTo>
                  <a:lnTo>
                    <a:pt x="509" y="452"/>
                  </a:lnTo>
                  <a:lnTo>
                    <a:pt x="509" y="452"/>
                  </a:lnTo>
                  <a:lnTo>
                    <a:pt x="509" y="452"/>
                  </a:lnTo>
                  <a:lnTo>
                    <a:pt x="514" y="452"/>
                  </a:lnTo>
                  <a:lnTo>
                    <a:pt x="514" y="452"/>
                  </a:lnTo>
                  <a:lnTo>
                    <a:pt x="514" y="452"/>
                  </a:lnTo>
                  <a:lnTo>
                    <a:pt x="514" y="448"/>
                  </a:lnTo>
                  <a:lnTo>
                    <a:pt x="518" y="448"/>
                  </a:lnTo>
                  <a:lnTo>
                    <a:pt x="518" y="448"/>
                  </a:lnTo>
                  <a:lnTo>
                    <a:pt x="523" y="448"/>
                  </a:lnTo>
                  <a:lnTo>
                    <a:pt x="523" y="448"/>
                  </a:lnTo>
                  <a:lnTo>
                    <a:pt x="523" y="448"/>
                  </a:lnTo>
                  <a:lnTo>
                    <a:pt x="527" y="443"/>
                  </a:lnTo>
                  <a:lnTo>
                    <a:pt x="527" y="443"/>
                  </a:lnTo>
                  <a:lnTo>
                    <a:pt x="527" y="439"/>
                  </a:lnTo>
                  <a:lnTo>
                    <a:pt x="523" y="439"/>
                  </a:lnTo>
                  <a:lnTo>
                    <a:pt x="527" y="439"/>
                  </a:lnTo>
                  <a:lnTo>
                    <a:pt x="527" y="439"/>
                  </a:lnTo>
                  <a:lnTo>
                    <a:pt x="527" y="439"/>
                  </a:lnTo>
                  <a:lnTo>
                    <a:pt x="527" y="439"/>
                  </a:lnTo>
                  <a:lnTo>
                    <a:pt x="527" y="439"/>
                  </a:lnTo>
                  <a:lnTo>
                    <a:pt x="527" y="434"/>
                  </a:lnTo>
                  <a:lnTo>
                    <a:pt x="527" y="434"/>
                  </a:lnTo>
                  <a:lnTo>
                    <a:pt x="531" y="430"/>
                  </a:lnTo>
                  <a:lnTo>
                    <a:pt x="531" y="430"/>
                  </a:lnTo>
                  <a:lnTo>
                    <a:pt x="531" y="430"/>
                  </a:lnTo>
                  <a:lnTo>
                    <a:pt x="531" y="430"/>
                  </a:lnTo>
                  <a:lnTo>
                    <a:pt x="531" y="430"/>
                  </a:lnTo>
                  <a:lnTo>
                    <a:pt x="531" y="434"/>
                  </a:lnTo>
                  <a:lnTo>
                    <a:pt x="531" y="434"/>
                  </a:lnTo>
                  <a:lnTo>
                    <a:pt x="531" y="434"/>
                  </a:lnTo>
                  <a:lnTo>
                    <a:pt x="531" y="439"/>
                  </a:lnTo>
                  <a:lnTo>
                    <a:pt x="531" y="439"/>
                  </a:lnTo>
                  <a:lnTo>
                    <a:pt x="531" y="443"/>
                  </a:lnTo>
                  <a:lnTo>
                    <a:pt x="531" y="439"/>
                  </a:lnTo>
                  <a:lnTo>
                    <a:pt x="540" y="430"/>
                  </a:lnTo>
                  <a:lnTo>
                    <a:pt x="545" y="430"/>
                  </a:lnTo>
                  <a:lnTo>
                    <a:pt x="545" y="430"/>
                  </a:lnTo>
                  <a:lnTo>
                    <a:pt x="540" y="425"/>
                  </a:lnTo>
                  <a:lnTo>
                    <a:pt x="545" y="425"/>
                  </a:lnTo>
                  <a:lnTo>
                    <a:pt x="545" y="425"/>
                  </a:lnTo>
                  <a:lnTo>
                    <a:pt x="545" y="425"/>
                  </a:lnTo>
                  <a:lnTo>
                    <a:pt x="545" y="425"/>
                  </a:lnTo>
                  <a:lnTo>
                    <a:pt x="545" y="425"/>
                  </a:lnTo>
                  <a:lnTo>
                    <a:pt x="545" y="425"/>
                  </a:lnTo>
                  <a:lnTo>
                    <a:pt x="545" y="425"/>
                  </a:lnTo>
                  <a:lnTo>
                    <a:pt x="545" y="425"/>
                  </a:lnTo>
                  <a:lnTo>
                    <a:pt x="545" y="425"/>
                  </a:lnTo>
                  <a:lnTo>
                    <a:pt x="545" y="425"/>
                  </a:lnTo>
                  <a:lnTo>
                    <a:pt x="554" y="417"/>
                  </a:lnTo>
                  <a:lnTo>
                    <a:pt x="554" y="412"/>
                  </a:lnTo>
                  <a:lnTo>
                    <a:pt x="549" y="412"/>
                  </a:lnTo>
                  <a:lnTo>
                    <a:pt x="549" y="412"/>
                  </a:lnTo>
                  <a:lnTo>
                    <a:pt x="545" y="417"/>
                  </a:lnTo>
                  <a:lnTo>
                    <a:pt x="540" y="417"/>
                  </a:lnTo>
                  <a:lnTo>
                    <a:pt x="540" y="417"/>
                  </a:lnTo>
                  <a:lnTo>
                    <a:pt x="540" y="417"/>
                  </a:lnTo>
                  <a:lnTo>
                    <a:pt x="540" y="421"/>
                  </a:lnTo>
                  <a:lnTo>
                    <a:pt x="536" y="425"/>
                  </a:lnTo>
                  <a:lnTo>
                    <a:pt x="536" y="425"/>
                  </a:lnTo>
                  <a:lnTo>
                    <a:pt x="531" y="425"/>
                  </a:lnTo>
                  <a:lnTo>
                    <a:pt x="531" y="425"/>
                  </a:lnTo>
                  <a:lnTo>
                    <a:pt x="531" y="425"/>
                  </a:lnTo>
                  <a:lnTo>
                    <a:pt x="536" y="421"/>
                  </a:lnTo>
                  <a:lnTo>
                    <a:pt x="536" y="421"/>
                  </a:lnTo>
                  <a:lnTo>
                    <a:pt x="536" y="421"/>
                  </a:lnTo>
                  <a:lnTo>
                    <a:pt x="536" y="417"/>
                  </a:lnTo>
                  <a:lnTo>
                    <a:pt x="536" y="417"/>
                  </a:lnTo>
                  <a:lnTo>
                    <a:pt x="531" y="417"/>
                  </a:lnTo>
                  <a:lnTo>
                    <a:pt x="531" y="417"/>
                  </a:lnTo>
                  <a:lnTo>
                    <a:pt x="531" y="417"/>
                  </a:lnTo>
                  <a:lnTo>
                    <a:pt x="531" y="417"/>
                  </a:lnTo>
                  <a:lnTo>
                    <a:pt x="527" y="417"/>
                  </a:lnTo>
                  <a:lnTo>
                    <a:pt x="527" y="421"/>
                  </a:lnTo>
                  <a:lnTo>
                    <a:pt x="527" y="425"/>
                  </a:lnTo>
                  <a:lnTo>
                    <a:pt x="527" y="421"/>
                  </a:lnTo>
                  <a:lnTo>
                    <a:pt x="527" y="421"/>
                  </a:lnTo>
                  <a:lnTo>
                    <a:pt x="527" y="421"/>
                  </a:lnTo>
                  <a:lnTo>
                    <a:pt x="527" y="417"/>
                  </a:lnTo>
                  <a:lnTo>
                    <a:pt x="527" y="417"/>
                  </a:lnTo>
                  <a:lnTo>
                    <a:pt x="523" y="421"/>
                  </a:lnTo>
                  <a:lnTo>
                    <a:pt x="523" y="421"/>
                  </a:lnTo>
                  <a:lnTo>
                    <a:pt x="523" y="421"/>
                  </a:lnTo>
                  <a:lnTo>
                    <a:pt x="523" y="425"/>
                  </a:lnTo>
                  <a:lnTo>
                    <a:pt x="523" y="425"/>
                  </a:lnTo>
                  <a:lnTo>
                    <a:pt x="518" y="421"/>
                  </a:lnTo>
                  <a:lnTo>
                    <a:pt x="518" y="421"/>
                  </a:lnTo>
                  <a:lnTo>
                    <a:pt x="514" y="425"/>
                  </a:lnTo>
                  <a:lnTo>
                    <a:pt x="514" y="425"/>
                  </a:lnTo>
                  <a:lnTo>
                    <a:pt x="514" y="425"/>
                  </a:lnTo>
                  <a:lnTo>
                    <a:pt x="514" y="430"/>
                  </a:lnTo>
                  <a:lnTo>
                    <a:pt x="514" y="430"/>
                  </a:lnTo>
                  <a:lnTo>
                    <a:pt x="514" y="430"/>
                  </a:lnTo>
                  <a:lnTo>
                    <a:pt x="518" y="430"/>
                  </a:lnTo>
                  <a:lnTo>
                    <a:pt x="518" y="430"/>
                  </a:lnTo>
                  <a:lnTo>
                    <a:pt x="518" y="434"/>
                  </a:lnTo>
                  <a:lnTo>
                    <a:pt x="518" y="434"/>
                  </a:lnTo>
                  <a:lnTo>
                    <a:pt x="518" y="434"/>
                  </a:lnTo>
                  <a:lnTo>
                    <a:pt x="514" y="434"/>
                  </a:lnTo>
                  <a:lnTo>
                    <a:pt x="514" y="434"/>
                  </a:lnTo>
                  <a:lnTo>
                    <a:pt x="514" y="434"/>
                  </a:lnTo>
                  <a:lnTo>
                    <a:pt x="514" y="434"/>
                  </a:lnTo>
                  <a:lnTo>
                    <a:pt x="514" y="434"/>
                  </a:lnTo>
                  <a:lnTo>
                    <a:pt x="514" y="434"/>
                  </a:lnTo>
                  <a:lnTo>
                    <a:pt x="514" y="434"/>
                  </a:lnTo>
                  <a:lnTo>
                    <a:pt x="514" y="439"/>
                  </a:lnTo>
                  <a:lnTo>
                    <a:pt x="514" y="439"/>
                  </a:lnTo>
                  <a:lnTo>
                    <a:pt x="509" y="430"/>
                  </a:lnTo>
                  <a:lnTo>
                    <a:pt x="509" y="430"/>
                  </a:lnTo>
                  <a:lnTo>
                    <a:pt x="509" y="434"/>
                  </a:lnTo>
                  <a:lnTo>
                    <a:pt x="509" y="434"/>
                  </a:lnTo>
                  <a:lnTo>
                    <a:pt x="509" y="439"/>
                  </a:lnTo>
                  <a:lnTo>
                    <a:pt x="509" y="439"/>
                  </a:lnTo>
                  <a:lnTo>
                    <a:pt x="505" y="439"/>
                  </a:lnTo>
                  <a:lnTo>
                    <a:pt x="505" y="439"/>
                  </a:lnTo>
                  <a:lnTo>
                    <a:pt x="505" y="443"/>
                  </a:lnTo>
                  <a:lnTo>
                    <a:pt x="505" y="443"/>
                  </a:lnTo>
                  <a:close/>
                  <a:moveTo>
                    <a:pt x="620" y="412"/>
                  </a:moveTo>
                  <a:lnTo>
                    <a:pt x="620" y="412"/>
                  </a:lnTo>
                  <a:lnTo>
                    <a:pt x="620" y="408"/>
                  </a:lnTo>
                  <a:lnTo>
                    <a:pt x="620" y="408"/>
                  </a:lnTo>
                  <a:lnTo>
                    <a:pt x="620" y="408"/>
                  </a:lnTo>
                  <a:lnTo>
                    <a:pt x="620" y="408"/>
                  </a:lnTo>
                  <a:lnTo>
                    <a:pt x="620" y="403"/>
                  </a:lnTo>
                  <a:lnTo>
                    <a:pt x="620" y="403"/>
                  </a:lnTo>
                  <a:lnTo>
                    <a:pt x="620" y="403"/>
                  </a:lnTo>
                  <a:lnTo>
                    <a:pt x="620" y="403"/>
                  </a:lnTo>
                  <a:lnTo>
                    <a:pt x="616" y="403"/>
                  </a:lnTo>
                  <a:lnTo>
                    <a:pt x="616" y="399"/>
                  </a:lnTo>
                  <a:lnTo>
                    <a:pt x="611" y="403"/>
                  </a:lnTo>
                  <a:lnTo>
                    <a:pt x="607" y="403"/>
                  </a:lnTo>
                  <a:lnTo>
                    <a:pt x="607" y="408"/>
                  </a:lnTo>
                  <a:lnTo>
                    <a:pt x="607" y="412"/>
                  </a:lnTo>
                  <a:lnTo>
                    <a:pt x="602" y="417"/>
                  </a:lnTo>
                  <a:lnTo>
                    <a:pt x="607" y="417"/>
                  </a:lnTo>
                  <a:lnTo>
                    <a:pt x="607" y="417"/>
                  </a:lnTo>
                  <a:lnTo>
                    <a:pt x="607" y="417"/>
                  </a:lnTo>
                  <a:lnTo>
                    <a:pt x="602" y="421"/>
                  </a:lnTo>
                  <a:lnTo>
                    <a:pt x="602" y="421"/>
                  </a:lnTo>
                  <a:lnTo>
                    <a:pt x="602" y="421"/>
                  </a:lnTo>
                  <a:lnTo>
                    <a:pt x="602" y="425"/>
                  </a:lnTo>
                  <a:lnTo>
                    <a:pt x="607" y="421"/>
                  </a:lnTo>
                  <a:lnTo>
                    <a:pt x="607" y="421"/>
                  </a:lnTo>
                  <a:lnTo>
                    <a:pt x="611" y="421"/>
                  </a:lnTo>
                  <a:lnTo>
                    <a:pt x="620" y="417"/>
                  </a:lnTo>
                  <a:lnTo>
                    <a:pt x="620" y="417"/>
                  </a:lnTo>
                  <a:lnTo>
                    <a:pt x="620" y="417"/>
                  </a:lnTo>
                  <a:lnTo>
                    <a:pt x="616" y="417"/>
                  </a:lnTo>
                  <a:lnTo>
                    <a:pt x="616" y="412"/>
                  </a:lnTo>
                  <a:lnTo>
                    <a:pt x="620" y="412"/>
                  </a:lnTo>
                  <a:lnTo>
                    <a:pt x="620" y="412"/>
                  </a:lnTo>
                  <a:close/>
                  <a:moveTo>
                    <a:pt x="531" y="394"/>
                  </a:moveTo>
                  <a:lnTo>
                    <a:pt x="531" y="394"/>
                  </a:lnTo>
                  <a:lnTo>
                    <a:pt x="527" y="394"/>
                  </a:lnTo>
                  <a:lnTo>
                    <a:pt x="523" y="394"/>
                  </a:lnTo>
                  <a:lnTo>
                    <a:pt x="523" y="399"/>
                  </a:lnTo>
                  <a:lnTo>
                    <a:pt x="527" y="399"/>
                  </a:lnTo>
                  <a:lnTo>
                    <a:pt x="527" y="403"/>
                  </a:lnTo>
                  <a:lnTo>
                    <a:pt x="527" y="403"/>
                  </a:lnTo>
                  <a:lnTo>
                    <a:pt x="531" y="408"/>
                  </a:lnTo>
                  <a:lnTo>
                    <a:pt x="531" y="408"/>
                  </a:lnTo>
                  <a:lnTo>
                    <a:pt x="540" y="408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0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403"/>
                  </a:lnTo>
                  <a:lnTo>
                    <a:pt x="545" y="399"/>
                  </a:lnTo>
                  <a:lnTo>
                    <a:pt x="545" y="399"/>
                  </a:lnTo>
                  <a:lnTo>
                    <a:pt x="545" y="399"/>
                  </a:lnTo>
                  <a:lnTo>
                    <a:pt x="545" y="399"/>
                  </a:lnTo>
                  <a:lnTo>
                    <a:pt x="545" y="399"/>
                  </a:lnTo>
                  <a:lnTo>
                    <a:pt x="545" y="399"/>
                  </a:lnTo>
                  <a:lnTo>
                    <a:pt x="540" y="399"/>
                  </a:lnTo>
                  <a:lnTo>
                    <a:pt x="536" y="394"/>
                  </a:lnTo>
                  <a:lnTo>
                    <a:pt x="531" y="394"/>
                  </a:lnTo>
                  <a:close/>
                  <a:moveTo>
                    <a:pt x="651" y="359"/>
                  </a:moveTo>
                  <a:lnTo>
                    <a:pt x="651" y="355"/>
                  </a:lnTo>
                  <a:lnTo>
                    <a:pt x="651" y="355"/>
                  </a:lnTo>
                  <a:lnTo>
                    <a:pt x="651" y="355"/>
                  </a:lnTo>
                  <a:lnTo>
                    <a:pt x="651" y="355"/>
                  </a:lnTo>
                  <a:lnTo>
                    <a:pt x="647" y="355"/>
                  </a:lnTo>
                  <a:lnTo>
                    <a:pt x="647" y="363"/>
                  </a:lnTo>
                  <a:lnTo>
                    <a:pt x="642" y="363"/>
                  </a:lnTo>
                  <a:lnTo>
                    <a:pt x="642" y="368"/>
                  </a:lnTo>
                  <a:lnTo>
                    <a:pt x="642" y="368"/>
                  </a:lnTo>
                  <a:lnTo>
                    <a:pt x="642" y="368"/>
                  </a:lnTo>
                  <a:lnTo>
                    <a:pt x="642" y="372"/>
                  </a:lnTo>
                  <a:lnTo>
                    <a:pt x="642" y="372"/>
                  </a:lnTo>
                  <a:lnTo>
                    <a:pt x="642" y="372"/>
                  </a:lnTo>
                  <a:lnTo>
                    <a:pt x="642" y="372"/>
                  </a:lnTo>
                  <a:lnTo>
                    <a:pt x="655" y="368"/>
                  </a:lnTo>
                  <a:lnTo>
                    <a:pt x="660" y="368"/>
                  </a:lnTo>
                  <a:lnTo>
                    <a:pt x="655" y="363"/>
                  </a:lnTo>
                  <a:lnTo>
                    <a:pt x="655" y="359"/>
                  </a:lnTo>
                  <a:lnTo>
                    <a:pt x="651" y="359"/>
                  </a:lnTo>
                  <a:close/>
                  <a:moveTo>
                    <a:pt x="660" y="355"/>
                  </a:moveTo>
                  <a:lnTo>
                    <a:pt x="660" y="359"/>
                  </a:lnTo>
                  <a:lnTo>
                    <a:pt x="660" y="363"/>
                  </a:lnTo>
                  <a:lnTo>
                    <a:pt x="660" y="363"/>
                  </a:lnTo>
                  <a:lnTo>
                    <a:pt x="664" y="363"/>
                  </a:lnTo>
                  <a:lnTo>
                    <a:pt x="664" y="363"/>
                  </a:lnTo>
                  <a:lnTo>
                    <a:pt x="669" y="359"/>
                  </a:lnTo>
                  <a:lnTo>
                    <a:pt x="673" y="355"/>
                  </a:lnTo>
                  <a:lnTo>
                    <a:pt x="673" y="350"/>
                  </a:lnTo>
                  <a:lnTo>
                    <a:pt x="669" y="346"/>
                  </a:lnTo>
                  <a:lnTo>
                    <a:pt x="669" y="346"/>
                  </a:lnTo>
                  <a:lnTo>
                    <a:pt x="660" y="346"/>
                  </a:lnTo>
                  <a:lnTo>
                    <a:pt x="660" y="346"/>
                  </a:lnTo>
                  <a:lnTo>
                    <a:pt x="660" y="350"/>
                  </a:lnTo>
                  <a:lnTo>
                    <a:pt x="660" y="350"/>
                  </a:lnTo>
                  <a:lnTo>
                    <a:pt x="664" y="355"/>
                  </a:lnTo>
                  <a:lnTo>
                    <a:pt x="664" y="355"/>
                  </a:lnTo>
                  <a:lnTo>
                    <a:pt x="664" y="355"/>
                  </a:lnTo>
                  <a:lnTo>
                    <a:pt x="660" y="355"/>
                  </a:lnTo>
                  <a:lnTo>
                    <a:pt x="660" y="350"/>
                  </a:lnTo>
                  <a:lnTo>
                    <a:pt x="660" y="350"/>
                  </a:lnTo>
                  <a:lnTo>
                    <a:pt x="655" y="346"/>
                  </a:lnTo>
                  <a:lnTo>
                    <a:pt x="655" y="346"/>
                  </a:lnTo>
                  <a:lnTo>
                    <a:pt x="655" y="346"/>
                  </a:lnTo>
                  <a:lnTo>
                    <a:pt x="655" y="350"/>
                  </a:lnTo>
                  <a:lnTo>
                    <a:pt x="655" y="350"/>
                  </a:lnTo>
                  <a:lnTo>
                    <a:pt x="660" y="355"/>
                  </a:lnTo>
                  <a:lnTo>
                    <a:pt x="660" y="355"/>
                  </a:lnTo>
                  <a:close/>
                  <a:moveTo>
                    <a:pt x="536" y="350"/>
                  </a:moveTo>
                  <a:lnTo>
                    <a:pt x="536" y="350"/>
                  </a:lnTo>
                  <a:lnTo>
                    <a:pt x="540" y="350"/>
                  </a:lnTo>
                  <a:lnTo>
                    <a:pt x="540" y="350"/>
                  </a:lnTo>
                  <a:lnTo>
                    <a:pt x="540" y="350"/>
                  </a:lnTo>
                  <a:lnTo>
                    <a:pt x="545" y="350"/>
                  </a:lnTo>
                  <a:lnTo>
                    <a:pt x="545" y="346"/>
                  </a:lnTo>
                  <a:lnTo>
                    <a:pt x="545" y="346"/>
                  </a:lnTo>
                  <a:lnTo>
                    <a:pt x="540" y="346"/>
                  </a:lnTo>
                  <a:lnTo>
                    <a:pt x="540" y="346"/>
                  </a:lnTo>
                  <a:lnTo>
                    <a:pt x="536" y="346"/>
                  </a:lnTo>
                  <a:lnTo>
                    <a:pt x="536" y="346"/>
                  </a:lnTo>
                  <a:lnTo>
                    <a:pt x="536" y="346"/>
                  </a:lnTo>
                  <a:lnTo>
                    <a:pt x="536" y="346"/>
                  </a:lnTo>
                  <a:lnTo>
                    <a:pt x="536" y="346"/>
                  </a:lnTo>
                  <a:lnTo>
                    <a:pt x="536" y="350"/>
                  </a:lnTo>
                  <a:lnTo>
                    <a:pt x="536" y="350"/>
                  </a:lnTo>
                  <a:close/>
                  <a:moveTo>
                    <a:pt x="567" y="394"/>
                  </a:moveTo>
                  <a:lnTo>
                    <a:pt x="567" y="399"/>
                  </a:lnTo>
                  <a:lnTo>
                    <a:pt x="567" y="399"/>
                  </a:lnTo>
                  <a:lnTo>
                    <a:pt x="567" y="394"/>
                  </a:lnTo>
                  <a:lnTo>
                    <a:pt x="567" y="394"/>
                  </a:lnTo>
                  <a:lnTo>
                    <a:pt x="562" y="394"/>
                  </a:lnTo>
                  <a:lnTo>
                    <a:pt x="562" y="399"/>
                  </a:lnTo>
                  <a:lnTo>
                    <a:pt x="562" y="399"/>
                  </a:lnTo>
                  <a:lnTo>
                    <a:pt x="558" y="399"/>
                  </a:lnTo>
                  <a:lnTo>
                    <a:pt x="558" y="399"/>
                  </a:lnTo>
                  <a:lnTo>
                    <a:pt x="558" y="399"/>
                  </a:lnTo>
                  <a:lnTo>
                    <a:pt x="554" y="399"/>
                  </a:lnTo>
                  <a:lnTo>
                    <a:pt x="554" y="403"/>
                  </a:lnTo>
                  <a:lnTo>
                    <a:pt x="558" y="403"/>
                  </a:lnTo>
                  <a:lnTo>
                    <a:pt x="558" y="403"/>
                  </a:lnTo>
                  <a:lnTo>
                    <a:pt x="558" y="403"/>
                  </a:lnTo>
                  <a:lnTo>
                    <a:pt x="558" y="408"/>
                  </a:lnTo>
                  <a:lnTo>
                    <a:pt x="558" y="408"/>
                  </a:lnTo>
                  <a:lnTo>
                    <a:pt x="562" y="408"/>
                  </a:lnTo>
                  <a:lnTo>
                    <a:pt x="558" y="408"/>
                  </a:lnTo>
                  <a:lnTo>
                    <a:pt x="558" y="408"/>
                  </a:lnTo>
                  <a:lnTo>
                    <a:pt x="558" y="408"/>
                  </a:lnTo>
                  <a:lnTo>
                    <a:pt x="558" y="412"/>
                  </a:lnTo>
                  <a:lnTo>
                    <a:pt x="562" y="412"/>
                  </a:lnTo>
                  <a:lnTo>
                    <a:pt x="562" y="412"/>
                  </a:lnTo>
                  <a:lnTo>
                    <a:pt x="558" y="412"/>
                  </a:lnTo>
                  <a:lnTo>
                    <a:pt x="558" y="412"/>
                  </a:lnTo>
                  <a:lnTo>
                    <a:pt x="558" y="412"/>
                  </a:lnTo>
                  <a:lnTo>
                    <a:pt x="554" y="417"/>
                  </a:lnTo>
                  <a:lnTo>
                    <a:pt x="549" y="421"/>
                  </a:lnTo>
                  <a:lnTo>
                    <a:pt x="549" y="425"/>
                  </a:lnTo>
                  <a:lnTo>
                    <a:pt x="549" y="430"/>
                  </a:lnTo>
                  <a:lnTo>
                    <a:pt x="549" y="430"/>
                  </a:lnTo>
                  <a:lnTo>
                    <a:pt x="545" y="430"/>
                  </a:lnTo>
                  <a:lnTo>
                    <a:pt x="545" y="434"/>
                  </a:lnTo>
                  <a:lnTo>
                    <a:pt x="545" y="434"/>
                  </a:lnTo>
                  <a:lnTo>
                    <a:pt x="545" y="439"/>
                  </a:lnTo>
                  <a:lnTo>
                    <a:pt x="545" y="439"/>
                  </a:lnTo>
                  <a:lnTo>
                    <a:pt x="545" y="439"/>
                  </a:lnTo>
                  <a:lnTo>
                    <a:pt x="545" y="439"/>
                  </a:lnTo>
                  <a:lnTo>
                    <a:pt x="545" y="439"/>
                  </a:lnTo>
                  <a:lnTo>
                    <a:pt x="545" y="443"/>
                  </a:lnTo>
                  <a:lnTo>
                    <a:pt x="545" y="439"/>
                  </a:lnTo>
                  <a:lnTo>
                    <a:pt x="549" y="439"/>
                  </a:lnTo>
                  <a:lnTo>
                    <a:pt x="549" y="439"/>
                  </a:lnTo>
                  <a:lnTo>
                    <a:pt x="554" y="434"/>
                  </a:lnTo>
                  <a:lnTo>
                    <a:pt x="554" y="434"/>
                  </a:lnTo>
                  <a:lnTo>
                    <a:pt x="558" y="430"/>
                  </a:lnTo>
                  <a:lnTo>
                    <a:pt x="558" y="430"/>
                  </a:lnTo>
                  <a:lnTo>
                    <a:pt x="558" y="430"/>
                  </a:lnTo>
                  <a:lnTo>
                    <a:pt x="558" y="425"/>
                  </a:lnTo>
                  <a:lnTo>
                    <a:pt x="554" y="425"/>
                  </a:lnTo>
                  <a:lnTo>
                    <a:pt x="554" y="425"/>
                  </a:lnTo>
                  <a:lnTo>
                    <a:pt x="558" y="425"/>
                  </a:lnTo>
                  <a:lnTo>
                    <a:pt x="562" y="421"/>
                  </a:lnTo>
                  <a:lnTo>
                    <a:pt x="562" y="421"/>
                  </a:lnTo>
                  <a:lnTo>
                    <a:pt x="562" y="417"/>
                  </a:lnTo>
                  <a:lnTo>
                    <a:pt x="562" y="417"/>
                  </a:lnTo>
                  <a:lnTo>
                    <a:pt x="567" y="417"/>
                  </a:lnTo>
                  <a:lnTo>
                    <a:pt x="567" y="417"/>
                  </a:lnTo>
                  <a:lnTo>
                    <a:pt x="567" y="417"/>
                  </a:lnTo>
                  <a:lnTo>
                    <a:pt x="567" y="417"/>
                  </a:lnTo>
                  <a:lnTo>
                    <a:pt x="571" y="412"/>
                  </a:lnTo>
                  <a:lnTo>
                    <a:pt x="576" y="408"/>
                  </a:lnTo>
                  <a:lnTo>
                    <a:pt x="576" y="408"/>
                  </a:lnTo>
                  <a:lnTo>
                    <a:pt x="571" y="403"/>
                  </a:lnTo>
                  <a:lnTo>
                    <a:pt x="576" y="403"/>
                  </a:lnTo>
                  <a:lnTo>
                    <a:pt x="576" y="403"/>
                  </a:lnTo>
                  <a:lnTo>
                    <a:pt x="576" y="408"/>
                  </a:lnTo>
                  <a:lnTo>
                    <a:pt x="576" y="408"/>
                  </a:lnTo>
                  <a:lnTo>
                    <a:pt x="576" y="408"/>
                  </a:lnTo>
                  <a:lnTo>
                    <a:pt x="576" y="408"/>
                  </a:lnTo>
                  <a:lnTo>
                    <a:pt x="576" y="412"/>
                  </a:lnTo>
                  <a:lnTo>
                    <a:pt x="571" y="417"/>
                  </a:lnTo>
                  <a:lnTo>
                    <a:pt x="571" y="421"/>
                  </a:lnTo>
                  <a:lnTo>
                    <a:pt x="567" y="421"/>
                  </a:lnTo>
                  <a:lnTo>
                    <a:pt x="567" y="421"/>
                  </a:lnTo>
                  <a:lnTo>
                    <a:pt x="562" y="425"/>
                  </a:lnTo>
                  <a:lnTo>
                    <a:pt x="562" y="430"/>
                  </a:lnTo>
                  <a:lnTo>
                    <a:pt x="562" y="425"/>
                  </a:lnTo>
                  <a:lnTo>
                    <a:pt x="562" y="430"/>
                  </a:lnTo>
                  <a:lnTo>
                    <a:pt x="562" y="430"/>
                  </a:lnTo>
                  <a:lnTo>
                    <a:pt x="571" y="430"/>
                  </a:lnTo>
                  <a:lnTo>
                    <a:pt x="571" y="430"/>
                  </a:lnTo>
                  <a:lnTo>
                    <a:pt x="576" y="430"/>
                  </a:lnTo>
                  <a:lnTo>
                    <a:pt x="576" y="434"/>
                  </a:lnTo>
                  <a:lnTo>
                    <a:pt x="576" y="434"/>
                  </a:lnTo>
                  <a:lnTo>
                    <a:pt x="576" y="434"/>
                  </a:lnTo>
                  <a:lnTo>
                    <a:pt x="576" y="434"/>
                  </a:lnTo>
                  <a:lnTo>
                    <a:pt x="576" y="434"/>
                  </a:lnTo>
                  <a:lnTo>
                    <a:pt x="576" y="434"/>
                  </a:lnTo>
                  <a:lnTo>
                    <a:pt x="580" y="434"/>
                  </a:lnTo>
                  <a:lnTo>
                    <a:pt x="580" y="434"/>
                  </a:lnTo>
                  <a:lnTo>
                    <a:pt x="580" y="430"/>
                  </a:lnTo>
                  <a:lnTo>
                    <a:pt x="580" y="425"/>
                  </a:lnTo>
                  <a:lnTo>
                    <a:pt x="580" y="425"/>
                  </a:lnTo>
                  <a:lnTo>
                    <a:pt x="580" y="425"/>
                  </a:lnTo>
                  <a:lnTo>
                    <a:pt x="580" y="425"/>
                  </a:lnTo>
                  <a:lnTo>
                    <a:pt x="580" y="425"/>
                  </a:lnTo>
                  <a:lnTo>
                    <a:pt x="580" y="425"/>
                  </a:lnTo>
                  <a:lnTo>
                    <a:pt x="580" y="425"/>
                  </a:lnTo>
                  <a:lnTo>
                    <a:pt x="585" y="425"/>
                  </a:lnTo>
                  <a:lnTo>
                    <a:pt x="585" y="425"/>
                  </a:lnTo>
                  <a:lnTo>
                    <a:pt x="585" y="421"/>
                  </a:lnTo>
                  <a:lnTo>
                    <a:pt x="585" y="421"/>
                  </a:lnTo>
                  <a:lnTo>
                    <a:pt x="585" y="421"/>
                  </a:lnTo>
                  <a:lnTo>
                    <a:pt x="585" y="417"/>
                  </a:lnTo>
                  <a:lnTo>
                    <a:pt x="585" y="417"/>
                  </a:lnTo>
                  <a:lnTo>
                    <a:pt x="585" y="417"/>
                  </a:lnTo>
                  <a:lnTo>
                    <a:pt x="585" y="417"/>
                  </a:lnTo>
                  <a:lnTo>
                    <a:pt x="585" y="421"/>
                  </a:lnTo>
                  <a:lnTo>
                    <a:pt x="585" y="421"/>
                  </a:lnTo>
                  <a:lnTo>
                    <a:pt x="589" y="421"/>
                  </a:lnTo>
                  <a:lnTo>
                    <a:pt x="589" y="421"/>
                  </a:lnTo>
                  <a:lnTo>
                    <a:pt x="585" y="417"/>
                  </a:lnTo>
                  <a:lnTo>
                    <a:pt x="585" y="417"/>
                  </a:lnTo>
                  <a:lnTo>
                    <a:pt x="585" y="417"/>
                  </a:lnTo>
                  <a:lnTo>
                    <a:pt x="585" y="417"/>
                  </a:lnTo>
                  <a:lnTo>
                    <a:pt x="589" y="417"/>
                  </a:lnTo>
                  <a:lnTo>
                    <a:pt x="589" y="417"/>
                  </a:lnTo>
                  <a:lnTo>
                    <a:pt x="589" y="417"/>
                  </a:lnTo>
                  <a:lnTo>
                    <a:pt x="589" y="417"/>
                  </a:lnTo>
                  <a:lnTo>
                    <a:pt x="589" y="412"/>
                  </a:lnTo>
                  <a:lnTo>
                    <a:pt x="589" y="412"/>
                  </a:lnTo>
                  <a:lnTo>
                    <a:pt x="589" y="408"/>
                  </a:lnTo>
                  <a:lnTo>
                    <a:pt x="589" y="408"/>
                  </a:lnTo>
                  <a:lnTo>
                    <a:pt x="589" y="408"/>
                  </a:lnTo>
                  <a:lnTo>
                    <a:pt x="589" y="408"/>
                  </a:lnTo>
                  <a:lnTo>
                    <a:pt x="589" y="412"/>
                  </a:lnTo>
                  <a:lnTo>
                    <a:pt x="589" y="412"/>
                  </a:lnTo>
                  <a:lnTo>
                    <a:pt x="589" y="412"/>
                  </a:lnTo>
                  <a:lnTo>
                    <a:pt x="589" y="417"/>
                  </a:lnTo>
                  <a:lnTo>
                    <a:pt x="589" y="417"/>
                  </a:lnTo>
                  <a:lnTo>
                    <a:pt x="589" y="421"/>
                  </a:lnTo>
                  <a:lnTo>
                    <a:pt x="589" y="421"/>
                  </a:lnTo>
                  <a:lnTo>
                    <a:pt x="589" y="425"/>
                  </a:lnTo>
                  <a:lnTo>
                    <a:pt x="593" y="425"/>
                  </a:lnTo>
                  <a:lnTo>
                    <a:pt x="593" y="425"/>
                  </a:lnTo>
                  <a:lnTo>
                    <a:pt x="593" y="421"/>
                  </a:lnTo>
                  <a:lnTo>
                    <a:pt x="598" y="417"/>
                  </a:lnTo>
                  <a:lnTo>
                    <a:pt x="598" y="412"/>
                  </a:lnTo>
                  <a:lnTo>
                    <a:pt x="602" y="412"/>
                  </a:lnTo>
                  <a:lnTo>
                    <a:pt x="602" y="408"/>
                  </a:lnTo>
                  <a:lnTo>
                    <a:pt x="602" y="403"/>
                  </a:lnTo>
                  <a:lnTo>
                    <a:pt x="602" y="403"/>
                  </a:lnTo>
                  <a:lnTo>
                    <a:pt x="602" y="399"/>
                  </a:lnTo>
                  <a:lnTo>
                    <a:pt x="602" y="403"/>
                  </a:lnTo>
                  <a:lnTo>
                    <a:pt x="602" y="403"/>
                  </a:lnTo>
                  <a:lnTo>
                    <a:pt x="607" y="403"/>
                  </a:lnTo>
                  <a:lnTo>
                    <a:pt x="607" y="403"/>
                  </a:lnTo>
                  <a:lnTo>
                    <a:pt x="611" y="399"/>
                  </a:lnTo>
                  <a:lnTo>
                    <a:pt x="616" y="399"/>
                  </a:lnTo>
                  <a:lnTo>
                    <a:pt x="620" y="399"/>
                  </a:lnTo>
                  <a:lnTo>
                    <a:pt x="620" y="399"/>
                  </a:lnTo>
                  <a:lnTo>
                    <a:pt x="624" y="399"/>
                  </a:lnTo>
                  <a:lnTo>
                    <a:pt x="624" y="399"/>
                  </a:lnTo>
                  <a:lnTo>
                    <a:pt x="624" y="394"/>
                  </a:lnTo>
                  <a:lnTo>
                    <a:pt x="624" y="394"/>
                  </a:lnTo>
                  <a:lnTo>
                    <a:pt x="624" y="394"/>
                  </a:lnTo>
                  <a:lnTo>
                    <a:pt x="624" y="394"/>
                  </a:lnTo>
                  <a:lnTo>
                    <a:pt x="624" y="394"/>
                  </a:lnTo>
                  <a:lnTo>
                    <a:pt x="624" y="390"/>
                  </a:lnTo>
                  <a:lnTo>
                    <a:pt x="624" y="390"/>
                  </a:lnTo>
                  <a:lnTo>
                    <a:pt x="624" y="390"/>
                  </a:lnTo>
                  <a:lnTo>
                    <a:pt x="624" y="390"/>
                  </a:lnTo>
                  <a:lnTo>
                    <a:pt x="624" y="386"/>
                  </a:lnTo>
                  <a:lnTo>
                    <a:pt x="629" y="386"/>
                  </a:lnTo>
                  <a:lnTo>
                    <a:pt x="629" y="381"/>
                  </a:lnTo>
                  <a:lnTo>
                    <a:pt x="624" y="381"/>
                  </a:lnTo>
                  <a:lnTo>
                    <a:pt x="629" y="377"/>
                  </a:lnTo>
                  <a:lnTo>
                    <a:pt x="629" y="377"/>
                  </a:lnTo>
                  <a:lnTo>
                    <a:pt x="624" y="372"/>
                  </a:lnTo>
                  <a:lnTo>
                    <a:pt x="624" y="372"/>
                  </a:lnTo>
                  <a:lnTo>
                    <a:pt x="624" y="368"/>
                  </a:lnTo>
                  <a:lnTo>
                    <a:pt x="624" y="368"/>
                  </a:lnTo>
                  <a:lnTo>
                    <a:pt x="624" y="368"/>
                  </a:lnTo>
                  <a:lnTo>
                    <a:pt x="624" y="363"/>
                  </a:lnTo>
                  <a:lnTo>
                    <a:pt x="624" y="363"/>
                  </a:lnTo>
                  <a:lnTo>
                    <a:pt x="624" y="363"/>
                  </a:lnTo>
                  <a:lnTo>
                    <a:pt x="624" y="363"/>
                  </a:lnTo>
                  <a:lnTo>
                    <a:pt x="624" y="363"/>
                  </a:lnTo>
                  <a:lnTo>
                    <a:pt x="624" y="359"/>
                  </a:lnTo>
                  <a:lnTo>
                    <a:pt x="624" y="359"/>
                  </a:lnTo>
                  <a:lnTo>
                    <a:pt x="624" y="359"/>
                  </a:lnTo>
                  <a:lnTo>
                    <a:pt x="620" y="359"/>
                  </a:lnTo>
                  <a:lnTo>
                    <a:pt x="620" y="359"/>
                  </a:lnTo>
                  <a:lnTo>
                    <a:pt x="620" y="355"/>
                  </a:lnTo>
                  <a:lnTo>
                    <a:pt x="620" y="355"/>
                  </a:lnTo>
                  <a:lnTo>
                    <a:pt x="620" y="355"/>
                  </a:lnTo>
                  <a:lnTo>
                    <a:pt x="620" y="355"/>
                  </a:lnTo>
                  <a:lnTo>
                    <a:pt x="616" y="355"/>
                  </a:lnTo>
                  <a:lnTo>
                    <a:pt x="611" y="346"/>
                  </a:lnTo>
                  <a:lnTo>
                    <a:pt x="611" y="350"/>
                  </a:lnTo>
                  <a:lnTo>
                    <a:pt x="611" y="350"/>
                  </a:lnTo>
                  <a:lnTo>
                    <a:pt x="611" y="355"/>
                  </a:lnTo>
                  <a:lnTo>
                    <a:pt x="611" y="355"/>
                  </a:lnTo>
                  <a:lnTo>
                    <a:pt x="611" y="355"/>
                  </a:lnTo>
                  <a:lnTo>
                    <a:pt x="611" y="359"/>
                  </a:lnTo>
                  <a:lnTo>
                    <a:pt x="611" y="359"/>
                  </a:lnTo>
                  <a:lnTo>
                    <a:pt x="611" y="355"/>
                  </a:lnTo>
                  <a:lnTo>
                    <a:pt x="611" y="355"/>
                  </a:lnTo>
                  <a:lnTo>
                    <a:pt x="607" y="355"/>
                  </a:lnTo>
                  <a:lnTo>
                    <a:pt x="607" y="355"/>
                  </a:lnTo>
                  <a:lnTo>
                    <a:pt x="602" y="359"/>
                  </a:lnTo>
                  <a:lnTo>
                    <a:pt x="602" y="359"/>
                  </a:lnTo>
                  <a:lnTo>
                    <a:pt x="602" y="359"/>
                  </a:lnTo>
                  <a:lnTo>
                    <a:pt x="602" y="363"/>
                  </a:lnTo>
                  <a:lnTo>
                    <a:pt x="602" y="363"/>
                  </a:lnTo>
                  <a:lnTo>
                    <a:pt x="602" y="363"/>
                  </a:lnTo>
                  <a:lnTo>
                    <a:pt x="607" y="368"/>
                  </a:lnTo>
                  <a:lnTo>
                    <a:pt x="607" y="368"/>
                  </a:lnTo>
                  <a:lnTo>
                    <a:pt x="607" y="372"/>
                  </a:lnTo>
                  <a:lnTo>
                    <a:pt x="602" y="372"/>
                  </a:lnTo>
                  <a:lnTo>
                    <a:pt x="602" y="372"/>
                  </a:lnTo>
                  <a:lnTo>
                    <a:pt x="602" y="372"/>
                  </a:lnTo>
                  <a:lnTo>
                    <a:pt x="598" y="377"/>
                  </a:lnTo>
                  <a:lnTo>
                    <a:pt x="598" y="377"/>
                  </a:lnTo>
                  <a:lnTo>
                    <a:pt x="598" y="377"/>
                  </a:lnTo>
                  <a:lnTo>
                    <a:pt x="598" y="377"/>
                  </a:lnTo>
                  <a:lnTo>
                    <a:pt x="602" y="377"/>
                  </a:lnTo>
                  <a:lnTo>
                    <a:pt x="602" y="381"/>
                  </a:lnTo>
                  <a:lnTo>
                    <a:pt x="602" y="386"/>
                  </a:lnTo>
                  <a:lnTo>
                    <a:pt x="602" y="386"/>
                  </a:lnTo>
                  <a:lnTo>
                    <a:pt x="602" y="386"/>
                  </a:lnTo>
                  <a:lnTo>
                    <a:pt x="598" y="386"/>
                  </a:lnTo>
                  <a:lnTo>
                    <a:pt x="598" y="381"/>
                  </a:lnTo>
                  <a:lnTo>
                    <a:pt x="598" y="381"/>
                  </a:lnTo>
                  <a:lnTo>
                    <a:pt x="598" y="381"/>
                  </a:lnTo>
                  <a:lnTo>
                    <a:pt x="593" y="386"/>
                  </a:lnTo>
                  <a:lnTo>
                    <a:pt x="589" y="386"/>
                  </a:lnTo>
                  <a:lnTo>
                    <a:pt x="589" y="390"/>
                  </a:lnTo>
                  <a:lnTo>
                    <a:pt x="589" y="390"/>
                  </a:lnTo>
                  <a:lnTo>
                    <a:pt x="589" y="390"/>
                  </a:lnTo>
                  <a:lnTo>
                    <a:pt x="589" y="394"/>
                  </a:lnTo>
                  <a:lnTo>
                    <a:pt x="589" y="399"/>
                  </a:lnTo>
                  <a:lnTo>
                    <a:pt x="589" y="399"/>
                  </a:lnTo>
                  <a:lnTo>
                    <a:pt x="585" y="399"/>
                  </a:lnTo>
                  <a:lnTo>
                    <a:pt x="585" y="403"/>
                  </a:lnTo>
                  <a:lnTo>
                    <a:pt x="585" y="399"/>
                  </a:lnTo>
                  <a:lnTo>
                    <a:pt x="585" y="399"/>
                  </a:lnTo>
                  <a:lnTo>
                    <a:pt x="585" y="399"/>
                  </a:lnTo>
                  <a:lnTo>
                    <a:pt x="585" y="394"/>
                  </a:lnTo>
                  <a:lnTo>
                    <a:pt x="585" y="394"/>
                  </a:lnTo>
                  <a:lnTo>
                    <a:pt x="585" y="390"/>
                  </a:lnTo>
                  <a:lnTo>
                    <a:pt x="585" y="390"/>
                  </a:lnTo>
                  <a:lnTo>
                    <a:pt x="585" y="386"/>
                  </a:lnTo>
                  <a:lnTo>
                    <a:pt x="585" y="386"/>
                  </a:lnTo>
                  <a:lnTo>
                    <a:pt x="589" y="386"/>
                  </a:lnTo>
                  <a:lnTo>
                    <a:pt x="589" y="386"/>
                  </a:lnTo>
                  <a:lnTo>
                    <a:pt x="589" y="381"/>
                  </a:lnTo>
                  <a:lnTo>
                    <a:pt x="593" y="381"/>
                  </a:lnTo>
                  <a:lnTo>
                    <a:pt x="593" y="381"/>
                  </a:lnTo>
                  <a:lnTo>
                    <a:pt x="593" y="381"/>
                  </a:lnTo>
                  <a:lnTo>
                    <a:pt x="593" y="381"/>
                  </a:lnTo>
                  <a:lnTo>
                    <a:pt x="593" y="381"/>
                  </a:lnTo>
                  <a:lnTo>
                    <a:pt x="593" y="377"/>
                  </a:lnTo>
                  <a:lnTo>
                    <a:pt x="593" y="377"/>
                  </a:lnTo>
                  <a:lnTo>
                    <a:pt x="598" y="372"/>
                  </a:lnTo>
                  <a:lnTo>
                    <a:pt x="598" y="372"/>
                  </a:lnTo>
                  <a:lnTo>
                    <a:pt x="598" y="368"/>
                  </a:lnTo>
                  <a:lnTo>
                    <a:pt x="598" y="363"/>
                  </a:lnTo>
                  <a:lnTo>
                    <a:pt x="593" y="363"/>
                  </a:lnTo>
                  <a:lnTo>
                    <a:pt x="593" y="363"/>
                  </a:lnTo>
                  <a:lnTo>
                    <a:pt x="593" y="368"/>
                  </a:lnTo>
                  <a:lnTo>
                    <a:pt x="589" y="372"/>
                  </a:lnTo>
                  <a:lnTo>
                    <a:pt x="589" y="372"/>
                  </a:lnTo>
                  <a:lnTo>
                    <a:pt x="585" y="372"/>
                  </a:lnTo>
                  <a:lnTo>
                    <a:pt x="589" y="368"/>
                  </a:lnTo>
                  <a:lnTo>
                    <a:pt x="589" y="368"/>
                  </a:lnTo>
                  <a:lnTo>
                    <a:pt x="589" y="368"/>
                  </a:lnTo>
                  <a:lnTo>
                    <a:pt x="589" y="363"/>
                  </a:lnTo>
                  <a:lnTo>
                    <a:pt x="589" y="363"/>
                  </a:lnTo>
                  <a:lnTo>
                    <a:pt x="589" y="363"/>
                  </a:lnTo>
                  <a:lnTo>
                    <a:pt x="589" y="359"/>
                  </a:lnTo>
                  <a:lnTo>
                    <a:pt x="589" y="359"/>
                  </a:lnTo>
                  <a:lnTo>
                    <a:pt x="593" y="355"/>
                  </a:lnTo>
                  <a:lnTo>
                    <a:pt x="593" y="350"/>
                  </a:lnTo>
                  <a:lnTo>
                    <a:pt x="593" y="350"/>
                  </a:lnTo>
                  <a:lnTo>
                    <a:pt x="593" y="346"/>
                  </a:lnTo>
                  <a:lnTo>
                    <a:pt x="593" y="346"/>
                  </a:lnTo>
                  <a:lnTo>
                    <a:pt x="593" y="341"/>
                  </a:lnTo>
                  <a:lnTo>
                    <a:pt x="593" y="341"/>
                  </a:lnTo>
                  <a:lnTo>
                    <a:pt x="593" y="341"/>
                  </a:lnTo>
                  <a:lnTo>
                    <a:pt x="593" y="341"/>
                  </a:lnTo>
                  <a:lnTo>
                    <a:pt x="589" y="337"/>
                  </a:lnTo>
                  <a:lnTo>
                    <a:pt x="589" y="337"/>
                  </a:lnTo>
                  <a:lnTo>
                    <a:pt x="585" y="341"/>
                  </a:lnTo>
                  <a:lnTo>
                    <a:pt x="580" y="337"/>
                  </a:lnTo>
                  <a:lnTo>
                    <a:pt x="580" y="341"/>
                  </a:lnTo>
                  <a:lnTo>
                    <a:pt x="576" y="341"/>
                  </a:lnTo>
                  <a:lnTo>
                    <a:pt x="576" y="346"/>
                  </a:lnTo>
                  <a:lnTo>
                    <a:pt x="576" y="346"/>
                  </a:lnTo>
                  <a:lnTo>
                    <a:pt x="576" y="346"/>
                  </a:lnTo>
                  <a:lnTo>
                    <a:pt x="576" y="350"/>
                  </a:lnTo>
                  <a:lnTo>
                    <a:pt x="576" y="350"/>
                  </a:lnTo>
                  <a:lnTo>
                    <a:pt x="576" y="350"/>
                  </a:lnTo>
                  <a:lnTo>
                    <a:pt x="576" y="350"/>
                  </a:lnTo>
                  <a:lnTo>
                    <a:pt x="576" y="350"/>
                  </a:lnTo>
                  <a:lnTo>
                    <a:pt x="571" y="355"/>
                  </a:lnTo>
                  <a:lnTo>
                    <a:pt x="576" y="359"/>
                  </a:lnTo>
                  <a:lnTo>
                    <a:pt x="576" y="359"/>
                  </a:lnTo>
                  <a:lnTo>
                    <a:pt x="576" y="359"/>
                  </a:lnTo>
                  <a:lnTo>
                    <a:pt x="580" y="359"/>
                  </a:lnTo>
                  <a:lnTo>
                    <a:pt x="576" y="359"/>
                  </a:lnTo>
                  <a:lnTo>
                    <a:pt x="576" y="359"/>
                  </a:lnTo>
                  <a:lnTo>
                    <a:pt x="571" y="359"/>
                  </a:lnTo>
                  <a:lnTo>
                    <a:pt x="571" y="359"/>
                  </a:lnTo>
                  <a:lnTo>
                    <a:pt x="571" y="359"/>
                  </a:lnTo>
                  <a:lnTo>
                    <a:pt x="571" y="363"/>
                  </a:lnTo>
                  <a:lnTo>
                    <a:pt x="571" y="363"/>
                  </a:lnTo>
                  <a:lnTo>
                    <a:pt x="571" y="363"/>
                  </a:lnTo>
                  <a:lnTo>
                    <a:pt x="567" y="363"/>
                  </a:lnTo>
                  <a:lnTo>
                    <a:pt x="567" y="359"/>
                  </a:lnTo>
                  <a:lnTo>
                    <a:pt x="567" y="363"/>
                  </a:lnTo>
                  <a:lnTo>
                    <a:pt x="567" y="368"/>
                  </a:lnTo>
                  <a:lnTo>
                    <a:pt x="567" y="368"/>
                  </a:lnTo>
                  <a:lnTo>
                    <a:pt x="571" y="372"/>
                  </a:lnTo>
                  <a:lnTo>
                    <a:pt x="571" y="372"/>
                  </a:lnTo>
                  <a:lnTo>
                    <a:pt x="580" y="372"/>
                  </a:lnTo>
                  <a:lnTo>
                    <a:pt x="580" y="372"/>
                  </a:lnTo>
                  <a:lnTo>
                    <a:pt x="580" y="372"/>
                  </a:lnTo>
                  <a:lnTo>
                    <a:pt x="580" y="372"/>
                  </a:lnTo>
                  <a:lnTo>
                    <a:pt x="580" y="377"/>
                  </a:lnTo>
                  <a:lnTo>
                    <a:pt x="580" y="377"/>
                  </a:lnTo>
                  <a:lnTo>
                    <a:pt x="580" y="377"/>
                  </a:lnTo>
                  <a:lnTo>
                    <a:pt x="580" y="372"/>
                  </a:lnTo>
                  <a:lnTo>
                    <a:pt x="580" y="372"/>
                  </a:lnTo>
                  <a:lnTo>
                    <a:pt x="576" y="372"/>
                  </a:lnTo>
                  <a:lnTo>
                    <a:pt x="576" y="372"/>
                  </a:lnTo>
                  <a:lnTo>
                    <a:pt x="576" y="372"/>
                  </a:lnTo>
                  <a:lnTo>
                    <a:pt x="576" y="372"/>
                  </a:lnTo>
                  <a:lnTo>
                    <a:pt x="576" y="372"/>
                  </a:lnTo>
                  <a:lnTo>
                    <a:pt x="567" y="372"/>
                  </a:lnTo>
                  <a:lnTo>
                    <a:pt x="567" y="372"/>
                  </a:lnTo>
                  <a:lnTo>
                    <a:pt x="567" y="377"/>
                  </a:lnTo>
                  <a:lnTo>
                    <a:pt x="567" y="381"/>
                  </a:lnTo>
                  <a:lnTo>
                    <a:pt x="567" y="381"/>
                  </a:lnTo>
                  <a:lnTo>
                    <a:pt x="571" y="386"/>
                  </a:lnTo>
                  <a:lnTo>
                    <a:pt x="571" y="386"/>
                  </a:lnTo>
                  <a:lnTo>
                    <a:pt x="571" y="386"/>
                  </a:lnTo>
                  <a:lnTo>
                    <a:pt x="576" y="386"/>
                  </a:lnTo>
                  <a:lnTo>
                    <a:pt x="576" y="386"/>
                  </a:lnTo>
                  <a:lnTo>
                    <a:pt x="576" y="390"/>
                  </a:lnTo>
                  <a:lnTo>
                    <a:pt x="576" y="390"/>
                  </a:lnTo>
                  <a:lnTo>
                    <a:pt x="576" y="390"/>
                  </a:lnTo>
                  <a:lnTo>
                    <a:pt x="576" y="390"/>
                  </a:lnTo>
                  <a:lnTo>
                    <a:pt x="576" y="390"/>
                  </a:lnTo>
                  <a:lnTo>
                    <a:pt x="576" y="390"/>
                  </a:lnTo>
                  <a:lnTo>
                    <a:pt x="576" y="390"/>
                  </a:lnTo>
                  <a:lnTo>
                    <a:pt x="576" y="390"/>
                  </a:lnTo>
                  <a:lnTo>
                    <a:pt x="576" y="390"/>
                  </a:lnTo>
                  <a:lnTo>
                    <a:pt x="576" y="390"/>
                  </a:lnTo>
                  <a:lnTo>
                    <a:pt x="571" y="390"/>
                  </a:lnTo>
                  <a:lnTo>
                    <a:pt x="567" y="390"/>
                  </a:lnTo>
                  <a:lnTo>
                    <a:pt x="567" y="390"/>
                  </a:lnTo>
                  <a:lnTo>
                    <a:pt x="567" y="390"/>
                  </a:lnTo>
                  <a:lnTo>
                    <a:pt x="567" y="390"/>
                  </a:lnTo>
                  <a:lnTo>
                    <a:pt x="567" y="390"/>
                  </a:lnTo>
                  <a:lnTo>
                    <a:pt x="567" y="390"/>
                  </a:lnTo>
                  <a:lnTo>
                    <a:pt x="567" y="390"/>
                  </a:lnTo>
                  <a:lnTo>
                    <a:pt x="567" y="394"/>
                  </a:lnTo>
                  <a:close/>
                  <a:moveTo>
                    <a:pt x="616" y="341"/>
                  </a:moveTo>
                  <a:lnTo>
                    <a:pt x="620" y="346"/>
                  </a:lnTo>
                  <a:lnTo>
                    <a:pt x="620" y="350"/>
                  </a:lnTo>
                  <a:lnTo>
                    <a:pt x="624" y="350"/>
                  </a:lnTo>
                  <a:lnTo>
                    <a:pt x="629" y="350"/>
                  </a:lnTo>
                  <a:lnTo>
                    <a:pt x="629" y="350"/>
                  </a:lnTo>
                  <a:lnTo>
                    <a:pt x="629" y="346"/>
                  </a:lnTo>
                  <a:lnTo>
                    <a:pt x="629" y="341"/>
                  </a:lnTo>
                  <a:lnTo>
                    <a:pt x="629" y="341"/>
                  </a:lnTo>
                  <a:lnTo>
                    <a:pt x="629" y="337"/>
                  </a:lnTo>
                  <a:lnTo>
                    <a:pt x="629" y="337"/>
                  </a:lnTo>
                  <a:lnTo>
                    <a:pt x="624" y="337"/>
                  </a:lnTo>
                  <a:lnTo>
                    <a:pt x="620" y="337"/>
                  </a:lnTo>
                  <a:lnTo>
                    <a:pt x="620" y="337"/>
                  </a:lnTo>
                  <a:lnTo>
                    <a:pt x="616" y="337"/>
                  </a:lnTo>
                  <a:lnTo>
                    <a:pt x="616" y="333"/>
                  </a:lnTo>
                  <a:lnTo>
                    <a:pt x="611" y="337"/>
                  </a:lnTo>
                  <a:lnTo>
                    <a:pt x="611" y="341"/>
                  </a:lnTo>
                  <a:lnTo>
                    <a:pt x="616" y="341"/>
                  </a:lnTo>
                  <a:close/>
                  <a:moveTo>
                    <a:pt x="514" y="381"/>
                  </a:moveTo>
                  <a:lnTo>
                    <a:pt x="514" y="381"/>
                  </a:lnTo>
                  <a:lnTo>
                    <a:pt x="514" y="381"/>
                  </a:lnTo>
                  <a:lnTo>
                    <a:pt x="514" y="381"/>
                  </a:lnTo>
                  <a:lnTo>
                    <a:pt x="514" y="381"/>
                  </a:lnTo>
                  <a:lnTo>
                    <a:pt x="514" y="381"/>
                  </a:lnTo>
                  <a:lnTo>
                    <a:pt x="514" y="386"/>
                  </a:lnTo>
                  <a:lnTo>
                    <a:pt x="514" y="386"/>
                  </a:lnTo>
                  <a:lnTo>
                    <a:pt x="514" y="390"/>
                  </a:lnTo>
                  <a:lnTo>
                    <a:pt x="514" y="390"/>
                  </a:lnTo>
                  <a:lnTo>
                    <a:pt x="518" y="390"/>
                  </a:lnTo>
                  <a:lnTo>
                    <a:pt x="518" y="390"/>
                  </a:lnTo>
                  <a:lnTo>
                    <a:pt x="523" y="390"/>
                  </a:lnTo>
                  <a:lnTo>
                    <a:pt x="523" y="386"/>
                  </a:lnTo>
                  <a:lnTo>
                    <a:pt x="523" y="390"/>
                  </a:lnTo>
                  <a:lnTo>
                    <a:pt x="523" y="386"/>
                  </a:lnTo>
                  <a:lnTo>
                    <a:pt x="527" y="386"/>
                  </a:lnTo>
                  <a:lnTo>
                    <a:pt x="527" y="386"/>
                  </a:lnTo>
                  <a:lnTo>
                    <a:pt x="527" y="381"/>
                  </a:lnTo>
                  <a:lnTo>
                    <a:pt x="527" y="381"/>
                  </a:lnTo>
                  <a:lnTo>
                    <a:pt x="527" y="377"/>
                  </a:lnTo>
                  <a:lnTo>
                    <a:pt x="527" y="381"/>
                  </a:lnTo>
                  <a:lnTo>
                    <a:pt x="531" y="381"/>
                  </a:lnTo>
                  <a:lnTo>
                    <a:pt x="531" y="381"/>
                  </a:lnTo>
                  <a:lnTo>
                    <a:pt x="531" y="381"/>
                  </a:lnTo>
                  <a:lnTo>
                    <a:pt x="531" y="381"/>
                  </a:lnTo>
                  <a:lnTo>
                    <a:pt x="536" y="377"/>
                  </a:lnTo>
                  <a:lnTo>
                    <a:pt x="536" y="377"/>
                  </a:lnTo>
                  <a:lnTo>
                    <a:pt x="536" y="377"/>
                  </a:lnTo>
                  <a:lnTo>
                    <a:pt x="536" y="377"/>
                  </a:lnTo>
                  <a:lnTo>
                    <a:pt x="536" y="377"/>
                  </a:lnTo>
                  <a:lnTo>
                    <a:pt x="536" y="381"/>
                  </a:lnTo>
                  <a:lnTo>
                    <a:pt x="536" y="381"/>
                  </a:lnTo>
                  <a:lnTo>
                    <a:pt x="536" y="377"/>
                  </a:lnTo>
                  <a:lnTo>
                    <a:pt x="540" y="381"/>
                  </a:lnTo>
                  <a:lnTo>
                    <a:pt x="540" y="381"/>
                  </a:lnTo>
                  <a:lnTo>
                    <a:pt x="540" y="377"/>
                  </a:lnTo>
                  <a:lnTo>
                    <a:pt x="540" y="377"/>
                  </a:lnTo>
                  <a:lnTo>
                    <a:pt x="540" y="372"/>
                  </a:lnTo>
                  <a:lnTo>
                    <a:pt x="540" y="372"/>
                  </a:lnTo>
                  <a:lnTo>
                    <a:pt x="545" y="372"/>
                  </a:lnTo>
                  <a:lnTo>
                    <a:pt x="545" y="377"/>
                  </a:lnTo>
                  <a:lnTo>
                    <a:pt x="540" y="377"/>
                  </a:lnTo>
                  <a:lnTo>
                    <a:pt x="545" y="377"/>
                  </a:lnTo>
                  <a:lnTo>
                    <a:pt x="545" y="377"/>
                  </a:lnTo>
                  <a:lnTo>
                    <a:pt x="549" y="372"/>
                  </a:lnTo>
                  <a:lnTo>
                    <a:pt x="549" y="372"/>
                  </a:lnTo>
                  <a:lnTo>
                    <a:pt x="545" y="368"/>
                  </a:lnTo>
                  <a:lnTo>
                    <a:pt x="545" y="368"/>
                  </a:lnTo>
                  <a:lnTo>
                    <a:pt x="545" y="368"/>
                  </a:lnTo>
                  <a:lnTo>
                    <a:pt x="554" y="368"/>
                  </a:lnTo>
                  <a:lnTo>
                    <a:pt x="554" y="372"/>
                  </a:lnTo>
                  <a:lnTo>
                    <a:pt x="554" y="372"/>
                  </a:lnTo>
                  <a:lnTo>
                    <a:pt x="554" y="377"/>
                  </a:lnTo>
                  <a:lnTo>
                    <a:pt x="554" y="377"/>
                  </a:lnTo>
                  <a:lnTo>
                    <a:pt x="554" y="377"/>
                  </a:lnTo>
                  <a:lnTo>
                    <a:pt x="549" y="377"/>
                  </a:lnTo>
                  <a:lnTo>
                    <a:pt x="549" y="381"/>
                  </a:lnTo>
                  <a:lnTo>
                    <a:pt x="549" y="381"/>
                  </a:lnTo>
                  <a:lnTo>
                    <a:pt x="549" y="381"/>
                  </a:lnTo>
                  <a:lnTo>
                    <a:pt x="545" y="381"/>
                  </a:lnTo>
                  <a:lnTo>
                    <a:pt x="545" y="381"/>
                  </a:lnTo>
                  <a:lnTo>
                    <a:pt x="545" y="381"/>
                  </a:lnTo>
                  <a:lnTo>
                    <a:pt x="540" y="381"/>
                  </a:lnTo>
                  <a:lnTo>
                    <a:pt x="536" y="386"/>
                  </a:lnTo>
                  <a:lnTo>
                    <a:pt x="536" y="386"/>
                  </a:lnTo>
                  <a:lnTo>
                    <a:pt x="536" y="386"/>
                  </a:lnTo>
                  <a:lnTo>
                    <a:pt x="536" y="390"/>
                  </a:lnTo>
                  <a:lnTo>
                    <a:pt x="536" y="390"/>
                  </a:lnTo>
                  <a:lnTo>
                    <a:pt x="536" y="390"/>
                  </a:lnTo>
                  <a:lnTo>
                    <a:pt x="536" y="390"/>
                  </a:lnTo>
                  <a:lnTo>
                    <a:pt x="536" y="390"/>
                  </a:lnTo>
                  <a:lnTo>
                    <a:pt x="536" y="394"/>
                  </a:lnTo>
                  <a:lnTo>
                    <a:pt x="536" y="394"/>
                  </a:lnTo>
                  <a:lnTo>
                    <a:pt x="536" y="394"/>
                  </a:lnTo>
                  <a:lnTo>
                    <a:pt x="549" y="394"/>
                  </a:lnTo>
                  <a:lnTo>
                    <a:pt x="562" y="386"/>
                  </a:lnTo>
                  <a:lnTo>
                    <a:pt x="562" y="381"/>
                  </a:lnTo>
                  <a:lnTo>
                    <a:pt x="567" y="377"/>
                  </a:lnTo>
                  <a:lnTo>
                    <a:pt x="567" y="372"/>
                  </a:lnTo>
                  <a:lnTo>
                    <a:pt x="562" y="372"/>
                  </a:lnTo>
                  <a:lnTo>
                    <a:pt x="562" y="368"/>
                  </a:lnTo>
                  <a:lnTo>
                    <a:pt x="558" y="368"/>
                  </a:lnTo>
                  <a:lnTo>
                    <a:pt x="558" y="368"/>
                  </a:lnTo>
                  <a:lnTo>
                    <a:pt x="562" y="368"/>
                  </a:lnTo>
                  <a:lnTo>
                    <a:pt x="558" y="363"/>
                  </a:lnTo>
                  <a:lnTo>
                    <a:pt x="558" y="363"/>
                  </a:lnTo>
                  <a:lnTo>
                    <a:pt x="558" y="363"/>
                  </a:lnTo>
                  <a:lnTo>
                    <a:pt x="562" y="363"/>
                  </a:lnTo>
                  <a:lnTo>
                    <a:pt x="562" y="363"/>
                  </a:lnTo>
                  <a:lnTo>
                    <a:pt x="562" y="363"/>
                  </a:lnTo>
                  <a:lnTo>
                    <a:pt x="562" y="359"/>
                  </a:lnTo>
                  <a:lnTo>
                    <a:pt x="562" y="359"/>
                  </a:lnTo>
                  <a:lnTo>
                    <a:pt x="567" y="355"/>
                  </a:lnTo>
                  <a:lnTo>
                    <a:pt x="562" y="355"/>
                  </a:lnTo>
                  <a:lnTo>
                    <a:pt x="562" y="355"/>
                  </a:lnTo>
                  <a:lnTo>
                    <a:pt x="562" y="355"/>
                  </a:lnTo>
                  <a:lnTo>
                    <a:pt x="562" y="355"/>
                  </a:lnTo>
                  <a:lnTo>
                    <a:pt x="562" y="355"/>
                  </a:lnTo>
                  <a:lnTo>
                    <a:pt x="562" y="355"/>
                  </a:lnTo>
                  <a:lnTo>
                    <a:pt x="562" y="355"/>
                  </a:lnTo>
                  <a:lnTo>
                    <a:pt x="558" y="359"/>
                  </a:lnTo>
                  <a:lnTo>
                    <a:pt x="558" y="355"/>
                  </a:lnTo>
                  <a:lnTo>
                    <a:pt x="558" y="355"/>
                  </a:lnTo>
                  <a:lnTo>
                    <a:pt x="558" y="346"/>
                  </a:lnTo>
                  <a:lnTo>
                    <a:pt x="558" y="346"/>
                  </a:lnTo>
                  <a:lnTo>
                    <a:pt x="558" y="350"/>
                  </a:lnTo>
                  <a:lnTo>
                    <a:pt x="554" y="350"/>
                  </a:lnTo>
                  <a:lnTo>
                    <a:pt x="554" y="350"/>
                  </a:lnTo>
                  <a:lnTo>
                    <a:pt x="554" y="346"/>
                  </a:lnTo>
                  <a:lnTo>
                    <a:pt x="558" y="346"/>
                  </a:lnTo>
                  <a:lnTo>
                    <a:pt x="558" y="346"/>
                  </a:lnTo>
                  <a:lnTo>
                    <a:pt x="554" y="346"/>
                  </a:lnTo>
                  <a:lnTo>
                    <a:pt x="554" y="346"/>
                  </a:lnTo>
                  <a:lnTo>
                    <a:pt x="554" y="341"/>
                  </a:lnTo>
                  <a:lnTo>
                    <a:pt x="554" y="341"/>
                  </a:lnTo>
                  <a:lnTo>
                    <a:pt x="554" y="341"/>
                  </a:lnTo>
                  <a:lnTo>
                    <a:pt x="554" y="341"/>
                  </a:lnTo>
                  <a:lnTo>
                    <a:pt x="554" y="337"/>
                  </a:lnTo>
                  <a:lnTo>
                    <a:pt x="554" y="337"/>
                  </a:lnTo>
                  <a:lnTo>
                    <a:pt x="554" y="337"/>
                  </a:lnTo>
                  <a:lnTo>
                    <a:pt x="554" y="333"/>
                  </a:lnTo>
                  <a:lnTo>
                    <a:pt x="554" y="333"/>
                  </a:lnTo>
                  <a:lnTo>
                    <a:pt x="549" y="333"/>
                  </a:lnTo>
                  <a:lnTo>
                    <a:pt x="549" y="333"/>
                  </a:lnTo>
                  <a:lnTo>
                    <a:pt x="549" y="333"/>
                  </a:lnTo>
                  <a:lnTo>
                    <a:pt x="545" y="337"/>
                  </a:lnTo>
                  <a:lnTo>
                    <a:pt x="545" y="337"/>
                  </a:lnTo>
                  <a:lnTo>
                    <a:pt x="545" y="341"/>
                  </a:lnTo>
                  <a:lnTo>
                    <a:pt x="545" y="341"/>
                  </a:lnTo>
                  <a:lnTo>
                    <a:pt x="549" y="346"/>
                  </a:lnTo>
                  <a:lnTo>
                    <a:pt x="549" y="350"/>
                  </a:lnTo>
                  <a:lnTo>
                    <a:pt x="549" y="350"/>
                  </a:lnTo>
                  <a:lnTo>
                    <a:pt x="549" y="355"/>
                  </a:lnTo>
                  <a:lnTo>
                    <a:pt x="549" y="355"/>
                  </a:lnTo>
                  <a:lnTo>
                    <a:pt x="554" y="355"/>
                  </a:lnTo>
                  <a:lnTo>
                    <a:pt x="554" y="359"/>
                  </a:lnTo>
                  <a:lnTo>
                    <a:pt x="549" y="359"/>
                  </a:lnTo>
                  <a:lnTo>
                    <a:pt x="549" y="355"/>
                  </a:lnTo>
                  <a:lnTo>
                    <a:pt x="549" y="355"/>
                  </a:lnTo>
                  <a:lnTo>
                    <a:pt x="545" y="359"/>
                  </a:lnTo>
                  <a:lnTo>
                    <a:pt x="545" y="359"/>
                  </a:lnTo>
                  <a:lnTo>
                    <a:pt x="545" y="359"/>
                  </a:lnTo>
                  <a:lnTo>
                    <a:pt x="545" y="363"/>
                  </a:lnTo>
                  <a:lnTo>
                    <a:pt x="545" y="363"/>
                  </a:lnTo>
                  <a:lnTo>
                    <a:pt x="545" y="363"/>
                  </a:lnTo>
                  <a:lnTo>
                    <a:pt x="545" y="363"/>
                  </a:lnTo>
                  <a:lnTo>
                    <a:pt x="545" y="359"/>
                  </a:lnTo>
                  <a:lnTo>
                    <a:pt x="545" y="359"/>
                  </a:lnTo>
                  <a:lnTo>
                    <a:pt x="545" y="359"/>
                  </a:lnTo>
                  <a:lnTo>
                    <a:pt x="545" y="355"/>
                  </a:lnTo>
                  <a:lnTo>
                    <a:pt x="545" y="355"/>
                  </a:lnTo>
                  <a:lnTo>
                    <a:pt x="540" y="355"/>
                  </a:lnTo>
                  <a:lnTo>
                    <a:pt x="540" y="355"/>
                  </a:lnTo>
                  <a:lnTo>
                    <a:pt x="540" y="355"/>
                  </a:lnTo>
                  <a:lnTo>
                    <a:pt x="540" y="359"/>
                  </a:lnTo>
                  <a:lnTo>
                    <a:pt x="540" y="363"/>
                  </a:lnTo>
                  <a:lnTo>
                    <a:pt x="540" y="363"/>
                  </a:lnTo>
                  <a:lnTo>
                    <a:pt x="540" y="363"/>
                  </a:lnTo>
                  <a:lnTo>
                    <a:pt x="540" y="363"/>
                  </a:lnTo>
                  <a:lnTo>
                    <a:pt x="540" y="368"/>
                  </a:lnTo>
                  <a:lnTo>
                    <a:pt x="540" y="368"/>
                  </a:lnTo>
                  <a:lnTo>
                    <a:pt x="540" y="368"/>
                  </a:lnTo>
                  <a:lnTo>
                    <a:pt x="540" y="368"/>
                  </a:lnTo>
                  <a:lnTo>
                    <a:pt x="536" y="368"/>
                  </a:lnTo>
                  <a:lnTo>
                    <a:pt x="536" y="363"/>
                  </a:lnTo>
                  <a:lnTo>
                    <a:pt x="540" y="363"/>
                  </a:lnTo>
                  <a:lnTo>
                    <a:pt x="536" y="363"/>
                  </a:lnTo>
                  <a:lnTo>
                    <a:pt x="536" y="363"/>
                  </a:lnTo>
                  <a:lnTo>
                    <a:pt x="531" y="368"/>
                  </a:lnTo>
                  <a:lnTo>
                    <a:pt x="527" y="368"/>
                  </a:lnTo>
                  <a:lnTo>
                    <a:pt x="527" y="368"/>
                  </a:lnTo>
                  <a:lnTo>
                    <a:pt x="527" y="359"/>
                  </a:lnTo>
                  <a:lnTo>
                    <a:pt x="527" y="359"/>
                  </a:lnTo>
                  <a:lnTo>
                    <a:pt x="527" y="359"/>
                  </a:lnTo>
                  <a:lnTo>
                    <a:pt x="527" y="359"/>
                  </a:lnTo>
                  <a:lnTo>
                    <a:pt x="527" y="359"/>
                  </a:lnTo>
                  <a:lnTo>
                    <a:pt x="527" y="359"/>
                  </a:lnTo>
                  <a:lnTo>
                    <a:pt x="523" y="359"/>
                  </a:lnTo>
                  <a:lnTo>
                    <a:pt x="523" y="363"/>
                  </a:lnTo>
                  <a:lnTo>
                    <a:pt x="523" y="363"/>
                  </a:lnTo>
                  <a:lnTo>
                    <a:pt x="527" y="363"/>
                  </a:lnTo>
                  <a:lnTo>
                    <a:pt x="523" y="363"/>
                  </a:lnTo>
                  <a:lnTo>
                    <a:pt x="523" y="368"/>
                  </a:lnTo>
                  <a:lnTo>
                    <a:pt x="523" y="368"/>
                  </a:lnTo>
                  <a:lnTo>
                    <a:pt x="523" y="372"/>
                  </a:lnTo>
                  <a:lnTo>
                    <a:pt x="523" y="372"/>
                  </a:lnTo>
                  <a:lnTo>
                    <a:pt x="523" y="372"/>
                  </a:lnTo>
                  <a:lnTo>
                    <a:pt x="523" y="372"/>
                  </a:lnTo>
                  <a:lnTo>
                    <a:pt x="523" y="372"/>
                  </a:lnTo>
                  <a:lnTo>
                    <a:pt x="523" y="372"/>
                  </a:lnTo>
                  <a:lnTo>
                    <a:pt x="523" y="372"/>
                  </a:lnTo>
                  <a:lnTo>
                    <a:pt x="523" y="372"/>
                  </a:lnTo>
                  <a:lnTo>
                    <a:pt x="523" y="368"/>
                  </a:lnTo>
                  <a:lnTo>
                    <a:pt x="523" y="368"/>
                  </a:lnTo>
                  <a:lnTo>
                    <a:pt x="523" y="363"/>
                  </a:lnTo>
                  <a:lnTo>
                    <a:pt x="523" y="363"/>
                  </a:lnTo>
                  <a:lnTo>
                    <a:pt x="518" y="363"/>
                  </a:lnTo>
                  <a:lnTo>
                    <a:pt x="518" y="363"/>
                  </a:lnTo>
                  <a:lnTo>
                    <a:pt x="514" y="368"/>
                  </a:lnTo>
                  <a:lnTo>
                    <a:pt x="514" y="368"/>
                  </a:lnTo>
                  <a:lnTo>
                    <a:pt x="518" y="372"/>
                  </a:lnTo>
                  <a:lnTo>
                    <a:pt x="523" y="372"/>
                  </a:lnTo>
                  <a:lnTo>
                    <a:pt x="523" y="372"/>
                  </a:lnTo>
                  <a:lnTo>
                    <a:pt x="518" y="372"/>
                  </a:lnTo>
                  <a:lnTo>
                    <a:pt x="514" y="377"/>
                  </a:lnTo>
                  <a:lnTo>
                    <a:pt x="514" y="377"/>
                  </a:lnTo>
                  <a:lnTo>
                    <a:pt x="514" y="377"/>
                  </a:lnTo>
                  <a:lnTo>
                    <a:pt x="514" y="377"/>
                  </a:lnTo>
                  <a:lnTo>
                    <a:pt x="509" y="381"/>
                  </a:lnTo>
                  <a:lnTo>
                    <a:pt x="514" y="381"/>
                  </a:lnTo>
                  <a:lnTo>
                    <a:pt x="514" y="381"/>
                  </a:lnTo>
                  <a:close/>
                  <a:moveTo>
                    <a:pt x="682" y="319"/>
                  </a:moveTo>
                  <a:lnTo>
                    <a:pt x="682" y="319"/>
                  </a:lnTo>
                  <a:lnTo>
                    <a:pt x="678" y="319"/>
                  </a:lnTo>
                  <a:lnTo>
                    <a:pt x="678" y="319"/>
                  </a:lnTo>
                  <a:lnTo>
                    <a:pt x="673" y="319"/>
                  </a:lnTo>
                  <a:lnTo>
                    <a:pt x="673" y="324"/>
                  </a:lnTo>
                  <a:lnTo>
                    <a:pt x="669" y="324"/>
                  </a:lnTo>
                  <a:lnTo>
                    <a:pt x="669" y="328"/>
                  </a:lnTo>
                  <a:lnTo>
                    <a:pt x="669" y="328"/>
                  </a:lnTo>
                  <a:lnTo>
                    <a:pt x="669" y="328"/>
                  </a:lnTo>
                  <a:lnTo>
                    <a:pt x="669" y="333"/>
                  </a:lnTo>
                  <a:lnTo>
                    <a:pt x="669" y="333"/>
                  </a:lnTo>
                  <a:lnTo>
                    <a:pt x="669" y="333"/>
                  </a:lnTo>
                  <a:lnTo>
                    <a:pt x="669" y="333"/>
                  </a:lnTo>
                  <a:lnTo>
                    <a:pt x="669" y="337"/>
                  </a:lnTo>
                  <a:lnTo>
                    <a:pt x="673" y="337"/>
                  </a:lnTo>
                  <a:lnTo>
                    <a:pt x="673" y="333"/>
                  </a:lnTo>
                  <a:lnTo>
                    <a:pt x="673" y="333"/>
                  </a:lnTo>
                  <a:lnTo>
                    <a:pt x="673" y="328"/>
                  </a:lnTo>
                  <a:lnTo>
                    <a:pt x="673" y="328"/>
                  </a:lnTo>
                  <a:lnTo>
                    <a:pt x="678" y="328"/>
                  </a:lnTo>
                  <a:lnTo>
                    <a:pt x="678" y="328"/>
                  </a:lnTo>
                  <a:lnTo>
                    <a:pt x="678" y="324"/>
                  </a:lnTo>
                  <a:lnTo>
                    <a:pt x="678" y="324"/>
                  </a:lnTo>
                  <a:lnTo>
                    <a:pt x="678" y="324"/>
                  </a:lnTo>
                  <a:lnTo>
                    <a:pt x="678" y="324"/>
                  </a:lnTo>
                  <a:lnTo>
                    <a:pt x="678" y="324"/>
                  </a:lnTo>
                  <a:lnTo>
                    <a:pt x="682" y="319"/>
                  </a:lnTo>
                  <a:close/>
                  <a:moveTo>
                    <a:pt x="567" y="346"/>
                  </a:moveTo>
                  <a:lnTo>
                    <a:pt x="567" y="350"/>
                  </a:lnTo>
                  <a:lnTo>
                    <a:pt x="567" y="350"/>
                  </a:lnTo>
                  <a:lnTo>
                    <a:pt x="571" y="350"/>
                  </a:lnTo>
                  <a:lnTo>
                    <a:pt x="571" y="346"/>
                  </a:lnTo>
                  <a:lnTo>
                    <a:pt x="576" y="341"/>
                  </a:lnTo>
                  <a:lnTo>
                    <a:pt x="576" y="337"/>
                  </a:lnTo>
                  <a:lnTo>
                    <a:pt x="576" y="337"/>
                  </a:lnTo>
                  <a:lnTo>
                    <a:pt x="576" y="337"/>
                  </a:lnTo>
                  <a:lnTo>
                    <a:pt x="571" y="333"/>
                  </a:lnTo>
                  <a:lnTo>
                    <a:pt x="571" y="333"/>
                  </a:lnTo>
                  <a:lnTo>
                    <a:pt x="571" y="333"/>
                  </a:lnTo>
                  <a:lnTo>
                    <a:pt x="576" y="333"/>
                  </a:lnTo>
                  <a:lnTo>
                    <a:pt x="576" y="333"/>
                  </a:lnTo>
                  <a:lnTo>
                    <a:pt x="576" y="337"/>
                  </a:lnTo>
                  <a:lnTo>
                    <a:pt x="585" y="333"/>
                  </a:lnTo>
                  <a:lnTo>
                    <a:pt x="589" y="328"/>
                  </a:lnTo>
                  <a:lnTo>
                    <a:pt x="589" y="328"/>
                  </a:lnTo>
                  <a:lnTo>
                    <a:pt x="589" y="328"/>
                  </a:lnTo>
                  <a:lnTo>
                    <a:pt x="589" y="328"/>
                  </a:lnTo>
                  <a:lnTo>
                    <a:pt x="589" y="328"/>
                  </a:lnTo>
                  <a:lnTo>
                    <a:pt x="589" y="324"/>
                  </a:lnTo>
                  <a:lnTo>
                    <a:pt x="589" y="324"/>
                  </a:lnTo>
                  <a:lnTo>
                    <a:pt x="593" y="324"/>
                  </a:lnTo>
                  <a:lnTo>
                    <a:pt x="593" y="324"/>
                  </a:lnTo>
                  <a:lnTo>
                    <a:pt x="593" y="324"/>
                  </a:lnTo>
                  <a:lnTo>
                    <a:pt x="593" y="319"/>
                  </a:lnTo>
                  <a:lnTo>
                    <a:pt x="593" y="319"/>
                  </a:lnTo>
                  <a:lnTo>
                    <a:pt x="593" y="319"/>
                  </a:lnTo>
                  <a:lnTo>
                    <a:pt x="598" y="319"/>
                  </a:lnTo>
                  <a:lnTo>
                    <a:pt x="598" y="315"/>
                  </a:lnTo>
                  <a:lnTo>
                    <a:pt x="602" y="310"/>
                  </a:lnTo>
                  <a:lnTo>
                    <a:pt x="602" y="310"/>
                  </a:lnTo>
                  <a:lnTo>
                    <a:pt x="602" y="310"/>
                  </a:lnTo>
                  <a:lnTo>
                    <a:pt x="602" y="302"/>
                  </a:lnTo>
                  <a:lnTo>
                    <a:pt x="602" y="297"/>
                  </a:lnTo>
                  <a:lnTo>
                    <a:pt x="602" y="297"/>
                  </a:lnTo>
                  <a:lnTo>
                    <a:pt x="607" y="293"/>
                  </a:lnTo>
                  <a:lnTo>
                    <a:pt x="607" y="288"/>
                  </a:lnTo>
                  <a:lnTo>
                    <a:pt x="602" y="288"/>
                  </a:lnTo>
                  <a:lnTo>
                    <a:pt x="602" y="288"/>
                  </a:lnTo>
                  <a:lnTo>
                    <a:pt x="598" y="293"/>
                  </a:lnTo>
                  <a:lnTo>
                    <a:pt x="593" y="293"/>
                  </a:lnTo>
                  <a:lnTo>
                    <a:pt x="593" y="297"/>
                  </a:lnTo>
                  <a:lnTo>
                    <a:pt x="589" y="297"/>
                  </a:lnTo>
                  <a:lnTo>
                    <a:pt x="589" y="297"/>
                  </a:lnTo>
                  <a:lnTo>
                    <a:pt x="589" y="297"/>
                  </a:lnTo>
                  <a:lnTo>
                    <a:pt x="589" y="297"/>
                  </a:lnTo>
                  <a:lnTo>
                    <a:pt x="589" y="302"/>
                  </a:lnTo>
                  <a:lnTo>
                    <a:pt x="589" y="302"/>
                  </a:lnTo>
                  <a:lnTo>
                    <a:pt x="585" y="310"/>
                  </a:lnTo>
                  <a:lnTo>
                    <a:pt x="585" y="310"/>
                  </a:lnTo>
                  <a:lnTo>
                    <a:pt x="580" y="315"/>
                  </a:lnTo>
                  <a:lnTo>
                    <a:pt x="576" y="315"/>
                  </a:lnTo>
                  <a:lnTo>
                    <a:pt x="576" y="319"/>
                  </a:lnTo>
                  <a:lnTo>
                    <a:pt x="571" y="324"/>
                  </a:lnTo>
                  <a:lnTo>
                    <a:pt x="571" y="324"/>
                  </a:lnTo>
                  <a:lnTo>
                    <a:pt x="567" y="333"/>
                  </a:lnTo>
                  <a:lnTo>
                    <a:pt x="567" y="333"/>
                  </a:lnTo>
                  <a:lnTo>
                    <a:pt x="567" y="337"/>
                  </a:lnTo>
                  <a:lnTo>
                    <a:pt x="567" y="337"/>
                  </a:lnTo>
                  <a:lnTo>
                    <a:pt x="567" y="341"/>
                  </a:lnTo>
                  <a:lnTo>
                    <a:pt x="567" y="341"/>
                  </a:lnTo>
                  <a:lnTo>
                    <a:pt x="567" y="346"/>
                  </a:lnTo>
                  <a:lnTo>
                    <a:pt x="567" y="346"/>
                  </a:lnTo>
                  <a:close/>
                  <a:moveTo>
                    <a:pt x="642" y="324"/>
                  </a:moveTo>
                  <a:lnTo>
                    <a:pt x="642" y="324"/>
                  </a:lnTo>
                  <a:lnTo>
                    <a:pt x="655" y="319"/>
                  </a:lnTo>
                  <a:lnTo>
                    <a:pt x="655" y="324"/>
                  </a:lnTo>
                  <a:lnTo>
                    <a:pt x="655" y="324"/>
                  </a:lnTo>
                  <a:lnTo>
                    <a:pt x="655" y="324"/>
                  </a:lnTo>
                  <a:lnTo>
                    <a:pt x="655" y="324"/>
                  </a:lnTo>
                  <a:lnTo>
                    <a:pt x="655" y="328"/>
                  </a:lnTo>
                  <a:lnTo>
                    <a:pt x="655" y="328"/>
                  </a:lnTo>
                  <a:lnTo>
                    <a:pt x="655" y="328"/>
                  </a:lnTo>
                  <a:lnTo>
                    <a:pt x="655" y="328"/>
                  </a:lnTo>
                  <a:lnTo>
                    <a:pt x="651" y="328"/>
                  </a:lnTo>
                  <a:lnTo>
                    <a:pt x="651" y="328"/>
                  </a:lnTo>
                  <a:lnTo>
                    <a:pt x="651" y="333"/>
                  </a:lnTo>
                  <a:lnTo>
                    <a:pt x="655" y="333"/>
                  </a:lnTo>
                  <a:lnTo>
                    <a:pt x="655" y="333"/>
                  </a:lnTo>
                  <a:lnTo>
                    <a:pt x="660" y="328"/>
                  </a:lnTo>
                  <a:lnTo>
                    <a:pt x="660" y="328"/>
                  </a:lnTo>
                  <a:lnTo>
                    <a:pt x="660" y="328"/>
                  </a:lnTo>
                  <a:lnTo>
                    <a:pt x="660" y="328"/>
                  </a:lnTo>
                  <a:lnTo>
                    <a:pt x="660" y="328"/>
                  </a:lnTo>
                  <a:lnTo>
                    <a:pt x="660" y="319"/>
                  </a:lnTo>
                  <a:lnTo>
                    <a:pt x="664" y="319"/>
                  </a:lnTo>
                  <a:lnTo>
                    <a:pt x="669" y="310"/>
                  </a:lnTo>
                  <a:lnTo>
                    <a:pt x="673" y="306"/>
                  </a:lnTo>
                  <a:lnTo>
                    <a:pt x="673" y="306"/>
                  </a:lnTo>
                  <a:lnTo>
                    <a:pt x="673" y="306"/>
                  </a:lnTo>
                  <a:lnTo>
                    <a:pt x="678" y="302"/>
                  </a:lnTo>
                  <a:lnTo>
                    <a:pt x="678" y="306"/>
                  </a:lnTo>
                  <a:lnTo>
                    <a:pt x="678" y="306"/>
                  </a:lnTo>
                  <a:lnTo>
                    <a:pt x="678" y="310"/>
                  </a:lnTo>
                  <a:lnTo>
                    <a:pt x="678" y="310"/>
                  </a:lnTo>
                  <a:lnTo>
                    <a:pt x="678" y="310"/>
                  </a:lnTo>
                  <a:lnTo>
                    <a:pt x="682" y="310"/>
                  </a:lnTo>
                  <a:lnTo>
                    <a:pt x="686" y="306"/>
                  </a:lnTo>
                  <a:lnTo>
                    <a:pt x="695" y="310"/>
                  </a:lnTo>
                  <a:lnTo>
                    <a:pt x="700" y="306"/>
                  </a:lnTo>
                  <a:lnTo>
                    <a:pt x="704" y="306"/>
                  </a:lnTo>
                  <a:lnTo>
                    <a:pt x="704" y="306"/>
                  </a:lnTo>
                  <a:lnTo>
                    <a:pt x="704" y="302"/>
                  </a:lnTo>
                  <a:lnTo>
                    <a:pt x="700" y="302"/>
                  </a:lnTo>
                  <a:lnTo>
                    <a:pt x="700" y="302"/>
                  </a:lnTo>
                  <a:lnTo>
                    <a:pt x="700" y="302"/>
                  </a:lnTo>
                  <a:lnTo>
                    <a:pt x="700" y="302"/>
                  </a:lnTo>
                  <a:lnTo>
                    <a:pt x="700" y="297"/>
                  </a:lnTo>
                  <a:lnTo>
                    <a:pt x="695" y="297"/>
                  </a:lnTo>
                  <a:lnTo>
                    <a:pt x="695" y="297"/>
                  </a:lnTo>
                  <a:lnTo>
                    <a:pt x="700" y="297"/>
                  </a:lnTo>
                  <a:lnTo>
                    <a:pt x="700" y="297"/>
                  </a:lnTo>
                  <a:lnTo>
                    <a:pt x="700" y="293"/>
                  </a:lnTo>
                  <a:lnTo>
                    <a:pt x="700" y="293"/>
                  </a:lnTo>
                  <a:lnTo>
                    <a:pt x="700" y="293"/>
                  </a:lnTo>
                  <a:lnTo>
                    <a:pt x="700" y="293"/>
                  </a:lnTo>
                  <a:lnTo>
                    <a:pt x="700" y="288"/>
                  </a:lnTo>
                  <a:lnTo>
                    <a:pt x="700" y="288"/>
                  </a:lnTo>
                  <a:lnTo>
                    <a:pt x="700" y="288"/>
                  </a:lnTo>
                  <a:lnTo>
                    <a:pt x="700" y="288"/>
                  </a:lnTo>
                  <a:lnTo>
                    <a:pt x="700" y="284"/>
                  </a:lnTo>
                  <a:lnTo>
                    <a:pt x="700" y="284"/>
                  </a:lnTo>
                  <a:lnTo>
                    <a:pt x="704" y="279"/>
                  </a:lnTo>
                  <a:lnTo>
                    <a:pt x="708" y="284"/>
                  </a:lnTo>
                  <a:lnTo>
                    <a:pt x="708" y="279"/>
                  </a:lnTo>
                  <a:lnTo>
                    <a:pt x="708" y="279"/>
                  </a:lnTo>
                  <a:lnTo>
                    <a:pt x="708" y="279"/>
                  </a:lnTo>
                  <a:lnTo>
                    <a:pt x="708" y="279"/>
                  </a:lnTo>
                  <a:lnTo>
                    <a:pt x="708" y="275"/>
                  </a:lnTo>
                  <a:lnTo>
                    <a:pt x="708" y="275"/>
                  </a:lnTo>
                  <a:lnTo>
                    <a:pt x="708" y="271"/>
                  </a:lnTo>
                  <a:lnTo>
                    <a:pt x="708" y="271"/>
                  </a:lnTo>
                  <a:lnTo>
                    <a:pt x="704" y="266"/>
                  </a:lnTo>
                  <a:lnTo>
                    <a:pt x="704" y="266"/>
                  </a:lnTo>
                  <a:lnTo>
                    <a:pt x="704" y="271"/>
                  </a:lnTo>
                  <a:lnTo>
                    <a:pt x="704" y="271"/>
                  </a:lnTo>
                  <a:lnTo>
                    <a:pt x="704" y="271"/>
                  </a:lnTo>
                  <a:lnTo>
                    <a:pt x="700" y="271"/>
                  </a:lnTo>
                  <a:lnTo>
                    <a:pt x="700" y="271"/>
                  </a:lnTo>
                  <a:lnTo>
                    <a:pt x="704" y="266"/>
                  </a:lnTo>
                  <a:lnTo>
                    <a:pt x="704" y="266"/>
                  </a:lnTo>
                  <a:lnTo>
                    <a:pt x="700" y="262"/>
                  </a:lnTo>
                  <a:lnTo>
                    <a:pt x="704" y="262"/>
                  </a:lnTo>
                  <a:lnTo>
                    <a:pt x="704" y="262"/>
                  </a:lnTo>
                  <a:lnTo>
                    <a:pt x="704" y="262"/>
                  </a:lnTo>
                  <a:lnTo>
                    <a:pt x="700" y="257"/>
                  </a:lnTo>
                  <a:lnTo>
                    <a:pt x="700" y="257"/>
                  </a:lnTo>
                  <a:lnTo>
                    <a:pt x="700" y="257"/>
                  </a:lnTo>
                  <a:lnTo>
                    <a:pt x="700" y="257"/>
                  </a:lnTo>
                  <a:lnTo>
                    <a:pt x="695" y="257"/>
                  </a:lnTo>
                  <a:lnTo>
                    <a:pt x="695" y="262"/>
                  </a:lnTo>
                  <a:lnTo>
                    <a:pt x="695" y="262"/>
                  </a:lnTo>
                  <a:lnTo>
                    <a:pt x="695" y="266"/>
                  </a:lnTo>
                  <a:lnTo>
                    <a:pt x="695" y="266"/>
                  </a:lnTo>
                  <a:lnTo>
                    <a:pt x="695" y="266"/>
                  </a:lnTo>
                  <a:lnTo>
                    <a:pt x="695" y="266"/>
                  </a:lnTo>
                  <a:lnTo>
                    <a:pt x="695" y="266"/>
                  </a:lnTo>
                  <a:lnTo>
                    <a:pt x="695" y="262"/>
                  </a:lnTo>
                  <a:lnTo>
                    <a:pt x="695" y="262"/>
                  </a:lnTo>
                  <a:lnTo>
                    <a:pt x="695" y="262"/>
                  </a:lnTo>
                  <a:lnTo>
                    <a:pt x="695" y="257"/>
                  </a:lnTo>
                  <a:lnTo>
                    <a:pt x="695" y="257"/>
                  </a:lnTo>
                  <a:lnTo>
                    <a:pt x="695" y="257"/>
                  </a:lnTo>
                  <a:lnTo>
                    <a:pt x="695" y="257"/>
                  </a:lnTo>
                  <a:lnTo>
                    <a:pt x="695" y="253"/>
                  </a:lnTo>
                  <a:lnTo>
                    <a:pt x="695" y="248"/>
                  </a:lnTo>
                  <a:lnTo>
                    <a:pt x="695" y="244"/>
                  </a:lnTo>
                  <a:lnTo>
                    <a:pt x="695" y="244"/>
                  </a:lnTo>
                  <a:lnTo>
                    <a:pt x="695" y="244"/>
                  </a:lnTo>
                  <a:lnTo>
                    <a:pt x="691" y="248"/>
                  </a:lnTo>
                  <a:lnTo>
                    <a:pt x="691" y="253"/>
                  </a:lnTo>
                  <a:lnTo>
                    <a:pt x="691" y="253"/>
                  </a:lnTo>
                  <a:lnTo>
                    <a:pt x="691" y="253"/>
                  </a:lnTo>
                  <a:lnTo>
                    <a:pt x="686" y="248"/>
                  </a:lnTo>
                  <a:lnTo>
                    <a:pt x="686" y="244"/>
                  </a:lnTo>
                  <a:lnTo>
                    <a:pt x="686" y="244"/>
                  </a:lnTo>
                  <a:lnTo>
                    <a:pt x="686" y="244"/>
                  </a:lnTo>
                  <a:lnTo>
                    <a:pt x="686" y="244"/>
                  </a:lnTo>
                  <a:lnTo>
                    <a:pt x="686" y="244"/>
                  </a:lnTo>
                  <a:lnTo>
                    <a:pt x="686" y="244"/>
                  </a:lnTo>
                  <a:lnTo>
                    <a:pt x="686" y="248"/>
                  </a:lnTo>
                  <a:lnTo>
                    <a:pt x="686" y="248"/>
                  </a:lnTo>
                  <a:lnTo>
                    <a:pt x="686" y="248"/>
                  </a:lnTo>
                  <a:lnTo>
                    <a:pt x="686" y="253"/>
                  </a:lnTo>
                  <a:lnTo>
                    <a:pt x="686" y="253"/>
                  </a:lnTo>
                  <a:lnTo>
                    <a:pt x="686" y="253"/>
                  </a:lnTo>
                  <a:lnTo>
                    <a:pt x="686" y="253"/>
                  </a:lnTo>
                  <a:lnTo>
                    <a:pt x="686" y="257"/>
                  </a:lnTo>
                  <a:lnTo>
                    <a:pt x="686" y="257"/>
                  </a:lnTo>
                  <a:lnTo>
                    <a:pt x="686" y="257"/>
                  </a:lnTo>
                  <a:lnTo>
                    <a:pt x="682" y="257"/>
                  </a:lnTo>
                  <a:lnTo>
                    <a:pt x="682" y="257"/>
                  </a:lnTo>
                  <a:lnTo>
                    <a:pt x="678" y="248"/>
                  </a:lnTo>
                  <a:lnTo>
                    <a:pt x="678" y="244"/>
                  </a:lnTo>
                  <a:lnTo>
                    <a:pt x="673" y="244"/>
                  </a:lnTo>
                  <a:lnTo>
                    <a:pt x="673" y="244"/>
                  </a:lnTo>
                  <a:lnTo>
                    <a:pt x="673" y="244"/>
                  </a:lnTo>
                  <a:lnTo>
                    <a:pt x="673" y="248"/>
                  </a:lnTo>
                  <a:lnTo>
                    <a:pt x="673" y="248"/>
                  </a:lnTo>
                  <a:lnTo>
                    <a:pt x="673" y="248"/>
                  </a:lnTo>
                  <a:lnTo>
                    <a:pt x="673" y="253"/>
                  </a:lnTo>
                  <a:lnTo>
                    <a:pt x="678" y="253"/>
                  </a:lnTo>
                  <a:lnTo>
                    <a:pt x="682" y="257"/>
                  </a:lnTo>
                  <a:lnTo>
                    <a:pt x="682" y="257"/>
                  </a:lnTo>
                  <a:lnTo>
                    <a:pt x="682" y="262"/>
                  </a:lnTo>
                  <a:lnTo>
                    <a:pt x="682" y="262"/>
                  </a:lnTo>
                  <a:lnTo>
                    <a:pt x="682" y="262"/>
                  </a:lnTo>
                  <a:lnTo>
                    <a:pt x="682" y="262"/>
                  </a:lnTo>
                  <a:lnTo>
                    <a:pt x="682" y="262"/>
                  </a:lnTo>
                  <a:lnTo>
                    <a:pt x="682" y="266"/>
                  </a:lnTo>
                  <a:lnTo>
                    <a:pt x="682" y="266"/>
                  </a:lnTo>
                  <a:lnTo>
                    <a:pt x="682" y="266"/>
                  </a:lnTo>
                  <a:lnTo>
                    <a:pt x="678" y="262"/>
                  </a:lnTo>
                  <a:lnTo>
                    <a:pt x="678" y="262"/>
                  </a:lnTo>
                  <a:lnTo>
                    <a:pt x="678" y="262"/>
                  </a:lnTo>
                  <a:lnTo>
                    <a:pt x="673" y="257"/>
                  </a:lnTo>
                  <a:lnTo>
                    <a:pt x="673" y="257"/>
                  </a:lnTo>
                  <a:lnTo>
                    <a:pt x="673" y="257"/>
                  </a:lnTo>
                  <a:lnTo>
                    <a:pt x="673" y="257"/>
                  </a:lnTo>
                  <a:lnTo>
                    <a:pt x="673" y="257"/>
                  </a:lnTo>
                  <a:lnTo>
                    <a:pt x="669" y="253"/>
                  </a:lnTo>
                  <a:lnTo>
                    <a:pt x="669" y="253"/>
                  </a:lnTo>
                  <a:lnTo>
                    <a:pt x="669" y="253"/>
                  </a:lnTo>
                  <a:lnTo>
                    <a:pt x="664" y="257"/>
                  </a:lnTo>
                  <a:lnTo>
                    <a:pt x="669" y="257"/>
                  </a:lnTo>
                  <a:lnTo>
                    <a:pt x="669" y="262"/>
                  </a:lnTo>
                  <a:lnTo>
                    <a:pt x="669" y="262"/>
                  </a:lnTo>
                  <a:lnTo>
                    <a:pt x="669" y="262"/>
                  </a:lnTo>
                  <a:lnTo>
                    <a:pt x="664" y="262"/>
                  </a:lnTo>
                  <a:lnTo>
                    <a:pt x="664" y="262"/>
                  </a:lnTo>
                  <a:lnTo>
                    <a:pt x="669" y="266"/>
                  </a:lnTo>
                  <a:lnTo>
                    <a:pt x="664" y="266"/>
                  </a:lnTo>
                  <a:lnTo>
                    <a:pt x="664" y="262"/>
                  </a:lnTo>
                  <a:lnTo>
                    <a:pt x="664" y="262"/>
                  </a:lnTo>
                  <a:lnTo>
                    <a:pt x="664" y="262"/>
                  </a:lnTo>
                  <a:lnTo>
                    <a:pt x="660" y="257"/>
                  </a:lnTo>
                  <a:lnTo>
                    <a:pt x="660" y="257"/>
                  </a:lnTo>
                  <a:lnTo>
                    <a:pt x="664" y="266"/>
                  </a:lnTo>
                  <a:lnTo>
                    <a:pt x="669" y="266"/>
                  </a:lnTo>
                  <a:lnTo>
                    <a:pt x="678" y="271"/>
                  </a:lnTo>
                  <a:lnTo>
                    <a:pt x="673" y="271"/>
                  </a:lnTo>
                  <a:lnTo>
                    <a:pt x="664" y="271"/>
                  </a:lnTo>
                  <a:lnTo>
                    <a:pt x="664" y="271"/>
                  </a:lnTo>
                  <a:lnTo>
                    <a:pt x="669" y="275"/>
                  </a:lnTo>
                  <a:lnTo>
                    <a:pt x="669" y="275"/>
                  </a:lnTo>
                  <a:lnTo>
                    <a:pt x="669" y="275"/>
                  </a:lnTo>
                  <a:lnTo>
                    <a:pt x="673" y="279"/>
                  </a:lnTo>
                  <a:lnTo>
                    <a:pt x="669" y="279"/>
                  </a:lnTo>
                  <a:lnTo>
                    <a:pt x="664" y="275"/>
                  </a:lnTo>
                  <a:lnTo>
                    <a:pt x="655" y="275"/>
                  </a:lnTo>
                  <a:lnTo>
                    <a:pt x="655" y="275"/>
                  </a:lnTo>
                  <a:lnTo>
                    <a:pt x="655" y="275"/>
                  </a:lnTo>
                  <a:lnTo>
                    <a:pt x="655" y="275"/>
                  </a:lnTo>
                  <a:lnTo>
                    <a:pt x="655" y="275"/>
                  </a:lnTo>
                  <a:lnTo>
                    <a:pt x="651" y="275"/>
                  </a:lnTo>
                  <a:lnTo>
                    <a:pt x="651" y="275"/>
                  </a:lnTo>
                  <a:lnTo>
                    <a:pt x="651" y="275"/>
                  </a:lnTo>
                  <a:lnTo>
                    <a:pt x="651" y="275"/>
                  </a:lnTo>
                  <a:lnTo>
                    <a:pt x="651" y="275"/>
                  </a:lnTo>
                  <a:lnTo>
                    <a:pt x="651" y="275"/>
                  </a:lnTo>
                  <a:lnTo>
                    <a:pt x="651" y="275"/>
                  </a:lnTo>
                  <a:lnTo>
                    <a:pt x="647" y="275"/>
                  </a:lnTo>
                  <a:lnTo>
                    <a:pt x="647" y="275"/>
                  </a:lnTo>
                  <a:lnTo>
                    <a:pt x="647" y="275"/>
                  </a:lnTo>
                  <a:lnTo>
                    <a:pt x="647" y="275"/>
                  </a:lnTo>
                  <a:lnTo>
                    <a:pt x="647" y="275"/>
                  </a:lnTo>
                  <a:lnTo>
                    <a:pt x="647" y="279"/>
                  </a:lnTo>
                  <a:lnTo>
                    <a:pt x="647" y="279"/>
                  </a:lnTo>
                  <a:lnTo>
                    <a:pt x="642" y="279"/>
                  </a:lnTo>
                  <a:lnTo>
                    <a:pt x="642" y="279"/>
                  </a:lnTo>
                  <a:lnTo>
                    <a:pt x="647" y="279"/>
                  </a:lnTo>
                  <a:lnTo>
                    <a:pt x="651" y="279"/>
                  </a:lnTo>
                  <a:lnTo>
                    <a:pt x="655" y="279"/>
                  </a:lnTo>
                  <a:lnTo>
                    <a:pt x="655" y="279"/>
                  </a:lnTo>
                  <a:lnTo>
                    <a:pt x="655" y="279"/>
                  </a:lnTo>
                  <a:lnTo>
                    <a:pt x="651" y="284"/>
                  </a:lnTo>
                  <a:lnTo>
                    <a:pt x="651" y="284"/>
                  </a:lnTo>
                  <a:lnTo>
                    <a:pt x="651" y="284"/>
                  </a:lnTo>
                  <a:lnTo>
                    <a:pt x="655" y="284"/>
                  </a:lnTo>
                  <a:lnTo>
                    <a:pt x="655" y="284"/>
                  </a:lnTo>
                  <a:lnTo>
                    <a:pt x="655" y="284"/>
                  </a:lnTo>
                  <a:lnTo>
                    <a:pt x="655" y="288"/>
                  </a:lnTo>
                  <a:lnTo>
                    <a:pt x="655" y="288"/>
                  </a:lnTo>
                  <a:lnTo>
                    <a:pt x="647" y="288"/>
                  </a:lnTo>
                  <a:lnTo>
                    <a:pt x="647" y="288"/>
                  </a:lnTo>
                  <a:lnTo>
                    <a:pt x="647" y="288"/>
                  </a:lnTo>
                  <a:lnTo>
                    <a:pt x="647" y="288"/>
                  </a:lnTo>
                  <a:lnTo>
                    <a:pt x="651" y="288"/>
                  </a:lnTo>
                  <a:lnTo>
                    <a:pt x="651" y="293"/>
                  </a:lnTo>
                  <a:lnTo>
                    <a:pt x="651" y="293"/>
                  </a:lnTo>
                  <a:lnTo>
                    <a:pt x="651" y="293"/>
                  </a:lnTo>
                  <a:lnTo>
                    <a:pt x="651" y="293"/>
                  </a:lnTo>
                  <a:lnTo>
                    <a:pt x="651" y="293"/>
                  </a:lnTo>
                  <a:lnTo>
                    <a:pt x="655" y="293"/>
                  </a:lnTo>
                  <a:lnTo>
                    <a:pt x="655" y="293"/>
                  </a:lnTo>
                  <a:lnTo>
                    <a:pt x="655" y="293"/>
                  </a:lnTo>
                  <a:lnTo>
                    <a:pt x="655" y="293"/>
                  </a:lnTo>
                  <a:lnTo>
                    <a:pt x="655" y="293"/>
                  </a:lnTo>
                  <a:lnTo>
                    <a:pt x="655" y="293"/>
                  </a:lnTo>
                  <a:lnTo>
                    <a:pt x="655" y="293"/>
                  </a:lnTo>
                  <a:lnTo>
                    <a:pt x="655" y="297"/>
                  </a:lnTo>
                  <a:lnTo>
                    <a:pt x="655" y="297"/>
                  </a:lnTo>
                  <a:lnTo>
                    <a:pt x="655" y="297"/>
                  </a:lnTo>
                  <a:lnTo>
                    <a:pt x="655" y="297"/>
                  </a:lnTo>
                  <a:lnTo>
                    <a:pt x="660" y="297"/>
                  </a:lnTo>
                  <a:lnTo>
                    <a:pt x="655" y="302"/>
                  </a:lnTo>
                  <a:lnTo>
                    <a:pt x="647" y="297"/>
                  </a:lnTo>
                  <a:lnTo>
                    <a:pt x="642" y="302"/>
                  </a:lnTo>
                  <a:lnTo>
                    <a:pt x="642" y="302"/>
                  </a:lnTo>
                  <a:lnTo>
                    <a:pt x="647" y="302"/>
                  </a:lnTo>
                  <a:lnTo>
                    <a:pt x="647" y="302"/>
                  </a:lnTo>
                  <a:lnTo>
                    <a:pt x="647" y="302"/>
                  </a:lnTo>
                  <a:lnTo>
                    <a:pt x="647" y="302"/>
                  </a:lnTo>
                  <a:lnTo>
                    <a:pt x="647" y="302"/>
                  </a:lnTo>
                  <a:lnTo>
                    <a:pt x="647" y="306"/>
                  </a:lnTo>
                  <a:lnTo>
                    <a:pt x="647" y="306"/>
                  </a:lnTo>
                  <a:lnTo>
                    <a:pt x="647" y="306"/>
                  </a:lnTo>
                  <a:lnTo>
                    <a:pt x="651" y="306"/>
                  </a:lnTo>
                  <a:lnTo>
                    <a:pt x="655" y="306"/>
                  </a:lnTo>
                  <a:lnTo>
                    <a:pt x="660" y="306"/>
                  </a:lnTo>
                  <a:lnTo>
                    <a:pt x="660" y="306"/>
                  </a:lnTo>
                  <a:lnTo>
                    <a:pt x="651" y="310"/>
                  </a:lnTo>
                  <a:lnTo>
                    <a:pt x="651" y="310"/>
                  </a:lnTo>
                  <a:lnTo>
                    <a:pt x="655" y="310"/>
                  </a:lnTo>
                  <a:lnTo>
                    <a:pt x="655" y="310"/>
                  </a:lnTo>
                  <a:lnTo>
                    <a:pt x="655" y="310"/>
                  </a:lnTo>
                  <a:lnTo>
                    <a:pt x="651" y="315"/>
                  </a:lnTo>
                  <a:lnTo>
                    <a:pt x="651" y="315"/>
                  </a:lnTo>
                  <a:lnTo>
                    <a:pt x="651" y="315"/>
                  </a:lnTo>
                  <a:lnTo>
                    <a:pt x="642" y="315"/>
                  </a:lnTo>
                  <a:lnTo>
                    <a:pt x="647" y="319"/>
                  </a:lnTo>
                  <a:lnTo>
                    <a:pt x="642" y="319"/>
                  </a:lnTo>
                  <a:lnTo>
                    <a:pt x="642" y="315"/>
                  </a:lnTo>
                  <a:lnTo>
                    <a:pt x="638" y="319"/>
                  </a:lnTo>
                  <a:lnTo>
                    <a:pt x="638" y="319"/>
                  </a:lnTo>
                  <a:lnTo>
                    <a:pt x="638" y="324"/>
                  </a:lnTo>
                  <a:lnTo>
                    <a:pt x="642" y="324"/>
                  </a:lnTo>
                  <a:close/>
                  <a:moveTo>
                    <a:pt x="704" y="248"/>
                  </a:moveTo>
                  <a:lnTo>
                    <a:pt x="708" y="248"/>
                  </a:lnTo>
                  <a:lnTo>
                    <a:pt x="708" y="248"/>
                  </a:lnTo>
                  <a:lnTo>
                    <a:pt x="713" y="253"/>
                  </a:lnTo>
                  <a:lnTo>
                    <a:pt x="713" y="253"/>
                  </a:lnTo>
                  <a:lnTo>
                    <a:pt x="717" y="253"/>
                  </a:lnTo>
                  <a:lnTo>
                    <a:pt x="726" y="248"/>
                  </a:lnTo>
                  <a:lnTo>
                    <a:pt x="731" y="248"/>
                  </a:lnTo>
                  <a:lnTo>
                    <a:pt x="735" y="248"/>
                  </a:lnTo>
                  <a:lnTo>
                    <a:pt x="735" y="248"/>
                  </a:lnTo>
                  <a:lnTo>
                    <a:pt x="735" y="248"/>
                  </a:lnTo>
                  <a:lnTo>
                    <a:pt x="739" y="248"/>
                  </a:lnTo>
                  <a:lnTo>
                    <a:pt x="744" y="248"/>
                  </a:lnTo>
                  <a:lnTo>
                    <a:pt x="744" y="244"/>
                  </a:lnTo>
                  <a:lnTo>
                    <a:pt x="748" y="244"/>
                  </a:lnTo>
                  <a:lnTo>
                    <a:pt x="748" y="240"/>
                  </a:lnTo>
                  <a:lnTo>
                    <a:pt x="744" y="240"/>
                  </a:lnTo>
                  <a:lnTo>
                    <a:pt x="744" y="240"/>
                  </a:lnTo>
                  <a:lnTo>
                    <a:pt x="744" y="240"/>
                  </a:lnTo>
                  <a:lnTo>
                    <a:pt x="744" y="235"/>
                  </a:lnTo>
                  <a:lnTo>
                    <a:pt x="744" y="235"/>
                  </a:lnTo>
                  <a:lnTo>
                    <a:pt x="744" y="235"/>
                  </a:lnTo>
                  <a:lnTo>
                    <a:pt x="744" y="231"/>
                  </a:lnTo>
                  <a:lnTo>
                    <a:pt x="744" y="231"/>
                  </a:lnTo>
                  <a:lnTo>
                    <a:pt x="748" y="231"/>
                  </a:lnTo>
                  <a:lnTo>
                    <a:pt x="748" y="231"/>
                  </a:lnTo>
                  <a:lnTo>
                    <a:pt x="753" y="231"/>
                  </a:lnTo>
                  <a:lnTo>
                    <a:pt x="753" y="222"/>
                  </a:lnTo>
                  <a:lnTo>
                    <a:pt x="757" y="222"/>
                  </a:lnTo>
                  <a:lnTo>
                    <a:pt x="757" y="217"/>
                  </a:lnTo>
                  <a:lnTo>
                    <a:pt x="757" y="217"/>
                  </a:lnTo>
                  <a:lnTo>
                    <a:pt x="757" y="213"/>
                  </a:lnTo>
                  <a:lnTo>
                    <a:pt x="757" y="213"/>
                  </a:lnTo>
                  <a:lnTo>
                    <a:pt x="757" y="209"/>
                  </a:lnTo>
                  <a:lnTo>
                    <a:pt x="753" y="209"/>
                  </a:lnTo>
                  <a:lnTo>
                    <a:pt x="748" y="204"/>
                  </a:lnTo>
                  <a:lnTo>
                    <a:pt x="748" y="209"/>
                  </a:lnTo>
                  <a:lnTo>
                    <a:pt x="748" y="209"/>
                  </a:lnTo>
                  <a:lnTo>
                    <a:pt x="748" y="204"/>
                  </a:lnTo>
                  <a:lnTo>
                    <a:pt x="748" y="204"/>
                  </a:lnTo>
                  <a:lnTo>
                    <a:pt x="748" y="204"/>
                  </a:lnTo>
                  <a:lnTo>
                    <a:pt x="748" y="200"/>
                  </a:lnTo>
                  <a:lnTo>
                    <a:pt x="744" y="200"/>
                  </a:lnTo>
                  <a:lnTo>
                    <a:pt x="744" y="200"/>
                  </a:lnTo>
                  <a:lnTo>
                    <a:pt x="744" y="200"/>
                  </a:lnTo>
                  <a:lnTo>
                    <a:pt x="744" y="204"/>
                  </a:lnTo>
                  <a:lnTo>
                    <a:pt x="744" y="204"/>
                  </a:lnTo>
                  <a:lnTo>
                    <a:pt x="739" y="200"/>
                  </a:lnTo>
                  <a:lnTo>
                    <a:pt x="739" y="200"/>
                  </a:lnTo>
                  <a:lnTo>
                    <a:pt x="739" y="204"/>
                  </a:lnTo>
                  <a:lnTo>
                    <a:pt x="739" y="209"/>
                  </a:lnTo>
                  <a:lnTo>
                    <a:pt x="739" y="209"/>
                  </a:lnTo>
                  <a:lnTo>
                    <a:pt x="744" y="213"/>
                  </a:lnTo>
                  <a:lnTo>
                    <a:pt x="744" y="217"/>
                  </a:lnTo>
                  <a:lnTo>
                    <a:pt x="744" y="222"/>
                  </a:lnTo>
                  <a:lnTo>
                    <a:pt x="744" y="226"/>
                  </a:lnTo>
                  <a:lnTo>
                    <a:pt x="739" y="226"/>
                  </a:lnTo>
                  <a:lnTo>
                    <a:pt x="744" y="231"/>
                  </a:lnTo>
                  <a:lnTo>
                    <a:pt x="744" y="231"/>
                  </a:lnTo>
                  <a:lnTo>
                    <a:pt x="739" y="231"/>
                  </a:lnTo>
                  <a:lnTo>
                    <a:pt x="739" y="226"/>
                  </a:lnTo>
                  <a:lnTo>
                    <a:pt x="735" y="222"/>
                  </a:lnTo>
                  <a:lnTo>
                    <a:pt x="735" y="213"/>
                  </a:lnTo>
                  <a:lnTo>
                    <a:pt x="735" y="213"/>
                  </a:lnTo>
                  <a:lnTo>
                    <a:pt x="731" y="213"/>
                  </a:lnTo>
                  <a:lnTo>
                    <a:pt x="731" y="217"/>
                  </a:lnTo>
                  <a:lnTo>
                    <a:pt x="731" y="217"/>
                  </a:lnTo>
                  <a:lnTo>
                    <a:pt x="731" y="222"/>
                  </a:lnTo>
                  <a:lnTo>
                    <a:pt x="731" y="222"/>
                  </a:lnTo>
                  <a:lnTo>
                    <a:pt x="726" y="222"/>
                  </a:lnTo>
                  <a:lnTo>
                    <a:pt x="726" y="222"/>
                  </a:lnTo>
                  <a:lnTo>
                    <a:pt x="726" y="217"/>
                  </a:lnTo>
                  <a:lnTo>
                    <a:pt x="726" y="217"/>
                  </a:lnTo>
                  <a:lnTo>
                    <a:pt x="726" y="217"/>
                  </a:lnTo>
                  <a:lnTo>
                    <a:pt x="726" y="217"/>
                  </a:lnTo>
                  <a:lnTo>
                    <a:pt x="726" y="217"/>
                  </a:lnTo>
                  <a:lnTo>
                    <a:pt x="722" y="213"/>
                  </a:lnTo>
                  <a:lnTo>
                    <a:pt x="722" y="213"/>
                  </a:lnTo>
                  <a:lnTo>
                    <a:pt x="722" y="213"/>
                  </a:lnTo>
                  <a:lnTo>
                    <a:pt x="722" y="213"/>
                  </a:lnTo>
                  <a:lnTo>
                    <a:pt x="722" y="217"/>
                  </a:lnTo>
                  <a:lnTo>
                    <a:pt x="722" y="217"/>
                  </a:lnTo>
                  <a:lnTo>
                    <a:pt x="722" y="222"/>
                  </a:lnTo>
                  <a:lnTo>
                    <a:pt x="722" y="226"/>
                  </a:lnTo>
                  <a:lnTo>
                    <a:pt x="722" y="226"/>
                  </a:lnTo>
                  <a:lnTo>
                    <a:pt x="735" y="226"/>
                  </a:lnTo>
                  <a:lnTo>
                    <a:pt x="735" y="231"/>
                  </a:lnTo>
                  <a:lnTo>
                    <a:pt x="735" y="231"/>
                  </a:lnTo>
                  <a:lnTo>
                    <a:pt x="726" y="226"/>
                  </a:lnTo>
                  <a:lnTo>
                    <a:pt x="722" y="226"/>
                  </a:lnTo>
                  <a:lnTo>
                    <a:pt x="717" y="226"/>
                  </a:lnTo>
                  <a:lnTo>
                    <a:pt x="717" y="226"/>
                  </a:lnTo>
                  <a:lnTo>
                    <a:pt x="713" y="226"/>
                  </a:lnTo>
                  <a:lnTo>
                    <a:pt x="713" y="226"/>
                  </a:lnTo>
                  <a:lnTo>
                    <a:pt x="717" y="240"/>
                  </a:lnTo>
                  <a:lnTo>
                    <a:pt x="717" y="240"/>
                  </a:lnTo>
                  <a:lnTo>
                    <a:pt x="722" y="240"/>
                  </a:lnTo>
                  <a:lnTo>
                    <a:pt x="722" y="240"/>
                  </a:lnTo>
                  <a:lnTo>
                    <a:pt x="722" y="240"/>
                  </a:lnTo>
                  <a:lnTo>
                    <a:pt x="722" y="240"/>
                  </a:lnTo>
                  <a:lnTo>
                    <a:pt x="722" y="240"/>
                  </a:lnTo>
                  <a:lnTo>
                    <a:pt x="722" y="240"/>
                  </a:lnTo>
                  <a:lnTo>
                    <a:pt x="722" y="240"/>
                  </a:lnTo>
                  <a:lnTo>
                    <a:pt x="722" y="244"/>
                  </a:lnTo>
                  <a:lnTo>
                    <a:pt x="717" y="244"/>
                  </a:lnTo>
                  <a:lnTo>
                    <a:pt x="717" y="244"/>
                  </a:lnTo>
                  <a:lnTo>
                    <a:pt x="717" y="244"/>
                  </a:lnTo>
                  <a:lnTo>
                    <a:pt x="717" y="244"/>
                  </a:lnTo>
                  <a:lnTo>
                    <a:pt x="717" y="244"/>
                  </a:lnTo>
                  <a:lnTo>
                    <a:pt x="717" y="244"/>
                  </a:lnTo>
                  <a:lnTo>
                    <a:pt x="717" y="244"/>
                  </a:lnTo>
                  <a:lnTo>
                    <a:pt x="717" y="240"/>
                  </a:lnTo>
                  <a:lnTo>
                    <a:pt x="717" y="240"/>
                  </a:lnTo>
                  <a:lnTo>
                    <a:pt x="717" y="240"/>
                  </a:lnTo>
                  <a:lnTo>
                    <a:pt x="708" y="240"/>
                  </a:lnTo>
                  <a:lnTo>
                    <a:pt x="708" y="240"/>
                  </a:lnTo>
                  <a:lnTo>
                    <a:pt x="708" y="240"/>
                  </a:lnTo>
                  <a:lnTo>
                    <a:pt x="708" y="240"/>
                  </a:lnTo>
                  <a:lnTo>
                    <a:pt x="708" y="240"/>
                  </a:lnTo>
                  <a:lnTo>
                    <a:pt x="704" y="240"/>
                  </a:lnTo>
                  <a:lnTo>
                    <a:pt x="704" y="240"/>
                  </a:lnTo>
                  <a:lnTo>
                    <a:pt x="704" y="240"/>
                  </a:lnTo>
                  <a:lnTo>
                    <a:pt x="704" y="240"/>
                  </a:lnTo>
                  <a:lnTo>
                    <a:pt x="704" y="240"/>
                  </a:lnTo>
                  <a:lnTo>
                    <a:pt x="704" y="244"/>
                  </a:lnTo>
                  <a:lnTo>
                    <a:pt x="704" y="244"/>
                  </a:lnTo>
                  <a:lnTo>
                    <a:pt x="704" y="244"/>
                  </a:lnTo>
                  <a:lnTo>
                    <a:pt x="704" y="248"/>
                  </a:lnTo>
                  <a:lnTo>
                    <a:pt x="704" y="248"/>
                  </a:lnTo>
                  <a:close/>
                  <a:moveTo>
                    <a:pt x="846" y="200"/>
                  </a:moveTo>
                  <a:lnTo>
                    <a:pt x="846" y="200"/>
                  </a:lnTo>
                  <a:lnTo>
                    <a:pt x="846" y="200"/>
                  </a:lnTo>
                  <a:lnTo>
                    <a:pt x="846" y="200"/>
                  </a:lnTo>
                  <a:lnTo>
                    <a:pt x="846" y="200"/>
                  </a:lnTo>
                  <a:lnTo>
                    <a:pt x="846" y="195"/>
                  </a:lnTo>
                  <a:lnTo>
                    <a:pt x="841" y="200"/>
                  </a:lnTo>
                  <a:lnTo>
                    <a:pt x="837" y="200"/>
                  </a:lnTo>
                  <a:lnTo>
                    <a:pt x="837" y="200"/>
                  </a:lnTo>
                  <a:lnTo>
                    <a:pt x="837" y="200"/>
                  </a:lnTo>
                  <a:lnTo>
                    <a:pt x="837" y="200"/>
                  </a:lnTo>
                  <a:lnTo>
                    <a:pt x="837" y="204"/>
                  </a:lnTo>
                  <a:lnTo>
                    <a:pt x="837" y="204"/>
                  </a:lnTo>
                  <a:lnTo>
                    <a:pt x="837" y="209"/>
                  </a:lnTo>
                  <a:lnTo>
                    <a:pt x="837" y="209"/>
                  </a:lnTo>
                  <a:lnTo>
                    <a:pt x="837" y="213"/>
                  </a:lnTo>
                  <a:lnTo>
                    <a:pt x="837" y="213"/>
                  </a:lnTo>
                  <a:lnTo>
                    <a:pt x="841" y="213"/>
                  </a:lnTo>
                  <a:lnTo>
                    <a:pt x="841" y="213"/>
                  </a:lnTo>
                  <a:lnTo>
                    <a:pt x="846" y="213"/>
                  </a:lnTo>
                  <a:lnTo>
                    <a:pt x="846" y="209"/>
                  </a:lnTo>
                  <a:lnTo>
                    <a:pt x="846" y="204"/>
                  </a:lnTo>
                  <a:lnTo>
                    <a:pt x="846" y="200"/>
                  </a:lnTo>
                  <a:lnTo>
                    <a:pt x="846" y="200"/>
                  </a:lnTo>
                  <a:lnTo>
                    <a:pt x="846" y="200"/>
                  </a:lnTo>
                  <a:close/>
                  <a:moveTo>
                    <a:pt x="1328" y="213"/>
                  </a:moveTo>
                  <a:lnTo>
                    <a:pt x="1328" y="217"/>
                  </a:lnTo>
                  <a:lnTo>
                    <a:pt x="1328" y="217"/>
                  </a:lnTo>
                  <a:lnTo>
                    <a:pt x="1333" y="217"/>
                  </a:lnTo>
                  <a:lnTo>
                    <a:pt x="1333" y="213"/>
                  </a:lnTo>
                  <a:lnTo>
                    <a:pt x="1337" y="213"/>
                  </a:lnTo>
                  <a:lnTo>
                    <a:pt x="1341" y="213"/>
                  </a:lnTo>
                  <a:lnTo>
                    <a:pt x="1341" y="209"/>
                  </a:lnTo>
                  <a:lnTo>
                    <a:pt x="1341" y="209"/>
                  </a:lnTo>
                  <a:lnTo>
                    <a:pt x="1337" y="209"/>
                  </a:lnTo>
                  <a:lnTo>
                    <a:pt x="1337" y="209"/>
                  </a:lnTo>
                  <a:lnTo>
                    <a:pt x="1337" y="204"/>
                  </a:lnTo>
                  <a:lnTo>
                    <a:pt x="1337" y="204"/>
                  </a:lnTo>
                  <a:lnTo>
                    <a:pt x="1337" y="204"/>
                  </a:lnTo>
                  <a:lnTo>
                    <a:pt x="1337" y="204"/>
                  </a:lnTo>
                  <a:lnTo>
                    <a:pt x="1337" y="204"/>
                  </a:lnTo>
                  <a:lnTo>
                    <a:pt x="1337" y="200"/>
                  </a:lnTo>
                  <a:lnTo>
                    <a:pt x="1337" y="200"/>
                  </a:lnTo>
                  <a:lnTo>
                    <a:pt x="1333" y="200"/>
                  </a:lnTo>
                  <a:lnTo>
                    <a:pt x="1328" y="195"/>
                  </a:lnTo>
                  <a:lnTo>
                    <a:pt x="1328" y="195"/>
                  </a:lnTo>
                  <a:lnTo>
                    <a:pt x="1324" y="200"/>
                  </a:lnTo>
                  <a:lnTo>
                    <a:pt x="1324" y="204"/>
                  </a:lnTo>
                  <a:lnTo>
                    <a:pt x="1328" y="209"/>
                  </a:lnTo>
                  <a:lnTo>
                    <a:pt x="1324" y="209"/>
                  </a:lnTo>
                  <a:lnTo>
                    <a:pt x="1319" y="213"/>
                  </a:lnTo>
                  <a:lnTo>
                    <a:pt x="1319" y="217"/>
                  </a:lnTo>
                  <a:lnTo>
                    <a:pt x="1324" y="222"/>
                  </a:lnTo>
                  <a:lnTo>
                    <a:pt x="1328" y="217"/>
                  </a:lnTo>
                  <a:lnTo>
                    <a:pt x="1328" y="217"/>
                  </a:lnTo>
                  <a:lnTo>
                    <a:pt x="1328" y="213"/>
                  </a:lnTo>
                  <a:lnTo>
                    <a:pt x="1328" y="213"/>
                  </a:lnTo>
                  <a:lnTo>
                    <a:pt x="1328" y="213"/>
                  </a:lnTo>
                  <a:close/>
                  <a:moveTo>
                    <a:pt x="797" y="182"/>
                  </a:moveTo>
                  <a:lnTo>
                    <a:pt x="797" y="182"/>
                  </a:lnTo>
                  <a:lnTo>
                    <a:pt x="797" y="182"/>
                  </a:lnTo>
                  <a:lnTo>
                    <a:pt x="793" y="186"/>
                  </a:lnTo>
                  <a:lnTo>
                    <a:pt x="793" y="186"/>
                  </a:lnTo>
                  <a:lnTo>
                    <a:pt x="788" y="195"/>
                  </a:lnTo>
                  <a:lnTo>
                    <a:pt x="784" y="195"/>
                  </a:lnTo>
                  <a:lnTo>
                    <a:pt x="784" y="195"/>
                  </a:lnTo>
                  <a:lnTo>
                    <a:pt x="784" y="200"/>
                  </a:lnTo>
                  <a:lnTo>
                    <a:pt x="779" y="204"/>
                  </a:lnTo>
                  <a:lnTo>
                    <a:pt x="779" y="209"/>
                  </a:lnTo>
                  <a:lnTo>
                    <a:pt x="779" y="209"/>
                  </a:lnTo>
                  <a:lnTo>
                    <a:pt x="793" y="204"/>
                  </a:lnTo>
                  <a:lnTo>
                    <a:pt x="793" y="204"/>
                  </a:lnTo>
                  <a:lnTo>
                    <a:pt x="797" y="200"/>
                  </a:lnTo>
                  <a:lnTo>
                    <a:pt x="797" y="195"/>
                  </a:lnTo>
                  <a:lnTo>
                    <a:pt x="801" y="191"/>
                  </a:lnTo>
                  <a:lnTo>
                    <a:pt x="801" y="186"/>
                  </a:lnTo>
                  <a:lnTo>
                    <a:pt x="801" y="182"/>
                  </a:lnTo>
                  <a:lnTo>
                    <a:pt x="797" y="182"/>
                  </a:lnTo>
                  <a:lnTo>
                    <a:pt x="797" y="182"/>
                  </a:lnTo>
                  <a:close/>
                  <a:moveTo>
                    <a:pt x="806" y="178"/>
                  </a:moveTo>
                  <a:lnTo>
                    <a:pt x="806" y="178"/>
                  </a:lnTo>
                  <a:lnTo>
                    <a:pt x="801" y="182"/>
                  </a:lnTo>
                  <a:lnTo>
                    <a:pt x="801" y="182"/>
                  </a:lnTo>
                  <a:lnTo>
                    <a:pt x="806" y="182"/>
                  </a:lnTo>
                  <a:lnTo>
                    <a:pt x="806" y="182"/>
                  </a:lnTo>
                  <a:lnTo>
                    <a:pt x="806" y="182"/>
                  </a:lnTo>
                  <a:lnTo>
                    <a:pt x="806" y="178"/>
                  </a:lnTo>
                  <a:lnTo>
                    <a:pt x="806" y="178"/>
                  </a:lnTo>
                  <a:close/>
                  <a:moveTo>
                    <a:pt x="855" y="178"/>
                  </a:moveTo>
                  <a:lnTo>
                    <a:pt x="850" y="178"/>
                  </a:lnTo>
                  <a:lnTo>
                    <a:pt x="850" y="178"/>
                  </a:lnTo>
                  <a:lnTo>
                    <a:pt x="850" y="178"/>
                  </a:lnTo>
                  <a:lnTo>
                    <a:pt x="850" y="182"/>
                  </a:lnTo>
                  <a:lnTo>
                    <a:pt x="850" y="186"/>
                  </a:lnTo>
                  <a:lnTo>
                    <a:pt x="850" y="186"/>
                  </a:lnTo>
                  <a:lnTo>
                    <a:pt x="850" y="191"/>
                  </a:lnTo>
                  <a:lnTo>
                    <a:pt x="855" y="191"/>
                  </a:lnTo>
                  <a:lnTo>
                    <a:pt x="855" y="191"/>
                  </a:lnTo>
                  <a:lnTo>
                    <a:pt x="859" y="191"/>
                  </a:lnTo>
                  <a:lnTo>
                    <a:pt x="859" y="191"/>
                  </a:lnTo>
                  <a:lnTo>
                    <a:pt x="859" y="186"/>
                  </a:lnTo>
                  <a:lnTo>
                    <a:pt x="868" y="182"/>
                  </a:lnTo>
                  <a:lnTo>
                    <a:pt x="859" y="182"/>
                  </a:lnTo>
                  <a:lnTo>
                    <a:pt x="859" y="182"/>
                  </a:lnTo>
                  <a:lnTo>
                    <a:pt x="855" y="178"/>
                  </a:lnTo>
                  <a:lnTo>
                    <a:pt x="855" y="178"/>
                  </a:lnTo>
                  <a:close/>
                  <a:moveTo>
                    <a:pt x="863" y="178"/>
                  </a:moveTo>
                  <a:lnTo>
                    <a:pt x="863" y="173"/>
                  </a:lnTo>
                  <a:lnTo>
                    <a:pt x="863" y="173"/>
                  </a:lnTo>
                  <a:lnTo>
                    <a:pt x="859" y="173"/>
                  </a:lnTo>
                  <a:lnTo>
                    <a:pt x="859" y="178"/>
                  </a:lnTo>
                  <a:lnTo>
                    <a:pt x="859" y="178"/>
                  </a:lnTo>
                  <a:lnTo>
                    <a:pt x="863" y="178"/>
                  </a:lnTo>
                  <a:lnTo>
                    <a:pt x="863" y="178"/>
                  </a:lnTo>
                  <a:close/>
                  <a:moveTo>
                    <a:pt x="748" y="178"/>
                  </a:moveTo>
                  <a:lnTo>
                    <a:pt x="748" y="182"/>
                  </a:lnTo>
                  <a:lnTo>
                    <a:pt x="748" y="182"/>
                  </a:lnTo>
                  <a:lnTo>
                    <a:pt x="748" y="186"/>
                  </a:lnTo>
                  <a:lnTo>
                    <a:pt x="748" y="186"/>
                  </a:lnTo>
                  <a:lnTo>
                    <a:pt x="753" y="186"/>
                  </a:lnTo>
                  <a:lnTo>
                    <a:pt x="753" y="191"/>
                  </a:lnTo>
                  <a:lnTo>
                    <a:pt x="748" y="191"/>
                  </a:lnTo>
                  <a:lnTo>
                    <a:pt x="748" y="191"/>
                  </a:lnTo>
                  <a:lnTo>
                    <a:pt x="744" y="191"/>
                  </a:lnTo>
                  <a:lnTo>
                    <a:pt x="739" y="191"/>
                  </a:lnTo>
                  <a:lnTo>
                    <a:pt x="739" y="195"/>
                  </a:lnTo>
                  <a:lnTo>
                    <a:pt x="744" y="195"/>
                  </a:lnTo>
                  <a:lnTo>
                    <a:pt x="748" y="200"/>
                  </a:lnTo>
                  <a:lnTo>
                    <a:pt x="757" y="209"/>
                  </a:lnTo>
                  <a:lnTo>
                    <a:pt x="757" y="209"/>
                  </a:lnTo>
                  <a:lnTo>
                    <a:pt x="762" y="213"/>
                  </a:lnTo>
                  <a:lnTo>
                    <a:pt x="762" y="217"/>
                  </a:lnTo>
                  <a:lnTo>
                    <a:pt x="775" y="213"/>
                  </a:lnTo>
                  <a:lnTo>
                    <a:pt x="775" y="209"/>
                  </a:lnTo>
                  <a:lnTo>
                    <a:pt x="775" y="209"/>
                  </a:lnTo>
                  <a:lnTo>
                    <a:pt x="779" y="209"/>
                  </a:lnTo>
                  <a:lnTo>
                    <a:pt x="779" y="204"/>
                  </a:lnTo>
                  <a:lnTo>
                    <a:pt x="779" y="204"/>
                  </a:lnTo>
                  <a:lnTo>
                    <a:pt x="779" y="204"/>
                  </a:lnTo>
                  <a:lnTo>
                    <a:pt x="779" y="200"/>
                  </a:lnTo>
                  <a:lnTo>
                    <a:pt x="779" y="200"/>
                  </a:lnTo>
                  <a:lnTo>
                    <a:pt x="779" y="200"/>
                  </a:lnTo>
                  <a:lnTo>
                    <a:pt x="784" y="195"/>
                  </a:lnTo>
                  <a:lnTo>
                    <a:pt x="784" y="195"/>
                  </a:lnTo>
                  <a:lnTo>
                    <a:pt x="784" y="195"/>
                  </a:lnTo>
                  <a:lnTo>
                    <a:pt x="784" y="195"/>
                  </a:lnTo>
                  <a:lnTo>
                    <a:pt x="784" y="191"/>
                  </a:lnTo>
                  <a:lnTo>
                    <a:pt x="784" y="191"/>
                  </a:lnTo>
                  <a:lnTo>
                    <a:pt x="784" y="191"/>
                  </a:lnTo>
                  <a:lnTo>
                    <a:pt x="788" y="186"/>
                  </a:lnTo>
                  <a:lnTo>
                    <a:pt x="793" y="186"/>
                  </a:lnTo>
                  <a:lnTo>
                    <a:pt x="793" y="182"/>
                  </a:lnTo>
                  <a:lnTo>
                    <a:pt x="793" y="182"/>
                  </a:lnTo>
                  <a:lnTo>
                    <a:pt x="788" y="178"/>
                  </a:lnTo>
                  <a:lnTo>
                    <a:pt x="788" y="182"/>
                  </a:lnTo>
                  <a:lnTo>
                    <a:pt x="788" y="182"/>
                  </a:lnTo>
                  <a:lnTo>
                    <a:pt x="788" y="182"/>
                  </a:lnTo>
                  <a:lnTo>
                    <a:pt x="788" y="182"/>
                  </a:lnTo>
                  <a:lnTo>
                    <a:pt x="788" y="182"/>
                  </a:lnTo>
                  <a:lnTo>
                    <a:pt x="784" y="182"/>
                  </a:lnTo>
                  <a:lnTo>
                    <a:pt x="784" y="182"/>
                  </a:lnTo>
                  <a:lnTo>
                    <a:pt x="784" y="178"/>
                  </a:lnTo>
                  <a:lnTo>
                    <a:pt x="788" y="178"/>
                  </a:lnTo>
                  <a:lnTo>
                    <a:pt x="784" y="178"/>
                  </a:lnTo>
                  <a:lnTo>
                    <a:pt x="784" y="173"/>
                  </a:lnTo>
                  <a:lnTo>
                    <a:pt x="784" y="173"/>
                  </a:lnTo>
                  <a:lnTo>
                    <a:pt x="779" y="178"/>
                  </a:lnTo>
                  <a:lnTo>
                    <a:pt x="779" y="178"/>
                  </a:lnTo>
                  <a:lnTo>
                    <a:pt x="779" y="182"/>
                  </a:lnTo>
                  <a:lnTo>
                    <a:pt x="779" y="186"/>
                  </a:lnTo>
                  <a:lnTo>
                    <a:pt x="775" y="186"/>
                  </a:lnTo>
                  <a:lnTo>
                    <a:pt x="775" y="182"/>
                  </a:lnTo>
                  <a:lnTo>
                    <a:pt x="770" y="178"/>
                  </a:lnTo>
                  <a:lnTo>
                    <a:pt x="770" y="178"/>
                  </a:lnTo>
                  <a:lnTo>
                    <a:pt x="770" y="173"/>
                  </a:lnTo>
                  <a:lnTo>
                    <a:pt x="770" y="169"/>
                  </a:lnTo>
                  <a:lnTo>
                    <a:pt x="770" y="169"/>
                  </a:lnTo>
                  <a:lnTo>
                    <a:pt x="770" y="173"/>
                  </a:lnTo>
                  <a:lnTo>
                    <a:pt x="770" y="173"/>
                  </a:lnTo>
                  <a:lnTo>
                    <a:pt x="766" y="173"/>
                  </a:lnTo>
                  <a:lnTo>
                    <a:pt x="766" y="173"/>
                  </a:lnTo>
                  <a:lnTo>
                    <a:pt x="766" y="169"/>
                  </a:lnTo>
                  <a:lnTo>
                    <a:pt x="766" y="169"/>
                  </a:lnTo>
                  <a:lnTo>
                    <a:pt x="766" y="169"/>
                  </a:lnTo>
                  <a:lnTo>
                    <a:pt x="762" y="173"/>
                  </a:lnTo>
                  <a:lnTo>
                    <a:pt x="762" y="173"/>
                  </a:lnTo>
                  <a:lnTo>
                    <a:pt x="762" y="173"/>
                  </a:lnTo>
                  <a:lnTo>
                    <a:pt x="757" y="169"/>
                  </a:lnTo>
                  <a:lnTo>
                    <a:pt x="757" y="173"/>
                  </a:lnTo>
                  <a:lnTo>
                    <a:pt x="762" y="173"/>
                  </a:lnTo>
                  <a:lnTo>
                    <a:pt x="762" y="178"/>
                  </a:lnTo>
                  <a:lnTo>
                    <a:pt x="762" y="178"/>
                  </a:lnTo>
                  <a:lnTo>
                    <a:pt x="757" y="182"/>
                  </a:lnTo>
                  <a:lnTo>
                    <a:pt x="757" y="182"/>
                  </a:lnTo>
                  <a:lnTo>
                    <a:pt x="757" y="182"/>
                  </a:lnTo>
                  <a:lnTo>
                    <a:pt x="757" y="178"/>
                  </a:lnTo>
                  <a:lnTo>
                    <a:pt x="757" y="178"/>
                  </a:lnTo>
                  <a:lnTo>
                    <a:pt x="757" y="178"/>
                  </a:lnTo>
                  <a:lnTo>
                    <a:pt x="757" y="178"/>
                  </a:lnTo>
                  <a:lnTo>
                    <a:pt x="757" y="178"/>
                  </a:lnTo>
                  <a:lnTo>
                    <a:pt x="753" y="178"/>
                  </a:lnTo>
                  <a:lnTo>
                    <a:pt x="753" y="178"/>
                  </a:lnTo>
                  <a:lnTo>
                    <a:pt x="748" y="178"/>
                  </a:lnTo>
                  <a:close/>
                  <a:moveTo>
                    <a:pt x="739" y="178"/>
                  </a:moveTo>
                  <a:lnTo>
                    <a:pt x="739" y="178"/>
                  </a:lnTo>
                  <a:lnTo>
                    <a:pt x="739" y="178"/>
                  </a:lnTo>
                  <a:lnTo>
                    <a:pt x="739" y="182"/>
                  </a:lnTo>
                  <a:lnTo>
                    <a:pt x="739" y="182"/>
                  </a:lnTo>
                  <a:lnTo>
                    <a:pt x="739" y="186"/>
                  </a:lnTo>
                  <a:lnTo>
                    <a:pt x="739" y="186"/>
                  </a:lnTo>
                  <a:lnTo>
                    <a:pt x="739" y="186"/>
                  </a:lnTo>
                  <a:lnTo>
                    <a:pt x="739" y="186"/>
                  </a:lnTo>
                  <a:lnTo>
                    <a:pt x="739" y="186"/>
                  </a:lnTo>
                  <a:lnTo>
                    <a:pt x="739" y="182"/>
                  </a:lnTo>
                  <a:lnTo>
                    <a:pt x="744" y="182"/>
                  </a:lnTo>
                  <a:lnTo>
                    <a:pt x="748" y="178"/>
                  </a:lnTo>
                  <a:lnTo>
                    <a:pt x="753" y="178"/>
                  </a:lnTo>
                  <a:lnTo>
                    <a:pt x="753" y="173"/>
                  </a:lnTo>
                  <a:lnTo>
                    <a:pt x="753" y="173"/>
                  </a:lnTo>
                  <a:lnTo>
                    <a:pt x="753" y="173"/>
                  </a:lnTo>
                  <a:lnTo>
                    <a:pt x="753" y="169"/>
                  </a:lnTo>
                  <a:lnTo>
                    <a:pt x="753" y="169"/>
                  </a:lnTo>
                  <a:lnTo>
                    <a:pt x="748" y="169"/>
                  </a:lnTo>
                  <a:lnTo>
                    <a:pt x="748" y="169"/>
                  </a:lnTo>
                  <a:lnTo>
                    <a:pt x="748" y="173"/>
                  </a:lnTo>
                  <a:lnTo>
                    <a:pt x="744" y="173"/>
                  </a:lnTo>
                  <a:lnTo>
                    <a:pt x="744" y="173"/>
                  </a:lnTo>
                  <a:lnTo>
                    <a:pt x="744" y="173"/>
                  </a:lnTo>
                  <a:lnTo>
                    <a:pt x="744" y="169"/>
                  </a:lnTo>
                  <a:lnTo>
                    <a:pt x="744" y="169"/>
                  </a:lnTo>
                  <a:lnTo>
                    <a:pt x="744" y="164"/>
                  </a:lnTo>
                  <a:lnTo>
                    <a:pt x="739" y="164"/>
                  </a:lnTo>
                  <a:lnTo>
                    <a:pt x="739" y="164"/>
                  </a:lnTo>
                  <a:lnTo>
                    <a:pt x="739" y="169"/>
                  </a:lnTo>
                  <a:lnTo>
                    <a:pt x="739" y="169"/>
                  </a:lnTo>
                  <a:lnTo>
                    <a:pt x="739" y="169"/>
                  </a:lnTo>
                  <a:lnTo>
                    <a:pt x="739" y="169"/>
                  </a:lnTo>
                  <a:lnTo>
                    <a:pt x="739" y="173"/>
                  </a:lnTo>
                  <a:lnTo>
                    <a:pt x="739" y="173"/>
                  </a:lnTo>
                  <a:lnTo>
                    <a:pt x="739" y="178"/>
                  </a:lnTo>
                  <a:lnTo>
                    <a:pt x="739" y="178"/>
                  </a:lnTo>
                  <a:lnTo>
                    <a:pt x="739" y="178"/>
                  </a:lnTo>
                  <a:close/>
                  <a:moveTo>
                    <a:pt x="850" y="164"/>
                  </a:moveTo>
                  <a:lnTo>
                    <a:pt x="850" y="169"/>
                  </a:lnTo>
                  <a:lnTo>
                    <a:pt x="850" y="169"/>
                  </a:lnTo>
                  <a:lnTo>
                    <a:pt x="850" y="173"/>
                  </a:lnTo>
                  <a:lnTo>
                    <a:pt x="855" y="173"/>
                  </a:lnTo>
                  <a:lnTo>
                    <a:pt x="855" y="169"/>
                  </a:lnTo>
                  <a:lnTo>
                    <a:pt x="855" y="169"/>
                  </a:lnTo>
                  <a:lnTo>
                    <a:pt x="855" y="164"/>
                  </a:lnTo>
                  <a:lnTo>
                    <a:pt x="855" y="160"/>
                  </a:lnTo>
                  <a:lnTo>
                    <a:pt x="850" y="160"/>
                  </a:lnTo>
                  <a:lnTo>
                    <a:pt x="850" y="160"/>
                  </a:lnTo>
                  <a:lnTo>
                    <a:pt x="850" y="164"/>
                  </a:lnTo>
                  <a:close/>
                  <a:moveTo>
                    <a:pt x="775" y="164"/>
                  </a:moveTo>
                  <a:lnTo>
                    <a:pt x="779" y="169"/>
                  </a:lnTo>
                  <a:lnTo>
                    <a:pt x="779" y="169"/>
                  </a:lnTo>
                  <a:lnTo>
                    <a:pt x="784" y="169"/>
                  </a:lnTo>
                  <a:lnTo>
                    <a:pt x="784" y="169"/>
                  </a:lnTo>
                  <a:lnTo>
                    <a:pt x="784" y="169"/>
                  </a:lnTo>
                  <a:lnTo>
                    <a:pt x="784" y="164"/>
                  </a:lnTo>
                  <a:lnTo>
                    <a:pt x="784" y="164"/>
                  </a:lnTo>
                  <a:lnTo>
                    <a:pt x="779" y="160"/>
                  </a:lnTo>
                  <a:lnTo>
                    <a:pt x="775" y="160"/>
                  </a:lnTo>
                  <a:lnTo>
                    <a:pt x="775" y="160"/>
                  </a:lnTo>
                  <a:lnTo>
                    <a:pt x="775" y="160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close/>
                  <a:moveTo>
                    <a:pt x="828" y="169"/>
                  </a:moveTo>
                  <a:lnTo>
                    <a:pt x="828" y="173"/>
                  </a:lnTo>
                  <a:lnTo>
                    <a:pt x="832" y="173"/>
                  </a:lnTo>
                  <a:lnTo>
                    <a:pt x="832" y="173"/>
                  </a:lnTo>
                  <a:lnTo>
                    <a:pt x="832" y="173"/>
                  </a:lnTo>
                  <a:lnTo>
                    <a:pt x="837" y="173"/>
                  </a:lnTo>
                  <a:lnTo>
                    <a:pt x="837" y="173"/>
                  </a:lnTo>
                  <a:lnTo>
                    <a:pt x="837" y="169"/>
                  </a:lnTo>
                  <a:lnTo>
                    <a:pt x="837" y="169"/>
                  </a:lnTo>
                  <a:lnTo>
                    <a:pt x="837" y="169"/>
                  </a:lnTo>
                  <a:lnTo>
                    <a:pt x="837" y="169"/>
                  </a:lnTo>
                  <a:lnTo>
                    <a:pt x="837" y="164"/>
                  </a:lnTo>
                  <a:lnTo>
                    <a:pt x="841" y="169"/>
                  </a:lnTo>
                  <a:lnTo>
                    <a:pt x="841" y="169"/>
                  </a:lnTo>
                  <a:lnTo>
                    <a:pt x="841" y="169"/>
                  </a:lnTo>
                  <a:lnTo>
                    <a:pt x="841" y="173"/>
                  </a:lnTo>
                  <a:lnTo>
                    <a:pt x="841" y="173"/>
                  </a:lnTo>
                  <a:lnTo>
                    <a:pt x="841" y="173"/>
                  </a:lnTo>
                  <a:lnTo>
                    <a:pt x="841" y="178"/>
                  </a:lnTo>
                  <a:lnTo>
                    <a:pt x="841" y="178"/>
                  </a:lnTo>
                  <a:lnTo>
                    <a:pt x="841" y="178"/>
                  </a:lnTo>
                  <a:lnTo>
                    <a:pt x="841" y="173"/>
                  </a:lnTo>
                  <a:lnTo>
                    <a:pt x="841" y="173"/>
                  </a:lnTo>
                  <a:lnTo>
                    <a:pt x="841" y="173"/>
                  </a:lnTo>
                  <a:lnTo>
                    <a:pt x="846" y="173"/>
                  </a:lnTo>
                  <a:lnTo>
                    <a:pt x="846" y="173"/>
                  </a:lnTo>
                  <a:lnTo>
                    <a:pt x="846" y="173"/>
                  </a:lnTo>
                  <a:lnTo>
                    <a:pt x="846" y="173"/>
                  </a:lnTo>
                  <a:lnTo>
                    <a:pt x="846" y="173"/>
                  </a:lnTo>
                  <a:lnTo>
                    <a:pt x="850" y="173"/>
                  </a:lnTo>
                  <a:lnTo>
                    <a:pt x="850" y="173"/>
                  </a:lnTo>
                  <a:lnTo>
                    <a:pt x="850" y="173"/>
                  </a:lnTo>
                  <a:lnTo>
                    <a:pt x="850" y="173"/>
                  </a:lnTo>
                  <a:lnTo>
                    <a:pt x="850" y="169"/>
                  </a:lnTo>
                  <a:lnTo>
                    <a:pt x="850" y="169"/>
                  </a:lnTo>
                  <a:lnTo>
                    <a:pt x="850" y="164"/>
                  </a:lnTo>
                  <a:lnTo>
                    <a:pt x="850" y="164"/>
                  </a:lnTo>
                  <a:lnTo>
                    <a:pt x="850" y="164"/>
                  </a:lnTo>
                  <a:lnTo>
                    <a:pt x="850" y="164"/>
                  </a:lnTo>
                  <a:lnTo>
                    <a:pt x="850" y="160"/>
                  </a:lnTo>
                  <a:lnTo>
                    <a:pt x="850" y="160"/>
                  </a:lnTo>
                  <a:lnTo>
                    <a:pt x="850" y="155"/>
                  </a:lnTo>
                  <a:lnTo>
                    <a:pt x="850" y="151"/>
                  </a:lnTo>
                  <a:lnTo>
                    <a:pt x="850" y="151"/>
                  </a:lnTo>
                  <a:lnTo>
                    <a:pt x="850" y="151"/>
                  </a:lnTo>
                  <a:lnTo>
                    <a:pt x="850" y="147"/>
                  </a:lnTo>
                  <a:lnTo>
                    <a:pt x="846" y="147"/>
                  </a:lnTo>
                  <a:lnTo>
                    <a:pt x="841" y="147"/>
                  </a:lnTo>
                  <a:lnTo>
                    <a:pt x="837" y="147"/>
                  </a:lnTo>
                  <a:lnTo>
                    <a:pt x="837" y="147"/>
                  </a:lnTo>
                  <a:lnTo>
                    <a:pt x="837" y="147"/>
                  </a:lnTo>
                  <a:lnTo>
                    <a:pt x="837" y="151"/>
                  </a:lnTo>
                  <a:lnTo>
                    <a:pt x="837" y="151"/>
                  </a:lnTo>
                  <a:lnTo>
                    <a:pt x="837" y="151"/>
                  </a:lnTo>
                  <a:lnTo>
                    <a:pt x="837" y="151"/>
                  </a:lnTo>
                  <a:lnTo>
                    <a:pt x="832" y="151"/>
                  </a:lnTo>
                  <a:lnTo>
                    <a:pt x="832" y="155"/>
                  </a:lnTo>
                  <a:lnTo>
                    <a:pt x="828" y="155"/>
                  </a:lnTo>
                  <a:lnTo>
                    <a:pt x="828" y="160"/>
                  </a:lnTo>
                  <a:lnTo>
                    <a:pt x="828" y="164"/>
                  </a:lnTo>
                  <a:lnTo>
                    <a:pt x="828" y="164"/>
                  </a:lnTo>
                  <a:lnTo>
                    <a:pt x="828" y="169"/>
                  </a:lnTo>
                  <a:lnTo>
                    <a:pt x="828" y="169"/>
                  </a:lnTo>
                  <a:lnTo>
                    <a:pt x="828" y="169"/>
                  </a:lnTo>
                  <a:close/>
                  <a:moveTo>
                    <a:pt x="757" y="160"/>
                  </a:moveTo>
                  <a:lnTo>
                    <a:pt x="762" y="164"/>
                  </a:lnTo>
                  <a:lnTo>
                    <a:pt x="762" y="164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6" y="160"/>
                  </a:lnTo>
                  <a:lnTo>
                    <a:pt x="766" y="160"/>
                  </a:lnTo>
                  <a:lnTo>
                    <a:pt x="766" y="160"/>
                  </a:lnTo>
                  <a:lnTo>
                    <a:pt x="766" y="160"/>
                  </a:lnTo>
                  <a:lnTo>
                    <a:pt x="766" y="160"/>
                  </a:lnTo>
                  <a:lnTo>
                    <a:pt x="770" y="155"/>
                  </a:lnTo>
                  <a:lnTo>
                    <a:pt x="770" y="155"/>
                  </a:lnTo>
                  <a:lnTo>
                    <a:pt x="770" y="151"/>
                  </a:lnTo>
                  <a:lnTo>
                    <a:pt x="766" y="151"/>
                  </a:lnTo>
                  <a:lnTo>
                    <a:pt x="766" y="151"/>
                  </a:lnTo>
                  <a:lnTo>
                    <a:pt x="766" y="151"/>
                  </a:lnTo>
                  <a:lnTo>
                    <a:pt x="766" y="147"/>
                  </a:lnTo>
                  <a:lnTo>
                    <a:pt x="766" y="142"/>
                  </a:lnTo>
                  <a:lnTo>
                    <a:pt x="766" y="142"/>
                  </a:lnTo>
                  <a:lnTo>
                    <a:pt x="766" y="142"/>
                  </a:lnTo>
                  <a:lnTo>
                    <a:pt x="766" y="142"/>
                  </a:lnTo>
                  <a:lnTo>
                    <a:pt x="766" y="142"/>
                  </a:lnTo>
                  <a:lnTo>
                    <a:pt x="766" y="142"/>
                  </a:lnTo>
                  <a:lnTo>
                    <a:pt x="766" y="142"/>
                  </a:lnTo>
                  <a:lnTo>
                    <a:pt x="766" y="147"/>
                  </a:lnTo>
                  <a:lnTo>
                    <a:pt x="762" y="147"/>
                  </a:lnTo>
                  <a:lnTo>
                    <a:pt x="762" y="147"/>
                  </a:lnTo>
                  <a:lnTo>
                    <a:pt x="762" y="147"/>
                  </a:lnTo>
                  <a:lnTo>
                    <a:pt x="762" y="147"/>
                  </a:lnTo>
                  <a:lnTo>
                    <a:pt x="762" y="147"/>
                  </a:lnTo>
                  <a:lnTo>
                    <a:pt x="762" y="147"/>
                  </a:lnTo>
                  <a:lnTo>
                    <a:pt x="762" y="147"/>
                  </a:lnTo>
                  <a:lnTo>
                    <a:pt x="762" y="147"/>
                  </a:lnTo>
                  <a:lnTo>
                    <a:pt x="762" y="147"/>
                  </a:lnTo>
                  <a:lnTo>
                    <a:pt x="762" y="147"/>
                  </a:lnTo>
                  <a:lnTo>
                    <a:pt x="762" y="151"/>
                  </a:lnTo>
                  <a:lnTo>
                    <a:pt x="762" y="151"/>
                  </a:lnTo>
                  <a:lnTo>
                    <a:pt x="762" y="151"/>
                  </a:lnTo>
                  <a:lnTo>
                    <a:pt x="762" y="151"/>
                  </a:lnTo>
                  <a:lnTo>
                    <a:pt x="762" y="151"/>
                  </a:lnTo>
                  <a:lnTo>
                    <a:pt x="762" y="151"/>
                  </a:lnTo>
                  <a:lnTo>
                    <a:pt x="762" y="155"/>
                  </a:lnTo>
                  <a:lnTo>
                    <a:pt x="762" y="160"/>
                  </a:lnTo>
                  <a:lnTo>
                    <a:pt x="762" y="160"/>
                  </a:lnTo>
                  <a:lnTo>
                    <a:pt x="762" y="155"/>
                  </a:lnTo>
                  <a:lnTo>
                    <a:pt x="757" y="155"/>
                  </a:lnTo>
                  <a:lnTo>
                    <a:pt x="757" y="155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close/>
                  <a:moveTo>
                    <a:pt x="788" y="151"/>
                  </a:moveTo>
                  <a:lnTo>
                    <a:pt x="793" y="151"/>
                  </a:lnTo>
                  <a:lnTo>
                    <a:pt x="793" y="151"/>
                  </a:lnTo>
                  <a:lnTo>
                    <a:pt x="793" y="155"/>
                  </a:lnTo>
                  <a:lnTo>
                    <a:pt x="793" y="155"/>
                  </a:lnTo>
                  <a:lnTo>
                    <a:pt x="793" y="160"/>
                  </a:lnTo>
                  <a:lnTo>
                    <a:pt x="793" y="160"/>
                  </a:lnTo>
                  <a:lnTo>
                    <a:pt x="793" y="160"/>
                  </a:lnTo>
                  <a:lnTo>
                    <a:pt x="797" y="160"/>
                  </a:lnTo>
                  <a:lnTo>
                    <a:pt x="797" y="164"/>
                  </a:lnTo>
                  <a:lnTo>
                    <a:pt x="797" y="169"/>
                  </a:lnTo>
                  <a:lnTo>
                    <a:pt x="797" y="169"/>
                  </a:lnTo>
                  <a:lnTo>
                    <a:pt x="797" y="173"/>
                  </a:lnTo>
                  <a:lnTo>
                    <a:pt x="797" y="173"/>
                  </a:lnTo>
                  <a:lnTo>
                    <a:pt x="806" y="173"/>
                  </a:lnTo>
                  <a:lnTo>
                    <a:pt x="810" y="173"/>
                  </a:lnTo>
                  <a:lnTo>
                    <a:pt x="810" y="173"/>
                  </a:lnTo>
                  <a:lnTo>
                    <a:pt x="810" y="169"/>
                  </a:lnTo>
                  <a:lnTo>
                    <a:pt x="810" y="169"/>
                  </a:lnTo>
                  <a:lnTo>
                    <a:pt x="810" y="169"/>
                  </a:lnTo>
                  <a:lnTo>
                    <a:pt x="815" y="164"/>
                  </a:lnTo>
                  <a:lnTo>
                    <a:pt x="815" y="164"/>
                  </a:lnTo>
                  <a:lnTo>
                    <a:pt x="815" y="164"/>
                  </a:lnTo>
                  <a:lnTo>
                    <a:pt x="806" y="160"/>
                  </a:lnTo>
                  <a:lnTo>
                    <a:pt x="806" y="160"/>
                  </a:lnTo>
                  <a:lnTo>
                    <a:pt x="806" y="160"/>
                  </a:lnTo>
                  <a:lnTo>
                    <a:pt x="806" y="155"/>
                  </a:lnTo>
                  <a:lnTo>
                    <a:pt x="806" y="151"/>
                  </a:lnTo>
                  <a:lnTo>
                    <a:pt x="801" y="151"/>
                  </a:lnTo>
                  <a:lnTo>
                    <a:pt x="801" y="151"/>
                  </a:lnTo>
                  <a:lnTo>
                    <a:pt x="801" y="151"/>
                  </a:lnTo>
                  <a:lnTo>
                    <a:pt x="801" y="155"/>
                  </a:lnTo>
                  <a:lnTo>
                    <a:pt x="801" y="155"/>
                  </a:lnTo>
                  <a:lnTo>
                    <a:pt x="797" y="155"/>
                  </a:lnTo>
                  <a:lnTo>
                    <a:pt x="797" y="155"/>
                  </a:lnTo>
                  <a:lnTo>
                    <a:pt x="797" y="151"/>
                  </a:lnTo>
                  <a:lnTo>
                    <a:pt x="797" y="147"/>
                  </a:lnTo>
                  <a:lnTo>
                    <a:pt x="797" y="147"/>
                  </a:lnTo>
                  <a:lnTo>
                    <a:pt x="793" y="147"/>
                  </a:lnTo>
                  <a:lnTo>
                    <a:pt x="793" y="147"/>
                  </a:lnTo>
                  <a:lnTo>
                    <a:pt x="793" y="142"/>
                  </a:lnTo>
                  <a:lnTo>
                    <a:pt x="793" y="142"/>
                  </a:lnTo>
                  <a:lnTo>
                    <a:pt x="793" y="142"/>
                  </a:lnTo>
                  <a:lnTo>
                    <a:pt x="793" y="138"/>
                  </a:lnTo>
                  <a:lnTo>
                    <a:pt x="793" y="138"/>
                  </a:lnTo>
                  <a:lnTo>
                    <a:pt x="788" y="138"/>
                  </a:lnTo>
                  <a:lnTo>
                    <a:pt x="788" y="142"/>
                  </a:lnTo>
                  <a:lnTo>
                    <a:pt x="788" y="142"/>
                  </a:lnTo>
                  <a:lnTo>
                    <a:pt x="788" y="142"/>
                  </a:lnTo>
                  <a:lnTo>
                    <a:pt x="784" y="142"/>
                  </a:lnTo>
                  <a:lnTo>
                    <a:pt x="784" y="142"/>
                  </a:lnTo>
                  <a:lnTo>
                    <a:pt x="784" y="142"/>
                  </a:lnTo>
                  <a:lnTo>
                    <a:pt x="784" y="147"/>
                  </a:lnTo>
                  <a:lnTo>
                    <a:pt x="788" y="151"/>
                  </a:lnTo>
                  <a:close/>
                  <a:moveTo>
                    <a:pt x="899" y="142"/>
                  </a:moveTo>
                  <a:lnTo>
                    <a:pt x="899" y="142"/>
                  </a:lnTo>
                  <a:lnTo>
                    <a:pt x="899" y="142"/>
                  </a:lnTo>
                  <a:lnTo>
                    <a:pt x="899" y="142"/>
                  </a:lnTo>
                  <a:lnTo>
                    <a:pt x="903" y="138"/>
                  </a:lnTo>
                  <a:lnTo>
                    <a:pt x="903" y="133"/>
                  </a:lnTo>
                  <a:lnTo>
                    <a:pt x="903" y="129"/>
                  </a:lnTo>
                  <a:lnTo>
                    <a:pt x="903" y="129"/>
                  </a:lnTo>
                  <a:lnTo>
                    <a:pt x="899" y="124"/>
                  </a:lnTo>
                  <a:lnTo>
                    <a:pt x="899" y="124"/>
                  </a:lnTo>
                  <a:lnTo>
                    <a:pt x="899" y="124"/>
                  </a:lnTo>
                  <a:lnTo>
                    <a:pt x="899" y="124"/>
                  </a:lnTo>
                  <a:lnTo>
                    <a:pt x="899" y="124"/>
                  </a:lnTo>
                  <a:lnTo>
                    <a:pt x="899" y="124"/>
                  </a:lnTo>
                  <a:lnTo>
                    <a:pt x="899" y="124"/>
                  </a:lnTo>
                  <a:lnTo>
                    <a:pt x="899" y="124"/>
                  </a:lnTo>
                  <a:lnTo>
                    <a:pt x="899" y="124"/>
                  </a:lnTo>
                  <a:lnTo>
                    <a:pt x="899" y="129"/>
                  </a:lnTo>
                  <a:lnTo>
                    <a:pt x="899" y="129"/>
                  </a:lnTo>
                  <a:lnTo>
                    <a:pt x="899" y="133"/>
                  </a:lnTo>
                  <a:lnTo>
                    <a:pt x="894" y="138"/>
                  </a:lnTo>
                  <a:lnTo>
                    <a:pt x="899" y="142"/>
                  </a:lnTo>
                  <a:lnTo>
                    <a:pt x="899" y="142"/>
                  </a:lnTo>
                  <a:close/>
                  <a:moveTo>
                    <a:pt x="939" y="129"/>
                  </a:moveTo>
                  <a:lnTo>
                    <a:pt x="939" y="129"/>
                  </a:lnTo>
                  <a:lnTo>
                    <a:pt x="934" y="129"/>
                  </a:lnTo>
                  <a:lnTo>
                    <a:pt x="934" y="129"/>
                  </a:lnTo>
                  <a:lnTo>
                    <a:pt x="934" y="129"/>
                  </a:lnTo>
                  <a:lnTo>
                    <a:pt x="934" y="133"/>
                  </a:lnTo>
                  <a:lnTo>
                    <a:pt x="934" y="133"/>
                  </a:lnTo>
                  <a:lnTo>
                    <a:pt x="939" y="138"/>
                  </a:lnTo>
                  <a:lnTo>
                    <a:pt x="952" y="142"/>
                  </a:lnTo>
                  <a:lnTo>
                    <a:pt x="965" y="147"/>
                  </a:lnTo>
                  <a:lnTo>
                    <a:pt x="965" y="142"/>
                  </a:lnTo>
                  <a:lnTo>
                    <a:pt x="965" y="142"/>
                  </a:lnTo>
                  <a:lnTo>
                    <a:pt x="965" y="138"/>
                  </a:lnTo>
                  <a:lnTo>
                    <a:pt x="965" y="138"/>
                  </a:lnTo>
                  <a:lnTo>
                    <a:pt x="965" y="138"/>
                  </a:lnTo>
                  <a:lnTo>
                    <a:pt x="965" y="138"/>
                  </a:lnTo>
                  <a:lnTo>
                    <a:pt x="961" y="138"/>
                  </a:lnTo>
                  <a:lnTo>
                    <a:pt x="961" y="133"/>
                  </a:lnTo>
                  <a:lnTo>
                    <a:pt x="961" y="133"/>
                  </a:lnTo>
                  <a:lnTo>
                    <a:pt x="965" y="133"/>
                  </a:lnTo>
                  <a:lnTo>
                    <a:pt x="965" y="133"/>
                  </a:lnTo>
                  <a:lnTo>
                    <a:pt x="956" y="133"/>
                  </a:lnTo>
                  <a:lnTo>
                    <a:pt x="956" y="129"/>
                  </a:lnTo>
                  <a:lnTo>
                    <a:pt x="956" y="124"/>
                  </a:lnTo>
                  <a:lnTo>
                    <a:pt x="956" y="124"/>
                  </a:lnTo>
                  <a:lnTo>
                    <a:pt x="952" y="120"/>
                  </a:lnTo>
                  <a:lnTo>
                    <a:pt x="952" y="124"/>
                  </a:lnTo>
                  <a:lnTo>
                    <a:pt x="952" y="124"/>
                  </a:lnTo>
                  <a:lnTo>
                    <a:pt x="952" y="129"/>
                  </a:lnTo>
                  <a:lnTo>
                    <a:pt x="952" y="129"/>
                  </a:lnTo>
                  <a:lnTo>
                    <a:pt x="952" y="129"/>
                  </a:lnTo>
                  <a:lnTo>
                    <a:pt x="952" y="124"/>
                  </a:lnTo>
                  <a:lnTo>
                    <a:pt x="952" y="124"/>
                  </a:lnTo>
                  <a:lnTo>
                    <a:pt x="952" y="120"/>
                  </a:lnTo>
                  <a:lnTo>
                    <a:pt x="948" y="120"/>
                  </a:lnTo>
                  <a:lnTo>
                    <a:pt x="948" y="120"/>
                  </a:lnTo>
                  <a:lnTo>
                    <a:pt x="948" y="124"/>
                  </a:lnTo>
                  <a:lnTo>
                    <a:pt x="948" y="124"/>
                  </a:lnTo>
                  <a:lnTo>
                    <a:pt x="948" y="124"/>
                  </a:lnTo>
                  <a:lnTo>
                    <a:pt x="948" y="124"/>
                  </a:lnTo>
                  <a:lnTo>
                    <a:pt x="948" y="124"/>
                  </a:lnTo>
                  <a:lnTo>
                    <a:pt x="948" y="124"/>
                  </a:lnTo>
                  <a:lnTo>
                    <a:pt x="943" y="124"/>
                  </a:lnTo>
                  <a:lnTo>
                    <a:pt x="943" y="124"/>
                  </a:lnTo>
                  <a:lnTo>
                    <a:pt x="943" y="124"/>
                  </a:lnTo>
                  <a:lnTo>
                    <a:pt x="939" y="124"/>
                  </a:lnTo>
                  <a:lnTo>
                    <a:pt x="939" y="124"/>
                  </a:lnTo>
                  <a:lnTo>
                    <a:pt x="939" y="124"/>
                  </a:lnTo>
                  <a:lnTo>
                    <a:pt x="939" y="129"/>
                  </a:lnTo>
                  <a:lnTo>
                    <a:pt x="939" y="129"/>
                  </a:lnTo>
                  <a:lnTo>
                    <a:pt x="939" y="133"/>
                  </a:lnTo>
                  <a:lnTo>
                    <a:pt x="939" y="129"/>
                  </a:lnTo>
                  <a:lnTo>
                    <a:pt x="939" y="129"/>
                  </a:lnTo>
                  <a:close/>
                  <a:moveTo>
                    <a:pt x="987" y="85"/>
                  </a:moveTo>
                  <a:lnTo>
                    <a:pt x="987" y="89"/>
                  </a:lnTo>
                  <a:lnTo>
                    <a:pt x="992" y="89"/>
                  </a:lnTo>
                  <a:lnTo>
                    <a:pt x="992" y="89"/>
                  </a:lnTo>
                  <a:lnTo>
                    <a:pt x="987" y="89"/>
                  </a:lnTo>
                  <a:lnTo>
                    <a:pt x="987" y="93"/>
                  </a:lnTo>
                  <a:lnTo>
                    <a:pt x="992" y="93"/>
                  </a:lnTo>
                  <a:lnTo>
                    <a:pt x="992" y="93"/>
                  </a:lnTo>
                  <a:lnTo>
                    <a:pt x="996" y="98"/>
                  </a:lnTo>
                  <a:lnTo>
                    <a:pt x="992" y="98"/>
                  </a:lnTo>
                  <a:lnTo>
                    <a:pt x="987" y="93"/>
                  </a:lnTo>
                  <a:lnTo>
                    <a:pt x="987" y="98"/>
                  </a:lnTo>
                  <a:lnTo>
                    <a:pt x="987" y="98"/>
                  </a:lnTo>
                  <a:lnTo>
                    <a:pt x="987" y="102"/>
                  </a:lnTo>
                  <a:lnTo>
                    <a:pt x="987" y="98"/>
                  </a:lnTo>
                  <a:lnTo>
                    <a:pt x="983" y="98"/>
                  </a:lnTo>
                  <a:lnTo>
                    <a:pt x="983" y="98"/>
                  </a:lnTo>
                  <a:lnTo>
                    <a:pt x="983" y="98"/>
                  </a:lnTo>
                  <a:lnTo>
                    <a:pt x="983" y="98"/>
                  </a:lnTo>
                  <a:lnTo>
                    <a:pt x="983" y="98"/>
                  </a:lnTo>
                  <a:lnTo>
                    <a:pt x="983" y="102"/>
                  </a:lnTo>
                  <a:lnTo>
                    <a:pt x="983" y="102"/>
                  </a:lnTo>
                  <a:lnTo>
                    <a:pt x="983" y="107"/>
                  </a:lnTo>
                  <a:lnTo>
                    <a:pt x="983" y="107"/>
                  </a:lnTo>
                  <a:lnTo>
                    <a:pt x="978" y="107"/>
                  </a:lnTo>
                  <a:lnTo>
                    <a:pt x="978" y="107"/>
                  </a:lnTo>
                  <a:lnTo>
                    <a:pt x="978" y="102"/>
                  </a:lnTo>
                  <a:lnTo>
                    <a:pt x="978" y="102"/>
                  </a:lnTo>
                  <a:lnTo>
                    <a:pt x="978" y="98"/>
                  </a:lnTo>
                  <a:lnTo>
                    <a:pt x="978" y="98"/>
                  </a:lnTo>
                  <a:lnTo>
                    <a:pt x="978" y="98"/>
                  </a:lnTo>
                  <a:lnTo>
                    <a:pt x="978" y="98"/>
                  </a:lnTo>
                  <a:lnTo>
                    <a:pt x="974" y="98"/>
                  </a:lnTo>
                  <a:lnTo>
                    <a:pt x="974" y="98"/>
                  </a:lnTo>
                  <a:lnTo>
                    <a:pt x="978" y="102"/>
                  </a:lnTo>
                  <a:lnTo>
                    <a:pt x="978" y="102"/>
                  </a:lnTo>
                  <a:lnTo>
                    <a:pt x="978" y="102"/>
                  </a:lnTo>
                  <a:lnTo>
                    <a:pt x="978" y="102"/>
                  </a:lnTo>
                  <a:lnTo>
                    <a:pt x="974" y="107"/>
                  </a:lnTo>
                  <a:lnTo>
                    <a:pt x="974" y="107"/>
                  </a:lnTo>
                  <a:lnTo>
                    <a:pt x="974" y="102"/>
                  </a:lnTo>
                  <a:lnTo>
                    <a:pt x="974" y="102"/>
                  </a:lnTo>
                  <a:lnTo>
                    <a:pt x="965" y="107"/>
                  </a:lnTo>
                  <a:lnTo>
                    <a:pt x="965" y="107"/>
                  </a:lnTo>
                  <a:lnTo>
                    <a:pt x="965" y="107"/>
                  </a:lnTo>
                  <a:lnTo>
                    <a:pt x="965" y="107"/>
                  </a:lnTo>
                  <a:lnTo>
                    <a:pt x="965" y="107"/>
                  </a:lnTo>
                  <a:lnTo>
                    <a:pt x="965" y="107"/>
                  </a:lnTo>
                  <a:lnTo>
                    <a:pt x="965" y="107"/>
                  </a:lnTo>
                  <a:lnTo>
                    <a:pt x="965" y="111"/>
                  </a:lnTo>
                  <a:lnTo>
                    <a:pt x="965" y="111"/>
                  </a:lnTo>
                  <a:lnTo>
                    <a:pt x="965" y="111"/>
                  </a:lnTo>
                  <a:lnTo>
                    <a:pt x="965" y="111"/>
                  </a:lnTo>
                  <a:lnTo>
                    <a:pt x="961" y="111"/>
                  </a:lnTo>
                  <a:lnTo>
                    <a:pt x="961" y="111"/>
                  </a:lnTo>
                  <a:lnTo>
                    <a:pt x="961" y="111"/>
                  </a:lnTo>
                  <a:lnTo>
                    <a:pt x="961" y="116"/>
                  </a:lnTo>
                  <a:lnTo>
                    <a:pt x="961" y="116"/>
                  </a:lnTo>
                  <a:lnTo>
                    <a:pt x="961" y="116"/>
                  </a:lnTo>
                  <a:lnTo>
                    <a:pt x="965" y="116"/>
                  </a:lnTo>
                  <a:lnTo>
                    <a:pt x="965" y="120"/>
                  </a:lnTo>
                  <a:lnTo>
                    <a:pt x="961" y="120"/>
                  </a:lnTo>
                  <a:lnTo>
                    <a:pt x="961" y="120"/>
                  </a:lnTo>
                  <a:lnTo>
                    <a:pt x="961" y="120"/>
                  </a:lnTo>
                  <a:lnTo>
                    <a:pt x="965" y="124"/>
                  </a:lnTo>
                  <a:lnTo>
                    <a:pt x="965" y="129"/>
                  </a:lnTo>
                  <a:lnTo>
                    <a:pt x="965" y="129"/>
                  </a:lnTo>
                  <a:lnTo>
                    <a:pt x="965" y="129"/>
                  </a:lnTo>
                  <a:lnTo>
                    <a:pt x="965" y="129"/>
                  </a:lnTo>
                  <a:lnTo>
                    <a:pt x="965" y="129"/>
                  </a:lnTo>
                  <a:lnTo>
                    <a:pt x="970" y="129"/>
                  </a:lnTo>
                  <a:lnTo>
                    <a:pt x="970" y="129"/>
                  </a:lnTo>
                  <a:lnTo>
                    <a:pt x="974" y="120"/>
                  </a:lnTo>
                  <a:lnTo>
                    <a:pt x="974" y="120"/>
                  </a:lnTo>
                  <a:lnTo>
                    <a:pt x="974" y="124"/>
                  </a:lnTo>
                  <a:lnTo>
                    <a:pt x="974" y="124"/>
                  </a:lnTo>
                  <a:lnTo>
                    <a:pt x="974" y="129"/>
                  </a:lnTo>
                  <a:lnTo>
                    <a:pt x="970" y="133"/>
                  </a:lnTo>
                  <a:lnTo>
                    <a:pt x="970" y="138"/>
                  </a:lnTo>
                  <a:lnTo>
                    <a:pt x="970" y="138"/>
                  </a:lnTo>
                  <a:lnTo>
                    <a:pt x="974" y="142"/>
                  </a:lnTo>
                  <a:lnTo>
                    <a:pt x="978" y="138"/>
                  </a:lnTo>
                  <a:lnTo>
                    <a:pt x="987" y="133"/>
                  </a:lnTo>
                  <a:lnTo>
                    <a:pt x="987" y="133"/>
                  </a:lnTo>
                  <a:lnTo>
                    <a:pt x="983" y="133"/>
                  </a:lnTo>
                  <a:lnTo>
                    <a:pt x="983" y="133"/>
                  </a:lnTo>
                  <a:lnTo>
                    <a:pt x="983" y="133"/>
                  </a:lnTo>
                  <a:lnTo>
                    <a:pt x="983" y="129"/>
                  </a:lnTo>
                  <a:lnTo>
                    <a:pt x="987" y="129"/>
                  </a:lnTo>
                  <a:lnTo>
                    <a:pt x="996" y="120"/>
                  </a:lnTo>
                  <a:lnTo>
                    <a:pt x="1001" y="116"/>
                  </a:lnTo>
                  <a:lnTo>
                    <a:pt x="1001" y="111"/>
                  </a:lnTo>
                  <a:lnTo>
                    <a:pt x="1001" y="111"/>
                  </a:lnTo>
                  <a:lnTo>
                    <a:pt x="1001" y="107"/>
                  </a:lnTo>
                  <a:lnTo>
                    <a:pt x="1001" y="107"/>
                  </a:lnTo>
                  <a:lnTo>
                    <a:pt x="1001" y="107"/>
                  </a:lnTo>
                  <a:lnTo>
                    <a:pt x="1001" y="107"/>
                  </a:lnTo>
                  <a:lnTo>
                    <a:pt x="1001" y="107"/>
                  </a:lnTo>
                  <a:lnTo>
                    <a:pt x="1001" y="102"/>
                  </a:lnTo>
                  <a:lnTo>
                    <a:pt x="1001" y="102"/>
                  </a:lnTo>
                  <a:lnTo>
                    <a:pt x="996" y="102"/>
                  </a:lnTo>
                  <a:lnTo>
                    <a:pt x="996" y="102"/>
                  </a:lnTo>
                  <a:lnTo>
                    <a:pt x="996" y="98"/>
                  </a:lnTo>
                  <a:lnTo>
                    <a:pt x="996" y="98"/>
                  </a:lnTo>
                  <a:lnTo>
                    <a:pt x="996" y="93"/>
                  </a:lnTo>
                  <a:lnTo>
                    <a:pt x="996" y="93"/>
                  </a:lnTo>
                  <a:lnTo>
                    <a:pt x="996" y="89"/>
                  </a:lnTo>
                  <a:lnTo>
                    <a:pt x="996" y="89"/>
                  </a:lnTo>
                  <a:lnTo>
                    <a:pt x="996" y="89"/>
                  </a:lnTo>
                  <a:lnTo>
                    <a:pt x="996" y="85"/>
                  </a:lnTo>
                  <a:lnTo>
                    <a:pt x="992" y="89"/>
                  </a:lnTo>
                  <a:lnTo>
                    <a:pt x="992" y="85"/>
                  </a:lnTo>
                  <a:lnTo>
                    <a:pt x="992" y="85"/>
                  </a:lnTo>
                  <a:lnTo>
                    <a:pt x="992" y="85"/>
                  </a:lnTo>
                  <a:lnTo>
                    <a:pt x="987" y="85"/>
                  </a:lnTo>
                  <a:close/>
                  <a:moveTo>
                    <a:pt x="1001" y="80"/>
                  </a:moveTo>
                  <a:lnTo>
                    <a:pt x="1001" y="80"/>
                  </a:lnTo>
                  <a:lnTo>
                    <a:pt x="1001" y="80"/>
                  </a:lnTo>
                  <a:lnTo>
                    <a:pt x="1001" y="80"/>
                  </a:lnTo>
                  <a:lnTo>
                    <a:pt x="1001" y="85"/>
                  </a:lnTo>
                  <a:lnTo>
                    <a:pt x="1001" y="85"/>
                  </a:lnTo>
                  <a:lnTo>
                    <a:pt x="1001" y="89"/>
                  </a:lnTo>
                  <a:lnTo>
                    <a:pt x="1001" y="89"/>
                  </a:lnTo>
                  <a:lnTo>
                    <a:pt x="1001" y="89"/>
                  </a:lnTo>
                  <a:lnTo>
                    <a:pt x="1001" y="89"/>
                  </a:lnTo>
                  <a:lnTo>
                    <a:pt x="1005" y="89"/>
                  </a:lnTo>
                  <a:lnTo>
                    <a:pt x="1005" y="93"/>
                  </a:lnTo>
                  <a:lnTo>
                    <a:pt x="1005" y="93"/>
                  </a:lnTo>
                  <a:lnTo>
                    <a:pt x="1005" y="98"/>
                  </a:lnTo>
                  <a:lnTo>
                    <a:pt x="1005" y="98"/>
                  </a:lnTo>
                  <a:lnTo>
                    <a:pt x="1005" y="102"/>
                  </a:lnTo>
                  <a:lnTo>
                    <a:pt x="1009" y="102"/>
                  </a:lnTo>
                  <a:lnTo>
                    <a:pt x="1014" y="102"/>
                  </a:lnTo>
                  <a:lnTo>
                    <a:pt x="1014" y="102"/>
                  </a:lnTo>
                  <a:lnTo>
                    <a:pt x="1018" y="93"/>
                  </a:lnTo>
                  <a:lnTo>
                    <a:pt x="1023" y="89"/>
                  </a:lnTo>
                  <a:lnTo>
                    <a:pt x="1027" y="85"/>
                  </a:lnTo>
                  <a:lnTo>
                    <a:pt x="1023" y="85"/>
                  </a:lnTo>
                  <a:lnTo>
                    <a:pt x="1023" y="80"/>
                  </a:lnTo>
                  <a:lnTo>
                    <a:pt x="1023" y="80"/>
                  </a:lnTo>
                  <a:lnTo>
                    <a:pt x="1023" y="80"/>
                  </a:lnTo>
                  <a:lnTo>
                    <a:pt x="1023" y="76"/>
                  </a:lnTo>
                  <a:lnTo>
                    <a:pt x="1023" y="76"/>
                  </a:lnTo>
                  <a:lnTo>
                    <a:pt x="1023" y="76"/>
                  </a:lnTo>
                  <a:lnTo>
                    <a:pt x="1018" y="71"/>
                  </a:lnTo>
                  <a:lnTo>
                    <a:pt x="1018" y="71"/>
                  </a:lnTo>
                  <a:lnTo>
                    <a:pt x="1014" y="71"/>
                  </a:lnTo>
                  <a:lnTo>
                    <a:pt x="1009" y="71"/>
                  </a:lnTo>
                  <a:lnTo>
                    <a:pt x="1009" y="71"/>
                  </a:lnTo>
                  <a:lnTo>
                    <a:pt x="1009" y="71"/>
                  </a:lnTo>
                  <a:lnTo>
                    <a:pt x="1009" y="71"/>
                  </a:lnTo>
                  <a:lnTo>
                    <a:pt x="1009" y="71"/>
                  </a:lnTo>
                  <a:lnTo>
                    <a:pt x="1009" y="71"/>
                  </a:lnTo>
                  <a:lnTo>
                    <a:pt x="1009" y="71"/>
                  </a:lnTo>
                  <a:lnTo>
                    <a:pt x="1009" y="71"/>
                  </a:lnTo>
                  <a:lnTo>
                    <a:pt x="1009" y="71"/>
                  </a:lnTo>
                  <a:lnTo>
                    <a:pt x="1009" y="67"/>
                  </a:lnTo>
                  <a:lnTo>
                    <a:pt x="1009" y="67"/>
                  </a:lnTo>
                  <a:lnTo>
                    <a:pt x="1009" y="67"/>
                  </a:lnTo>
                  <a:lnTo>
                    <a:pt x="1009" y="67"/>
                  </a:lnTo>
                  <a:lnTo>
                    <a:pt x="1005" y="67"/>
                  </a:lnTo>
                  <a:lnTo>
                    <a:pt x="1005" y="67"/>
                  </a:lnTo>
                  <a:lnTo>
                    <a:pt x="1001" y="71"/>
                  </a:lnTo>
                  <a:lnTo>
                    <a:pt x="1001" y="71"/>
                  </a:lnTo>
                  <a:lnTo>
                    <a:pt x="1001" y="71"/>
                  </a:lnTo>
                  <a:lnTo>
                    <a:pt x="1001" y="76"/>
                  </a:lnTo>
                  <a:lnTo>
                    <a:pt x="1001" y="76"/>
                  </a:lnTo>
                  <a:lnTo>
                    <a:pt x="1001" y="80"/>
                  </a:lnTo>
                  <a:close/>
                  <a:moveTo>
                    <a:pt x="912" y="85"/>
                  </a:moveTo>
                  <a:lnTo>
                    <a:pt x="917" y="85"/>
                  </a:lnTo>
                  <a:lnTo>
                    <a:pt x="917" y="85"/>
                  </a:lnTo>
                  <a:lnTo>
                    <a:pt x="917" y="89"/>
                  </a:lnTo>
                  <a:lnTo>
                    <a:pt x="912" y="89"/>
                  </a:lnTo>
                  <a:lnTo>
                    <a:pt x="917" y="89"/>
                  </a:lnTo>
                  <a:lnTo>
                    <a:pt x="917" y="89"/>
                  </a:lnTo>
                  <a:lnTo>
                    <a:pt x="917" y="89"/>
                  </a:lnTo>
                  <a:lnTo>
                    <a:pt x="917" y="89"/>
                  </a:lnTo>
                  <a:lnTo>
                    <a:pt x="921" y="89"/>
                  </a:lnTo>
                  <a:lnTo>
                    <a:pt x="930" y="89"/>
                  </a:lnTo>
                  <a:lnTo>
                    <a:pt x="930" y="89"/>
                  </a:lnTo>
                  <a:lnTo>
                    <a:pt x="925" y="93"/>
                  </a:lnTo>
                  <a:lnTo>
                    <a:pt x="925" y="93"/>
                  </a:lnTo>
                  <a:lnTo>
                    <a:pt x="925" y="93"/>
                  </a:lnTo>
                  <a:lnTo>
                    <a:pt x="925" y="98"/>
                  </a:lnTo>
                  <a:lnTo>
                    <a:pt x="925" y="98"/>
                  </a:lnTo>
                  <a:lnTo>
                    <a:pt x="925" y="98"/>
                  </a:lnTo>
                  <a:lnTo>
                    <a:pt x="921" y="102"/>
                  </a:lnTo>
                  <a:lnTo>
                    <a:pt x="921" y="107"/>
                  </a:lnTo>
                  <a:lnTo>
                    <a:pt x="921" y="107"/>
                  </a:lnTo>
                  <a:lnTo>
                    <a:pt x="921" y="111"/>
                  </a:lnTo>
                  <a:lnTo>
                    <a:pt x="925" y="111"/>
                  </a:lnTo>
                  <a:lnTo>
                    <a:pt x="925" y="107"/>
                  </a:lnTo>
                  <a:lnTo>
                    <a:pt x="925" y="107"/>
                  </a:lnTo>
                  <a:lnTo>
                    <a:pt x="930" y="102"/>
                  </a:lnTo>
                  <a:lnTo>
                    <a:pt x="930" y="98"/>
                  </a:lnTo>
                  <a:lnTo>
                    <a:pt x="930" y="102"/>
                  </a:lnTo>
                  <a:lnTo>
                    <a:pt x="930" y="102"/>
                  </a:lnTo>
                  <a:lnTo>
                    <a:pt x="930" y="107"/>
                  </a:lnTo>
                  <a:lnTo>
                    <a:pt x="930" y="107"/>
                  </a:lnTo>
                  <a:lnTo>
                    <a:pt x="934" y="107"/>
                  </a:lnTo>
                  <a:lnTo>
                    <a:pt x="934" y="102"/>
                  </a:lnTo>
                  <a:lnTo>
                    <a:pt x="934" y="102"/>
                  </a:lnTo>
                  <a:lnTo>
                    <a:pt x="934" y="102"/>
                  </a:lnTo>
                  <a:lnTo>
                    <a:pt x="934" y="102"/>
                  </a:lnTo>
                  <a:lnTo>
                    <a:pt x="939" y="107"/>
                  </a:lnTo>
                  <a:lnTo>
                    <a:pt x="939" y="107"/>
                  </a:lnTo>
                  <a:lnTo>
                    <a:pt x="939" y="102"/>
                  </a:lnTo>
                  <a:lnTo>
                    <a:pt x="939" y="98"/>
                  </a:lnTo>
                  <a:lnTo>
                    <a:pt x="939" y="102"/>
                  </a:lnTo>
                  <a:lnTo>
                    <a:pt x="943" y="107"/>
                  </a:lnTo>
                  <a:lnTo>
                    <a:pt x="943" y="102"/>
                  </a:lnTo>
                  <a:lnTo>
                    <a:pt x="943" y="102"/>
                  </a:lnTo>
                  <a:lnTo>
                    <a:pt x="943" y="102"/>
                  </a:lnTo>
                  <a:lnTo>
                    <a:pt x="943" y="102"/>
                  </a:lnTo>
                  <a:lnTo>
                    <a:pt x="943" y="102"/>
                  </a:lnTo>
                  <a:lnTo>
                    <a:pt x="948" y="102"/>
                  </a:lnTo>
                  <a:lnTo>
                    <a:pt x="948" y="102"/>
                  </a:lnTo>
                  <a:lnTo>
                    <a:pt x="948" y="102"/>
                  </a:lnTo>
                  <a:lnTo>
                    <a:pt x="948" y="102"/>
                  </a:lnTo>
                  <a:lnTo>
                    <a:pt x="948" y="98"/>
                  </a:lnTo>
                  <a:lnTo>
                    <a:pt x="948" y="98"/>
                  </a:lnTo>
                  <a:lnTo>
                    <a:pt x="948" y="98"/>
                  </a:lnTo>
                  <a:lnTo>
                    <a:pt x="948" y="93"/>
                  </a:lnTo>
                  <a:lnTo>
                    <a:pt x="952" y="93"/>
                  </a:lnTo>
                  <a:lnTo>
                    <a:pt x="956" y="98"/>
                  </a:lnTo>
                  <a:lnTo>
                    <a:pt x="952" y="98"/>
                  </a:lnTo>
                  <a:lnTo>
                    <a:pt x="952" y="102"/>
                  </a:lnTo>
                  <a:lnTo>
                    <a:pt x="956" y="102"/>
                  </a:lnTo>
                  <a:lnTo>
                    <a:pt x="956" y="102"/>
                  </a:lnTo>
                  <a:lnTo>
                    <a:pt x="956" y="102"/>
                  </a:lnTo>
                  <a:lnTo>
                    <a:pt x="956" y="98"/>
                  </a:lnTo>
                  <a:lnTo>
                    <a:pt x="956" y="98"/>
                  </a:lnTo>
                  <a:lnTo>
                    <a:pt x="956" y="98"/>
                  </a:lnTo>
                  <a:lnTo>
                    <a:pt x="961" y="98"/>
                  </a:lnTo>
                  <a:lnTo>
                    <a:pt x="961" y="98"/>
                  </a:lnTo>
                  <a:lnTo>
                    <a:pt x="961" y="98"/>
                  </a:lnTo>
                  <a:lnTo>
                    <a:pt x="961" y="98"/>
                  </a:lnTo>
                  <a:lnTo>
                    <a:pt x="961" y="98"/>
                  </a:lnTo>
                  <a:lnTo>
                    <a:pt x="961" y="98"/>
                  </a:lnTo>
                  <a:lnTo>
                    <a:pt x="961" y="93"/>
                  </a:lnTo>
                  <a:lnTo>
                    <a:pt x="961" y="93"/>
                  </a:lnTo>
                  <a:lnTo>
                    <a:pt x="961" y="93"/>
                  </a:lnTo>
                  <a:lnTo>
                    <a:pt x="965" y="93"/>
                  </a:lnTo>
                  <a:lnTo>
                    <a:pt x="965" y="93"/>
                  </a:lnTo>
                  <a:lnTo>
                    <a:pt x="965" y="93"/>
                  </a:lnTo>
                  <a:lnTo>
                    <a:pt x="965" y="93"/>
                  </a:lnTo>
                  <a:lnTo>
                    <a:pt x="965" y="89"/>
                  </a:lnTo>
                  <a:lnTo>
                    <a:pt x="965" y="89"/>
                  </a:lnTo>
                  <a:lnTo>
                    <a:pt x="965" y="89"/>
                  </a:lnTo>
                  <a:lnTo>
                    <a:pt x="970" y="89"/>
                  </a:lnTo>
                  <a:lnTo>
                    <a:pt x="970" y="93"/>
                  </a:lnTo>
                  <a:lnTo>
                    <a:pt x="974" y="89"/>
                  </a:lnTo>
                  <a:lnTo>
                    <a:pt x="970" y="85"/>
                  </a:lnTo>
                  <a:lnTo>
                    <a:pt x="970" y="85"/>
                  </a:lnTo>
                  <a:lnTo>
                    <a:pt x="974" y="85"/>
                  </a:lnTo>
                  <a:lnTo>
                    <a:pt x="974" y="85"/>
                  </a:lnTo>
                  <a:lnTo>
                    <a:pt x="974" y="85"/>
                  </a:lnTo>
                  <a:lnTo>
                    <a:pt x="974" y="80"/>
                  </a:lnTo>
                  <a:lnTo>
                    <a:pt x="974" y="80"/>
                  </a:lnTo>
                  <a:lnTo>
                    <a:pt x="974" y="80"/>
                  </a:lnTo>
                  <a:lnTo>
                    <a:pt x="974" y="80"/>
                  </a:lnTo>
                  <a:lnTo>
                    <a:pt x="974" y="80"/>
                  </a:lnTo>
                  <a:lnTo>
                    <a:pt x="974" y="80"/>
                  </a:lnTo>
                  <a:lnTo>
                    <a:pt x="974" y="76"/>
                  </a:lnTo>
                  <a:lnTo>
                    <a:pt x="974" y="76"/>
                  </a:lnTo>
                  <a:lnTo>
                    <a:pt x="974" y="76"/>
                  </a:lnTo>
                  <a:lnTo>
                    <a:pt x="974" y="76"/>
                  </a:lnTo>
                  <a:lnTo>
                    <a:pt x="974" y="76"/>
                  </a:lnTo>
                  <a:lnTo>
                    <a:pt x="978" y="76"/>
                  </a:lnTo>
                  <a:lnTo>
                    <a:pt x="978" y="76"/>
                  </a:lnTo>
                  <a:lnTo>
                    <a:pt x="978" y="76"/>
                  </a:lnTo>
                  <a:lnTo>
                    <a:pt x="983" y="71"/>
                  </a:lnTo>
                  <a:lnTo>
                    <a:pt x="983" y="71"/>
                  </a:lnTo>
                  <a:lnTo>
                    <a:pt x="983" y="71"/>
                  </a:lnTo>
                  <a:lnTo>
                    <a:pt x="983" y="71"/>
                  </a:lnTo>
                  <a:lnTo>
                    <a:pt x="983" y="71"/>
                  </a:lnTo>
                  <a:lnTo>
                    <a:pt x="983" y="71"/>
                  </a:lnTo>
                  <a:lnTo>
                    <a:pt x="983" y="67"/>
                  </a:lnTo>
                  <a:lnTo>
                    <a:pt x="983" y="67"/>
                  </a:lnTo>
                  <a:lnTo>
                    <a:pt x="983" y="67"/>
                  </a:lnTo>
                  <a:lnTo>
                    <a:pt x="987" y="67"/>
                  </a:lnTo>
                  <a:lnTo>
                    <a:pt x="987" y="67"/>
                  </a:lnTo>
                  <a:lnTo>
                    <a:pt x="987" y="67"/>
                  </a:lnTo>
                  <a:lnTo>
                    <a:pt x="987" y="62"/>
                  </a:lnTo>
                  <a:lnTo>
                    <a:pt x="987" y="62"/>
                  </a:lnTo>
                  <a:lnTo>
                    <a:pt x="987" y="62"/>
                  </a:lnTo>
                  <a:lnTo>
                    <a:pt x="992" y="62"/>
                  </a:lnTo>
                  <a:lnTo>
                    <a:pt x="992" y="62"/>
                  </a:lnTo>
                  <a:lnTo>
                    <a:pt x="987" y="62"/>
                  </a:lnTo>
                  <a:lnTo>
                    <a:pt x="987" y="62"/>
                  </a:lnTo>
                  <a:lnTo>
                    <a:pt x="987" y="58"/>
                  </a:lnTo>
                  <a:lnTo>
                    <a:pt x="987" y="58"/>
                  </a:lnTo>
                  <a:lnTo>
                    <a:pt x="992" y="58"/>
                  </a:lnTo>
                  <a:lnTo>
                    <a:pt x="992" y="58"/>
                  </a:lnTo>
                  <a:lnTo>
                    <a:pt x="992" y="58"/>
                  </a:lnTo>
                  <a:lnTo>
                    <a:pt x="992" y="58"/>
                  </a:lnTo>
                  <a:lnTo>
                    <a:pt x="992" y="54"/>
                  </a:lnTo>
                  <a:lnTo>
                    <a:pt x="992" y="54"/>
                  </a:lnTo>
                  <a:lnTo>
                    <a:pt x="987" y="54"/>
                  </a:lnTo>
                  <a:lnTo>
                    <a:pt x="987" y="49"/>
                  </a:lnTo>
                  <a:lnTo>
                    <a:pt x="987" y="49"/>
                  </a:lnTo>
                  <a:lnTo>
                    <a:pt x="987" y="49"/>
                  </a:lnTo>
                  <a:lnTo>
                    <a:pt x="987" y="49"/>
                  </a:lnTo>
                  <a:lnTo>
                    <a:pt x="983" y="45"/>
                  </a:lnTo>
                  <a:lnTo>
                    <a:pt x="983" y="45"/>
                  </a:lnTo>
                  <a:lnTo>
                    <a:pt x="983" y="49"/>
                  </a:lnTo>
                  <a:lnTo>
                    <a:pt x="983" y="49"/>
                  </a:lnTo>
                  <a:lnTo>
                    <a:pt x="983" y="49"/>
                  </a:lnTo>
                  <a:lnTo>
                    <a:pt x="983" y="54"/>
                  </a:lnTo>
                  <a:lnTo>
                    <a:pt x="983" y="54"/>
                  </a:lnTo>
                  <a:lnTo>
                    <a:pt x="983" y="58"/>
                  </a:lnTo>
                  <a:lnTo>
                    <a:pt x="983" y="58"/>
                  </a:lnTo>
                  <a:lnTo>
                    <a:pt x="983" y="62"/>
                  </a:lnTo>
                  <a:lnTo>
                    <a:pt x="983" y="62"/>
                  </a:lnTo>
                  <a:lnTo>
                    <a:pt x="978" y="62"/>
                  </a:lnTo>
                  <a:lnTo>
                    <a:pt x="978" y="58"/>
                  </a:lnTo>
                  <a:lnTo>
                    <a:pt x="978" y="54"/>
                  </a:lnTo>
                  <a:lnTo>
                    <a:pt x="974" y="54"/>
                  </a:lnTo>
                  <a:lnTo>
                    <a:pt x="974" y="54"/>
                  </a:lnTo>
                  <a:lnTo>
                    <a:pt x="974" y="54"/>
                  </a:lnTo>
                  <a:lnTo>
                    <a:pt x="974" y="58"/>
                  </a:lnTo>
                  <a:lnTo>
                    <a:pt x="974" y="58"/>
                  </a:lnTo>
                  <a:lnTo>
                    <a:pt x="974" y="58"/>
                  </a:lnTo>
                  <a:lnTo>
                    <a:pt x="974" y="58"/>
                  </a:lnTo>
                  <a:lnTo>
                    <a:pt x="970" y="54"/>
                  </a:lnTo>
                  <a:lnTo>
                    <a:pt x="970" y="54"/>
                  </a:lnTo>
                  <a:lnTo>
                    <a:pt x="970" y="58"/>
                  </a:lnTo>
                  <a:lnTo>
                    <a:pt x="970" y="58"/>
                  </a:lnTo>
                  <a:lnTo>
                    <a:pt x="970" y="58"/>
                  </a:lnTo>
                  <a:lnTo>
                    <a:pt x="970" y="58"/>
                  </a:lnTo>
                  <a:lnTo>
                    <a:pt x="970" y="58"/>
                  </a:lnTo>
                  <a:lnTo>
                    <a:pt x="970" y="58"/>
                  </a:lnTo>
                  <a:lnTo>
                    <a:pt x="970" y="62"/>
                  </a:lnTo>
                  <a:lnTo>
                    <a:pt x="970" y="62"/>
                  </a:lnTo>
                  <a:lnTo>
                    <a:pt x="974" y="62"/>
                  </a:lnTo>
                  <a:lnTo>
                    <a:pt x="974" y="62"/>
                  </a:lnTo>
                  <a:lnTo>
                    <a:pt x="974" y="67"/>
                  </a:lnTo>
                  <a:lnTo>
                    <a:pt x="974" y="67"/>
                  </a:lnTo>
                  <a:lnTo>
                    <a:pt x="974" y="67"/>
                  </a:lnTo>
                  <a:lnTo>
                    <a:pt x="974" y="67"/>
                  </a:lnTo>
                  <a:lnTo>
                    <a:pt x="974" y="67"/>
                  </a:lnTo>
                  <a:lnTo>
                    <a:pt x="974" y="67"/>
                  </a:lnTo>
                  <a:lnTo>
                    <a:pt x="974" y="67"/>
                  </a:lnTo>
                  <a:lnTo>
                    <a:pt x="970" y="67"/>
                  </a:lnTo>
                  <a:lnTo>
                    <a:pt x="970" y="67"/>
                  </a:lnTo>
                  <a:lnTo>
                    <a:pt x="970" y="71"/>
                  </a:lnTo>
                  <a:lnTo>
                    <a:pt x="974" y="71"/>
                  </a:lnTo>
                  <a:lnTo>
                    <a:pt x="974" y="71"/>
                  </a:lnTo>
                  <a:lnTo>
                    <a:pt x="970" y="71"/>
                  </a:lnTo>
                  <a:lnTo>
                    <a:pt x="970" y="71"/>
                  </a:lnTo>
                  <a:lnTo>
                    <a:pt x="970" y="71"/>
                  </a:lnTo>
                  <a:lnTo>
                    <a:pt x="970" y="71"/>
                  </a:lnTo>
                  <a:lnTo>
                    <a:pt x="965" y="76"/>
                  </a:lnTo>
                  <a:lnTo>
                    <a:pt x="965" y="76"/>
                  </a:lnTo>
                  <a:lnTo>
                    <a:pt x="965" y="76"/>
                  </a:lnTo>
                  <a:lnTo>
                    <a:pt x="965" y="80"/>
                  </a:lnTo>
                  <a:lnTo>
                    <a:pt x="965" y="80"/>
                  </a:lnTo>
                  <a:lnTo>
                    <a:pt x="965" y="80"/>
                  </a:lnTo>
                  <a:lnTo>
                    <a:pt x="961" y="76"/>
                  </a:lnTo>
                  <a:lnTo>
                    <a:pt x="961" y="76"/>
                  </a:lnTo>
                  <a:lnTo>
                    <a:pt x="961" y="71"/>
                  </a:lnTo>
                  <a:lnTo>
                    <a:pt x="961" y="71"/>
                  </a:lnTo>
                  <a:lnTo>
                    <a:pt x="961" y="71"/>
                  </a:lnTo>
                  <a:lnTo>
                    <a:pt x="961" y="67"/>
                  </a:lnTo>
                  <a:lnTo>
                    <a:pt x="961" y="71"/>
                  </a:lnTo>
                  <a:lnTo>
                    <a:pt x="961" y="71"/>
                  </a:lnTo>
                  <a:lnTo>
                    <a:pt x="961" y="67"/>
                  </a:lnTo>
                  <a:lnTo>
                    <a:pt x="961" y="67"/>
                  </a:lnTo>
                  <a:lnTo>
                    <a:pt x="956" y="67"/>
                  </a:lnTo>
                  <a:lnTo>
                    <a:pt x="956" y="67"/>
                  </a:lnTo>
                  <a:lnTo>
                    <a:pt x="956" y="67"/>
                  </a:lnTo>
                  <a:lnTo>
                    <a:pt x="956" y="67"/>
                  </a:lnTo>
                  <a:lnTo>
                    <a:pt x="956" y="62"/>
                  </a:lnTo>
                  <a:lnTo>
                    <a:pt x="952" y="67"/>
                  </a:lnTo>
                  <a:lnTo>
                    <a:pt x="952" y="67"/>
                  </a:lnTo>
                  <a:lnTo>
                    <a:pt x="952" y="67"/>
                  </a:lnTo>
                  <a:lnTo>
                    <a:pt x="952" y="67"/>
                  </a:lnTo>
                  <a:lnTo>
                    <a:pt x="952" y="67"/>
                  </a:lnTo>
                  <a:lnTo>
                    <a:pt x="952" y="71"/>
                  </a:lnTo>
                  <a:lnTo>
                    <a:pt x="956" y="71"/>
                  </a:lnTo>
                  <a:lnTo>
                    <a:pt x="956" y="76"/>
                  </a:lnTo>
                  <a:lnTo>
                    <a:pt x="956" y="76"/>
                  </a:lnTo>
                  <a:lnTo>
                    <a:pt x="956" y="80"/>
                  </a:lnTo>
                  <a:lnTo>
                    <a:pt x="956" y="80"/>
                  </a:lnTo>
                  <a:lnTo>
                    <a:pt x="956" y="80"/>
                  </a:lnTo>
                  <a:lnTo>
                    <a:pt x="952" y="80"/>
                  </a:lnTo>
                  <a:lnTo>
                    <a:pt x="952" y="85"/>
                  </a:lnTo>
                  <a:lnTo>
                    <a:pt x="952" y="85"/>
                  </a:lnTo>
                  <a:lnTo>
                    <a:pt x="952" y="89"/>
                  </a:lnTo>
                  <a:lnTo>
                    <a:pt x="952" y="89"/>
                  </a:lnTo>
                  <a:lnTo>
                    <a:pt x="952" y="89"/>
                  </a:lnTo>
                  <a:lnTo>
                    <a:pt x="952" y="85"/>
                  </a:lnTo>
                  <a:lnTo>
                    <a:pt x="952" y="85"/>
                  </a:lnTo>
                  <a:lnTo>
                    <a:pt x="952" y="80"/>
                  </a:lnTo>
                  <a:lnTo>
                    <a:pt x="952" y="80"/>
                  </a:lnTo>
                  <a:lnTo>
                    <a:pt x="948" y="80"/>
                  </a:lnTo>
                  <a:lnTo>
                    <a:pt x="948" y="80"/>
                  </a:lnTo>
                  <a:lnTo>
                    <a:pt x="948" y="85"/>
                  </a:lnTo>
                  <a:lnTo>
                    <a:pt x="948" y="85"/>
                  </a:lnTo>
                  <a:lnTo>
                    <a:pt x="943" y="80"/>
                  </a:lnTo>
                  <a:lnTo>
                    <a:pt x="948" y="80"/>
                  </a:lnTo>
                  <a:lnTo>
                    <a:pt x="948" y="76"/>
                  </a:lnTo>
                  <a:lnTo>
                    <a:pt x="948" y="76"/>
                  </a:lnTo>
                  <a:lnTo>
                    <a:pt x="948" y="76"/>
                  </a:lnTo>
                  <a:lnTo>
                    <a:pt x="943" y="71"/>
                  </a:lnTo>
                  <a:lnTo>
                    <a:pt x="943" y="71"/>
                  </a:lnTo>
                  <a:lnTo>
                    <a:pt x="939" y="71"/>
                  </a:lnTo>
                  <a:lnTo>
                    <a:pt x="939" y="71"/>
                  </a:lnTo>
                  <a:lnTo>
                    <a:pt x="939" y="76"/>
                  </a:lnTo>
                  <a:lnTo>
                    <a:pt x="939" y="76"/>
                  </a:lnTo>
                  <a:lnTo>
                    <a:pt x="939" y="76"/>
                  </a:lnTo>
                  <a:lnTo>
                    <a:pt x="939" y="76"/>
                  </a:lnTo>
                  <a:lnTo>
                    <a:pt x="939" y="76"/>
                  </a:lnTo>
                  <a:lnTo>
                    <a:pt x="939" y="76"/>
                  </a:lnTo>
                  <a:lnTo>
                    <a:pt x="934" y="76"/>
                  </a:lnTo>
                  <a:lnTo>
                    <a:pt x="934" y="71"/>
                  </a:lnTo>
                  <a:lnTo>
                    <a:pt x="934" y="71"/>
                  </a:lnTo>
                  <a:lnTo>
                    <a:pt x="934" y="71"/>
                  </a:lnTo>
                  <a:lnTo>
                    <a:pt x="934" y="71"/>
                  </a:lnTo>
                  <a:lnTo>
                    <a:pt x="934" y="76"/>
                  </a:lnTo>
                  <a:lnTo>
                    <a:pt x="934" y="76"/>
                  </a:lnTo>
                  <a:lnTo>
                    <a:pt x="934" y="80"/>
                  </a:lnTo>
                  <a:lnTo>
                    <a:pt x="934" y="85"/>
                  </a:lnTo>
                  <a:lnTo>
                    <a:pt x="934" y="85"/>
                  </a:lnTo>
                  <a:lnTo>
                    <a:pt x="930" y="80"/>
                  </a:lnTo>
                  <a:lnTo>
                    <a:pt x="925" y="76"/>
                  </a:lnTo>
                  <a:lnTo>
                    <a:pt x="925" y="76"/>
                  </a:lnTo>
                  <a:lnTo>
                    <a:pt x="925" y="80"/>
                  </a:lnTo>
                  <a:lnTo>
                    <a:pt x="925" y="80"/>
                  </a:lnTo>
                  <a:lnTo>
                    <a:pt x="925" y="80"/>
                  </a:lnTo>
                  <a:lnTo>
                    <a:pt x="925" y="85"/>
                  </a:lnTo>
                  <a:lnTo>
                    <a:pt x="925" y="85"/>
                  </a:lnTo>
                  <a:lnTo>
                    <a:pt x="925" y="85"/>
                  </a:lnTo>
                  <a:lnTo>
                    <a:pt x="917" y="80"/>
                  </a:lnTo>
                  <a:lnTo>
                    <a:pt x="912" y="80"/>
                  </a:lnTo>
                  <a:lnTo>
                    <a:pt x="912" y="80"/>
                  </a:lnTo>
                  <a:lnTo>
                    <a:pt x="912" y="85"/>
                  </a:lnTo>
                  <a:lnTo>
                    <a:pt x="912" y="85"/>
                  </a:lnTo>
                  <a:close/>
                  <a:moveTo>
                    <a:pt x="1014" y="27"/>
                  </a:moveTo>
                  <a:lnTo>
                    <a:pt x="1018" y="27"/>
                  </a:lnTo>
                  <a:lnTo>
                    <a:pt x="1023" y="27"/>
                  </a:lnTo>
                  <a:lnTo>
                    <a:pt x="1018" y="31"/>
                  </a:lnTo>
                  <a:lnTo>
                    <a:pt x="1014" y="31"/>
                  </a:lnTo>
                  <a:lnTo>
                    <a:pt x="1014" y="31"/>
                  </a:lnTo>
                  <a:lnTo>
                    <a:pt x="1018" y="36"/>
                  </a:lnTo>
                  <a:lnTo>
                    <a:pt x="1018" y="36"/>
                  </a:lnTo>
                  <a:lnTo>
                    <a:pt x="1018" y="36"/>
                  </a:lnTo>
                  <a:lnTo>
                    <a:pt x="1018" y="40"/>
                  </a:lnTo>
                  <a:lnTo>
                    <a:pt x="1023" y="40"/>
                  </a:lnTo>
                  <a:lnTo>
                    <a:pt x="1023" y="40"/>
                  </a:lnTo>
                  <a:lnTo>
                    <a:pt x="1023" y="36"/>
                  </a:lnTo>
                  <a:lnTo>
                    <a:pt x="1023" y="36"/>
                  </a:lnTo>
                  <a:lnTo>
                    <a:pt x="1023" y="36"/>
                  </a:lnTo>
                  <a:lnTo>
                    <a:pt x="1027" y="36"/>
                  </a:lnTo>
                  <a:lnTo>
                    <a:pt x="1027" y="36"/>
                  </a:lnTo>
                  <a:lnTo>
                    <a:pt x="1027" y="36"/>
                  </a:lnTo>
                  <a:lnTo>
                    <a:pt x="1027" y="36"/>
                  </a:lnTo>
                  <a:lnTo>
                    <a:pt x="1027" y="36"/>
                  </a:lnTo>
                  <a:lnTo>
                    <a:pt x="1027" y="36"/>
                  </a:lnTo>
                  <a:lnTo>
                    <a:pt x="1032" y="36"/>
                  </a:lnTo>
                  <a:lnTo>
                    <a:pt x="1032" y="36"/>
                  </a:lnTo>
                  <a:lnTo>
                    <a:pt x="1032" y="31"/>
                  </a:lnTo>
                  <a:lnTo>
                    <a:pt x="1032" y="31"/>
                  </a:lnTo>
                  <a:lnTo>
                    <a:pt x="1032" y="31"/>
                  </a:lnTo>
                  <a:lnTo>
                    <a:pt x="1023" y="31"/>
                  </a:lnTo>
                  <a:lnTo>
                    <a:pt x="1023" y="31"/>
                  </a:lnTo>
                  <a:lnTo>
                    <a:pt x="1023" y="31"/>
                  </a:lnTo>
                  <a:lnTo>
                    <a:pt x="1023" y="27"/>
                  </a:lnTo>
                  <a:lnTo>
                    <a:pt x="1023" y="27"/>
                  </a:lnTo>
                  <a:lnTo>
                    <a:pt x="1023" y="27"/>
                  </a:lnTo>
                  <a:lnTo>
                    <a:pt x="1023" y="27"/>
                  </a:lnTo>
                  <a:lnTo>
                    <a:pt x="1027" y="27"/>
                  </a:lnTo>
                  <a:lnTo>
                    <a:pt x="1032" y="27"/>
                  </a:lnTo>
                  <a:lnTo>
                    <a:pt x="1027" y="23"/>
                  </a:lnTo>
                  <a:lnTo>
                    <a:pt x="1023" y="23"/>
                  </a:lnTo>
                  <a:lnTo>
                    <a:pt x="1023" y="23"/>
                  </a:lnTo>
                  <a:lnTo>
                    <a:pt x="1023" y="23"/>
                  </a:lnTo>
                  <a:lnTo>
                    <a:pt x="1023" y="23"/>
                  </a:lnTo>
                  <a:lnTo>
                    <a:pt x="1018" y="23"/>
                  </a:lnTo>
                  <a:lnTo>
                    <a:pt x="1014" y="23"/>
                  </a:lnTo>
                  <a:lnTo>
                    <a:pt x="1014" y="23"/>
                  </a:lnTo>
                  <a:lnTo>
                    <a:pt x="1014" y="23"/>
                  </a:lnTo>
                  <a:lnTo>
                    <a:pt x="1018" y="23"/>
                  </a:lnTo>
                  <a:lnTo>
                    <a:pt x="1014" y="23"/>
                  </a:lnTo>
                  <a:lnTo>
                    <a:pt x="1014" y="27"/>
                  </a:lnTo>
                  <a:lnTo>
                    <a:pt x="1014" y="27"/>
                  </a:lnTo>
                  <a:lnTo>
                    <a:pt x="1014" y="27"/>
                  </a:lnTo>
                  <a:close/>
                  <a:moveTo>
                    <a:pt x="1054" y="18"/>
                  </a:moveTo>
                  <a:lnTo>
                    <a:pt x="1054" y="18"/>
                  </a:lnTo>
                  <a:lnTo>
                    <a:pt x="1058" y="18"/>
                  </a:lnTo>
                  <a:lnTo>
                    <a:pt x="1058" y="23"/>
                  </a:lnTo>
                  <a:lnTo>
                    <a:pt x="1058" y="23"/>
                  </a:lnTo>
                  <a:lnTo>
                    <a:pt x="1058" y="23"/>
                  </a:lnTo>
                  <a:lnTo>
                    <a:pt x="1063" y="18"/>
                  </a:lnTo>
                  <a:lnTo>
                    <a:pt x="1063" y="18"/>
                  </a:lnTo>
                  <a:lnTo>
                    <a:pt x="1058" y="14"/>
                  </a:lnTo>
                  <a:lnTo>
                    <a:pt x="1063" y="14"/>
                  </a:lnTo>
                  <a:lnTo>
                    <a:pt x="1063" y="14"/>
                  </a:lnTo>
                  <a:lnTo>
                    <a:pt x="1063" y="14"/>
                  </a:lnTo>
                  <a:lnTo>
                    <a:pt x="1063" y="14"/>
                  </a:lnTo>
                  <a:lnTo>
                    <a:pt x="1063" y="9"/>
                  </a:lnTo>
                  <a:lnTo>
                    <a:pt x="1063" y="9"/>
                  </a:lnTo>
                  <a:lnTo>
                    <a:pt x="1063" y="9"/>
                  </a:lnTo>
                  <a:lnTo>
                    <a:pt x="1063" y="9"/>
                  </a:lnTo>
                  <a:lnTo>
                    <a:pt x="1063" y="9"/>
                  </a:lnTo>
                  <a:lnTo>
                    <a:pt x="1063" y="9"/>
                  </a:lnTo>
                  <a:lnTo>
                    <a:pt x="1058" y="9"/>
                  </a:lnTo>
                  <a:lnTo>
                    <a:pt x="1058" y="9"/>
                  </a:lnTo>
                  <a:lnTo>
                    <a:pt x="1058" y="9"/>
                  </a:lnTo>
                  <a:lnTo>
                    <a:pt x="1058" y="9"/>
                  </a:lnTo>
                  <a:lnTo>
                    <a:pt x="1058" y="9"/>
                  </a:lnTo>
                  <a:lnTo>
                    <a:pt x="1058" y="9"/>
                  </a:lnTo>
                  <a:lnTo>
                    <a:pt x="1058" y="9"/>
                  </a:lnTo>
                  <a:lnTo>
                    <a:pt x="1058" y="14"/>
                  </a:lnTo>
                  <a:lnTo>
                    <a:pt x="1058" y="14"/>
                  </a:lnTo>
                  <a:lnTo>
                    <a:pt x="1058" y="14"/>
                  </a:lnTo>
                  <a:lnTo>
                    <a:pt x="1058" y="14"/>
                  </a:lnTo>
                  <a:lnTo>
                    <a:pt x="1058" y="14"/>
                  </a:lnTo>
                  <a:lnTo>
                    <a:pt x="1058" y="14"/>
                  </a:lnTo>
                  <a:lnTo>
                    <a:pt x="1058" y="14"/>
                  </a:lnTo>
                  <a:lnTo>
                    <a:pt x="1054" y="9"/>
                  </a:lnTo>
                  <a:lnTo>
                    <a:pt x="1054" y="9"/>
                  </a:lnTo>
                  <a:lnTo>
                    <a:pt x="1054" y="14"/>
                  </a:lnTo>
                  <a:lnTo>
                    <a:pt x="1054" y="14"/>
                  </a:lnTo>
                  <a:lnTo>
                    <a:pt x="1049" y="14"/>
                  </a:lnTo>
                  <a:lnTo>
                    <a:pt x="1054" y="18"/>
                  </a:lnTo>
                  <a:lnTo>
                    <a:pt x="1054" y="18"/>
                  </a:lnTo>
                  <a:close/>
                  <a:moveTo>
                    <a:pt x="1390" y="138"/>
                  </a:moveTo>
                  <a:lnTo>
                    <a:pt x="1390" y="133"/>
                  </a:lnTo>
                  <a:lnTo>
                    <a:pt x="1390" y="133"/>
                  </a:lnTo>
                  <a:lnTo>
                    <a:pt x="1390" y="133"/>
                  </a:lnTo>
                  <a:lnTo>
                    <a:pt x="1390" y="129"/>
                  </a:lnTo>
                  <a:lnTo>
                    <a:pt x="1390" y="129"/>
                  </a:lnTo>
                  <a:lnTo>
                    <a:pt x="1390" y="129"/>
                  </a:lnTo>
                  <a:lnTo>
                    <a:pt x="1390" y="124"/>
                  </a:lnTo>
                  <a:lnTo>
                    <a:pt x="1390" y="120"/>
                  </a:lnTo>
                  <a:lnTo>
                    <a:pt x="1386" y="120"/>
                  </a:lnTo>
                  <a:lnTo>
                    <a:pt x="1386" y="116"/>
                  </a:lnTo>
                  <a:lnTo>
                    <a:pt x="1386" y="111"/>
                  </a:lnTo>
                  <a:lnTo>
                    <a:pt x="1386" y="111"/>
                  </a:lnTo>
                  <a:lnTo>
                    <a:pt x="1381" y="116"/>
                  </a:lnTo>
                  <a:lnTo>
                    <a:pt x="1377" y="116"/>
                  </a:lnTo>
                  <a:lnTo>
                    <a:pt x="1377" y="120"/>
                  </a:lnTo>
                  <a:lnTo>
                    <a:pt x="1377" y="116"/>
                  </a:lnTo>
                  <a:lnTo>
                    <a:pt x="1372" y="116"/>
                  </a:lnTo>
                  <a:lnTo>
                    <a:pt x="1372" y="111"/>
                  </a:lnTo>
                  <a:lnTo>
                    <a:pt x="1364" y="102"/>
                  </a:lnTo>
                  <a:lnTo>
                    <a:pt x="1368" y="102"/>
                  </a:lnTo>
                  <a:lnTo>
                    <a:pt x="1368" y="98"/>
                  </a:lnTo>
                  <a:lnTo>
                    <a:pt x="1364" y="98"/>
                  </a:lnTo>
                  <a:lnTo>
                    <a:pt x="1359" y="93"/>
                  </a:lnTo>
                  <a:lnTo>
                    <a:pt x="1346" y="102"/>
                  </a:lnTo>
                  <a:lnTo>
                    <a:pt x="1337" y="98"/>
                  </a:lnTo>
                  <a:lnTo>
                    <a:pt x="1337" y="98"/>
                  </a:lnTo>
                  <a:lnTo>
                    <a:pt x="1337" y="98"/>
                  </a:lnTo>
                  <a:lnTo>
                    <a:pt x="1341" y="98"/>
                  </a:lnTo>
                  <a:lnTo>
                    <a:pt x="1346" y="102"/>
                  </a:lnTo>
                  <a:lnTo>
                    <a:pt x="1346" y="98"/>
                  </a:lnTo>
                  <a:lnTo>
                    <a:pt x="1341" y="98"/>
                  </a:lnTo>
                  <a:lnTo>
                    <a:pt x="1341" y="98"/>
                  </a:lnTo>
                  <a:lnTo>
                    <a:pt x="1341" y="98"/>
                  </a:lnTo>
                  <a:lnTo>
                    <a:pt x="1341" y="98"/>
                  </a:lnTo>
                  <a:lnTo>
                    <a:pt x="1341" y="98"/>
                  </a:lnTo>
                  <a:lnTo>
                    <a:pt x="1350" y="93"/>
                  </a:lnTo>
                  <a:lnTo>
                    <a:pt x="1355" y="93"/>
                  </a:lnTo>
                  <a:lnTo>
                    <a:pt x="1355" y="89"/>
                  </a:lnTo>
                  <a:lnTo>
                    <a:pt x="1355" y="89"/>
                  </a:lnTo>
                  <a:lnTo>
                    <a:pt x="1346" y="85"/>
                  </a:lnTo>
                  <a:lnTo>
                    <a:pt x="1341" y="85"/>
                  </a:lnTo>
                  <a:lnTo>
                    <a:pt x="1341" y="80"/>
                  </a:lnTo>
                  <a:lnTo>
                    <a:pt x="1341" y="80"/>
                  </a:lnTo>
                  <a:lnTo>
                    <a:pt x="1346" y="80"/>
                  </a:lnTo>
                  <a:lnTo>
                    <a:pt x="1346" y="76"/>
                  </a:lnTo>
                  <a:lnTo>
                    <a:pt x="1341" y="71"/>
                  </a:lnTo>
                  <a:lnTo>
                    <a:pt x="1337" y="71"/>
                  </a:lnTo>
                  <a:lnTo>
                    <a:pt x="1337" y="71"/>
                  </a:lnTo>
                  <a:lnTo>
                    <a:pt x="1333" y="71"/>
                  </a:lnTo>
                  <a:lnTo>
                    <a:pt x="1328" y="80"/>
                  </a:lnTo>
                  <a:lnTo>
                    <a:pt x="1328" y="80"/>
                  </a:lnTo>
                  <a:lnTo>
                    <a:pt x="1328" y="80"/>
                  </a:lnTo>
                  <a:lnTo>
                    <a:pt x="1328" y="85"/>
                  </a:lnTo>
                  <a:lnTo>
                    <a:pt x="1324" y="85"/>
                  </a:lnTo>
                  <a:lnTo>
                    <a:pt x="1319" y="85"/>
                  </a:lnTo>
                  <a:lnTo>
                    <a:pt x="1319" y="85"/>
                  </a:lnTo>
                  <a:lnTo>
                    <a:pt x="1324" y="80"/>
                  </a:lnTo>
                  <a:lnTo>
                    <a:pt x="1324" y="76"/>
                  </a:lnTo>
                  <a:lnTo>
                    <a:pt x="1324" y="71"/>
                  </a:lnTo>
                  <a:lnTo>
                    <a:pt x="1324" y="67"/>
                  </a:lnTo>
                  <a:lnTo>
                    <a:pt x="1319" y="67"/>
                  </a:lnTo>
                  <a:lnTo>
                    <a:pt x="1310" y="71"/>
                  </a:lnTo>
                  <a:lnTo>
                    <a:pt x="1302" y="76"/>
                  </a:lnTo>
                  <a:lnTo>
                    <a:pt x="1302" y="76"/>
                  </a:lnTo>
                  <a:lnTo>
                    <a:pt x="1302" y="80"/>
                  </a:lnTo>
                  <a:lnTo>
                    <a:pt x="1297" y="80"/>
                  </a:lnTo>
                  <a:lnTo>
                    <a:pt x="1297" y="80"/>
                  </a:lnTo>
                  <a:lnTo>
                    <a:pt x="1297" y="76"/>
                  </a:lnTo>
                  <a:lnTo>
                    <a:pt x="1297" y="76"/>
                  </a:lnTo>
                  <a:lnTo>
                    <a:pt x="1297" y="76"/>
                  </a:lnTo>
                  <a:lnTo>
                    <a:pt x="1297" y="76"/>
                  </a:lnTo>
                  <a:lnTo>
                    <a:pt x="1297" y="76"/>
                  </a:lnTo>
                  <a:lnTo>
                    <a:pt x="1302" y="76"/>
                  </a:lnTo>
                  <a:lnTo>
                    <a:pt x="1302" y="76"/>
                  </a:lnTo>
                  <a:lnTo>
                    <a:pt x="1302" y="71"/>
                  </a:lnTo>
                  <a:lnTo>
                    <a:pt x="1302" y="71"/>
                  </a:lnTo>
                  <a:lnTo>
                    <a:pt x="1302" y="71"/>
                  </a:lnTo>
                  <a:lnTo>
                    <a:pt x="1302" y="71"/>
                  </a:lnTo>
                  <a:lnTo>
                    <a:pt x="1302" y="71"/>
                  </a:lnTo>
                  <a:lnTo>
                    <a:pt x="1302" y="71"/>
                  </a:lnTo>
                  <a:lnTo>
                    <a:pt x="1302" y="67"/>
                  </a:lnTo>
                  <a:lnTo>
                    <a:pt x="1306" y="67"/>
                  </a:lnTo>
                  <a:lnTo>
                    <a:pt x="1302" y="67"/>
                  </a:lnTo>
                  <a:lnTo>
                    <a:pt x="1297" y="67"/>
                  </a:lnTo>
                  <a:lnTo>
                    <a:pt x="1302" y="62"/>
                  </a:lnTo>
                  <a:lnTo>
                    <a:pt x="1306" y="58"/>
                  </a:lnTo>
                  <a:lnTo>
                    <a:pt x="1302" y="58"/>
                  </a:lnTo>
                  <a:lnTo>
                    <a:pt x="1297" y="58"/>
                  </a:lnTo>
                  <a:lnTo>
                    <a:pt x="1297" y="58"/>
                  </a:lnTo>
                  <a:lnTo>
                    <a:pt x="1297" y="54"/>
                  </a:lnTo>
                  <a:lnTo>
                    <a:pt x="1297" y="54"/>
                  </a:lnTo>
                  <a:lnTo>
                    <a:pt x="1297" y="54"/>
                  </a:lnTo>
                  <a:lnTo>
                    <a:pt x="1297" y="54"/>
                  </a:lnTo>
                  <a:lnTo>
                    <a:pt x="1297" y="49"/>
                  </a:lnTo>
                  <a:lnTo>
                    <a:pt x="1293" y="49"/>
                  </a:lnTo>
                  <a:lnTo>
                    <a:pt x="1284" y="49"/>
                  </a:lnTo>
                  <a:lnTo>
                    <a:pt x="1284" y="45"/>
                  </a:lnTo>
                  <a:lnTo>
                    <a:pt x="1288" y="45"/>
                  </a:lnTo>
                  <a:lnTo>
                    <a:pt x="1288" y="45"/>
                  </a:lnTo>
                  <a:lnTo>
                    <a:pt x="1288" y="45"/>
                  </a:lnTo>
                  <a:lnTo>
                    <a:pt x="1284" y="45"/>
                  </a:lnTo>
                  <a:lnTo>
                    <a:pt x="1271" y="45"/>
                  </a:lnTo>
                  <a:lnTo>
                    <a:pt x="1271" y="49"/>
                  </a:lnTo>
                  <a:lnTo>
                    <a:pt x="1266" y="49"/>
                  </a:lnTo>
                  <a:lnTo>
                    <a:pt x="1266" y="54"/>
                  </a:lnTo>
                  <a:lnTo>
                    <a:pt x="1262" y="58"/>
                  </a:lnTo>
                  <a:lnTo>
                    <a:pt x="1257" y="67"/>
                  </a:lnTo>
                  <a:lnTo>
                    <a:pt x="1257" y="71"/>
                  </a:lnTo>
                  <a:lnTo>
                    <a:pt x="1257" y="71"/>
                  </a:lnTo>
                  <a:lnTo>
                    <a:pt x="1262" y="71"/>
                  </a:lnTo>
                  <a:lnTo>
                    <a:pt x="1262" y="76"/>
                  </a:lnTo>
                  <a:lnTo>
                    <a:pt x="1262" y="76"/>
                  </a:lnTo>
                  <a:lnTo>
                    <a:pt x="1262" y="76"/>
                  </a:lnTo>
                  <a:lnTo>
                    <a:pt x="1262" y="76"/>
                  </a:lnTo>
                  <a:lnTo>
                    <a:pt x="1257" y="76"/>
                  </a:lnTo>
                  <a:lnTo>
                    <a:pt x="1257" y="76"/>
                  </a:lnTo>
                  <a:lnTo>
                    <a:pt x="1257" y="80"/>
                  </a:lnTo>
                  <a:lnTo>
                    <a:pt x="1257" y="80"/>
                  </a:lnTo>
                  <a:lnTo>
                    <a:pt x="1257" y="85"/>
                  </a:lnTo>
                  <a:lnTo>
                    <a:pt x="1253" y="85"/>
                  </a:lnTo>
                  <a:lnTo>
                    <a:pt x="1253" y="98"/>
                  </a:lnTo>
                  <a:lnTo>
                    <a:pt x="1253" y="98"/>
                  </a:lnTo>
                  <a:lnTo>
                    <a:pt x="1253" y="98"/>
                  </a:lnTo>
                  <a:lnTo>
                    <a:pt x="1253" y="102"/>
                  </a:lnTo>
                  <a:lnTo>
                    <a:pt x="1257" y="102"/>
                  </a:lnTo>
                  <a:lnTo>
                    <a:pt x="1257" y="102"/>
                  </a:lnTo>
                  <a:lnTo>
                    <a:pt x="1257" y="107"/>
                  </a:lnTo>
                  <a:lnTo>
                    <a:pt x="1257" y="107"/>
                  </a:lnTo>
                  <a:lnTo>
                    <a:pt x="1257" y="107"/>
                  </a:lnTo>
                  <a:lnTo>
                    <a:pt x="1257" y="107"/>
                  </a:lnTo>
                  <a:lnTo>
                    <a:pt x="1257" y="111"/>
                  </a:lnTo>
                  <a:lnTo>
                    <a:pt x="1257" y="111"/>
                  </a:lnTo>
                  <a:lnTo>
                    <a:pt x="1257" y="111"/>
                  </a:lnTo>
                  <a:lnTo>
                    <a:pt x="1257" y="111"/>
                  </a:lnTo>
                  <a:lnTo>
                    <a:pt x="1257" y="116"/>
                  </a:lnTo>
                  <a:lnTo>
                    <a:pt x="1253" y="111"/>
                  </a:lnTo>
                  <a:lnTo>
                    <a:pt x="1253" y="111"/>
                  </a:lnTo>
                  <a:lnTo>
                    <a:pt x="1253" y="107"/>
                  </a:lnTo>
                  <a:lnTo>
                    <a:pt x="1253" y="107"/>
                  </a:lnTo>
                  <a:lnTo>
                    <a:pt x="1248" y="107"/>
                  </a:lnTo>
                  <a:lnTo>
                    <a:pt x="1248" y="107"/>
                  </a:lnTo>
                  <a:lnTo>
                    <a:pt x="1248" y="111"/>
                  </a:lnTo>
                  <a:lnTo>
                    <a:pt x="1248" y="111"/>
                  </a:lnTo>
                  <a:lnTo>
                    <a:pt x="1248" y="111"/>
                  </a:lnTo>
                  <a:lnTo>
                    <a:pt x="1248" y="116"/>
                  </a:lnTo>
                  <a:lnTo>
                    <a:pt x="1244" y="116"/>
                  </a:lnTo>
                  <a:lnTo>
                    <a:pt x="1244" y="116"/>
                  </a:lnTo>
                  <a:lnTo>
                    <a:pt x="1244" y="120"/>
                  </a:lnTo>
                  <a:lnTo>
                    <a:pt x="1244" y="120"/>
                  </a:lnTo>
                  <a:lnTo>
                    <a:pt x="1244" y="124"/>
                  </a:lnTo>
                  <a:lnTo>
                    <a:pt x="1244" y="124"/>
                  </a:lnTo>
                  <a:lnTo>
                    <a:pt x="1240" y="129"/>
                  </a:lnTo>
                  <a:lnTo>
                    <a:pt x="1240" y="133"/>
                  </a:lnTo>
                  <a:lnTo>
                    <a:pt x="1240" y="138"/>
                  </a:lnTo>
                  <a:lnTo>
                    <a:pt x="1240" y="138"/>
                  </a:lnTo>
                  <a:lnTo>
                    <a:pt x="1240" y="142"/>
                  </a:lnTo>
                  <a:lnTo>
                    <a:pt x="1240" y="142"/>
                  </a:lnTo>
                  <a:lnTo>
                    <a:pt x="1240" y="147"/>
                  </a:lnTo>
                  <a:lnTo>
                    <a:pt x="1240" y="147"/>
                  </a:lnTo>
                  <a:lnTo>
                    <a:pt x="1240" y="151"/>
                  </a:lnTo>
                  <a:lnTo>
                    <a:pt x="1240" y="151"/>
                  </a:lnTo>
                  <a:lnTo>
                    <a:pt x="1240" y="155"/>
                  </a:lnTo>
                  <a:lnTo>
                    <a:pt x="1240" y="155"/>
                  </a:lnTo>
                  <a:lnTo>
                    <a:pt x="1240" y="160"/>
                  </a:lnTo>
                  <a:lnTo>
                    <a:pt x="1240" y="164"/>
                  </a:lnTo>
                  <a:lnTo>
                    <a:pt x="1235" y="169"/>
                  </a:lnTo>
                  <a:lnTo>
                    <a:pt x="1235" y="173"/>
                  </a:lnTo>
                  <a:lnTo>
                    <a:pt x="1231" y="173"/>
                  </a:lnTo>
                  <a:lnTo>
                    <a:pt x="1231" y="173"/>
                  </a:lnTo>
                  <a:lnTo>
                    <a:pt x="1235" y="173"/>
                  </a:lnTo>
                  <a:lnTo>
                    <a:pt x="1235" y="169"/>
                  </a:lnTo>
                  <a:lnTo>
                    <a:pt x="1235" y="164"/>
                  </a:lnTo>
                  <a:lnTo>
                    <a:pt x="1240" y="164"/>
                  </a:lnTo>
                  <a:lnTo>
                    <a:pt x="1240" y="164"/>
                  </a:lnTo>
                  <a:lnTo>
                    <a:pt x="1240" y="160"/>
                  </a:lnTo>
                  <a:lnTo>
                    <a:pt x="1240" y="155"/>
                  </a:lnTo>
                  <a:lnTo>
                    <a:pt x="1240" y="147"/>
                  </a:lnTo>
                  <a:lnTo>
                    <a:pt x="1240" y="138"/>
                  </a:lnTo>
                  <a:lnTo>
                    <a:pt x="1240" y="133"/>
                  </a:lnTo>
                  <a:lnTo>
                    <a:pt x="1240" y="133"/>
                  </a:lnTo>
                  <a:lnTo>
                    <a:pt x="1240" y="129"/>
                  </a:lnTo>
                  <a:lnTo>
                    <a:pt x="1240" y="124"/>
                  </a:lnTo>
                  <a:lnTo>
                    <a:pt x="1240" y="124"/>
                  </a:lnTo>
                  <a:lnTo>
                    <a:pt x="1240" y="120"/>
                  </a:lnTo>
                  <a:lnTo>
                    <a:pt x="1240" y="116"/>
                  </a:lnTo>
                  <a:lnTo>
                    <a:pt x="1244" y="111"/>
                  </a:lnTo>
                  <a:lnTo>
                    <a:pt x="1244" y="111"/>
                  </a:lnTo>
                  <a:lnTo>
                    <a:pt x="1244" y="107"/>
                  </a:lnTo>
                  <a:lnTo>
                    <a:pt x="1244" y="107"/>
                  </a:lnTo>
                  <a:lnTo>
                    <a:pt x="1248" y="107"/>
                  </a:lnTo>
                  <a:lnTo>
                    <a:pt x="1248" y="102"/>
                  </a:lnTo>
                  <a:lnTo>
                    <a:pt x="1244" y="102"/>
                  </a:lnTo>
                  <a:lnTo>
                    <a:pt x="1244" y="102"/>
                  </a:lnTo>
                  <a:lnTo>
                    <a:pt x="1240" y="107"/>
                  </a:lnTo>
                  <a:lnTo>
                    <a:pt x="1240" y="107"/>
                  </a:lnTo>
                  <a:lnTo>
                    <a:pt x="1235" y="116"/>
                  </a:lnTo>
                  <a:lnTo>
                    <a:pt x="1235" y="116"/>
                  </a:lnTo>
                  <a:lnTo>
                    <a:pt x="1235" y="116"/>
                  </a:lnTo>
                  <a:lnTo>
                    <a:pt x="1235" y="111"/>
                  </a:lnTo>
                  <a:lnTo>
                    <a:pt x="1235" y="111"/>
                  </a:lnTo>
                  <a:lnTo>
                    <a:pt x="1235" y="111"/>
                  </a:lnTo>
                  <a:lnTo>
                    <a:pt x="1235" y="111"/>
                  </a:lnTo>
                  <a:lnTo>
                    <a:pt x="1235" y="111"/>
                  </a:lnTo>
                  <a:lnTo>
                    <a:pt x="1235" y="111"/>
                  </a:lnTo>
                  <a:lnTo>
                    <a:pt x="1231" y="116"/>
                  </a:lnTo>
                  <a:lnTo>
                    <a:pt x="1231" y="116"/>
                  </a:lnTo>
                  <a:lnTo>
                    <a:pt x="1231" y="111"/>
                  </a:lnTo>
                  <a:lnTo>
                    <a:pt x="1235" y="107"/>
                  </a:lnTo>
                  <a:lnTo>
                    <a:pt x="1240" y="107"/>
                  </a:lnTo>
                  <a:lnTo>
                    <a:pt x="1231" y="107"/>
                  </a:lnTo>
                  <a:lnTo>
                    <a:pt x="1226" y="111"/>
                  </a:lnTo>
                  <a:lnTo>
                    <a:pt x="1226" y="107"/>
                  </a:lnTo>
                  <a:lnTo>
                    <a:pt x="1231" y="107"/>
                  </a:lnTo>
                  <a:lnTo>
                    <a:pt x="1226" y="107"/>
                  </a:lnTo>
                  <a:lnTo>
                    <a:pt x="1226" y="107"/>
                  </a:lnTo>
                  <a:lnTo>
                    <a:pt x="1226" y="111"/>
                  </a:lnTo>
                  <a:lnTo>
                    <a:pt x="1226" y="116"/>
                  </a:lnTo>
                  <a:lnTo>
                    <a:pt x="1222" y="116"/>
                  </a:lnTo>
                  <a:lnTo>
                    <a:pt x="1222" y="111"/>
                  </a:lnTo>
                  <a:lnTo>
                    <a:pt x="1222" y="111"/>
                  </a:lnTo>
                  <a:lnTo>
                    <a:pt x="1222" y="107"/>
                  </a:lnTo>
                  <a:lnTo>
                    <a:pt x="1222" y="107"/>
                  </a:lnTo>
                  <a:lnTo>
                    <a:pt x="1226" y="102"/>
                  </a:lnTo>
                  <a:lnTo>
                    <a:pt x="1231" y="102"/>
                  </a:lnTo>
                  <a:lnTo>
                    <a:pt x="1231" y="98"/>
                  </a:lnTo>
                  <a:lnTo>
                    <a:pt x="1231" y="98"/>
                  </a:lnTo>
                  <a:lnTo>
                    <a:pt x="1240" y="89"/>
                  </a:lnTo>
                  <a:lnTo>
                    <a:pt x="1244" y="89"/>
                  </a:lnTo>
                  <a:lnTo>
                    <a:pt x="1244" y="80"/>
                  </a:lnTo>
                  <a:lnTo>
                    <a:pt x="1244" y="71"/>
                  </a:lnTo>
                  <a:lnTo>
                    <a:pt x="1244" y="71"/>
                  </a:lnTo>
                  <a:lnTo>
                    <a:pt x="1244" y="71"/>
                  </a:lnTo>
                  <a:lnTo>
                    <a:pt x="1240" y="76"/>
                  </a:lnTo>
                  <a:lnTo>
                    <a:pt x="1218" y="89"/>
                  </a:lnTo>
                  <a:lnTo>
                    <a:pt x="1213" y="89"/>
                  </a:lnTo>
                  <a:lnTo>
                    <a:pt x="1213" y="85"/>
                  </a:lnTo>
                  <a:lnTo>
                    <a:pt x="1213" y="85"/>
                  </a:lnTo>
                  <a:lnTo>
                    <a:pt x="1218" y="85"/>
                  </a:lnTo>
                  <a:lnTo>
                    <a:pt x="1218" y="85"/>
                  </a:lnTo>
                  <a:lnTo>
                    <a:pt x="1222" y="80"/>
                  </a:lnTo>
                  <a:lnTo>
                    <a:pt x="1222" y="80"/>
                  </a:lnTo>
                  <a:lnTo>
                    <a:pt x="1222" y="80"/>
                  </a:lnTo>
                  <a:lnTo>
                    <a:pt x="1226" y="76"/>
                  </a:lnTo>
                  <a:lnTo>
                    <a:pt x="1235" y="71"/>
                  </a:lnTo>
                  <a:lnTo>
                    <a:pt x="1235" y="67"/>
                  </a:lnTo>
                  <a:lnTo>
                    <a:pt x="1235" y="67"/>
                  </a:lnTo>
                  <a:lnTo>
                    <a:pt x="1235" y="67"/>
                  </a:lnTo>
                  <a:lnTo>
                    <a:pt x="1231" y="67"/>
                  </a:lnTo>
                  <a:lnTo>
                    <a:pt x="1231" y="67"/>
                  </a:lnTo>
                  <a:lnTo>
                    <a:pt x="1231" y="67"/>
                  </a:lnTo>
                  <a:lnTo>
                    <a:pt x="1231" y="62"/>
                  </a:lnTo>
                  <a:lnTo>
                    <a:pt x="1226" y="62"/>
                  </a:lnTo>
                  <a:lnTo>
                    <a:pt x="1222" y="62"/>
                  </a:lnTo>
                  <a:lnTo>
                    <a:pt x="1218" y="67"/>
                  </a:lnTo>
                  <a:lnTo>
                    <a:pt x="1218" y="62"/>
                  </a:lnTo>
                  <a:lnTo>
                    <a:pt x="1218" y="62"/>
                  </a:lnTo>
                  <a:lnTo>
                    <a:pt x="1222" y="62"/>
                  </a:lnTo>
                  <a:lnTo>
                    <a:pt x="1222" y="62"/>
                  </a:lnTo>
                  <a:lnTo>
                    <a:pt x="1222" y="62"/>
                  </a:lnTo>
                  <a:lnTo>
                    <a:pt x="1218" y="62"/>
                  </a:lnTo>
                  <a:lnTo>
                    <a:pt x="1218" y="58"/>
                  </a:lnTo>
                  <a:lnTo>
                    <a:pt x="1218" y="58"/>
                  </a:lnTo>
                  <a:lnTo>
                    <a:pt x="1218" y="58"/>
                  </a:lnTo>
                  <a:lnTo>
                    <a:pt x="1222" y="58"/>
                  </a:lnTo>
                  <a:lnTo>
                    <a:pt x="1222" y="58"/>
                  </a:lnTo>
                  <a:lnTo>
                    <a:pt x="1226" y="58"/>
                  </a:lnTo>
                  <a:lnTo>
                    <a:pt x="1226" y="58"/>
                  </a:lnTo>
                  <a:lnTo>
                    <a:pt x="1226" y="58"/>
                  </a:lnTo>
                  <a:lnTo>
                    <a:pt x="1231" y="54"/>
                  </a:lnTo>
                  <a:lnTo>
                    <a:pt x="1231" y="54"/>
                  </a:lnTo>
                  <a:lnTo>
                    <a:pt x="1231" y="54"/>
                  </a:lnTo>
                  <a:lnTo>
                    <a:pt x="1231" y="58"/>
                  </a:lnTo>
                  <a:lnTo>
                    <a:pt x="1231" y="58"/>
                  </a:lnTo>
                  <a:lnTo>
                    <a:pt x="1235" y="58"/>
                  </a:lnTo>
                  <a:lnTo>
                    <a:pt x="1235" y="58"/>
                  </a:lnTo>
                  <a:lnTo>
                    <a:pt x="1235" y="58"/>
                  </a:lnTo>
                  <a:lnTo>
                    <a:pt x="1240" y="58"/>
                  </a:lnTo>
                  <a:lnTo>
                    <a:pt x="1240" y="58"/>
                  </a:lnTo>
                  <a:lnTo>
                    <a:pt x="1244" y="58"/>
                  </a:lnTo>
                  <a:lnTo>
                    <a:pt x="1244" y="54"/>
                  </a:lnTo>
                  <a:lnTo>
                    <a:pt x="1244" y="54"/>
                  </a:lnTo>
                  <a:lnTo>
                    <a:pt x="1244" y="54"/>
                  </a:lnTo>
                  <a:lnTo>
                    <a:pt x="1240" y="54"/>
                  </a:lnTo>
                  <a:lnTo>
                    <a:pt x="1248" y="54"/>
                  </a:lnTo>
                  <a:lnTo>
                    <a:pt x="1248" y="54"/>
                  </a:lnTo>
                  <a:lnTo>
                    <a:pt x="1248" y="54"/>
                  </a:lnTo>
                  <a:lnTo>
                    <a:pt x="1248" y="54"/>
                  </a:lnTo>
                  <a:lnTo>
                    <a:pt x="1248" y="49"/>
                  </a:lnTo>
                  <a:lnTo>
                    <a:pt x="1248" y="49"/>
                  </a:lnTo>
                  <a:lnTo>
                    <a:pt x="1253" y="49"/>
                  </a:lnTo>
                  <a:lnTo>
                    <a:pt x="1253" y="49"/>
                  </a:lnTo>
                  <a:lnTo>
                    <a:pt x="1253" y="45"/>
                  </a:lnTo>
                  <a:lnTo>
                    <a:pt x="1253" y="45"/>
                  </a:lnTo>
                  <a:lnTo>
                    <a:pt x="1253" y="45"/>
                  </a:lnTo>
                  <a:lnTo>
                    <a:pt x="1248" y="45"/>
                  </a:lnTo>
                  <a:lnTo>
                    <a:pt x="1248" y="45"/>
                  </a:lnTo>
                  <a:lnTo>
                    <a:pt x="1253" y="45"/>
                  </a:lnTo>
                  <a:lnTo>
                    <a:pt x="1257" y="45"/>
                  </a:lnTo>
                  <a:lnTo>
                    <a:pt x="1257" y="40"/>
                  </a:lnTo>
                  <a:lnTo>
                    <a:pt x="1257" y="36"/>
                  </a:lnTo>
                  <a:lnTo>
                    <a:pt x="1257" y="36"/>
                  </a:lnTo>
                  <a:lnTo>
                    <a:pt x="1257" y="31"/>
                  </a:lnTo>
                  <a:lnTo>
                    <a:pt x="1257" y="31"/>
                  </a:lnTo>
                  <a:lnTo>
                    <a:pt x="1257" y="31"/>
                  </a:lnTo>
                  <a:lnTo>
                    <a:pt x="1257" y="27"/>
                  </a:lnTo>
                  <a:lnTo>
                    <a:pt x="1257" y="27"/>
                  </a:lnTo>
                  <a:lnTo>
                    <a:pt x="1257" y="27"/>
                  </a:lnTo>
                  <a:lnTo>
                    <a:pt x="1257" y="27"/>
                  </a:lnTo>
                  <a:lnTo>
                    <a:pt x="1248" y="23"/>
                  </a:lnTo>
                  <a:lnTo>
                    <a:pt x="1244" y="27"/>
                  </a:lnTo>
                  <a:lnTo>
                    <a:pt x="1240" y="27"/>
                  </a:lnTo>
                  <a:lnTo>
                    <a:pt x="1240" y="27"/>
                  </a:lnTo>
                  <a:lnTo>
                    <a:pt x="1240" y="27"/>
                  </a:lnTo>
                  <a:lnTo>
                    <a:pt x="1244" y="27"/>
                  </a:lnTo>
                  <a:lnTo>
                    <a:pt x="1244" y="23"/>
                  </a:lnTo>
                  <a:lnTo>
                    <a:pt x="1240" y="27"/>
                  </a:lnTo>
                  <a:lnTo>
                    <a:pt x="1240" y="27"/>
                  </a:lnTo>
                  <a:lnTo>
                    <a:pt x="1240" y="23"/>
                  </a:lnTo>
                  <a:lnTo>
                    <a:pt x="1240" y="23"/>
                  </a:lnTo>
                  <a:lnTo>
                    <a:pt x="1240" y="23"/>
                  </a:lnTo>
                  <a:lnTo>
                    <a:pt x="1240" y="23"/>
                  </a:lnTo>
                  <a:lnTo>
                    <a:pt x="1240" y="23"/>
                  </a:lnTo>
                  <a:lnTo>
                    <a:pt x="1240" y="23"/>
                  </a:lnTo>
                  <a:lnTo>
                    <a:pt x="1244" y="18"/>
                  </a:lnTo>
                  <a:lnTo>
                    <a:pt x="1244" y="18"/>
                  </a:lnTo>
                  <a:lnTo>
                    <a:pt x="1244" y="18"/>
                  </a:lnTo>
                  <a:lnTo>
                    <a:pt x="1244" y="14"/>
                  </a:lnTo>
                  <a:lnTo>
                    <a:pt x="1244" y="14"/>
                  </a:lnTo>
                  <a:lnTo>
                    <a:pt x="1240" y="9"/>
                  </a:lnTo>
                  <a:lnTo>
                    <a:pt x="1240" y="9"/>
                  </a:lnTo>
                  <a:lnTo>
                    <a:pt x="1240" y="14"/>
                  </a:lnTo>
                  <a:lnTo>
                    <a:pt x="1240" y="14"/>
                  </a:lnTo>
                  <a:lnTo>
                    <a:pt x="1235" y="18"/>
                  </a:lnTo>
                  <a:lnTo>
                    <a:pt x="1235" y="18"/>
                  </a:lnTo>
                  <a:lnTo>
                    <a:pt x="1235" y="18"/>
                  </a:lnTo>
                  <a:lnTo>
                    <a:pt x="1235" y="18"/>
                  </a:lnTo>
                  <a:lnTo>
                    <a:pt x="1235" y="18"/>
                  </a:lnTo>
                  <a:lnTo>
                    <a:pt x="1235" y="14"/>
                  </a:lnTo>
                  <a:lnTo>
                    <a:pt x="1235" y="14"/>
                  </a:lnTo>
                  <a:lnTo>
                    <a:pt x="1231" y="14"/>
                  </a:lnTo>
                  <a:lnTo>
                    <a:pt x="1231" y="14"/>
                  </a:lnTo>
                  <a:lnTo>
                    <a:pt x="1231" y="14"/>
                  </a:lnTo>
                  <a:lnTo>
                    <a:pt x="1231" y="18"/>
                  </a:lnTo>
                  <a:lnTo>
                    <a:pt x="1226" y="18"/>
                  </a:lnTo>
                  <a:lnTo>
                    <a:pt x="1222" y="18"/>
                  </a:lnTo>
                  <a:lnTo>
                    <a:pt x="1222" y="18"/>
                  </a:lnTo>
                  <a:lnTo>
                    <a:pt x="1222" y="18"/>
                  </a:lnTo>
                  <a:lnTo>
                    <a:pt x="1218" y="14"/>
                  </a:lnTo>
                  <a:lnTo>
                    <a:pt x="1213" y="14"/>
                  </a:lnTo>
                  <a:lnTo>
                    <a:pt x="1213" y="14"/>
                  </a:lnTo>
                  <a:lnTo>
                    <a:pt x="1218" y="9"/>
                  </a:lnTo>
                  <a:lnTo>
                    <a:pt x="1213" y="9"/>
                  </a:lnTo>
                  <a:lnTo>
                    <a:pt x="1213" y="5"/>
                  </a:lnTo>
                  <a:lnTo>
                    <a:pt x="1213" y="9"/>
                  </a:lnTo>
                  <a:lnTo>
                    <a:pt x="1209" y="9"/>
                  </a:lnTo>
                  <a:lnTo>
                    <a:pt x="1209" y="9"/>
                  </a:lnTo>
                  <a:lnTo>
                    <a:pt x="1204" y="9"/>
                  </a:lnTo>
                  <a:lnTo>
                    <a:pt x="1204" y="14"/>
                  </a:lnTo>
                  <a:lnTo>
                    <a:pt x="1204" y="14"/>
                  </a:lnTo>
                  <a:lnTo>
                    <a:pt x="1204" y="14"/>
                  </a:lnTo>
                  <a:lnTo>
                    <a:pt x="1204" y="18"/>
                  </a:lnTo>
                  <a:lnTo>
                    <a:pt x="1204" y="23"/>
                  </a:lnTo>
                  <a:lnTo>
                    <a:pt x="1204" y="23"/>
                  </a:lnTo>
                  <a:lnTo>
                    <a:pt x="1209" y="23"/>
                  </a:lnTo>
                  <a:lnTo>
                    <a:pt x="1209" y="23"/>
                  </a:lnTo>
                  <a:lnTo>
                    <a:pt x="1209" y="27"/>
                  </a:lnTo>
                  <a:lnTo>
                    <a:pt x="1209" y="27"/>
                  </a:lnTo>
                  <a:lnTo>
                    <a:pt x="1209" y="31"/>
                  </a:lnTo>
                  <a:lnTo>
                    <a:pt x="1204" y="31"/>
                  </a:lnTo>
                  <a:lnTo>
                    <a:pt x="1204" y="31"/>
                  </a:lnTo>
                  <a:lnTo>
                    <a:pt x="1204" y="31"/>
                  </a:lnTo>
                  <a:lnTo>
                    <a:pt x="1204" y="27"/>
                  </a:lnTo>
                  <a:lnTo>
                    <a:pt x="1204" y="23"/>
                  </a:lnTo>
                  <a:lnTo>
                    <a:pt x="1191" y="23"/>
                  </a:lnTo>
                  <a:lnTo>
                    <a:pt x="1191" y="23"/>
                  </a:lnTo>
                  <a:lnTo>
                    <a:pt x="1191" y="27"/>
                  </a:lnTo>
                  <a:lnTo>
                    <a:pt x="1191" y="27"/>
                  </a:lnTo>
                  <a:lnTo>
                    <a:pt x="1191" y="27"/>
                  </a:lnTo>
                  <a:lnTo>
                    <a:pt x="1195" y="31"/>
                  </a:lnTo>
                  <a:lnTo>
                    <a:pt x="1195" y="31"/>
                  </a:lnTo>
                  <a:lnTo>
                    <a:pt x="1195" y="31"/>
                  </a:lnTo>
                  <a:lnTo>
                    <a:pt x="1195" y="36"/>
                  </a:lnTo>
                  <a:lnTo>
                    <a:pt x="1187" y="31"/>
                  </a:lnTo>
                  <a:lnTo>
                    <a:pt x="1187" y="31"/>
                  </a:lnTo>
                  <a:lnTo>
                    <a:pt x="1182" y="31"/>
                  </a:lnTo>
                  <a:lnTo>
                    <a:pt x="1182" y="36"/>
                  </a:lnTo>
                  <a:lnTo>
                    <a:pt x="1187" y="40"/>
                  </a:lnTo>
                  <a:lnTo>
                    <a:pt x="1187" y="40"/>
                  </a:lnTo>
                  <a:lnTo>
                    <a:pt x="1195" y="45"/>
                  </a:lnTo>
                  <a:lnTo>
                    <a:pt x="1195" y="45"/>
                  </a:lnTo>
                  <a:lnTo>
                    <a:pt x="1195" y="40"/>
                  </a:lnTo>
                  <a:lnTo>
                    <a:pt x="1200" y="40"/>
                  </a:lnTo>
                  <a:lnTo>
                    <a:pt x="1200" y="40"/>
                  </a:lnTo>
                  <a:lnTo>
                    <a:pt x="1200" y="40"/>
                  </a:lnTo>
                  <a:lnTo>
                    <a:pt x="1195" y="45"/>
                  </a:lnTo>
                  <a:lnTo>
                    <a:pt x="1195" y="45"/>
                  </a:lnTo>
                  <a:lnTo>
                    <a:pt x="1200" y="45"/>
                  </a:lnTo>
                  <a:lnTo>
                    <a:pt x="1200" y="45"/>
                  </a:lnTo>
                  <a:lnTo>
                    <a:pt x="1200" y="45"/>
                  </a:lnTo>
                  <a:lnTo>
                    <a:pt x="1200" y="45"/>
                  </a:lnTo>
                  <a:lnTo>
                    <a:pt x="1200" y="45"/>
                  </a:lnTo>
                  <a:lnTo>
                    <a:pt x="1200" y="45"/>
                  </a:lnTo>
                  <a:lnTo>
                    <a:pt x="1200" y="45"/>
                  </a:lnTo>
                  <a:lnTo>
                    <a:pt x="1200" y="45"/>
                  </a:lnTo>
                  <a:lnTo>
                    <a:pt x="1204" y="45"/>
                  </a:lnTo>
                  <a:lnTo>
                    <a:pt x="1204" y="45"/>
                  </a:lnTo>
                  <a:lnTo>
                    <a:pt x="1204" y="49"/>
                  </a:lnTo>
                  <a:lnTo>
                    <a:pt x="1204" y="49"/>
                  </a:lnTo>
                  <a:lnTo>
                    <a:pt x="1204" y="49"/>
                  </a:lnTo>
                  <a:lnTo>
                    <a:pt x="1204" y="49"/>
                  </a:lnTo>
                  <a:lnTo>
                    <a:pt x="1204" y="54"/>
                  </a:lnTo>
                  <a:lnTo>
                    <a:pt x="1204" y="54"/>
                  </a:lnTo>
                  <a:lnTo>
                    <a:pt x="1204" y="54"/>
                  </a:lnTo>
                  <a:lnTo>
                    <a:pt x="1204" y="54"/>
                  </a:lnTo>
                  <a:lnTo>
                    <a:pt x="1209" y="58"/>
                  </a:lnTo>
                  <a:lnTo>
                    <a:pt x="1195" y="54"/>
                  </a:lnTo>
                  <a:lnTo>
                    <a:pt x="1195" y="54"/>
                  </a:lnTo>
                  <a:lnTo>
                    <a:pt x="1195" y="54"/>
                  </a:lnTo>
                  <a:lnTo>
                    <a:pt x="1191" y="58"/>
                  </a:lnTo>
                  <a:lnTo>
                    <a:pt x="1191" y="62"/>
                  </a:lnTo>
                  <a:lnTo>
                    <a:pt x="1191" y="62"/>
                  </a:lnTo>
                  <a:lnTo>
                    <a:pt x="1195" y="62"/>
                  </a:lnTo>
                  <a:lnTo>
                    <a:pt x="1195" y="62"/>
                  </a:lnTo>
                  <a:lnTo>
                    <a:pt x="1195" y="67"/>
                  </a:lnTo>
                  <a:lnTo>
                    <a:pt x="1195" y="67"/>
                  </a:lnTo>
                  <a:lnTo>
                    <a:pt x="1191" y="67"/>
                  </a:lnTo>
                  <a:lnTo>
                    <a:pt x="1187" y="67"/>
                  </a:lnTo>
                  <a:lnTo>
                    <a:pt x="1182" y="67"/>
                  </a:lnTo>
                  <a:lnTo>
                    <a:pt x="1182" y="71"/>
                  </a:lnTo>
                  <a:lnTo>
                    <a:pt x="1182" y="76"/>
                  </a:lnTo>
                  <a:lnTo>
                    <a:pt x="1187" y="76"/>
                  </a:lnTo>
                  <a:lnTo>
                    <a:pt x="1187" y="76"/>
                  </a:lnTo>
                  <a:lnTo>
                    <a:pt x="1182" y="80"/>
                  </a:lnTo>
                  <a:lnTo>
                    <a:pt x="1182" y="85"/>
                  </a:lnTo>
                  <a:lnTo>
                    <a:pt x="1182" y="85"/>
                  </a:lnTo>
                  <a:lnTo>
                    <a:pt x="1191" y="89"/>
                  </a:lnTo>
                  <a:lnTo>
                    <a:pt x="1191" y="93"/>
                  </a:lnTo>
                  <a:lnTo>
                    <a:pt x="1191" y="93"/>
                  </a:lnTo>
                  <a:lnTo>
                    <a:pt x="1187" y="89"/>
                  </a:lnTo>
                  <a:lnTo>
                    <a:pt x="1182" y="89"/>
                  </a:lnTo>
                  <a:lnTo>
                    <a:pt x="1182" y="89"/>
                  </a:lnTo>
                  <a:lnTo>
                    <a:pt x="1182" y="89"/>
                  </a:lnTo>
                  <a:lnTo>
                    <a:pt x="1182" y="89"/>
                  </a:lnTo>
                  <a:lnTo>
                    <a:pt x="1182" y="89"/>
                  </a:lnTo>
                  <a:lnTo>
                    <a:pt x="1182" y="89"/>
                  </a:lnTo>
                  <a:lnTo>
                    <a:pt x="1178" y="89"/>
                  </a:lnTo>
                  <a:lnTo>
                    <a:pt x="1178" y="93"/>
                  </a:lnTo>
                  <a:lnTo>
                    <a:pt x="1178" y="93"/>
                  </a:lnTo>
                  <a:lnTo>
                    <a:pt x="1178" y="93"/>
                  </a:lnTo>
                  <a:lnTo>
                    <a:pt x="1178" y="98"/>
                  </a:lnTo>
                  <a:lnTo>
                    <a:pt x="1178" y="98"/>
                  </a:lnTo>
                  <a:lnTo>
                    <a:pt x="1178" y="98"/>
                  </a:lnTo>
                  <a:lnTo>
                    <a:pt x="1173" y="98"/>
                  </a:lnTo>
                  <a:lnTo>
                    <a:pt x="1178" y="102"/>
                  </a:lnTo>
                  <a:lnTo>
                    <a:pt x="1178" y="107"/>
                  </a:lnTo>
                  <a:lnTo>
                    <a:pt x="1178" y="107"/>
                  </a:lnTo>
                  <a:lnTo>
                    <a:pt x="1182" y="107"/>
                  </a:lnTo>
                  <a:lnTo>
                    <a:pt x="1182" y="111"/>
                  </a:lnTo>
                  <a:lnTo>
                    <a:pt x="1182" y="111"/>
                  </a:lnTo>
                  <a:lnTo>
                    <a:pt x="1182" y="111"/>
                  </a:lnTo>
                  <a:lnTo>
                    <a:pt x="1178" y="107"/>
                  </a:lnTo>
                  <a:lnTo>
                    <a:pt x="1173" y="111"/>
                  </a:lnTo>
                  <a:lnTo>
                    <a:pt x="1173" y="111"/>
                  </a:lnTo>
                  <a:lnTo>
                    <a:pt x="1173" y="107"/>
                  </a:lnTo>
                  <a:lnTo>
                    <a:pt x="1169" y="107"/>
                  </a:lnTo>
                  <a:lnTo>
                    <a:pt x="1169" y="111"/>
                  </a:lnTo>
                  <a:lnTo>
                    <a:pt x="1164" y="111"/>
                  </a:lnTo>
                  <a:lnTo>
                    <a:pt x="1164" y="116"/>
                  </a:lnTo>
                  <a:lnTo>
                    <a:pt x="1164" y="116"/>
                  </a:lnTo>
                  <a:lnTo>
                    <a:pt x="1164" y="116"/>
                  </a:lnTo>
                  <a:lnTo>
                    <a:pt x="1160" y="116"/>
                  </a:lnTo>
                  <a:lnTo>
                    <a:pt x="1160" y="116"/>
                  </a:lnTo>
                  <a:lnTo>
                    <a:pt x="1160" y="116"/>
                  </a:lnTo>
                  <a:lnTo>
                    <a:pt x="1160" y="120"/>
                  </a:lnTo>
                  <a:lnTo>
                    <a:pt x="1156" y="120"/>
                  </a:lnTo>
                  <a:lnTo>
                    <a:pt x="1156" y="120"/>
                  </a:lnTo>
                  <a:lnTo>
                    <a:pt x="1160" y="124"/>
                  </a:lnTo>
                  <a:lnTo>
                    <a:pt x="1160" y="124"/>
                  </a:lnTo>
                  <a:lnTo>
                    <a:pt x="1156" y="124"/>
                  </a:lnTo>
                  <a:lnTo>
                    <a:pt x="1156" y="124"/>
                  </a:lnTo>
                  <a:lnTo>
                    <a:pt x="1156" y="124"/>
                  </a:lnTo>
                  <a:lnTo>
                    <a:pt x="1156" y="124"/>
                  </a:lnTo>
                  <a:lnTo>
                    <a:pt x="1156" y="129"/>
                  </a:lnTo>
                  <a:lnTo>
                    <a:pt x="1156" y="129"/>
                  </a:lnTo>
                  <a:lnTo>
                    <a:pt x="1156" y="129"/>
                  </a:lnTo>
                  <a:lnTo>
                    <a:pt x="1151" y="129"/>
                  </a:lnTo>
                  <a:lnTo>
                    <a:pt x="1151" y="124"/>
                  </a:lnTo>
                  <a:lnTo>
                    <a:pt x="1151" y="124"/>
                  </a:lnTo>
                  <a:lnTo>
                    <a:pt x="1151" y="124"/>
                  </a:lnTo>
                  <a:lnTo>
                    <a:pt x="1151" y="124"/>
                  </a:lnTo>
                  <a:lnTo>
                    <a:pt x="1151" y="124"/>
                  </a:lnTo>
                  <a:lnTo>
                    <a:pt x="1151" y="120"/>
                  </a:lnTo>
                  <a:lnTo>
                    <a:pt x="1151" y="120"/>
                  </a:lnTo>
                  <a:lnTo>
                    <a:pt x="1151" y="120"/>
                  </a:lnTo>
                  <a:lnTo>
                    <a:pt x="1151" y="116"/>
                  </a:lnTo>
                  <a:lnTo>
                    <a:pt x="1151" y="116"/>
                  </a:lnTo>
                  <a:lnTo>
                    <a:pt x="1151" y="111"/>
                  </a:lnTo>
                  <a:lnTo>
                    <a:pt x="1151" y="111"/>
                  </a:lnTo>
                  <a:lnTo>
                    <a:pt x="1156" y="107"/>
                  </a:lnTo>
                  <a:lnTo>
                    <a:pt x="1156" y="107"/>
                  </a:lnTo>
                  <a:lnTo>
                    <a:pt x="1156" y="107"/>
                  </a:lnTo>
                  <a:lnTo>
                    <a:pt x="1156" y="102"/>
                  </a:lnTo>
                  <a:lnTo>
                    <a:pt x="1156" y="102"/>
                  </a:lnTo>
                  <a:lnTo>
                    <a:pt x="1156" y="102"/>
                  </a:lnTo>
                  <a:lnTo>
                    <a:pt x="1156" y="98"/>
                  </a:lnTo>
                  <a:lnTo>
                    <a:pt x="1156" y="98"/>
                  </a:lnTo>
                  <a:lnTo>
                    <a:pt x="1156" y="98"/>
                  </a:lnTo>
                  <a:lnTo>
                    <a:pt x="1160" y="85"/>
                  </a:lnTo>
                  <a:lnTo>
                    <a:pt x="1156" y="80"/>
                  </a:lnTo>
                  <a:lnTo>
                    <a:pt x="1151" y="80"/>
                  </a:lnTo>
                  <a:lnTo>
                    <a:pt x="1151" y="80"/>
                  </a:lnTo>
                  <a:lnTo>
                    <a:pt x="1142" y="85"/>
                  </a:lnTo>
                  <a:lnTo>
                    <a:pt x="1142" y="80"/>
                  </a:lnTo>
                  <a:lnTo>
                    <a:pt x="1160" y="71"/>
                  </a:lnTo>
                  <a:lnTo>
                    <a:pt x="1160" y="67"/>
                  </a:lnTo>
                  <a:lnTo>
                    <a:pt x="1160" y="62"/>
                  </a:lnTo>
                  <a:lnTo>
                    <a:pt x="1160" y="62"/>
                  </a:lnTo>
                  <a:lnTo>
                    <a:pt x="1160" y="58"/>
                  </a:lnTo>
                  <a:lnTo>
                    <a:pt x="1164" y="58"/>
                  </a:lnTo>
                  <a:lnTo>
                    <a:pt x="1164" y="54"/>
                  </a:lnTo>
                  <a:lnTo>
                    <a:pt x="1164" y="54"/>
                  </a:lnTo>
                  <a:lnTo>
                    <a:pt x="1164" y="54"/>
                  </a:lnTo>
                  <a:lnTo>
                    <a:pt x="1164" y="49"/>
                  </a:lnTo>
                  <a:lnTo>
                    <a:pt x="1164" y="54"/>
                  </a:lnTo>
                  <a:lnTo>
                    <a:pt x="1160" y="54"/>
                  </a:lnTo>
                  <a:lnTo>
                    <a:pt x="1160" y="54"/>
                  </a:lnTo>
                  <a:lnTo>
                    <a:pt x="1160" y="54"/>
                  </a:lnTo>
                  <a:lnTo>
                    <a:pt x="1160" y="54"/>
                  </a:lnTo>
                  <a:lnTo>
                    <a:pt x="1160" y="49"/>
                  </a:lnTo>
                  <a:lnTo>
                    <a:pt x="1160" y="49"/>
                  </a:lnTo>
                  <a:lnTo>
                    <a:pt x="1160" y="49"/>
                  </a:lnTo>
                  <a:lnTo>
                    <a:pt x="1160" y="49"/>
                  </a:lnTo>
                  <a:lnTo>
                    <a:pt x="1160" y="49"/>
                  </a:lnTo>
                  <a:lnTo>
                    <a:pt x="1160" y="45"/>
                  </a:lnTo>
                  <a:lnTo>
                    <a:pt x="1164" y="45"/>
                  </a:lnTo>
                  <a:lnTo>
                    <a:pt x="1164" y="45"/>
                  </a:lnTo>
                  <a:lnTo>
                    <a:pt x="1164" y="40"/>
                  </a:lnTo>
                  <a:lnTo>
                    <a:pt x="1164" y="40"/>
                  </a:lnTo>
                  <a:lnTo>
                    <a:pt x="1164" y="40"/>
                  </a:lnTo>
                  <a:lnTo>
                    <a:pt x="1164" y="40"/>
                  </a:lnTo>
                  <a:lnTo>
                    <a:pt x="1164" y="36"/>
                  </a:lnTo>
                  <a:lnTo>
                    <a:pt x="1160" y="36"/>
                  </a:lnTo>
                  <a:lnTo>
                    <a:pt x="1160" y="31"/>
                  </a:lnTo>
                  <a:lnTo>
                    <a:pt x="1160" y="31"/>
                  </a:lnTo>
                  <a:lnTo>
                    <a:pt x="1156" y="31"/>
                  </a:lnTo>
                  <a:lnTo>
                    <a:pt x="1142" y="45"/>
                  </a:lnTo>
                  <a:lnTo>
                    <a:pt x="1142" y="54"/>
                  </a:lnTo>
                  <a:lnTo>
                    <a:pt x="1138" y="58"/>
                  </a:lnTo>
                  <a:lnTo>
                    <a:pt x="1133" y="62"/>
                  </a:lnTo>
                  <a:lnTo>
                    <a:pt x="1133" y="62"/>
                  </a:lnTo>
                  <a:lnTo>
                    <a:pt x="1133" y="67"/>
                  </a:lnTo>
                  <a:lnTo>
                    <a:pt x="1133" y="67"/>
                  </a:lnTo>
                  <a:lnTo>
                    <a:pt x="1133" y="71"/>
                  </a:lnTo>
                  <a:lnTo>
                    <a:pt x="1129" y="71"/>
                  </a:lnTo>
                  <a:lnTo>
                    <a:pt x="1129" y="71"/>
                  </a:lnTo>
                  <a:lnTo>
                    <a:pt x="1129" y="71"/>
                  </a:lnTo>
                  <a:lnTo>
                    <a:pt x="1129" y="76"/>
                  </a:lnTo>
                  <a:lnTo>
                    <a:pt x="1125" y="85"/>
                  </a:lnTo>
                  <a:lnTo>
                    <a:pt x="1125" y="89"/>
                  </a:lnTo>
                  <a:lnTo>
                    <a:pt x="1120" y="89"/>
                  </a:lnTo>
                  <a:lnTo>
                    <a:pt x="1120" y="93"/>
                  </a:lnTo>
                  <a:lnTo>
                    <a:pt x="1120" y="93"/>
                  </a:lnTo>
                  <a:lnTo>
                    <a:pt x="1116" y="93"/>
                  </a:lnTo>
                  <a:lnTo>
                    <a:pt x="1107" y="116"/>
                  </a:lnTo>
                  <a:lnTo>
                    <a:pt x="1094" y="129"/>
                  </a:lnTo>
                  <a:lnTo>
                    <a:pt x="1094" y="133"/>
                  </a:lnTo>
                  <a:lnTo>
                    <a:pt x="1098" y="133"/>
                  </a:lnTo>
                  <a:lnTo>
                    <a:pt x="1098" y="138"/>
                  </a:lnTo>
                  <a:lnTo>
                    <a:pt x="1098" y="138"/>
                  </a:lnTo>
                  <a:lnTo>
                    <a:pt x="1094" y="142"/>
                  </a:lnTo>
                  <a:lnTo>
                    <a:pt x="1094" y="147"/>
                  </a:lnTo>
                  <a:lnTo>
                    <a:pt x="1094" y="147"/>
                  </a:lnTo>
                  <a:lnTo>
                    <a:pt x="1094" y="151"/>
                  </a:lnTo>
                  <a:lnTo>
                    <a:pt x="1094" y="151"/>
                  </a:lnTo>
                  <a:lnTo>
                    <a:pt x="1094" y="151"/>
                  </a:lnTo>
                  <a:lnTo>
                    <a:pt x="1089" y="151"/>
                  </a:lnTo>
                  <a:lnTo>
                    <a:pt x="1089" y="155"/>
                  </a:lnTo>
                  <a:lnTo>
                    <a:pt x="1089" y="155"/>
                  </a:lnTo>
                  <a:lnTo>
                    <a:pt x="1089" y="155"/>
                  </a:lnTo>
                  <a:lnTo>
                    <a:pt x="1085" y="164"/>
                  </a:lnTo>
                  <a:lnTo>
                    <a:pt x="1085" y="169"/>
                  </a:lnTo>
                  <a:lnTo>
                    <a:pt x="1085" y="169"/>
                  </a:lnTo>
                  <a:lnTo>
                    <a:pt x="1085" y="169"/>
                  </a:lnTo>
                  <a:lnTo>
                    <a:pt x="1080" y="169"/>
                  </a:lnTo>
                  <a:lnTo>
                    <a:pt x="1080" y="169"/>
                  </a:lnTo>
                  <a:lnTo>
                    <a:pt x="1076" y="169"/>
                  </a:lnTo>
                  <a:lnTo>
                    <a:pt x="1076" y="169"/>
                  </a:lnTo>
                  <a:lnTo>
                    <a:pt x="1076" y="169"/>
                  </a:lnTo>
                  <a:lnTo>
                    <a:pt x="1076" y="169"/>
                  </a:lnTo>
                  <a:lnTo>
                    <a:pt x="1076" y="164"/>
                  </a:lnTo>
                  <a:lnTo>
                    <a:pt x="1076" y="164"/>
                  </a:lnTo>
                  <a:lnTo>
                    <a:pt x="1080" y="164"/>
                  </a:lnTo>
                  <a:lnTo>
                    <a:pt x="1080" y="164"/>
                  </a:lnTo>
                  <a:lnTo>
                    <a:pt x="1076" y="164"/>
                  </a:lnTo>
                  <a:lnTo>
                    <a:pt x="1076" y="164"/>
                  </a:lnTo>
                  <a:lnTo>
                    <a:pt x="1076" y="164"/>
                  </a:lnTo>
                  <a:lnTo>
                    <a:pt x="1076" y="160"/>
                  </a:lnTo>
                  <a:lnTo>
                    <a:pt x="1076" y="160"/>
                  </a:lnTo>
                  <a:lnTo>
                    <a:pt x="1071" y="160"/>
                  </a:lnTo>
                  <a:lnTo>
                    <a:pt x="1071" y="164"/>
                  </a:lnTo>
                  <a:lnTo>
                    <a:pt x="1071" y="164"/>
                  </a:lnTo>
                  <a:lnTo>
                    <a:pt x="1071" y="164"/>
                  </a:lnTo>
                  <a:lnTo>
                    <a:pt x="1071" y="169"/>
                  </a:lnTo>
                  <a:lnTo>
                    <a:pt x="1071" y="169"/>
                  </a:lnTo>
                  <a:lnTo>
                    <a:pt x="1076" y="173"/>
                  </a:lnTo>
                  <a:lnTo>
                    <a:pt x="1071" y="173"/>
                  </a:lnTo>
                  <a:lnTo>
                    <a:pt x="1071" y="169"/>
                  </a:lnTo>
                  <a:lnTo>
                    <a:pt x="1067" y="169"/>
                  </a:lnTo>
                  <a:lnTo>
                    <a:pt x="1067" y="160"/>
                  </a:lnTo>
                  <a:lnTo>
                    <a:pt x="1067" y="160"/>
                  </a:lnTo>
                  <a:lnTo>
                    <a:pt x="1071" y="155"/>
                  </a:lnTo>
                  <a:lnTo>
                    <a:pt x="1071" y="155"/>
                  </a:lnTo>
                  <a:lnTo>
                    <a:pt x="1071" y="155"/>
                  </a:lnTo>
                  <a:lnTo>
                    <a:pt x="1071" y="151"/>
                  </a:lnTo>
                  <a:lnTo>
                    <a:pt x="1071" y="151"/>
                  </a:lnTo>
                  <a:lnTo>
                    <a:pt x="1071" y="151"/>
                  </a:lnTo>
                  <a:lnTo>
                    <a:pt x="1071" y="151"/>
                  </a:lnTo>
                  <a:lnTo>
                    <a:pt x="1071" y="147"/>
                  </a:lnTo>
                  <a:lnTo>
                    <a:pt x="1071" y="147"/>
                  </a:lnTo>
                  <a:lnTo>
                    <a:pt x="1071" y="147"/>
                  </a:lnTo>
                  <a:lnTo>
                    <a:pt x="1071" y="147"/>
                  </a:lnTo>
                  <a:lnTo>
                    <a:pt x="1071" y="147"/>
                  </a:lnTo>
                  <a:lnTo>
                    <a:pt x="1071" y="147"/>
                  </a:lnTo>
                  <a:lnTo>
                    <a:pt x="1071" y="147"/>
                  </a:lnTo>
                  <a:lnTo>
                    <a:pt x="1076" y="142"/>
                  </a:lnTo>
                  <a:lnTo>
                    <a:pt x="1080" y="133"/>
                  </a:lnTo>
                  <a:lnTo>
                    <a:pt x="1085" y="133"/>
                  </a:lnTo>
                  <a:lnTo>
                    <a:pt x="1080" y="133"/>
                  </a:lnTo>
                  <a:lnTo>
                    <a:pt x="1080" y="129"/>
                  </a:lnTo>
                  <a:lnTo>
                    <a:pt x="1080" y="133"/>
                  </a:lnTo>
                  <a:lnTo>
                    <a:pt x="1080" y="133"/>
                  </a:lnTo>
                  <a:lnTo>
                    <a:pt x="1080" y="133"/>
                  </a:lnTo>
                  <a:lnTo>
                    <a:pt x="1076" y="133"/>
                  </a:lnTo>
                  <a:lnTo>
                    <a:pt x="1076" y="129"/>
                  </a:lnTo>
                  <a:lnTo>
                    <a:pt x="1076" y="129"/>
                  </a:lnTo>
                  <a:lnTo>
                    <a:pt x="1080" y="129"/>
                  </a:lnTo>
                  <a:lnTo>
                    <a:pt x="1076" y="129"/>
                  </a:lnTo>
                  <a:lnTo>
                    <a:pt x="1076" y="129"/>
                  </a:lnTo>
                  <a:lnTo>
                    <a:pt x="1076" y="129"/>
                  </a:lnTo>
                  <a:lnTo>
                    <a:pt x="1080" y="120"/>
                  </a:lnTo>
                  <a:lnTo>
                    <a:pt x="1080" y="120"/>
                  </a:lnTo>
                  <a:lnTo>
                    <a:pt x="1085" y="124"/>
                  </a:lnTo>
                  <a:lnTo>
                    <a:pt x="1085" y="120"/>
                  </a:lnTo>
                  <a:lnTo>
                    <a:pt x="1085" y="120"/>
                  </a:lnTo>
                  <a:lnTo>
                    <a:pt x="1085" y="116"/>
                  </a:lnTo>
                  <a:lnTo>
                    <a:pt x="1085" y="111"/>
                  </a:lnTo>
                  <a:lnTo>
                    <a:pt x="1085" y="111"/>
                  </a:lnTo>
                  <a:lnTo>
                    <a:pt x="1085" y="111"/>
                  </a:lnTo>
                  <a:lnTo>
                    <a:pt x="1085" y="107"/>
                  </a:lnTo>
                  <a:lnTo>
                    <a:pt x="1076" y="111"/>
                  </a:lnTo>
                  <a:lnTo>
                    <a:pt x="1076" y="107"/>
                  </a:lnTo>
                  <a:lnTo>
                    <a:pt x="1085" y="107"/>
                  </a:lnTo>
                  <a:lnTo>
                    <a:pt x="1085" y="102"/>
                  </a:lnTo>
                  <a:lnTo>
                    <a:pt x="1085" y="102"/>
                  </a:lnTo>
                  <a:lnTo>
                    <a:pt x="1076" y="107"/>
                  </a:lnTo>
                  <a:lnTo>
                    <a:pt x="1076" y="102"/>
                  </a:lnTo>
                  <a:lnTo>
                    <a:pt x="1085" y="93"/>
                  </a:lnTo>
                  <a:lnTo>
                    <a:pt x="1085" y="93"/>
                  </a:lnTo>
                  <a:lnTo>
                    <a:pt x="1085" y="89"/>
                  </a:lnTo>
                  <a:lnTo>
                    <a:pt x="1089" y="89"/>
                  </a:lnTo>
                  <a:lnTo>
                    <a:pt x="1089" y="89"/>
                  </a:lnTo>
                  <a:lnTo>
                    <a:pt x="1094" y="85"/>
                  </a:lnTo>
                  <a:lnTo>
                    <a:pt x="1094" y="80"/>
                  </a:lnTo>
                  <a:lnTo>
                    <a:pt x="1098" y="76"/>
                  </a:lnTo>
                  <a:lnTo>
                    <a:pt x="1102" y="71"/>
                  </a:lnTo>
                  <a:lnTo>
                    <a:pt x="1102" y="71"/>
                  </a:lnTo>
                  <a:lnTo>
                    <a:pt x="1102" y="71"/>
                  </a:lnTo>
                  <a:lnTo>
                    <a:pt x="1107" y="71"/>
                  </a:lnTo>
                  <a:lnTo>
                    <a:pt x="1107" y="67"/>
                  </a:lnTo>
                  <a:lnTo>
                    <a:pt x="1107" y="67"/>
                  </a:lnTo>
                  <a:lnTo>
                    <a:pt x="1107" y="62"/>
                  </a:lnTo>
                  <a:lnTo>
                    <a:pt x="1107" y="62"/>
                  </a:lnTo>
                  <a:lnTo>
                    <a:pt x="1111" y="62"/>
                  </a:lnTo>
                  <a:lnTo>
                    <a:pt x="1111" y="58"/>
                  </a:lnTo>
                  <a:lnTo>
                    <a:pt x="1116" y="54"/>
                  </a:lnTo>
                  <a:lnTo>
                    <a:pt x="1116" y="54"/>
                  </a:lnTo>
                  <a:lnTo>
                    <a:pt x="1116" y="54"/>
                  </a:lnTo>
                  <a:lnTo>
                    <a:pt x="1120" y="49"/>
                  </a:lnTo>
                  <a:lnTo>
                    <a:pt x="1120" y="49"/>
                  </a:lnTo>
                  <a:lnTo>
                    <a:pt x="1120" y="49"/>
                  </a:lnTo>
                  <a:lnTo>
                    <a:pt x="1120" y="45"/>
                  </a:lnTo>
                  <a:lnTo>
                    <a:pt x="1120" y="45"/>
                  </a:lnTo>
                  <a:lnTo>
                    <a:pt x="1120" y="40"/>
                  </a:lnTo>
                  <a:lnTo>
                    <a:pt x="1116" y="40"/>
                  </a:lnTo>
                  <a:lnTo>
                    <a:pt x="1116" y="45"/>
                  </a:lnTo>
                  <a:lnTo>
                    <a:pt x="1111" y="45"/>
                  </a:lnTo>
                  <a:lnTo>
                    <a:pt x="1111" y="45"/>
                  </a:lnTo>
                  <a:lnTo>
                    <a:pt x="1111" y="45"/>
                  </a:lnTo>
                  <a:lnTo>
                    <a:pt x="1111" y="49"/>
                  </a:lnTo>
                  <a:lnTo>
                    <a:pt x="1111" y="49"/>
                  </a:lnTo>
                  <a:lnTo>
                    <a:pt x="1111" y="49"/>
                  </a:lnTo>
                  <a:lnTo>
                    <a:pt x="1111" y="45"/>
                  </a:lnTo>
                  <a:lnTo>
                    <a:pt x="1111" y="45"/>
                  </a:lnTo>
                  <a:lnTo>
                    <a:pt x="1111" y="45"/>
                  </a:lnTo>
                  <a:lnTo>
                    <a:pt x="1107" y="40"/>
                  </a:lnTo>
                  <a:lnTo>
                    <a:pt x="1107" y="40"/>
                  </a:lnTo>
                  <a:lnTo>
                    <a:pt x="1102" y="45"/>
                  </a:lnTo>
                  <a:lnTo>
                    <a:pt x="1102" y="45"/>
                  </a:lnTo>
                  <a:lnTo>
                    <a:pt x="1102" y="49"/>
                  </a:lnTo>
                  <a:lnTo>
                    <a:pt x="1102" y="49"/>
                  </a:lnTo>
                  <a:lnTo>
                    <a:pt x="1098" y="49"/>
                  </a:lnTo>
                  <a:lnTo>
                    <a:pt x="1098" y="45"/>
                  </a:lnTo>
                  <a:lnTo>
                    <a:pt x="1098" y="45"/>
                  </a:lnTo>
                  <a:lnTo>
                    <a:pt x="1098" y="49"/>
                  </a:lnTo>
                  <a:lnTo>
                    <a:pt x="1094" y="49"/>
                  </a:lnTo>
                  <a:lnTo>
                    <a:pt x="1094" y="49"/>
                  </a:lnTo>
                  <a:lnTo>
                    <a:pt x="1094" y="49"/>
                  </a:lnTo>
                  <a:lnTo>
                    <a:pt x="1098" y="45"/>
                  </a:lnTo>
                  <a:lnTo>
                    <a:pt x="1098" y="45"/>
                  </a:lnTo>
                  <a:lnTo>
                    <a:pt x="1098" y="40"/>
                  </a:lnTo>
                  <a:lnTo>
                    <a:pt x="1098" y="40"/>
                  </a:lnTo>
                  <a:lnTo>
                    <a:pt x="1098" y="36"/>
                  </a:lnTo>
                  <a:lnTo>
                    <a:pt x="1094" y="31"/>
                  </a:lnTo>
                  <a:lnTo>
                    <a:pt x="1089" y="27"/>
                  </a:lnTo>
                  <a:lnTo>
                    <a:pt x="1089" y="31"/>
                  </a:lnTo>
                  <a:lnTo>
                    <a:pt x="1089" y="36"/>
                  </a:lnTo>
                  <a:lnTo>
                    <a:pt x="1089" y="36"/>
                  </a:lnTo>
                  <a:lnTo>
                    <a:pt x="1094" y="40"/>
                  </a:lnTo>
                  <a:lnTo>
                    <a:pt x="1094" y="40"/>
                  </a:lnTo>
                  <a:lnTo>
                    <a:pt x="1094" y="40"/>
                  </a:lnTo>
                  <a:lnTo>
                    <a:pt x="1094" y="45"/>
                  </a:lnTo>
                  <a:lnTo>
                    <a:pt x="1089" y="54"/>
                  </a:lnTo>
                  <a:lnTo>
                    <a:pt x="1089" y="54"/>
                  </a:lnTo>
                  <a:lnTo>
                    <a:pt x="1089" y="54"/>
                  </a:lnTo>
                  <a:lnTo>
                    <a:pt x="1089" y="54"/>
                  </a:lnTo>
                  <a:lnTo>
                    <a:pt x="1085" y="58"/>
                  </a:lnTo>
                  <a:lnTo>
                    <a:pt x="1085" y="58"/>
                  </a:lnTo>
                  <a:lnTo>
                    <a:pt x="1085" y="58"/>
                  </a:lnTo>
                  <a:lnTo>
                    <a:pt x="1085" y="58"/>
                  </a:lnTo>
                  <a:lnTo>
                    <a:pt x="1085" y="58"/>
                  </a:lnTo>
                  <a:lnTo>
                    <a:pt x="1085" y="54"/>
                  </a:lnTo>
                  <a:lnTo>
                    <a:pt x="1085" y="49"/>
                  </a:lnTo>
                  <a:lnTo>
                    <a:pt x="1085" y="45"/>
                  </a:lnTo>
                  <a:lnTo>
                    <a:pt x="1080" y="40"/>
                  </a:lnTo>
                  <a:lnTo>
                    <a:pt x="1080" y="40"/>
                  </a:lnTo>
                  <a:lnTo>
                    <a:pt x="1080" y="40"/>
                  </a:lnTo>
                  <a:lnTo>
                    <a:pt x="1080" y="40"/>
                  </a:lnTo>
                  <a:lnTo>
                    <a:pt x="1080" y="40"/>
                  </a:lnTo>
                  <a:lnTo>
                    <a:pt x="1080" y="36"/>
                  </a:lnTo>
                  <a:lnTo>
                    <a:pt x="1080" y="40"/>
                  </a:lnTo>
                  <a:lnTo>
                    <a:pt x="1076" y="40"/>
                  </a:lnTo>
                  <a:lnTo>
                    <a:pt x="1076" y="45"/>
                  </a:lnTo>
                  <a:lnTo>
                    <a:pt x="1076" y="45"/>
                  </a:lnTo>
                  <a:lnTo>
                    <a:pt x="1076" y="49"/>
                  </a:lnTo>
                  <a:lnTo>
                    <a:pt x="1076" y="49"/>
                  </a:lnTo>
                  <a:lnTo>
                    <a:pt x="1071" y="49"/>
                  </a:lnTo>
                  <a:lnTo>
                    <a:pt x="1071" y="45"/>
                  </a:lnTo>
                  <a:lnTo>
                    <a:pt x="1071" y="45"/>
                  </a:lnTo>
                  <a:lnTo>
                    <a:pt x="1067" y="45"/>
                  </a:lnTo>
                  <a:lnTo>
                    <a:pt x="1067" y="45"/>
                  </a:lnTo>
                  <a:lnTo>
                    <a:pt x="1067" y="45"/>
                  </a:lnTo>
                  <a:lnTo>
                    <a:pt x="1071" y="45"/>
                  </a:lnTo>
                  <a:lnTo>
                    <a:pt x="1071" y="40"/>
                  </a:lnTo>
                  <a:lnTo>
                    <a:pt x="1076" y="36"/>
                  </a:lnTo>
                  <a:lnTo>
                    <a:pt x="1076" y="31"/>
                  </a:lnTo>
                  <a:lnTo>
                    <a:pt x="1071" y="31"/>
                  </a:lnTo>
                  <a:lnTo>
                    <a:pt x="1071" y="31"/>
                  </a:lnTo>
                  <a:lnTo>
                    <a:pt x="1071" y="31"/>
                  </a:lnTo>
                  <a:lnTo>
                    <a:pt x="1071" y="31"/>
                  </a:lnTo>
                  <a:lnTo>
                    <a:pt x="1071" y="36"/>
                  </a:lnTo>
                  <a:lnTo>
                    <a:pt x="1071" y="36"/>
                  </a:lnTo>
                  <a:lnTo>
                    <a:pt x="1071" y="40"/>
                  </a:lnTo>
                  <a:lnTo>
                    <a:pt x="1063" y="40"/>
                  </a:lnTo>
                  <a:lnTo>
                    <a:pt x="1063" y="40"/>
                  </a:lnTo>
                  <a:lnTo>
                    <a:pt x="1063" y="36"/>
                  </a:lnTo>
                  <a:lnTo>
                    <a:pt x="1063" y="36"/>
                  </a:lnTo>
                  <a:lnTo>
                    <a:pt x="1063" y="36"/>
                  </a:lnTo>
                  <a:lnTo>
                    <a:pt x="1063" y="36"/>
                  </a:lnTo>
                  <a:lnTo>
                    <a:pt x="1063" y="36"/>
                  </a:lnTo>
                  <a:lnTo>
                    <a:pt x="1063" y="31"/>
                  </a:lnTo>
                  <a:lnTo>
                    <a:pt x="1063" y="31"/>
                  </a:lnTo>
                  <a:lnTo>
                    <a:pt x="1058" y="31"/>
                  </a:lnTo>
                  <a:lnTo>
                    <a:pt x="1058" y="31"/>
                  </a:lnTo>
                  <a:lnTo>
                    <a:pt x="1054" y="27"/>
                  </a:lnTo>
                  <a:lnTo>
                    <a:pt x="1054" y="27"/>
                  </a:lnTo>
                  <a:lnTo>
                    <a:pt x="1049" y="31"/>
                  </a:lnTo>
                  <a:lnTo>
                    <a:pt x="1049" y="31"/>
                  </a:lnTo>
                  <a:lnTo>
                    <a:pt x="1049" y="31"/>
                  </a:lnTo>
                  <a:lnTo>
                    <a:pt x="1054" y="31"/>
                  </a:lnTo>
                  <a:lnTo>
                    <a:pt x="1054" y="31"/>
                  </a:lnTo>
                  <a:lnTo>
                    <a:pt x="1054" y="31"/>
                  </a:lnTo>
                  <a:lnTo>
                    <a:pt x="1049" y="31"/>
                  </a:lnTo>
                  <a:lnTo>
                    <a:pt x="1049" y="36"/>
                  </a:lnTo>
                  <a:lnTo>
                    <a:pt x="1049" y="36"/>
                  </a:lnTo>
                  <a:lnTo>
                    <a:pt x="1049" y="36"/>
                  </a:lnTo>
                  <a:lnTo>
                    <a:pt x="1049" y="40"/>
                  </a:lnTo>
                  <a:lnTo>
                    <a:pt x="1054" y="40"/>
                  </a:lnTo>
                  <a:lnTo>
                    <a:pt x="1054" y="40"/>
                  </a:lnTo>
                  <a:lnTo>
                    <a:pt x="1049" y="40"/>
                  </a:lnTo>
                  <a:lnTo>
                    <a:pt x="1054" y="40"/>
                  </a:lnTo>
                  <a:lnTo>
                    <a:pt x="1058" y="45"/>
                  </a:lnTo>
                  <a:lnTo>
                    <a:pt x="1058" y="49"/>
                  </a:lnTo>
                  <a:lnTo>
                    <a:pt x="1054" y="49"/>
                  </a:lnTo>
                  <a:lnTo>
                    <a:pt x="1054" y="45"/>
                  </a:lnTo>
                  <a:lnTo>
                    <a:pt x="1054" y="45"/>
                  </a:lnTo>
                  <a:lnTo>
                    <a:pt x="1049" y="49"/>
                  </a:lnTo>
                  <a:lnTo>
                    <a:pt x="1049" y="49"/>
                  </a:lnTo>
                  <a:lnTo>
                    <a:pt x="1049" y="49"/>
                  </a:lnTo>
                  <a:lnTo>
                    <a:pt x="1049" y="54"/>
                  </a:lnTo>
                  <a:lnTo>
                    <a:pt x="1054" y="54"/>
                  </a:lnTo>
                  <a:lnTo>
                    <a:pt x="1054" y="58"/>
                  </a:lnTo>
                  <a:lnTo>
                    <a:pt x="1054" y="58"/>
                  </a:lnTo>
                  <a:lnTo>
                    <a:pt x="1054" y="62"/>
                  </a:lnTo>
                  <a:lnTo>
                    <a:pt x="1049" y="62"/>
                  </a:lnTo>
                  <a:lnTo>
                    <a:pt x="1049" y="58"/>
                  </a:lnTo>
                  <a:lnTo>
                    <a:pt x="1045" y="54"/>
                  </a:lnTo>
                  <a:lnTo>
                    <a:pt x="1045" y="54"/>
                  </a:lnTo>
                  <a:lnTo>
                    <a:pt x="1045" y="54"/>
                  </a:lnTo>
                  <a:lnTo>
                    <a:pt x="1045" y="49"/>
                  </a:lnTo>
                  <a:lnTo>
                    <a:pt x="1040" y="49"/>
                  </a:lnTo>
                  <a:lnTo>
                    <a:pt x="1040" y="49"/>
                  </a:lnTo>
                  <a:lnTo>
                    <a:pt x="1040" y="45"/>
                  </a:lnTo>
                  <a:lnTo>
                    <a:pt x="1036" y="49"/>
                  </a:lnTo>
                  <a:lnTo>
                    <a:pt x="1032" y="49"/>
                  </a:lnTo>
                  <a:lnTo>
                    <a:pt x="1032" y="54"/>
                  </a:lnTo>
                  <a:lnTo>
                    <a:pt x="1032" y="58"/>
                  </a:lnTo>
                  <a:lnTo>
                    <a:pt x="1032" y="58"/>
                  </a:lnTo>
                  <a:lnTo>
                    <a:pt x="1032" y="62"/>
                  </a:lnTo>
                  <a:lnTo>
                    <a:pt x="1036" y="62"/>
                  </a:lnTo>
                  <a:lnTo>
                    <a:pt x="1036" y="62"/>
                  </a:lnTo>
                  <a:lnTo>
                    <a:pt x="1045" y="67"/>
                  </a:lnTo>
                  <a:lnTo>
                    <a:pt x="1045" y="67"/>
                  </a:lnTo>
                  <a:lnTo>
                    <a:pt x="1045" y="67"/>
                  </a:lnTo>
                  <a:lnTo>
                    <a:pt x="1049" y="67"/>
                  </a:lnTo>
                  <a:lnTo>
                    <a:pt x="1049" y="67"/>
                  </a:lnTo>
                  <a:lnTo>
                    <a:pt x="1049" y="71"/>
                  </a:lnTo>
                  <a:lnTo>
                    <a:pt x="1054" y="71"/>
                  </a:lnTo>
                  <a:lnTo>
                    <a:pt x="1054" y="71"/>
                  </a:lnTo>
                  <a:lnTo>
                    <a:pt x="1054" y="71"/>
                  </a:lnTo>
                  <a:lnTo>
                    <a:pt x="1054" y="76"/>
                  </a:lnTo>
                  <a:lnTo>
                    <a:pt x="1058" y="80"/>
                  </a:lnTo>
                  <a:lnTo>
                    <a:pt x="1058" y="80"/>
                  </a:lnTo>
                  <a:lnTo>
                    <a:pt x="1058" y="85"/>
                  </a:lnTo>
                  <a:lnTo>
                    <a:pt x="1054" y="89"/>
                  </a:lnTo>
                  <a:lnTo>
                    <a:pt x="1054" y="85"/>
                  </a:lnTo>
                  <a:lnTo>
                    <a:pt x="1049" y="85"/>
                  </a:lnTo>
                  <a:lnTo>
                    <a:pt x="1045" y="76"/>
                  </a:lnTo>
                  <a:lnTo>
                    <a:pt x="1045" y="76"/>
                  </a:lnTo>
                  <a:lnTo>
                    <a:pt x="1040" y="76"/>
                  </a:lnTo>
                  <a:lnTo>
                    <a:pt x="1040" y="76"/>
                  </a:lnTo>
                  <a:lnTo>
                    <a:pt x="1036" y="76"/>
                  </a:lnTo>
                  <a:lnTo>
                    <a:pt x="1036" y="76"/>
                  </a:lnTo>
                  <a:lnTo>
                    <a:pt x="1036" y="80"/>
                  </a:lnTo>
                  <a:lnTo>
                    <a:pt x="1036" y="80"/>
                  </a:lnTo>
                  <a:lnTo>
                    <a:pt x="1032" y="80"/>
                  </a:lnTo>
                  <a:lnTo>
                    <a:pt x="1032" y="85"/>
                  </a:lnTo>
                  <a:lnTo>
                    <a:pt x="1032" y="89"/>
                  </a:lnTo>
                  <a:lnTo>
                    <a:pt x="1032" y="89"/>
                  </a:lnTo>
                  <a:lnTo>
                    <a:pt x="1032" y="89"/>
                  </a:lnTo>
                  <a:lnTo>
                    <a:pt x="1032" y="89"/>
                  </a:lnTo>
                  <a:lnTo>
                    <a:pt x="1032" y="89"/>
                  </a:lnTo>
                  <a:lnTo>
                    <a:pt x="1032" y="93"/>
                  </a:lnTo>
                  <a:lnTo>
                    <a:pt x="1023" y="98"/>
                  </a:lnTo>
                  <a:lnTo>
                    <a:pt x="1023" y="98"/>
                  </a:lnTo>
                  <a:lnTo>
                    <a:pt x="1027" y="98"/>
                  </a:lnTo>
                  <a:lnTo>
                    <a:pt x="1032" y="102"/>
                  </a:lnTo>
                  <a:lnTo>
                    <a:pt x="1032" y="102"/>
                  </a:lnTo>
                  <a:lnTo>
                    <a:pt x="1036" y="107"/>
                  </a:lnTo>
                  <a:lnTo>
                    <a:pt x="1036" y="107"/>
                  </a:lnTo>
                  <a:lnTo>
                    <a:pt x="1036" y="111"/>
                  </a:lnTo>
                  <a:lnTo>
                    <a:pt x="1036" y="111"/>
                  </a:lnTo>
                  <a:lnTo>
                    <a:pt x="1036" y="111"/>
                  </a:lnTo>
                  <a:lnTo>
                    <a:pt x="1036" y="111"/>
                  </a:lnTo>
                  <a:lnTo>
                    <a:pt x="1036" y="111"/>
                  </a:lnTo>
                  <a:lnTo>
                    <a:pt x="1036" y="111"/>
                  </a:lnTo>
                  <a:lnTo>
                    <a:pt x="1027" y="107"/>
                  </a:lnTo>
                  <a:lnTo>
                    <a:pt x="1014" y="102"/>
                  </a:lnTo>
                  <a:lnTo>
                    <a:pt x="1009" y="107"/>
                  </a:lnTo>
                  <a:lnTo>
                    <a:pt x="1009" y="107"/>
                  </a:lnTo>
                  <a:lnTo>
                    <a:pt x="1005" y="111"/>
                  </a:lnTo>
                  <a:lnTo>
                    <a:pt x="1001" y="120"/>
                  </a:lnTo>
                  <a:lnTo>
                    <a:pt x="996" y="124"/>
                  </a:lnTo>
                  <a:lnTo>
                    <a:pt x="996" y="124"/>
                  </a:lnTo>
                  <a:lnTo>
                    <a:pt x="996" y="124"/>
                  </a:lnTo>
                  <a:lnTo>
                    <a:pt x="992" y="124"/>
                  </a:lnTo>
                  <a:lnTo>
                    <a:pt x="992" y="133"/>
                  </a:lnTo>
                  <a:lnTo>
                    <a:pt x="992" y="133"/>
                  </a:lnTo>
                  <a:lnTo>
                    <a:pt x="992" y="133"/>
                  </a:lnTo>
                  <a:lnTo>
                    <a:pt x="992" y="133"/>
                  </a:lnTo>
                  <a:lnTo>
                    <a:pt x="996" y="133"/>
                  </a:lnTo>
                  <a:lnTo>
                    <a:pt x="992" y="138"/>
                  </a:lnTo>
                  <a:lnTo>
                    <a:pt x="992" y="138"/>
                  </a:lnTo>
                  <a:lnTo>
                    <a:pt x="1001" y="138"/>
                  </a:lnTo>
                  <a:lnTo>
                    <a:pt x="996" y="138"/>
                  </a:lnTo>
                  <a:lnTo>
                    <a:pt x="987" y="138"/>
                  </a:lnTo>
                  <a:lnTo>
                    <a:pt x="983" y="142"/>
                  </a:lnTo>
                  <a:lnTo>
                    <a:pt x="983" y="147"/>
                  </a:lnTo>
                  <a:lnTo>
                    <a:pt x="992" y="142"/>
                  </a:lnTo>
                  <a:lnTo>
                    <a:pt x="992" y="142"/>
                  </a:lnTo>
                  <a:lnTo>
                    <a:pt x="996" y="147"/>
                  </a:lnTo>
                  <a:lnTo>
                    <a:pt x="992" y="147"/>
                  </a:lnTo>
                  <a:lnTo>
                    <a:pt x="992" y="147"/>
                  </a:lnTo>
                  <a:lnTo>
                    <a:pt x="992" y="147"/>
                  </a:lnTo>
                  <a:lnTo>
                    <a:pt x="987" y="147"/>
                  </a:lnTo>
                  <a:lnTo>
                    <a:pt x="987" y="147"/>
                  </a:lnTo>
                  <a:lnTo>
                    <a:pt x="983" y="147"/>
                  </a:lnTo>
                  <a:lnTo>
                    <a:pt x="978" y="151"/>
                  </a:lnTo>
                  <a:lnTo>
                    <a:pt x="983" y="151"/>
                  </a:lnTo>
                  <a:lnTo>
                    <a:pt x="983" y="151"/>
                  </a:lnTo>
                  <a:lnTo>
                    <a:pt x="987" y="151"/>
                  </a:lnTo>
                  <a:lnTo>
                    <a:pt x="987" y="155"/>
                  </a:lnTo>
                  <a:lnTo>
                    <a:pt x="983" y="155"/>
                  </a:lnTo>
                  <a:lnTo>
                    <a:pt x="983" y="155"/>
                  </a:lnTo>
                  <a:lnTo>
                    <a:pt x="983" y="160"/>
                  </a:lnTo>
                  <a:lnTo>
                    <a:pt x="987" y="160"/>
                  </a:lnTo>
                  <a:lnTo>
                    <a:pt x="987" y="160"/>
                  </a:lnTo>
                  <a:lnTo>
                    <a:pt x="987" y="164"/>
                  </a:lnTo>
                  <a:lnTo>
                    <a:pt x="983" y="164"/>
                  </a:lnTo>
                  <a:lnTo>
                    <a:pt x="983" y="164"/>
                  </a:lnTo>
                  <a:lnTo>
                    <a:pt x="978" y="164"/>
                  </a:lnTo>
                  <a:lnTo>
                    <a:pt x="978" y="169"/>
                  </a:lnTo>
                  <a:lnTo>
                    <a:pt x="978" y="169"/>
                  </a:lnTo>
                  <a:lnTo>
                    <a:pt x="978" y="169"/>
                  </a:lnTo>
                  <a:lnTo>
                    <a:pt x="974" y="169"/>
                  </a:lnTo>
                  <a:lnTo>
                    <a:pt x="978" y="178"/>
                  </a:lnTo>
                  <a:lnTo>
                    <a:pt x="983" y="178"/>
                  </a:lnTo>
                  <a:lnTo>
                    <a:pt x="992" y="178"/>
                  </a:lnTo>
                  <a:lnTo>
                    <a:pt x="996" y="178"/>
                  </a:lnTo>
                  <a:lnTo>
                    <a:pt x="992" y="182"/>
                  </a:lnTo>
                  <a:lnTo>
                    <a:pt x="992" y="182"/>
                  </a:lnTo>
                  <a:lnTo>
                    <a:pt x="992" y="182"/>
                  </a:lnTo>
                  <a:lnTo>
                    <a:pt x="992" y="182"/>
                  </a:lnTo>
                  <a:lnTo>
                    <a:pt x="992" y="186"/>
                  </a:lnTo>
                  <a:lnTo>
                    <a:pt x="987" y="186"/>
                  </a:lnTo>
                  <a:lnTo>
                    <a:pt x="983" y="191"/>
                  </a:lnTo>
                  <a:lnTo>
                    <a:pt x="983" y="191"/>
                  </a:lnTo>
                  <a:lnTo>
                    <a:pt x="983" y="191"/>
                  </a:lnTo>
                  <a:lnTo>
                    <a:pt x="983" y="186"/>
                  </a:lnTo>
                  <a:lnTo>
                    <a:pt x="983" y="186"/>
                  </a:lnTo>
                  <a:lnTo>
                    <a:pt x="983" y="186"/>
                  </a:lnTo>
                  <a:lnTo>
                    <a:pt x="983" y="186"/>
                  </a:lnTo>
                  <a:lnTo>
                    <a:pt x="983" y="182"/>
                  </a:lnTo>
                  <a:lnTo>
                    <a:pt x="983" y="182"/>
                  </a:lnTo>
                  <a:lnTo>
                    <a:pt x="983" y="182"/>
                  </a:lnTo>
                  <a:lnTo>
                    <a:pt x="983" y="182"/>
                  </a:lnTo>
                  <a:lnTo>
                    <a:pt x="974" y="191"/>
                  </a:lnTo>
                  <a:lnTo>
                    <a:pt x="974" y="191"/>
                  </a:lnTo>
                  <a:lnTo>
                    <a:pt x="970" y="191"/>
                  </a:lnTo>
                  <a:lnTo>
                    <a:pt x="974" y="191"/>
                  </a:lnTo>
                  <a:lnTo>
                    <a:pt x="974" y="191"/>
                  </a:lnTo>
                  <a:lnTo>
                    <a:pt x="974" y="186"/>
                  </a:lnTo>
                  <a:lnTo>
                    <a:pt x="974" y="186"/>
                  </a:lnTo>
                  <a:lnTo>
                    <a:pt x="974" y="186"/>
                  </a:lnTo>
                  <a:lnTo>
                    <a:pt x="974" y="182"/>
                  </a:lnTo>
                  <a:lnTo>
                    <a:pt x="974" y="182"/>
                  </a:lnTo>
                  <a:lnTo>
                    <a:pt x="974" y="178"/>
                  </a:lnTo>
                  <a:lnTo>
                    <a:pt x="974" y="178"/>
                  </a:lnTo>
                  <a:lnTo>
                    <a:pt x="970" y="178"/>
                  </a:lnTo>
                  <a:lnTo>
                    <a:pt x="970" y="178"/>
                  </a:lnTo>
                  <a:lnTo>
                    <a:pt x="970" y="178"/>
                  </a:lnTo>
                  <a:lnTo>
                    <a:pt x="965" y="178"/>
                  </a:lnTo>
                  <a:lnTo>
                    <a:pt x="965" y="173"/>
                  </a:lnTo>
                  <a:lnTo>
                    <a:pt x="965" y="173"/>
                  </a:lnTo>
                  <a:lnTo>
                    <a:pt x="965" y="169"/>
                  </a:lnTo>
                  <a:lnTo>
                    <a:pt x="965" y="169"/>
                  </a:lnTo>
                  <a:lnTo>
                    <a:pt x="965" y="164"/>
                  </a:lnTo>
                  <a:lnTo>
                    <a:pt x="965" y="160"/>
                  </a:lnTo>
                  <a:lnTo>
                    <a:pt x="965" y="160"/>
                  </a:lnTo>
                  <a:lnTo>
                    <a:pt x="961" y="169"/>
                  </a:lnTo>
                  <a:lnTo>
                    <a:pt x="952" y="169"/>
                  </a:lnTo>
                  <a:lnTo>
                    <a:pt x="948" y="173"/>
                  </a:lnTo>
                  <a:lnTo>
                    <a:pt x="934" y="173"/>
                  </a:lnTo>
                  <a:lnTo>
                    <a:pt x="934" y="178"/>
                  </a:lnTo>
                  <a:lnTo>
                    <a:pt x="930" y="178"/>
                  </a:lnTo>
                  <a:lnTo>
                    <a:pt x="930" y="178"/>
                  </a:lnTo>
                  <a:lnTo>
                    <a:pt x="930" y="178"/>
                  </a:lnTo>
                  <a:lnTo>
                    <a:pt x="934" y="173"/>
                  </a:lnTo>
                  <a:lnTo>
                    <a:pt x="939" y="169"/>
                  </a:lnTo>
                  <a:lnTo>
                    <a:pt x="939" y="169"/>
                  </a:lnTo>
                  <a:lnTo>
                    <a:pt x="943" y="169"/>
                  </a:lnTo>
                  <a:lnTo>
                    <a:pt x="952" y="169"/>
                  </a:lnTo>
                  <a:lnTo>
                    <a:pt x="956" y="164"/>
                  </a:lnTo>
                  <a:lnTo>
                    <a:pt x="956" y="164"/>
                  </a:lnTo>
                  <a:lnTo>
                    <a:pt x="961" y="164"/>
                  </a:lnTo>
                  <a:lnTo>
                    <a:pt x="965" y="155"/>
                  </a:lnTo>
                  <a:lnTo>
                    <a:pt x="965" y="151"/>
                  </a:lnTo>
                  <a:lnTo>
                    <a:pt x="965" y="151"/>
                  </a:lnTo>
                  <a:lnTo>
                    <a:pt x="948" y="147"/>
                  </a:lnTo>
                  <a:lnTo>
                    <a:pt x="948" y="151"/>
                  </a:lnTo>
                  <a:lnTo>
                    <a:pt x="943" y="147"/>
                  </a:lnTo>
                  <a:lnTo>
                    <a:pt x="943" y="147"/>
                  </a:lnTo>
                  <a:lnTo>
                    <a:pt x="943" y="147"/>
                  </a:lnTo>
                  <a:lnTo>
                    <a:pt x="943" y="147"/>
                  </a:lnTo>
                  <a:lnTo>
                    <a:pt x="943" y="147"/>
                  </a:lnTo>
                  <a:lnTo>
                    <a:pt x="943" y="147"/>
                  </a:lnTo>
                  <a:lnTo>
                    <a:pt x="939" y="142"/>
                  </a:lnTo>
                  <a:lnTo>
                    <a:pt x="939" y="142"/>
                  </a:lnTo>
                  <a:lnTo>
                    <a:pt x="934" y="142"/>
                  </a:lnTo>
                  <a:lnTo>
                    <a:pt x="934" y="142"/>
                  </a:lnTo>
                  <a:lnTo>
                    <a:pt x="934" y="142"/>
                  </a:lnTo>
                  <a:lnTo>
                    <a:pt x="934" y="147"/>
                  </a:lnTo>
                  <a:lnTo>
                    <a:pt x="934" y="151"/>
                  </a:lnTo>
                  <a:lnTo>
                    <a:pt x="930" y="155"/>
                  </a:lnTo>
                  <a:lnTo>
                    <a:pt x="930" y="155"/>
                  </a:lnTo>
                  <a:lnTo>
                    <a:pt x="939" y="160"/>
                  </a:lnTo>
                  <a:lnTo>
                    <a:pt x="943" y="160"/>
                  </a:lnTo>
                  <a:lnTo>
                    <a:pt x="943" y="164"/>
                  </a:lnTo>
                  <a:lnTo>
                    <a:pt x="943" y="164"/>
                  </a:lnTo>
                  <a:lnTo>
                    <a:pt x="934" y="160"/>
                  </a:lnTo>
                  <a:lnTo>
                    <a:pt x="930" y="164"/>
                  </a:lnTo>
                  <a:lnTo>
                    <a:pt x="925" y="160"/>
                  </a:lnTo>
                  <a:lnTo>
                    <a:pt x="925" y="160"/>
                  </a:lnTo>
                  <a:lnTo>
                    <a:pt x="930" y="160"/>
                  </a:lnTo>
                  <a:lnTo>
                    <a:pt x="930" y="155"/>
                  </a:lnTo>
                  <a:lnTo>
                    <a:pt x="930" y="155"/>
                  </a:lnTo>
                  <a:lnTo>
                    <a:pt x="930" y="151"/>
                  </a:lnTo>
                  <a:lnTo>
                    <a:pt x="930" y="151"/>
                  </a:lnTo>
                  <a:lnTo>
                    <a:pt x="925" y="147"/>
                  </a:lnTo>
                  <a:lnTo>
                    <a:pt x="930" y="147"/>
                  </a:lnTo>
                  <a:lnTo>
                    <a:pt x="930" y="142"/>
                  </a:lnTo>
                  <a:lnTo>
                    <a:pt x="930" y="142"/>
                  </a:lnTo>
                  <a:lnTo>
                    <a:pt x="930" y="138"/>
                  </a:lnTo>
                  <a:lnTo>
                    <a:pt x="930" y="138"/>
                  </a:lnTo>
                  <a:lnTo>
                    <a:pt x="921" y="138"/>
                  </a:lnTo>
                  <a:lnTo>
                    <a:pt x="921" y="142"/>
                  </a:lnTo>
                  <a:lnTo>
                    <a:pt x="921" y="147"/>
                  </a:lnTo>
                  <a:lnTo>
                    <a:pt x="921" y="147"/>
                  </a:lnTo>
                  <a:lnTo>
                    <a:pt x="921" y="147"/>
                  </a:lnTo>
                  <a:lnTo>
                    <a:pt x="921" y="147"/>
                  </a:lnTo>
                  <a:lnTo>
                    <a:pt x="921" y="138"/>
                  </a:lnTo>
                  <a:lnTo>
                    <a:pt x="921" y="138"/>
                  </a:lnTo>
                  <a:lnTo>
                    <a:pt x="917" y="133"/>
                  </a:lnTo>
                  <a:lnTo>
                    <a:pt x="917" y="138"/>
                  </a:lnTo>
                  <a:lnTo>
                    <a:pt x="912" y="138"/>
                  </a:lnTo>
                  <a:lnTo>
                    <a:pt x="912" y="138"/>
                  </a:lnTo>
                  <a:lnTo>
                    <a:pt x="912" y="138"/>
                  </a:lnTo>
                  <a:lnTo>
                    <a:pt x="917" y="133"/>
                  </a:lnTo>
                  <a:lnTo>
                    <a:pt x="917" y="133"/>
                  </a:lnTo>
                  <a:lnTo>
                    <a:pt x="912" y="133"/>
                  </a:lnTo>
                  <a:lnTo>
                    <a:pt x="912" y="133"/>
                  </a:lnTo>
                  <a:lnTo>
                    <a:pt x="903" y="142"/>
                  </a:lnTo>
                  <a:lnTo>
                    <a:pt x="903" y="142"/>
                  </a:lnTo>
                  <a:lnTo>
                    <a:pt x="903" y="147"/>
                  </a:lnTo>
                  <a:lnTo>
                    <a:pt x="903" y="147"/>
                  </a:lnTo>
                  <a:lnTo>
                    <a:pt x="908" y="151"/>
                  </a:lnTo>
                  <a:lnTo>
                    <a:pt x="908" y="151"/>
                  </a:lnTo>
                  <a:lnTo>
                    <a:pt x="908" y="151"/>
                  </a:lnTo>
                  <a:lnTo>
                    <a:pt x="908" y="151"/>
                  </a:lnTo>
                  <a:lnTo>
                    <a:pt x="908" y="151"/>
                  </a:lnTo>
                  <a:lnTo>
                    <a:pt x="908" y="151"/>
                  </a:lnTo>
                  <a:lnTo>
                    <a:pt x="908" y="151"/>
                  </a:lnTo>
                  <a:lnTo>
                    <a:pt x="908" y="155"/>
                  </a:lnTo>
                  <a:lnTo>
                    <a:pt x="908" y="155"/>
                  </a:lnTo>
                  <a:lnTo>
                    <a:pt x="908" y="155"/>
                  </a:lnTo>
                  <a:lnTo>
                    <a:pt x="908" y="155"/>
                  </a:lnTo>
                  <a:lnTo>
                    <a:pt x="908" y="155"/>
                  </a:lnTo>
                  <a:lnTo>
                    <a:pt x="908" y="160"/>
                  </a:lnTo>
                  <a:lnTo>
                    <a:pt x="908" y="160"/>
                  </a:lnTo>
                  <a:lnTo>
                    <a:pt x="903" y="155"/>
                  </a:lnTo>
                  <a:lnTo>
                    <a:pt x="903" y="155"/>
                  </a:lnTo>
                  <a:lnTo>
                    <a:pt x="903" y="155"/>
                  </a:lnTo>
                  <a:lnTo>
                    <a:pt x="903" y="151"/>
                  </a:lnTo>
                  <a:lnTo>
                    <a:pt x="903" y="151"/>
                  </a:lnTo>
                  <a:lnTo>
                    <a:pt x="899" y="142"/>
                  </a:lnTo>
                  <a:lnTo>
                    <a:pt x="899" y="142"/>
                  </a:lnTo>
                  <a:lnTo>
                    <a:pt x="894" y="142"/>
                  </a:lnTo>
                  <a:lnTo>
                    <a:pt x="894" y="142"/>
                  </a:lnTo>
                  <a:lnTo>
                    <a:pt x="890" y="138"/>
                  </a:lnTo>
                  <a:lnTo>
                    <a:pt x="890" y="138"/>
                  </a:lnTo>
                  <a:lnTo>
                    <a:pt x="890" y="133"/>
                  </a:lnTo>
                  <a:lnTo>
                    <a:pt x="890" y="133"/>
                  </a:lnTo>
                  <a:lnTo>
                    <a:pt x="890" y="133"/>
                  </a:lnTo>
                  <a:lnTo>
                    <a:pt x="890" y="133"/>
                  </a:lnTo>
                  <a:lnTo>
                    <a:pt x="890" y="133"/>
                  </a:lnTo>
                  <a:lnTo>
                    <a:pt x="890" y="138"/>
                  </a:lnTo>
                  <a:lnTo>
                    <a:pt x="890" y="138"/>
                  </a:lnTo>
                  <a:lnTo>
                    <a:pt x="890" y="138"/>
                  </a:lnTo>
                  <a:lnTo>
                    <a:pt x="890" y="142"/>
                  </a:lnTo>
                  <a:lnTo>
                    <a:pt x="886" y="142"/>
                  </a:lnTo>
                  <a:lnTo>
                    <a:pt x="886" y="142"/>
                  </a:lnTo>
                  <a:lnTo>
                    <a:pt x="886" y="147"/>
                  </a:lnTo>
                  <a:lnTo>
                    <a:pt x="886" y="147"/>
                  </a:lnTo>
                  <a:lnTo>
                    <a:pt x="886" y="147"/>
                  </a:lnTo>
                  <a:lnTo>
                    <a:pt x="886" y="147"/>
                  </a:lnTo>
                  <a:lnTo>
                    <a:pt x="886" y="151"/>
                  </a:lnTo>
                  <a:lnTo>
                    <a:pt x="886" y="151"/>
                  </a:lnTo>
                  <a:lnTo>
                    <a:pt x="886" y="147"/>
                  </a:lnTo>
                  <a:lnTo>
                    <a:pt x="886" y="142"/>
                  </a:lnTo>
                  <a:lnTo>
                    <a:pt x="886" y="142"/>
                  </a:lnTo>
                  <a:lnTo>
                    <a:pt x="881" y="142"/>
                  </a:lnTo>
                  <a:lnTo>
                    <a:pt x="877" y="142"/>
                  </a:lnTo>
                  <a:lnTo>
                    <a:pt x="877" y="147"/>
                  </a:lnTo>
                  <a:lnTo>
                    <a:pt x="877" y="147"/>
                  </a:lnTo>
                  <a:lnTo>
                    <a:pt x="872" y="147"/>
                  </a:lnTo>
                  <a:lnTo>
                    <a:pt x="872" y="147"/>
                  </a:lnTo>
                  <a:lnTo>
                    <a:pt x="872" y="151"/>
                  </a:lnTo>
                  <a:lnTo>
                    <a:pt x="872" y="151"/>
                  </a:lnTo>
                  <a:lnTo>
                    <a:pt x="872" y="151"/>
                  </a:lnTo>
                  <a:lnTo>
                    <a:pt x="877" y="155"/>
                  </a:lnTo>
                  <a:lnTo>
                    <a:pt x="877" y="155"/>
                  </a:lnTo>
                  <a:lnTo>
                    <a:pt x="877" y="155"/>
                  </a:lnTo>
                  <a:lnTo>
                    <a:pt x="877" y="155"/>
                  </a:lnTo>
                  <a:lnTo>
                    <a:pt x="877" y="155"/>
                  </a:lnTo>
                  <a:lnTo>
                    <a:pt x="881" y="160"/>
                  </a:lnTo>
                  <a:lnTo>
                    <a:pt x="886" y="155"/>
                  </a:lnTo>
                  <a:lnTo>
                    <a:pt x="886" y="155"/>
                  </a:lnTo>
                  <a:lnTo>
                    <a:pt x="886" y="160"/>
                  </a:lnTo>
                  <a:lnTo>
                    <a:pt x="886" y="160"/>
                  </a:lnTo>
                  <a:lnTo>
                    <a:pt x="886" y="160"/>
                  </a:lnTo>
                  <a:lnTo>
                    <a:pt x="886" y="169"/>
                  </a:lnTo>
                  <a:lnTo>
                    <a:pt x="886" y="169"/>
                  </a:lnTo>
                  <a:lnTo>
                    <a:pt x="890" y="169"/>
                  </a:lnTo>
                  <a:lnTo>
                    <a:pt x="894" y="169"/>
                  </a:lnTo>
                  <a:lnTo>
                    <a:pt x="894" y="169"/>
                  </a:lnTo>
                  <a:lnTo>
                    <a:pt x="899" y="173"/>
                  </a:lnTo>
                  <a:lnTo>
                    <a:pt x="899" y="173"/>
                  </a:lnTo>
                  <a:lnTo>
                    <a:pt x="903" y="173"/>
                  </a:lnTo>
                  <a:lnTo>
                    <a:pt x="903" y="173"/>
                  </a:lnTo>
                  <a:lnTo>
                    <a:pt x="903" y="169"/>
                  </a:lnTo>
                  <a:lnTo>
                    <a:pt x="903" y="169"/>
                  </a:lnTo>
                  <a:lnTo>
                    <a:pt x="912" y="169"/>
                  </a:lnTo>
                  <a:lnTo>
                    <a:pt x="912" y="169"/>
                  </a:lnTo>
                  <a:lnTo>
                    <a:pt x="912" y="169"/>
                  </a:lnTo>
                  <a:lnTo>
                    <a:pt x="917" y="169"/>
                  </a:lnTo>
                  <a:lnTo>
                    <a:pt x="921" y="164"/>
                  </a:lnTo>
                  <a:lnTo>
                    <a:pt x="917" y="169"/>
                  </a:lnTo>
                  <a:lnTo>
                    <a:pt x="917" y="169"/>
                  </a:lnTo>
                  <a:lnTo>
                    <a:pt x="917" y="169"/>
                  </a:lnTo>
                  <a:lnTo>
                    <a:pt x="917" y="173"/>
                  </a:lnTo>
                  <a:lnTo>
                    <a:pt x="912" y="173"/>
                  </a:lnTo>
                  <a:lnTo>
                    <a:pt x="912" y="173"/>
                  </a:lnTo>
                  <a:lnTo>
                    <a:pt x="903" y="173"/>
                  </a:lnTo>
                  <a:lnTo>
                    <a:pt x="903" y="178"/>
                  </a:lnTo>
                  <a:lnTo>
                    <a:pt x="908" y="182"/>
                  </a:lnTo>
                  <a:lnTo>
                    <a:pt x="912" y="182"/>
                  </a:lnTo>
                  <a:lnTo>
                    <a:pt x="921" y="178"/>
                  </a:lnTo>
                  <a:lnTo>
                    <a:pt x="921" y="178"/>
                  </a:lnTo>
                  <a:lnTo>
                    <a:pt x="917" y="178"/>
                  </a:lnTo>
                  <a:lnTo>
                    <a:pt x="917" y="182"/>
                  </a:lnTo>
                  <a:lnTo>
                    <a:pt x="917" y="182"/>
                  </a:lnTo>
                  <a:lnTo>
                    <a:pt x="917" y="186"/>
                  </a:lnTo>
                  <a:lnTo>
                    <a:pt x="917" y="191"/>
                  </a:lnTo>
                  <a:lnTo>
                    <a:pt x="917" y="191"/>
                  </a:lnTo>
                  <a:lnTo>
                    <a:pt x="917" y="191"/>
                  </a:lnTo>
                  <a:lnTo>
                    <a:pt x="917" y="186"/>
                  </a:lnTo>
                  <a:lnTo>
                    <a:pt x="917" y="186"/>
                  </a:lnTo>
                  <a:lnTo>
                    <a:pt x="917" y="186"/>
                  </a:lnTo>
                  <a:lnTo>
                    <a:pt x="912" y="186"/>
                  </a:lnTo>
                  <a:lnTo>
                    <a:pt x="912" y="186"/>
                  </a:lnTo>
                  <a:lnTo>
                    <a:pt x="912" y="186"/>
                  </a:lnTo>
                  <a:lnTo>
                    <a:pt x="908" y="186"/>
                  </a:lnTo>
                  <a:lnTo>
                    <a:pt x="908" y="186"/>
                  </a:lnTo>
                  <a:lnTo>
                    <a:pt x="908" y="186"/>
                  </a:lnTo>
                  <a:lnTo>
                    <a:pt x="908" y="186"/>
                  </a:lnTo>
                  <a:lnTo>
                    <a:pt x="908" y="191"/>
                  </a:lnTo>
                  <a:lnTo>
                    <a:pt x="908" y="191"/>
                  </a:lnTo>
                  <a:lnTo>
                    <a:pt x="908" y="191"/>
                  </a:lnTo>
                  <a:lnTo>
                    <a:pt x="908" y="195"/>
                  </a:lnTo>
                  <a:lnTo>
                    <a:pt x="908" y="195"/>
                  </a:lnTo>
                  <a:lnTo>
                    <a:pt x="908" y="200"/>
                  </a:lnTo>
                  <a:lnTo>
                    <a:pt x="908" y="200"/>
                  </a:lnTo>
                  <a:lnTo>
                    <a:pt x="912" y="204"/>
                  </a:lnTo>
                  <a:lnTo>
                    <a:pt x="912" y="204"/>
                  </a:lnTo>
                  <a:lnTo>
                    <a:pt x="912" y="204"/>
                  </a:lnTo>
                  <a:lnTo>
                    <a:pt x="917" y="209"/>
                  </a:lnTo>
                  <a:lnTo>
                    <a:pt x="912" y="209"/>
                  </a:lnTo>
                  <a:lnTo>
                    <a:pt x="912" y="209"/>
                  </a:lnTo>
                  <a:lnTo>
                    <a:pt x="908" y="209"/>
                  </a:lnTo>
                  <a:lnTo>
                    <a:pt x="912" y="213"/>
                  </a:lnTo>
                  <a:lnTo>
                    <a:pt x="917" y="213"/>
                  </a:lnTo>
                  <a:lnTo>
                    <a:pt x="917" y="217"/>
                  </a:lnTo>
                  <a:lnTo>
                    <a:pt x="917" y="222"/>
                  </a:lnTo>
                  <a:lnTo>
                    <a:pt x="917" y="222"/>
                  </a:lnTo>
                  <a:lnTo>
                    <a:pt x="917" y="222"/>
                  </a:lnTo>
                  <a:lnTo>
                    <a:pt x="917" y="222"/>
                  </a:lnTo>
                  <a:lnTo>
                    <a:pt x="917" y="222"/>
                  </a:lnTo>
                  <a:lnTo>
                    <a:pt x="912" y="222"/>
                  </a:lnTo>
                  <a:lnTo>
                    <a:pt x="912" y="222"/>
                  </a:lnTo>
                  <a:lnTo>
                    <a:pt x="917" y="222"/>
                  </a:lnTo>
                  <a:lnTo>
                    <a:pt x="917" y="222"/>
                  </a:lnTo>
                  <a:lnTo>
                    <a:pt x="917" y="222"/>
                  </a:lnTo>
                  <a:lnTo>
                    <a:pt x="912" y="217"/>
                  </a:lnTo>
                  <a:lnTo>
                    <a:pt x="912" y="217"/>
                  </a:lnTo>
                  <a:lnTo>
                    <a:pt x="912" y="213"/>
                  </a:lnTo>
                  <a:lnTo>
                    <a:pt x="908" y="209"/>
                  </a:lnTo>
                  <a:lnTo>
                    <a:pt x="899" y="200"/>
                  </a:lnTo>
                  <a:lnTo>
                    <a:pt x="899" y="200"/>
                  </a:lnTo>
                  <a:lnTo>
                    <a:pt x="894" y="200"/>
                  </a:lnTo>
                  <a:lnTo>
                    <a:pt x="894" y="195"/>
                  </a:lnTo>
                  <a:lnTo>
                    <a:pt x="890" y="195"/>
                  </a:lnTo>
                  <a:lnTo>
                    <a:pt x="894" y="191"/>
                  </a:lnTo>
                  <a:lnTo>
                    <a:pt x="890" y="186"/>
                  </a:lnTo>
                  <a:lnTo>
                    <a:pt x="890" y="186"/>
                  </a:lnTo>
                  <a:lnTo>
                    <a:pt x="890" y="186"/>
                  </a:lnTo>
                  <a:lnTo>
                    <a:pt x="881" y="178"/>
                  </a:lnTo>
                  <a:lnTo>
                    <a:pt x="877" y="178"/>
                  </a:lnTo>
                  <a:lnTo>
                    <a:pt x="877" y="178"/>
                  </a:lnTo>
                  <a:lnTo>
                    <a:pt x="872" y="182"/>
                  </a:lnTo>
                  <a:lnTo>
                    <a:pt x="872" y="186"/>
                  </a:lnTo>
                  <a:lnTo>
                    <a:pt x="872" y="191"/>
                  </a:lnTo>
                  <a:lnTo>
                    <a:pt x="872" y="191"/>
                  </a:lnTo>
                  <a:lnTo>
                    <a:pt x="877" y="195"/>
                  </a:lnTo>
                  <a:lnTo>
                    <a:pt x="877" y="195"/>
                  </a:lnTo>
                  <a:lnTo>
                    <a:pt x="877" y="195"/>
                  </a:lnTo>
                  <a:lnTo>
                    <a:pt x="872" y="195"/>
                  </a:lnTo>
                  <a:lnTo>
                    <a:pt x="872" y="204"/>
                  </a:lnTo>
                  <a:lnTo>
                    <a:pt x="872" y="209"/>
                  </a:lnTo>
                  <a:lnTo>
                    <a:pt x="872" y="209"/>
                  </a:lnTo>
                  <a:lnTo>
                    <a:pt x="872" y="209"/>
                  </a:lnTo>
                  <a:lnTo>
                    <a:pt x="868" y="213"/>
                  </a:lnTo>
                  <a:lnTo>
                    <a:pt x="868" y="213"/>
                  </a:lnTo>
                  <a:lnTo>
                    <a:pt x="868" y="209"/>
                  </a:lnTo>
                  <a:lnTo>
                    <a:pt x="872" y="204"/>
                  </a:lnTo>
                  <a:lnTo>
                    <a:pt x="872" y="204"/>
                  </a:lnTo>
                  <a:lnTo>
                    <a:pt x="868" y="204"/>
                  </a:lnTo>
                  <a:lnTo>
                    <a:pt x="863" y="204"/>
                  </a:lnTo>
                  <a:lnTo>
                    <a:pt x="863" y="204"/>
                  </a:lnTo>
                  <a:lnTo>
                    <a:pt x="863" y="209"/>
                  </a:lnTo>
                  <a:lnTo>
                    <a:pt x="863" y="209"/>
                  </a:lnTo>
                  <a:lnTo>
                    <a:pt x="863" y="209"/>
                  </a:lnTo>
                  <a:lnTo>
                    <a:pt x="859" y="209"/>
                  </a:lnTo>
                  <a:lnTo>
                    <a:pt x="859" y="213"/>
                  </a:lnTo>
                  <a:lnTo>
                    <a:pt x="863" y="213"/>
                  </a:lnTo>
                  <a:lnTo>
                    <a:pt x="863" y="213"/>
                  </a:lnTo>
                  <a:lnTo>
                    <a:pt x="863" y="217"/>
                  </a:lnTo>
                  <a:lnTo>
                    <a:pt x="859" y="213"/>
                  </a:lnTo>
                  <a:lnTo>
                    <a:pt x="859" y="213"/>
                  </a:lnTo>
                  <a:lnTo>
                    <a:pt x="859" y="209"/>
                  </a:lnTo>
                  <a:lnTo>
                    <a:pt x="859" y="209"/>
                  </a:lnTo>
                  <a:lnTo>
                    <a:pt x="859" y="209"/>
                  </a:lnTo>
                  <a:lnTo>
                    <a:pt x="859" y="209"/>
                  </a:lnTo>
                  <a:lnTo>
                    <a:pt x="859" y="209"/>
                  </a:lnTo>
                  <a:lnTo>
                    <a:pt x="859" y="204"/>
                  </a:lnTo>
                  <a:lnTo>
                    <a:pt x="855" y="204"/>
                  </a:lnTo>
                  <a:lnTo>
                    <a:pt x="855" y="204"/>
                  </a:lnTo>
                  <a:lnTo>
                    <a:pt x="855" y="204"/>
                  </a:lnTo>
                  <a:lnTo>
                    <a:pt x="855" y="204"/>
                  </a:lnTo>
                  <a:lnTo>
                    <a:pt x="859" y="200"/>
                  </a:lnTo>
                  <a:lnTo>
                    <a:pt x="868" y="191"/>
                  </a:lnTo>
                  <a:lnTo>
                    <a:pt x="868" y="191"/>
                  </a:lnTo>
                  <a:lnTo>
                    <a:pt x="863" y="191"/>
                  </a:lnTo>
                  <a:lnTo>
                    <a:pt x="850" y="200"/>
                  </a:lnTo>
                  <a:lnTo>
                    <a:pt x="850" y="200"/>
                  </a:lnTo>
                  <a:lnTo>
                    <a:pt x="850" y="204"/>
                  </a:lnTo>
                  <a:lnTo>
                    <a:pt x="850" y="204"/>
                  </a:lnTo>
                  <a:lnTo>
                    <a:pt x="850" y="209"/>
                  </a:lnTo>
                  <a:lnTo>
                    <a:pt x="850" y="209"/>
                  </a:lnTo>
                  <a:lnTo>
                    <a:pt x="850" y="213"/>
                  </a:lnTo>
                  <a:lnTo>
                    <a:pt x="850" y="213"/>
                  </a:lnTo>
                  <a:lnTo>
                    <a:pt x="841" y="217"/>
                  </a:lnTo>
                  <a:lnTo>
                    <a:pt x="837" y="217"/>
                  </a:lnTo>
                  <a:lnTo>
                    <a:pt x="832" y="217"/>
                  </a:lnTo>
                  <a:lnTo>
                    <a:pt x="832" y="222"/>
                  </a:lnTo>
                  <a:lnTo>
                    <a:pt x="837" y="222"/>
                  </a:lnTo>
                  <a:lnTo>
                    <a:pt x="837" y="226"/>
                  </a:lnTo>
                  <a:lnTo>
                    <a:pt x="837" y="226"/>
                  </a:lnTo>
                  <a:lnTo>
                    <a:pt x="837" y="231"/>
                  </a:lnTo>
                  <a:lnTo>
                    <a:pt x="832" y="235"/>
                  </a:lnTo>
                  <a:lnTo>
                    <a:pt x="832" y="240"/>
                  </a:lnTo>
                  <a:lnTo>
                    <a:pt x="832" y="240"/>
                  </a:lnTo>
                  <a:lnTo>
                    <a:pt x="837" y="244"/>
                  </a:lnTo>
                  <a:lnTo>
                    <a:pt x="841" y="244"/>
                  </a:lnTo>
                  <a:lnTo>
                    <a:pt x="841" y="248"/>
                  </a:lnTo>
                  <a:lnTo>
                    <a:pt x="841" y="248"/>
                  </a:lnTo>
                  <a:lnTo>
                    <a:pt x="846" y="253"/>
                  </a:lnTo>
                  <a:lnTo>
                    <a:pt x="846" y="253"/>
                  </a:lnTo>
                  <a:lnTo>
                    <a:pt x="850" y="257"/>
                  </a:lnTo>
                  <a:lnTo>
                    <a:pt x="855" y="262"/>
                  </a:lnTo>
                  <a:lnTo>
                    <a:pt x="850" y="262"/>
                  </a:lnTo>
                  <a:lnTo>
                    <a:pt x="850" y="262"/>
                  </a:lnTo>
                  <a:lnTo>
                    <a:pt x="850" y="257"/>
                  </a:lnTo>
                  <a:lnTo>
                    <a:pt x="850" y="257"/>
                  </a:lnTo>
                  <a:lnTo>
                    <a:pt x="841" y="257"/>
                  </a:lnTo>
                  <a:lnTo>
                    <a:pt x="837" y="253"/>
                  </a:lnTo>
                  <a:lnTo>
                    <a:pt x="837" y="248"/>
                  </a:lnTo>
                  <a:lnTo>
                    <a:pt x="837" y="248"/>
                  </a:lnTo>
                  <a:lnTo>
                    <a:pt x="832" y="248"/>
                  </a:lnTo>
                  <a:lnTo>
                    <a:pt x="832" y="248"/>
                  </a:lnTo>
                  <a:lnTo>
                    <a:pt x="832" y="248"/>
                  </a:lnTo>
                  <a:lnTo>
                    <a:pt x="832" y="248"/>
                  </a:lnTo>
                  <a:lnTo>
                    <a:pt x="832" y="253"/>
                  </a:lnTo>
                  <a:lnTo>
                    <a:pt x="832" y="253"/>
                  </a:lnTo>
                  <a:lnTo>
                    <a:pt x="832" y="257"/>
                  </a:lnTo>
                  <a:lnTo>
                    <a:pt x="832" y="257"/>
                  </a:lnTo>
                  <a:lnTo>
                    <a:pt x="828" y="262"/>
                  </a:lnTo>
                  <a:lnTo>
                    <a:pt x="828" y="266"/>
                  </a:lnTo>
                  <a:lnTo>
                    <a:pt x="824" y="275"/>
                  </a:lnTo>
                  <a:lnTo>
                    <a:pt x="824" y="275"/>
                  </a:lnTo>
                  <a:lnTo>
                    <a:pt x="819" y="275"/>
                  </a:lnTo>
                  <a:lnTo>
                    <a:pt x="810" y="284"/>
                  </a:lnTo>
                  <a:lnTo>
                    <a:pt x="810" y="284"/>
                  </a:lnTo>
                  <a:lnTo>
                    <a:pt x="810" y="288"/>
                  </a:lnTo>
                  <a:lnTo>
                    <a:pt x="810" y="293"/>
                  </a:lnTo>
                  <a:lnTo>
                    <a:pt x="806" y="293"/>
                  </a:lnTo>
                  <a:lnTo>
                    <a:pt x="806" y="293"/>
                  </a:lnTo>
                  <a:lnTo>
                    <a:pt x="806" y="293"/>
                  </a:lnTo>
                  <a:lnTo>
                    <a:pt x="806" y="293"/>
                  </a:lnTo>
                  <a:lnTo>
                    <a:pt x="810" y="284"/>
                  </a:lnTo>
                  <a:lnTo>
                    <a:pt x="806" y="284"/>
                  </a:lnTo>
                  <a:lnTo>
                    <a:pt x="806" y="284"/>
                  </a:lnTo>
                  <a:lnTo>
                    <a:pt x="806" y="284"/>
                  </a:lnTo>
                  <a:lnTo>
                    <a:pt x="810" y="284"/>
                  </a:lnTo>
                  <a:lnTo>
                    <a:pt x="810" y="279"/>
                  </a:lnTo>
                  <a:lnTo>
                    <a:pt x="815" y="275"/>
                  </a:lnTo>
                  <a:lnTo>
                    <a:pt x="819" y="275"/>
                  </a:lnTo>
                  <a:lnTo>
                    <a:pt x="819" y="271"/>
                  </a:lnTo>
                  <a:lnTo>
                    <a:pt x="819" y="266"/>
                  </a:lnTo>
                  <a:lnTo>
                    <a:pt x="819" y="262"/>
                  </a:lnTo>
                  <a:lnTo>
                    <a:pt x="819" y="266"/>
                  </a:lnTo>
                  <a:lnTo>
                    <a:pt x="824" y="266"/>
                  </a:lnTo>
                  <a:lnTo>
                    <a:pt x="824" y="262"/>
                  </a:lnTo>
                  <a:lnTo>
                    <a:pt x="824" y="257"/>
                  </a:lnTo>
                  <a:lnTo>
                    <a:pt x="824" y="257"/>
                  </a:lnTo>
                  <a:lnTo>
                    <a:pt x="824" y="253"/>
                  </a:lnTo>
                  <a:lnTo>
                    <a:pt x="824" y="253"/>
                  </a:lnTo>
                  <a:lnTo>
                    <a:pt x="824" y="253"/>
                  </a:lnTo>
                  <a:lnTo>
                    <a:pt x="824" y="248"/>
                  </a:lnTo>
                  <a:lnTo>
                    <a:pt x="824" y="248"/>
                  </a:lnTo>
                  <a:lnTo>
                    <a:pt x="824" y="248"/>
                  </a:lnTo>
                  <a:lnTo>
                    <a:pt x="828" y="248"/>
                  </a:lnTo>
                  <a:lnTo>
                    <a:pt x="828" y="244"/>
                  </a:lnTo>
                  <a:lnTo>
                    <a:pt x="828" y="244"/>
                  </a:lnTo>
                  <a:lnTo>
                    <a:pt x="828" y="244"/>
                  </a:lnTo>
                  <a:lnTo>
                    <a:pt x="828" y="240"/>
                  </a:lnTo>
                  <a:lnTo>
                    <a:pt x="828" y="240"/>
                  </a:lnTo>
                  <a:lnTo>
                    <a:pt x="828" y="240"/>
                  </a:lnTo>
                  <a:lnTo>
                    <a:pt x="824" y="235"/>
                  </a:lnTo>
                  <a:lnTo>
                    <a:pt x="824" y="235"/>
                  </a:lnTo>
                  <a:lnTo>
                    <a:pt x="824" y="231"/>
                  </a:lnTo>
                  <a:lnTo>
                    <a:pt x="824" y="231"/>
                  </a:lnTo>
                  <a:lnTo>
                    <a:pt x="828" y="226"/>
                  </a:lnTo>
                  <a:lnTo>
                    <a:pt x="828" y="222"/>
                  </a:lnTo>
                  <a:lnTo>
                    <a:pt x="828" y="222"/>
                  </a:lnTo>
                  <a:lnTo>
                    <a:pt x="828" y="222"/>
                  </a:lnTo>
                  <a:lnTo>
                    <a:pt x="828" y="217"/>
                  </a:lnTo>
                  <a:lnTo>
                    <a:pt x="828" y="217"/>
                  </a:lnTo>
                  <a:lnTo>
                    <a:pt x="828" y="217"/>
                  </a:lnTo>
                  <a:lnTo>
                    <a:pt x="828" y="213"/>
                  </a:lnTo>
                  <a:lnTo>
                    <a:pt x="828" y="213"/>
                  </a:lnTo>
                  <a:lnTo>
                    <a:pt x="828" y="213"/>
                  </a:lnTo>
                  <a:lnTo>
                    <a:pt x="828" y="209"/>
                  </a:lnTo>
                  <a:lnTo>
                    <a:pt x="828" y="209"/>
                  </a:lnTo>
                  <a:lnTo>
                    <a:pt x="828" y="204"/>
                  </a:lnTo>
                  <a:lnTo>
                    <a:pt x="832" y="204"/>
                  </a:lnTo>
                  <a:lnTo>
                    <a:pt x="832" y="200"/>
                  </a:lnTo>
                  <a:lnTo>
                    <a:pt x="828" y="200"/>
                  </a:lnTo>
                  <a:lnTo>
                    <a:pt x="824" y="186"/>
                  </a:lnTo>
                  <a:lnTo>
                    <a:pt x="824" y="186"/>
                  </a:lnTo>
                  <a:lnTo>
                    <a:pt x="824" y="186"/>
                  </a:lnTo>
                  <a:lnTo>
                    <a:pt x="819" y="191"/>
                  </a:lnTo>
                  <a:lnTo>
                    <a:pt x="819" y="195"/>
                  </a:lnTo>
                  <a:lnTo>
                    <a:pt x="819" y="195"/>
                  </a:lnTo>
                  <a:lnTo>
                    <a:pt x="819" y="200"/>
                  </a:lnTo>
                  <a:lnTo>
                    <a:pt x="819" y="204"/>
                  </a:lnTo>
                  <a:lnTo>
                    <a:pt x="819" y="204"/>
                  </a:lnTo>
                  <a:lnTo>
                    <a:pt x="819" y="204"/>
                  </a:lnTo>
                  <a:lnTo>
                    <a:pt x="819" y="204"/>
                  </a:lnTo>
                  <a:lnTo>
                    <a:pt x="819" y="200"/>
                  </a:lnTo>
                  <a:lnTo>
                    <a:pt x="819" y="200"/>
                  </a:lnTo>
                  <a:lnTo>
                    <a:pt x="819" y="195"/>
                  </a:lnTo>
                  <a:lnTo>
                    <a:pt x="819" y="195"/>
                  </a:lnTo>
                  <a:lnTo>
                    <a:pt x="819" y="195"/>
                  </a:lnTo>
                  <a:lnTo>
                    <a:pt x="819" y="191"/>
                  </a:lnTo>
                  <a:lnTo>
                    <a:pt x="815" y="191"/>
                  </a:lnTo>
                  <a:lnTo>
                    <a:pt x="815" y="195"/>
                  </a:lnTo>
                  <a:lnTo>
                    <a:pt x="815" y="200"/>
                  </a:lnTo>
                  <a:lnTo>
                    <a:pt x="810" y="209"/>
                  </a:lnTo>
                  <a:lnTo>
                    <a:pt x="810" y="213"/>
                  </a:lnTo>
                  <a:lnTo>
                    <a:pt x="810" y="217"/>
                  </a:lnTo>
                  <a:lnTo>
                    <a:pt x="806" y="217"/>
                  </a:lnTo>
                  <a:lnTo>
                    <a:pt x="806" y="213"/>
                  </a:lnTo>
                  <a:lnTo>
                    <a:pt x="810" y="209"/>
                  </a:lnTo>
                  <a:lnTo>
                    <a:pt x="810" y="209"/>
                  </a:lnTo>
                  <a:lnTo>
                    <a:pt x="810" y="209"/>
                  </a:lnTo>
                  <a:lnTo>
                    <a:pt x="806" y="209"/>
                  </a:lnTo>
                  <a:lnTo>
                    <a:pt x="806" y="209"/>
                  </a:lnTo>
                  <a:lnTo>
                    <a:pt x="806" y="213"/>
                  </a:lnTo>
                  <a:lnTo>
                    <a:pt x="806" y="217"/>
                  </a:lnTo>
                  <a:lnTo>
                    <a:pt x="801" y="217"/>
                  </a:lnTo>
                  <a:lnTo>
                    <a:pt x="801" y="217"/>
                  </a:lnTo>
                  <a:lnTo>
                    <a:pt x="801" y="222"/>
                  </a:lnTo>
                  <a:lnTo>
                    <a:pt x="801" y="222"/>
                  </a:lnTo>
                  <a:lnTo>
                    <a:pt x="801" y="226"/>
                  </a:lnTo>
                  <a:lnTo>
                    <a:pt x="797" y="226"/>
                  </a:lnTo>
                  <a:lnTo>
                    <a:pt x="797" y="231"/>
                  </a:lnTo>
                  <a:lnTo>
                    <a:pt x="797" y="231"/>
                  </a:lnTo>
                  <a:lnTo>
                    <a:pt x="797" y="235"/>
                  </a:lnTo>
                  <a:lnTo>
                    <a:pt x="801" y="235"/>
                  </a:lnTo>
                  <a:lnTo>
                    <a:pt x="801" y="235"/>
                  </a:lnTo>
                  <a:lnTo>
                    <a:pt x="801" y="240"/>
                  </a:lnTo>
                  <a:lnTo>
                    <a:pt x="801" y="240"/>
                  </a:lnTo>
                  <a:lnTo>
                    <a:pt x="806" y="240"/>
                  </a:lnTo>
                  <a:lnTo>
                    <a:pt x="806" y="244"/>
                  </a:lnTo>
                  <a:lnTo>
                    <a:pt x="806" y="244"/>
                  </a:lnTo>
                  <a:lnTo>
                    <a:pt x="810" y="244"/>
                  </a:lnTo>
                  <a:lnTo>
                    <a:pt x="810" y="248"/>
                  </a:lnTo>
                  <a:lnTo>
                    <a:pt x="815" y="248"/>
                  </a:lnTo>
                  <a:lnTo>
                    <a:pt x="810" y="248"/>
                  </a:lnTo>
                  <a:lnTo>
                    <a:pt x="806" y="244"/>
                  </a:lnTo>
                  <a:lnTo>
                    <a:pt x="806" y="244"/>
                  </a:lnTo>
                  <a:lnTo>
                    <a:pt x="797" y="244"/>
                  </a:lnTo>
                  <a:lnTo>
                    <a:pt x="797" y="244"/>
                  </a:lnTo>
                  <a:lnTo>
                    <a:pt x="793" y="244"/>
                  </a:lnTo>
                  <a:lnTo>
                    <a:pt x="793" y="244"/>
                  </a:lnTo>
                  <a:lnTo>
                    <a:pt x="797" y="244"/>
                  </a:lnTo>
                  <a:lnTo>
                    <a:pt x="797" y="244"/>
                  </a:lnTo>
                  <a:lnTo>
                    <a:pt x="797" y="244"/>
                  </a:lnTo>
                  <a:lnTo>
                    <a:pt x="793" y="253"/>
                  </a:lnTo>
                  <a:lnTo>
                    <a:pt x="793" y="257"/>
                  </a:lnTo>
                  <a:lnTo>
                    <a:pt x="793" y="262"/>
                  </a:lnTo>
                  <a:lnTo>
                    <a:pt x="793" y="266"/>
                  </a:lnTo>
                  <a:lnTo>
                    <a:pt x="793" y="266"/>
                  </a:lnTo>
                  <a:lnTo>
                    <a:pt x="784" y="275"/>
                  </a:lnTo>
                  <a:lnTo>
                    <a:pt x="784" y="271"/>
                  </a:lnTo>
                  <a:lnTo>
                    <a:pt x="788" y="271"/>
                  </a:lnTo>
                  <a:lnTo>
                    <a:pt x="788" y="266"/>
                  </a:lnTo>
                  <a:lnTo>
                    <a:pt x="788" y="266"/>
                  </a:lnTo>
                  <a:lnTo>
                    <a:pt x="788" y="266"/>
                  </a:lnTo>
                  <a:lnTo>
                    <a:pt x="788" y="262"/>
                  </a:lnTo>
                  <a:lnTo>
                    <a:pt x="788" y="262"/>
                  </a:lnTo>
                  <a:lnTo>
                    <a:pt x="788" y="262"/>
                  </a:lnTo>
                  <a:lnTo>
                    <a:pt x="788" y="257"/>
                  </a:lnTo>
                  <a:lnTo>
                    <a:pt x="788" y="257"/>
                  </a:lnTo>
                  <a:lnTo>
                    <a:pt x="788" y="253"/>
                  </a:lnTo>
                  <a:lnTo>
                    <a:pt x="788" y="253"/>
                  </a:lnTo>
                  <a:lnTo>
                    <a:pt x="793" y="244"/>
                  </a:lnTo>
                  <a:lnTo>
                    <a:pt x="793" y="244"/>
                  </a:lnTo>
                  <a:lnTo>
                    <a:pt x="793" y="240"/>
                  </a:lnTo>
                  <a:lnTo>
                    <a:pt x="793" y="235"/>
                  </a:lnTo>
                  <a:lnTo>
                    <a:pt x="793" y="235"/>
                  </a:lnTo>
                  <a:lnTo>
                    <a:pt x="793" y="231"/>
                  </a:lnTo>
                  <a:lnTo>
                    <a:pt x="793" y="231"/>
                  </a:lnTo>
                  <a:lnTo>
                    <a:pt x="793" y="226"/>
                  </a:lnTo>
                  <a:lnTo>
                    <a:pt x="793" y="226"/>
                  </a:lnTo>
                  <a:lnTo>
                    <a:pt x="793" y="222"/>
                  </a:lnTo>
                  <a:lnTo>
                    <a:pt x="793" y="222"/>
                  </a:lnTo>
                  <a:lnTo>
                    <a:pt x="793" y="222"/>
                  </a:lnTo>
                  <a:lnTo>
                    <a:pt x="797" y="217"/>
                  </a:lnTo>
                  <a:lnTo>
                    <a:pt x="797" y="213"/>
                  </a:lnTo>
                  <a:lnTo>
                    <a:pt x="797" y="213"/>
                  </a:lnTo>
                  <a:lnTo>
                    <a:pt x="793" y="213"/>
                  </a:lnTo>
                  <a:lnTo>
                    <a:pt x="784" y="213"/>
                  </a:lnTo>
                  <a:lnTo>
                    <a:pt x="779" y="217"/>
                  </a:lnTo>
                  <a:lnTo>
                    <a:pt x="779" y="217"/>
                  </a:lnTo>
                  <a:lnTo>
                    <a:pt x="770" y="217"/>
                  </a:lnTo>
                  <a:lnTo>
                    <a:pt x="770" y="217"/>
                  </a:lnTo>
                  <a:lnTo>
                    <a:pt x="766" y="217"/>
                  </a:lnTo>
                  <a:lnTo>
                    <a:pt x="766" y="222"/>
                  </a:lnTo>
                  <a:lnTo>
                    <a:pt x="766" y="222"/>
                  </a:lnTo>
                  <a:lnTo>
                    <a:pt x="762" y="222"/>
                  </a:lnTo>
                  <a:lnTo>
                    <a:pt x="762" y="222"/>
                  </a:lnTo>
                  <a:lnTo>
                    <a:pt x="762" y="222"/>
                  </a:lnTo>
                  <a:lnTo>
                    <a:pt x="762" y="231"/>
                  </a:lnTo>
                  <a:lnTo>
                    <a:pt x="753" y="240"/>
                  </a:lnTo>
                  <a:lnTo>
                    <a:pt x="753" y="248"/>
                  </a:lnTo>
                  <a:lnTo>
                    <a:pt x="753" y="253"/>
                  </a:lnTo>
                  <a:lnTo>
                    <a:pt x="757" y="253"/>
                  </a:lnTo>
                  <a:lnTo>
                    <a:pt x="757" y="253"/>
                  </a:lnTo>
                  <a:lnTo>
                    <a:pt x="757" y="253"/>
                  </a:lnTo>
                  <a:lnTo>
                    <a:pt x="757" y="253"/>
                  </a:lnTo>
                  <a:lnTo>
                    <a:pt x="762" y="253"/>
                  </a:lnTo>
                  <a:lnTo>
                    <a:pt x="762" y="248"/>
                  </a:lnTo>
                  <a:lnTo>
                    <a:pt x="766" y="248"/>
                  </a:lnTo>
                  <a:lnTo>
                    <a:pt x="766" y="253"/>
                  </a:lnTo>
                  <a:lnTo>
                    <a:pt x="766" y="253"/>
                  </a:lnTo>
                  <a:lnTo>
                    <a:pt x="770" y="253"/>
                  </a:lnTo>
                  <a:lnTo>
                    <a:pt x="770" y="257"/>
                  </a:lnTo>
                  <a:lnTo>
                    <a:pt x="770" y="257"/>
                  </a:lnTo>
                  <a:lnTo>
                    <a:pt x="766" y="253"/>
                  </a:lnTo>
                  <a:lnTo>
                    <a:pt x="766" y="253"/>
                  </a:lnTo>
                  <a:lnTo>
                    <a:pt x="766" y="253"/>
                  </a:lnTo>
                  <a:lnTo>
                    <a:pt x="766" y="253"/>
                  </a:lnTo>
                  <a:lnTo>
                    <a:pt x="757" y="253"/>
                  </a:lnTo>
                  <a:lnTo>
                    <a:pt x="757" y="257"/>
                  </a:lnTo>
                  <a:lnTo>
                    <a:pt x="757" y="257"/>
                  </a:lnTo>
                  <a:lnTo>
                    <a:pt x="757" y="262"/>
                  </a:lnTo>
                  <a:lnTo>
                    <a:pt x="757" y="266"/>
                  </a:lnTo>
                  <a:lnTo>
                    <a:pt x="757" y="266"/>
                  </a:lnTo>
                  <a:lnTo>
                    <a:pt x="757" y="266"/>
                  </a:lnTo>
                  <a:lnTo>
                    <a:pt x="757" y="271"/>
                  </a:lnTo>
                  <a:lnTo>
                    <a:pt x="762" y="271"/>
                  </a:lnTo>
                  <a:lnTo>
                    <a:pt x="762" y="271"/>
                  </a:lnTo>
                  <a:lnTo>
                    <a:pt x="762" y="271"/>
                  </a:lnTo>
                  <a:lnTo>
                    <a:pt x="762" y="271"/>
                  </a:lnTo>
                  <a:lnTo>
                    <a:pt x="762" y="271"/>
                  </a:lnTo>
                  <a:lnTo>
                    <a:pt x="762" y="275"/>
                  </a:lnTo>
                  <a:lnTo>
                    <a:pt x="762" y="275"/>
                  </a:lnTo>
                  <a:lnTo>
                    <a:pt x="762" y="279"/>
                  </a:lnTo>
                  <a:lnTo>
                    <a:pt x="770" y="275"/>
                  </a:lnTo>
                  <a:lnTo>
                    <a:pt x="770" y="275"/>
                  </a:lnTo>
                  <a:lnTo>
                    <a:pt x="775" y="279"/>
                  </a:lnTo>
                  <a:lnTo>
                    <a:pt x="779" y="284"/>
                  </a:lnTo>
                  <a:lnTo>
                    <a:pt x="779" y="284"/>
                  </a:lnTo>
                  <a:lnTo>
                    <a:pt x="779" y="288"/>
                  </a:lnTo>
                  <a:lnTo>
                    <a:pt x="779" y="288"/>
                  </a:lnTo>
                  <a:lnTo>
                    <a:pt x="779" y="288"/>
                  </a:lnTo>
                  <a:lnTo>
                    <a:pt x="779" y="288"/>
                  </a:lnTo>
                  <a:lnTo>
                    <a:pt x="779" y="293"/>
                  </a:lnTo>
                  <a:lnTo>
                    <a:pt x="779" y="297"/>
                  </a:lnTo>
                  <a:lnTo>
                    <a:pt x="779" y="297"/>
                  </a:lnTo>
                  <a:lnTo>
                    <a:pt x="779" y="297"/>
                  </a:lnTo>
                  <a:lnTo>
                    <a:pt x="784" y="302"/>
                  </a:lnTo>
                  <a:lnTo>
                    <a:pt x="779" y="302"/>
                  </a:lnTo>
                  <a:lnTo>
                    <a:pt x="779" y="297"/>
                  </a:lnTo>
                  <a:lnTo>
                    <a:pt x="775" y="297"/>
                  </a:lnTo>
                  <a:lnTo>
                    <a:pt x="775" y="297"/>
                  </a:lnTo>
                  <a:lnTo>
                    <a:pt x="775" y="302"/>
                  </a:lnTo>
                  <a:lnTo>
                    <a:pt x="770" y="302"/>
                  </a:lnTo>
                  <a:lnTo>
                    <a:pt x="770" y="302"/>
                  </a:lnTo>
                  <a:lnTo>
                    <a:pt x="770" y="297"/>
                  </a:lnTo>
                  <a:lnTo>
                    <a:pt x="770" y="297"/>
                  </a:lnTo>
                  <a:lnTo>
                    <a:pt x="770" y="297"/>
                  </a:lnTo>
                  <a:lnTo>
                    <a:pt x="770" y="293"/>
                  </a:lnTo>
                  <a:lnTo>
                    <a:pt x="770" y="293"/>
                  </a:lnTo>
                  <a:lnTo>
                    <a:pt x="766" y="293"/>
                  </a:lnTo>
                  <a:lnTo>
                    <a:pt x="766" y="293"/>
                  </a:lnTo>
                  <a:lnTo>
                    <a:pt x="766" y="297"/>
                  </a:lnTo>
                  <a:lnTo>
                    <a:pt x="766" y="297"/>
                  </a:lnTo>
                  <a:lnTo>
                    <a:pt x="766" y="297"/>
                  </a:lnTo>
                  <a:lnTo>
                    <a:pt x="766" y="297"/>
                  </a:lnTo>
                  <a:lnTo>
                    <a:pt x="766" y="293"/>
                  </a:lnTo>
                  <a:lnTo>
                    <a:pt x="766" y="293"/>
                  </a:lnTo>
                  <a:lnTo>
                    <a:pt x="766" y="293"/>
                  </a:lnTo>
                  <a:lnTo>
                    <a:pt x="766" y="293"/>
                  </a:lnTo>
                  <a:lnTo>
                    <a:pt x="770" y="293"/>
                  </a:lnTo>
                  <a:lnTo>
                    <a:pt x="775" y="293"/>
                  </a:lnTo>
                  <a:lnTo>
                    <a:pt x="775" y="288"/>
                  </a:lnTo>
                  <a:lnTo>
                    <a:pt x="775" y="284"/>
                  </a:lnTo>
                  <a:lnTo>
                    <a:pt x="775" y="284"/>
                  </a:lnTo>
                  <a:lnTo>
                    <a:pt x="762" y="279"/>
                  </a:lnTo>
                  <a:lnTo>
                    <a:pt x="762" y="279"/>
                  </a:lnTo>
                  <a:lnTo>
                    <a:pt x="757" y="275"/>
                  </a:lnTo>
                  <a:lnTo>
                    <a:pt x="757" y="275"/>
                  </a:lnTo>
                  <a:lnTo>
                    <a:pt x="757" y="275"/>
                  </a:lnTo>
                  <a:lnTo>
                    <a:pt x="757" y="271"/>
                  </a:lnTo>
                  <a:lnTo>
                    <a:pt x="753" y="266"/>
                  </a:lnTo>
                  <a:lnTo>
                    <a:pt x="753" y="266"/>
                  </a:lnTo>
                  <a:lnTo>
                    <a:pt x="753" y="266"/>
                  </a:lnTo>
                  <a:lnTo>
                    <a:pt x="753" y="262"/>
                  </a:lnTo>
                  <a:lnTo>
                    <a:pt x="748" y="262"/>
                  </a:lnTo>
                  <a:lnTo>
                    <a:pt x="748" y="262"/>
                  </a:lnTo>
                  <a:lnTo>
                    <a:pt x="748" y="257"/>
                  </a:lnTo>
                  <a:lnTo>
                    <a:pt x="748" y="257"/>
                  </a:lnTo>
                  <a:lnTo>
                    <a:pt x="748" y="257"/>
                  </a:lnTo>
                  <a:lnTo>
                    <a:pt x="748" y="257"/>
                  </a:lnTo>
                  <a:lnTo>
                    <a:pt x="748" y="257"/>
                  </a:lnTo>
                  <a:lnTo>
                    <a:pt x="748" y="257"/>
                  </a:lnTo>
                  <a:lnTo>
                    <a:pt x="748" y="253"/>
                  </a:lnTo>
                  <a:lnTo>
                    <a:pt x="748" y="253"/>
                  </a:lnTo>
                  <a:lnTo>
                    <a:pt x="748" y="253"/>
                  </a:lnTo>
                  <a:lnTo>
                    <a:pt x="735" y="253"/>
                  </a:lnTo>
                  <a:lnTo>
                    <a:pt x="731" y="257"/>
                  </a:lnTo>
                  <a:lnTo>
                    <a:pt x="731" y="257"/>
                  </a:lnTo>
                  <a:lnTo>
                    <a:pt x="726" y="257"/>
                  </a:lnTo>
                  <a:lnTo>
                    <a:pt x="726" y="257"/>
                  </a:lnTo>
                  <a:lnTo>
                    <a:pt x="731" y="262"/>
                  </a:lnTo>
                  <a:lnTo>
                    <a:pt x="726" y="262"/>
                  </a:lnTo>
                  <a:lnTo>
                    <a:pt x="726" y="262"/>
                  </a:lnTo>
                  <a:lnTo>
                    <a:pt x="726" y="266"/>
                  </a:lnTo>
                  <a:lnTo>
                    <a:pt x="726" y="266"/>
                  </a:lnTo>
                  <a:lnTo>
                    <a:pt x="726" y="266"/>
                  </a:lnTo>
                  <a:lnTo>
                    <a:pt x="731" y="266"/>
                  </a:lnTo>
                  <a:lnTo>
                    <a:pt x="731" y="266"/>
                  </a:lnTo>
                  <a:lnTo>
                    <a:pt x="731" y="271"/>
                  </a:lnTo>
                  <a:lnTo>
                    <a:pt x="735" y="271"/>
                  </a:lnTo>
                  <a:lnTo>
                    <a:pt x="735" y="271"/>
                  </a:lnTo>
                  <a:lnTo>
                    <a:pt x="735" y="271"/>
                  </a:lnTo>
                  <a:lnTo>
                    <a:pt x="735" y="275"/>
                  </a:lnTo>
                  <a:lnTo>
                    <a:pt x="735" y="275"/>
                  </a:lnTo>
                  <a:lnTo>
                    <a:pt x="735" y="275"/>
                  </a:lnTo>
                  <a:lnTo>
                    <a:pt x="735" y="275"/>
                  </a:lnTo>
                  <a:lnTo>
                    <a:pt x="739" y="279"/>
                  </a:lnTo>
                  <a:lnTo>
                    <a:pt x="753" y="284"/>
                  </a:lnTo>
                  <a:lnTo>
                    <a:pt x="753" y="284"/>
                  </a:lnTo>
                  <a:lnTo>
                    <a:pt x="753" y="288"/>
                  </a:lnTo>
                  <a:lnTo>
                    <a:pt x="757" y="288"/>
                  </a:lnTo>
                  <a:lnTo>
                    <a:pt x="757" y="288"/>
                  </a:lnTo>
                  <a:lnTo>
                    <a:pt x="757" y="288"/>
                  </a:lnTo>
                  <a:lnTo>
                    <a:pt x="757" y="288"/>
                  </a:lnTo>
                  <a:lnTo>
                    <a:pt x="757" y="293"/>
                  </a:lnTo>
                  <a:lnTo>
                    <a:pt x="757" y="293"/>
                  </a:lnTo>
                  <a:lnTo>
                    <a:pt x="753" y="288"/>
                  </a:lnTo>
                  <a:lnTo>
                    <a:pt x="748" y="288"/>
                  </a:lnTo>
                  <a:lnTo>
                    <a:pt x="748" y="284"/>
                  </a:lnTo>
                  <a:lnTo>
                    <a:pt x="739" y="284"/>
                  </a:lnTo>
                  <a:lnTo>
                    <a:pt x="739" y="288"/>
                  </a:lnTo>
                  <a:lnTo>
                    <a:pt x="739" y="288"/>
                  </a:lnTo>
                  <a:lnTo>
                    <a:pt x="739" y="288"/>
                  </a:lnTo>
                  <a:lnTo>
                    <a:pt x="739" y="288"/>
                  </a:lnTo>
                  <a:lnTo>
                    <a:pt x="739" y="293"/>
                  </a:lnTo>
                  <a:lnTo>
                    <a:pt x="739" y="293"/>
                  </a:lnTo>
                  <a:lnTo>
                    <a:pt x="739" y="293"/>
                  </a:lnTo>
                  <a:lnTo>
                    <a:pt x="739" y="293"/>
                  </a:lnTo>
                  <a:lnTo>
                    <a:pt x="739" y="293"/>
                  </a:lnTo>
                  <a:lnTo>
                    <a:pt x="739" y="293"/>
                  </a:lnTo>
                  <a:lnTo>
                    <a:pt x="735" y="293"/>
                  </a:lnTo>
                  <a:lnTo>
                    <a:pt x="735" y="288"/>
                  </a:lnTo>
                  <a:lnTo>
                    <a:pt x="735" y="288"/>
                  </a:lnTo>
                  <a:lnTo>
                    <a:pt x="735" y="288"/>
                  </a:lnTo>
                  <a:lnTo>
                    <a:pt x="735" y="284"/>
                  </a:lnTo>
                  <a:lnTo>
                    <a:pt x="735" y="279"/>
                  </a:lnTo>
                  <a:lnTo>
                    <a:pt x="731" y="279"/>
                  </a:lnTo>
                  <a:lnTo>
                    <a:pt x="731" y="279"/>
                  </a:lnTo>
                  <a:lnTo>
                    <a:pt x="731" y="284"/>
                  </a:lnTo>
                  <a:lnTo>
                    <a:pt x="731" y="284"/>
                  </a:lnTo>
                  <a:lnTo>
                    <a:pt x="731" y="288"/>
                  </a:lnTo>
                  <a:lnTo>
                    <a:pt x="731" y="293"/>
                  </a:lnTo>
                  <a:lnTo>
                    <a:pt x="731" y="293"/>
                  </a:lnTo>
                  <a:lnTo>
                    <a:pt x="731" y="297"/>
                  </a:lnTo>
                  <a:lnTo>
                    <a:pt x="731" y="297"/>
                  </a:lnTo>
                  <a:lnTo>
                    <a:pt x="731" y="297"/>
                  </a:lnTo>
                  <a:lnTo>
                    <a:pt x="731" y="297"/>
                  </a:lnTo>
                  <a:lnTo>
                    <a:pt x="731" y="293"/>
                  </a:lnTo>
                  <a:lnTo>
                    <a:pt x="731" y="293"/>
                  </a:lnTo>
                  <a:lnTo>
                    <a:pt x="731" y="293"/>
                  </a:lnTo>
                  <a:lnTo>
                    <a:pt x="731" y="293"/>
                  </a:lnTo>
                  <a:lnTo>
                    <a:pt x="731" y="288"/>
                  </a:lnTo>
                  <a:lnTo>
                    <a:pt x="731" y="284"/>
                  </a:lnTo>
                  <a:lnTo>
                    <a:pt x="731" y="279"/>
                  </a:lnTo>
                  <a:lnTo>
                    <a:pt x="731" y="279"/>
                  </a:lnTo>
                  <a:lnTo>
                    <a:pt x="726" y="275"/>
                  </a:lnTo>
                  <a:lnTo>
                    <a:pt x="726" y="275"/>
                  </a:lnTo>
                  <a:lnTo>
                    <a:pt x="726" y="275"/>
                  </a:lnTo>
                  <a:lnTo>
                    <a:pt x="722" y="275"/>
                  </a:lnTo>
                  <a:lnTo>
                    <a:pt x="722" y="275"/>
                  </a:lnTo>
                  <a:lnTo>
                    <a:pt x="722" y="275"/>
                  </a:lnTo>
                  <a:lnTo>
                    <a:pt x="722" y="275"/>
                  </a:lnTo>
                  <a:lnTo>
                    <a:pt x="722" y="271"/>
                  </a:lnTo>
                  <a:lnTo>
                    <a:pt x="722" y="271"/>
                  </a:lnTo>
                  <a:lnTo>
                    <a:pt x="722" y="271"/>
                  </a:lnTo>
                  <a:lnTo>
                    <a:pt x="722" y="266"/>
                  </a:lnTo>
                  <a:lnTo>
                    <a:pt x="722" y="262"/>
                  </a:lnTo>
                  <a:lnTo>
                    <a:pt x="717" y="262"/>
                  </a:lnTo>
                  <a:lnTo>
                    <a:pt x="717" y="262"/>
                  </a:lnTo>
                  <a:lnTo>
                    <a:pt x="717" y="262"/>
                  </a:lnTo>
                  <a:lnTo>
                    <a:pt x="717" y="262"/>
                  </a:lnTo>
                  <a:lnTo>
                    <a:pt x="717" y="262"/>
                  </a:lnTo>
                  <a:lnTo>
                    <a:pt x="717" y="262"/>
                  </a:lnTo>
                  <a:lnTo>
                    <a:pt x="713" y="262"/>
                  </a:lnTo>
                  <a:lnTo>
                    <a:pt x="713" y="266"/>
                  </a:lnTo>
                  <a:lnTo>
                    <a:pt x="713" y="266"/>
                  </a:lnTo>
                  <a:lnTo>
                    <a:pt x="713" y="266"/>
                  </a:lnTo>
                  <a:lnTo>
                    <a:pt x="713" y="266"/>
                  </a:lnTo>
                  <a:lnTo>
                    <a:pt x="713" y="266"/>
                  </a:lnTo>
                  <a:lnTo>
                    <a:pt x="713" y="266"/>
                  </a:lnTo>
                  <a:lnTo>
                    <a:pt x="713" y="271"/>
                  </a:lnTo>
                  <a:lnTo>
                    <a:pt x="713" y="271"/>
                  </a:lnTo>
                  <a:lnTo>
                    <a:pt x="713" y="271"/>
                  </a:lnTo>
                  <a:lnTo>
                    <a:pt x="713" y="271"/>
                  </a:lnTo>
                  <a:lnTo>
                    <a:pt x="713" y="275"/>
                  </a:lnTo>
                  <a:lnTo>
                    <a:pt x="713" y="275"/>
                  </a:lnTo>
                  <a:lnTo>
                    <a:pt x="708" y="275"/>
                  </a:lnTo>
                  <a:lnTo>
                    <a:pt x="708" y="279"/>
                  </a:lnTo>
                  <a:lnTo>
                    <a:pt x="708" y="279"/>
                  </a:lnTo>
                  <a:lnTo>
                    <a:pt x="708" y="284"/>
                  </a:lnTo>
                  <a:lnTo>
                    <a:pt x="704" y="288"/>
                  </a:lnTo>
                  <a:lnTo>
                    <a:pt x="704" y="288"/>
                  </a:lnTo>
                  <a:lnTo>
                    <a:pt x="704" y="293"/>
                  </a:lnTo>
                  <a:lnTo>
                    <a:pt x="704" y="297"/>
                  </a:lnTo>
                  <a:lnTo>
                    <a:pt x="704" y="297"/>
                  </a:lnTo>
                  <a:lnTo>
                    <a:pt x="704" y="302"/>
                  </a:lnTo>
                  <a:lnTo>
                    <a:pt x="708" y="297"/>
                  </a:lnTo>
                  <a:lnTo>
                    <a:pt x="708" y="302"/>
                  </a:lnTo>
                  <a:lnTo>
                    <a:pt x="708" y="302"/>
                  </a:lnTo>
                  <a:lnTo>
                    <a:pt x="708" y="302"/>
                  </a:lnTo>
                  <a:lnTo>
                    <a:pt x="708" y="306"/>
                  </a:lnTo>
                  <a:lnTo>
                    <a:pt x="708" y="306"/>
                  </a:lnTo>
                  <a:lnTo>
                    <a:pt x="708" y="310"/>
                  </a:lnTo>
                  <a:lnTo>
                    <a:pt x="713" y="310"/>
                  </a:lnTo>
                  <a:lnTo>
                    <a:pt x="704" y="310"/>
                  </a:lnTo>
                  <a:lnTo>
                    <a:pt x="700" y="310"/>
                  </a:lnTo>
                  <a:lnTo>
                    <a:pt x="695" y="315"/>
                  </a:lnTo>
                  <a:lnTo>
                    <a:pt x="686" y="315"/>
                  </a:lnTo>
                  <a:lnTo>
                    <a:pt x="682" y="319"/>
                  </a:lnTo>
                  <a:lnTo>
                    <a:pt x="682" y="319"/>
                  </a:lnTo>
                  <a:lnTo>
                    <a:pt x="686" y="319"/>
                  </a:lnTo>
                  <a:lnTo>
                    <a:pt x="686" y="319"/>
                  </a:lnTo>
                  <a:lnTo>
                    <a:pt x="686" y="324"/>
                  </a:lnTo>
                  <a:lnTo>
                    <a:pt x="682" y="324"/>
                  </a:lnTo>
                  <a:lnTo>
                    <a:pt x="678" y="328"/>
                  </a:lnTo>
                  <a:lnTo>
                    <a:pt x="678" y="333"/>
                  </a:lnTo>
                  <a:lnTo>
                    <a:pt x="678" y="337"/>
                  </a:lnTo>
                  <a:lnTo>
                    <a:pt x="678" y="337"/>
                  </a:lnTo>
                  <a:lnTo>
                    <a:pt x="678" y="337"/>
                  </a:lnTo>
                  <a:lnTo>
                    <a:pt x="678" y="337"/>
                  </a:lnTo>
                  <a:lnTo>
                    <a:pt x="678" y="341"/>
                  </a:lnTo>
                  <a:lnTo>
                    <a:pt x="678" y="341"/>
                  </a:lnTo>
                  <a:lnTo>
                    <a:pt x="678" y="341"/>
                  </a:lnTo>
                  <a:lnTo>
                    <a:pt x="673" y="341"/>
                  </a:lnTo>
                  <a:lnTo>
                    <a:pt x="673" y="346"/>
                  </a:lnTo>
                  <a:lnTo>
                    <a:pt x="673" y="350"/>
                  </a:lnTo>
                  <a:lnTo>
                    <a:pt x="673" y="350"/>
                  </a:lnTo>
                  <a:lnTo>
                    <a:pt x="678" y="346"/>
                  </a:lnTo>
                  <a:lnTo>
                    <a:pt x="686" y="341"/>
                  </a:lnTo>
                  <a:lnTo>
                    <a:pt x="686" y="346"/>
                  </a:lnTo>
                  <a:lnTo>
                    <a:pt x="686" y="346"/>
                  </a:lnTo>
                  <a:lnTo>
                    <a:pt x="695" y="350"/>
                  </a:lnTo>
                  <a:lnTo>
                    <a:pt x="695" y="350"/>
                  </a:lnTo>
                  <a:lnTo>
                    <a:pt x="695" y="355"/>
                  </a:lnTo>
                  <a:lnTo>
                    <a:pt x="691" y="355"/>
                  </a:lnTo>
                  <a:lnTo>
                    <a:pt x="691" y="350"/>
                  </a:lnTo>
                  <a:lnTo>
                    <a:pt x="691" y="350"/>
                  </a:lnTo>
                  <a:lnTo>
                    <a:pt x="686" y="350"/>
                  </a:lnTo>
                  <a:lnTo>
                    <a:pt x="686" y="350"/>
                  </a:lnTo>
                  <a:lnTo>
                    <a:pt x="686" y="350"/>
                  </a:lnTo>
                  <a:lnTo>
                    <a:pt x="686" y="350"/>
                  </a:lnTo>
                  <a:lnTo>
                    <a:pt x="682" y="350"/>
                  </a:lnTo>
                  <a:lnTo>
                    <a:pt x="682" y="350"/>
                  </a:lnTo>
                  <a:lnTo>
                    <a:pt x="678" y="355"/>
                  </a:lnTo>
                  <a:lnTo>
                    <a:pt x="673" y="359"/>
                  </a:lnTo>
                  <a:lnTo>
                    <a:pt x="682" y="363"/>
                  </a:lnTo>
                  <a:lnTo>
                    <a:pt x="691" y="363"/>
                  </a:lnTo>
                  <a:lnTo>
                    <a:pt x="691" y="368"/>
                  </a:lnTo>
                  <a:lnTo>
                    <a:pt x="691" y="372"/>
                  </a:lnTo>
                  <a:lnTo>
                    <a:pt x="686" y="368"/>
                  </a:lnTo>
                  <a:lnTo>
                    <a:pt x="682" y="363"/>
                  </a:lnTo>
                  <a:lnTo>
                    <a:pt x="673" y="359"/>
                  </a:lnTo>
                  <a:lnTo>
                    <a:pt x="673" y="363"/>
                  </a:lnTo>
                  <a:lnTo>
                    <a:pt x="669" y="363"/>
                  </a:lnTo>
                  <a:lnTo>
                    <a:pt x="669" y="363"/>
                  </a:lnTo>
                  <a:lnTo>
                    <a:pt x="664" y="368"/>
                  </a:lnTo>
                  <a:lnTo>
                    <a:pt x="664" y="368"/>
                  </a:lnTo>
                  <a:lnTo>
                    <a:pt x="664" y="372"/>
                  </a:lnTo>
                  <a:lnTo>
                    <a:pt x="669" y="372"/>
                  </a:lnTo>
                  <a:lnTo>
                    <a:pt x="669" y="372"/>
                  </a:lnTo>
                  <a:lnTo>
                    <a:pt x="669" y="368"/>
                  </a:lnTo>
                  <a:lnTo>
                    <a:pt x="673" y="372"/>
                  </a:lnTo>
                  <a:lnTo>
                    <a:pt x="673" y="372"/>
                  </a:lnTo>
                  <a:lnTo>
                    <a:pt x="673" y="377"/>
                  </a:lnTo>
                  <a:lnTo>
                    <a:pt x="678" y="377"/>
                  </a:lnTo>
                  <a:lnTo>
                    <a:pt x="682" y="381"/>
                  </a:lnTo>
                  <a:lnTo>
                    <a:pt x="686" y="381"/>
                  </a:lnTo>
                  <a:lnTo>
                    <a:pt x="686" y="386"/>
                  </a:lnTo>
                  <a:lnTo>
                    <a:pt x="682" y="381"/>
                  </a:lnTo>
                  <a:lnTo>
                    <a:pt x="678" y="381"/>
                  </a:lnTo>
                  <a:lnTo>
                    <a:pt x="673" y="381"/>
                  </a:lnTo>
                  <a:lnTo>
                    <a:pt x="673" y="381"/>
                  </a:lnTo>
                  <a:lnTo>
                    <a:pt x="673" y="381"/>
                  </a:lnTo>
                  <a:lnTo>
                    <a:pt x="673" y="381"/>
                  </a:lnTo>
                  <a:lnTo>
                    <a:pt x="669" y="377"/>
                  </a:lnTo>
                  <a:lnTo>
                    <a:pt x="669" y="377"/>
                  </a:lnTo>
                  <a:lnTo>
                    <a:pt x="669" y="377"/>
                  </a:lnTo>
                  <a:lnTo>
                    <a:pt x="664" y="377"/>
                  </a:lnTo>
                  <a:lnTo>
                    <a:pt x="664" y="372"/>
                  </a:lnTo>
                  <a:lnTo>
                    <a:pt x="664" y="372"/>
                  </a:lnTo>
                  <a:lnTo>
                    <a:pt x="660" y="377"/>
                  </a:lnTo>
                  <a:lnTo>
                    <a:pt x="655" y="377"/>
                  </a:lnTo>
                  <a:lnTo>
                    <a:pt x="655" y="377"/>
                  </a:lnTo>
                  <a:lnTo>
                    <a:pt x="655" y="377"/>
                  </a:lnTo>
                  <a:lnTo>
                    <a:pt x="655" y="381"/>
                  </a:lnTo>
                  <a:lnTo>
                    <a:pt x="655" y="381"/>
                  </a:lnTo>
                  <a:lnTo>
                    <a:pt x="655" y="381"/>
                  </a:lnTo>
                  <a:lnTo>
                    <a:pt x="655" y="381"/>
                  </a:lnTo>
                  <a:lnTo>
                    <a:pt x="655" y="381"/>
                  </a:lnTo>
                  <a:lnTo>
                    <a:pt x="655" y="386"/>
                  </a:lnTo>
                  <a:lnTo>
                    <a:pt x="660" y="386"/>
                  </a:lnTo>
                  <a:lnTo>
                    <a:pt x="660" y="386"/>
                  </a:lnTo>
                  <a:lnTo>
                    <a:pt x="660" y="386"/>
                  </a:lnTo>
                  <a:lnTo>
                    <a:pt x="660" y="386"/>
                  </a:lnTo>
                  <a:lnTo>
                    <a:pt x="660" y="386"/>
                  </a:lnTo>
                  <a:lnTo>
                    <a:pt x="660" y="386"/>
                  </a:lnTo>
                  <a:lnTo>
                    <a:pt x="655" y="386"/>
                  </a:lnTo>
                  <a:lnTo>
                    <a:pt x="655" y="386"/>
                  </a:lnTo>
                  <a:lnTo>
                    <a:pt x="655" y="386"/>
                  </a:lnTo>
                  <a:lnTo>
                    <a:pt x="655" y="386"/>
                  </a:lnTo>
                  <a:lnTo>
                    <a:pt x="655" y="381"/>
                  </a:lnTo>
                  <a:lnTo>
                    <a:pt x="655" y="381"/>
                  </a:lnTo>
                  <a:lnTo>
                    <a:pt x="651" y="381"/>
                  </a:lnTo>
                  <a:lnTo>
                    <a:pt x="651" y="377"/>
                  </a:lnTo>
                  <a:lnTo>
                    <a:pt x="651" y="377"/>
                  </a:lnTo>
                  <a:lnTo>
                    <a:pt x="647" y="377"/>
                  </a:lnTo>
                  <a:lnTo>
                    <a:pt x="647" y="377"/>
                  </a:lnTo>
                  <a:lnTo>
                    <a:pt x="642" y="381"/>
                  </a:lnTo>
                  <a:lnTo>
                    <a:pt x="633" y="386"/>
                  </a:lnTo>
                  <a:lnTo>
                    <a:pt x="629" y="386"/>
                  </a:lnTo>
                  <a:lnTo>
                    <a:pt x="629" y="386"/>
                  </a:lnTo>
                  <a:lnTo>
                    <a:pt x="629" y="390"/>
                  </a:lnTo>
                  <a:lnTo>
                    <a:pt x="629" y="394"/>
                  </a:lnTo>
                  <a:lnTo>
                    <a:pt x="629" y="394"/>
                  </a:lnTo>
                  <a:lnTo>
                    <a:pt x="629" y="394"/>
                  </a:lnTo>
                  <a:lnTo>
                    <a:pt x="629" y="399"/>
                  </a:lnTo>
                  <a:lnTo>
                    <a:pt x="629" y="399"/>
                  </a:lnTo>
                  <a:lnTo>
                    <a:pt x="629" y="399"/>
                  </a:lnTo>
                  <a:lnTo>
                    <a:pt x="629" y="399"/>
                  </a:lnTo>
                  <a:lnTo>
                    <a:pt x="629" y="399"/>
                  </a:lnTo>
                  <a:lnTo>
                    <a:pt x="629" y="403"/>
                  </a:lnTo>
                  <a:lnTo>
                    <a:pt x="629" y="403"/>
                  </a:lnTo>
                  <a:lnTo>
                    <a:pt x="629" y="403"/>
                  </a:lnTo>
                  <a:lnTo>
                    <a:pt x="624" y="399"/>
                  </a:lnTo>
                  <a:lnTo>
                    <a:pt x="624" y="403"/>
                  </a:lnTo>
                  <a:lnTo>
                    <a:pt x="624" y="403"/>
                  </a:lnTo>
                  <a:lnTo>
                    <a:pt x="620" y="403"/>
                  </a:lnTo>
                  <a:lnTo>
                    <a:pt x="620" y="408"/>
                  </a:lnTo>
                  <a:lnTo>
                    <a:pt x="624" y="408"/>
                  </a:lnTo>
                  <a:lnTo>
                    <a:pt x="624" y="408"/>
                  </a:lnTo>
                  <a:lnTo>
                    <a:pt x="624" y="412"/>
                  </a:lnTo>
                  <a:lnTo>
                    <a:pt x="624" y="412"/>
                  </a:lnTo>
                  <a:lnTo>
                    <a:pt x="624" y="412"/>
                  </a:lnTo>
                  <a:lnTo>
                    <a:pt x="624" y="417"/>
                  </a:lnTo>
                  <a:lnTo>
                    <a:pt x="624" y="417"/>
                  </a:lnTo>
                  <a:lnTo>
                    <a:pt x="633" y="417"/>
                  </a:lnTo>
                  <a:lnTo>
                    <a:pt x="638" y="412"/>
                  </a:lnTo>
                  <a:lnTo>
                    <a:pt x="642" y="412"/>
                  </a:lnTo>
                  <a:lnTo>
                    <a:pt x="642" y="412"/>
                  </a:lnTo>
                  <a:lnTo>
                    <a:pt x="647" y="408"/>
                  </a:lnTo>
                  <a:lnTo>
                    <a:pt x="651" y="403"/>
                  </a:lnTo>
                  <a:lnTo>
                    <a:pt x="651" y="403"/>
                  </a:lnTo>
                  <a:lnTo>
                    <a:pt x="651" y="403"/>
                  </a:lnTo>
                  <a:lnTo>
                    <a:pt x="651" y="408"/>
                  </a:lnTo>
                  <a:lnTo>
                    <a:pt x="651" y="408"/>
                  </a:lnTo>
                  <a:lnTo>
                    <a:pt x="651" y="408"/>
                  </a:lnTo>
                  <a:lnTo>
                    <a:pt x="655" y="408"/>
                  </a:lnTo>
                  <a:lnTo>
                    <a:pt x="655" y="408"/>
                  </a:lnTo>
                  <a:lnTo>
                    <a:pt x="655" y="412"/>
                  </a:lnTo>
                  <a:lnTo>
                    <a:pt x="655" y="412"/>
                  </a:lnTo>
                  <a:lnTo>
                    <a:pt x="651" y="412"/>
                  </a:lnTo>
                  <a:lnTo>
                    <a:pt x="651" y="412"/>
                  </a:lnTo>
                  <a:lnTo>
                    <a:pt x="651" y="417"/>
                  </a:lnTo>
                  <a:lnTo>
                    <a:pt x="664" y="412"/>
                  </a:lnTo>
                  <a:lnTo>
                    <a:pt x="669" y="408"/>
                  </a:lnTo>
                  <a:lnTo>
                    <a:pt x="669" y="408"/>
                  </a:lnTo>
                  <a:lnTo>
                    <a:pt x="673" y="403"/>
                  </a:lnTo>
                  <a:lnTo>
                    <a:pt x="678" y="403"/>
                  </a:lnTo>
                  <a:lnTo>
                    <a:pt x="678" y="403"/>
                  </a:lnTo>
                  <a:lnTo>
                    <a:pt x="678" y="403"/>
                  </a:lnTo>
                  <a:lnTo>
                    <a:pt x="678" y="403"/>
                  </a:lnTo>
                  <a:lnTo>
                    <a:pt x="673" y="412"/>
                  </a:lnTo>
                  <a:lnTo>
                    <a:pt x="682" y="412"/>
                  </a:lnTo>
                  <a:lnTo>
                    <a:pt x="691" y="421"/>
                  </a:lnTo>
                  <a:lnTo>
                    <a:pt x="695" y="421"/>
                  </a:lnTo>
                  <a:lnTo>
                    <a:pt x="695" y="421"/>
                  </a:lnTo>
                  <a:lnTo>
                    <a:pt x="686" y="417"/>
                  </a:lnTo>
                  <a:lnTo>
                    <a:pt x="678" y="417"/>
                  </a:lnTo>
                  <a:lnTo>
                    <a:pt x="669" y="417"/>
                  </a:lnTo>
                  <a:lnTo>
                    <a:pt x="669" y="417"/>
                  </a:lnTo>
                  <a:lnTo>
                    <a:pt x="678" y="425"/>
                  </a:lnTo>
                  <a:lnTo>
                    <a:pt x="682" y="425"/>
                  </a:lnTo>
                  <a:lnTo>
                    <a:pt x="678" y="425"/>
                  </a:lnTo>
                  <a:lnTo>
                    <a:pt x="669" y="421"/>
                  </a:lnTo>
                  <a:lnTo>
                    <a:pt x="664" y="421"/>
                  </a:lnTo>
                  <a:lnTo>
                    <a:pt x="664" y="421"/>
                  </a:lnTo>
                  <a:lnTo>
                    <a:pt x="664" y="421"/>
                  </a:lnTo>
                  <a:lnTo>
                    <a:pt x="664" y="425"/>
                  </a:lnTo>
                  <a:lnTo>
                    <a:pt x="660" y="425"/>
                  </a:lnTo>
                  <a:lnTo>
                    <a:pt x="660" y="425"/>
                  </a:lnTo>
                  <a:lnTo>
                    <a:pt x="660" y="425"/>
                  </a:lnTo>
                  <a:lnTo>
                    <a:pt x="660" y="430"/>
                  </a:lnTo>
                  <a:lnTo>
                    <a:pt x="664" y="430"/>
                  </a:lnTo>
                  <a:lnTo>
                    <a:pt x="664" y="434"/>
                  </a:lnTo>
                  <a:lnTo>
                    <a:pt x="664" y="434"/>
                  </a:lnTo>
                  <a:lnTo>
                    <a:pt x="669" y="439"/>
                  </a:lnTo>
                  <a:lnTo>
                    <a:pt x="669" y="439"/>
                  </a:lnTo>
                  <a:lnTo>
                    <a:pt x="673" y="443"/>
                  </a:lnTo>
                  <a:lnTo>
                    <a:pt x="669" y="443"/>
                  </a:lnTo>
                  <a:lnTo>
                    <a:pt x="669" y="443"/>
                  </a:lnTo>
                  <a:lnTo>
                    <a:pt x="669" y="448"/>
                  </a:lnTo>
                  <a:lnTo>
                    <a:pt x="669" y="448"/>
                  </a:lnTo>
                  <a:lnTo>
                    <a:pt x="669" y="452"/>
                  </a:lnTo>
                  <a:lnTo>
                    <a:pt x="669" y="452"/>
                  </a:lnTo>
                  <a:lnTo>
                    <a:pt x="669" y="452"/>
                  </a:lnTo>
                  <a:lnTo>
                    <a:pt x="669" y="452"/>
                  </a:lnTo>
                  <a:lnTo>
                    <a:pt x="669" y="452"/>
                  </a:lnTo>
                  <a:lnTo>
                    <a:pt x="669" y="452"/>
                  </a:lnTo>
                  <a:lnTo>
                    <a:pt x="669" y="448"/>
                  </a:lnTo>
                  <a:lnTo>
                    <a:pt x="669" y="448"/>
                  </a:lnTo>
                  <a:lnTo>
                    <a:pt x="669" y="448"/>
                  </a:lnTo>
                  <a:lnTo>
                    <a:pt x="669" y="448"/>
                  </a:lnTo>
                  <a:lnTo>
                    <a:pt x="664" y="443"/>
                  </a:lnTo>
                  <a:lnTo>
                    <a:pt x="669" y="443"/>
                  </a:lnTo>
                  <a:lnTo>
                    <a:pt x="669" y="443"/>
                  </a:lnTo>
                  <a:lnTo>
                    <a:pt x="660" y="439"/>
                  </a:lnTo>
                  <a:lnTo>
                    <a:pt x="660" y="434"/>
                  </a:lnTo>
                  <a:lnTo>
                    <a:pt x="660" y="434"/>
                  </a:lnTo>
                  <a:lnTo>
                    <a:pt x="660" y="430"/>
                  </a:lnTo>
                  <a:lnTo>
                    <a:pt x="660" y="430"/>
                  </a:lnTo>
                  <a:lnTo>
                    <a:pt x="660" y="425"/>
                  </a:lnTo>
                  <a:lnTo>
                    <a:pt x="655" y="425"/>
                  </a:lnTo>
                  <a:lnTo>
                    <a:pt x="651" y="425"/>
                  </a:lnTo>
                  <a:lnTo>
                    <a:pt x="651" y="425"/>
                  </a:lnTo>
                  <a:lnTo>
                    <a:pt x="651" y="430"/>
                  </a:lnTo>
                  <a:lnTo>
                    <a:pt x="642" y="430"/>
                  </a:lnTo>
                  <a:lnTo>
                    <a:pt x="642" y="430"/>
                  </a:lnTo>
                  <a:lnTo>
                    <a:pt x="642" y="430"/>
                  </a:lnTo>
                  <a:lnTo>
                    <a:pt x="642" y="425"/>
                  </a:lnTo>
                  <a:lnTo>
                    <a:pt x="642" y="425"/>
                  </a:lnTo>
                  <a:lnTo>
                    <a:pt x="642" y="425"/>
                  </a:lnTo>
                  <a:lnTo>
                    <a:pt x="642" y="425"/>
                  </a:lnTo>
                  <a:lnTo>
                    <a:pt x="638" y="425"/>
                  </a:lnTo>
                  <a:lnTo>
                    <a:pt x="633" y="421"/>
                  </a:lnTo>
                  <a:lnTo>
                    <a:pt x="633" y="421"/>
                  </a:lnTo>
                  <a:lnTo>
                    <a:pt x="620" y="421"/>
                  </a:lnTo>
                  <a:lnTo>
                    <a:pt x="616" y="425"/>
                  </a:lnTo>
                  <a:lnTo>
                    <a:pt x="611" y="425"/>
                  </a:lnTo>
                  <a:lnTo>
                    <a:pt x="607" y="425"/>
                  </a:lnTo>
                  <a:lnTo>
                    <a:pt x="611" y="430"/>
                  </a:lnTo>
                  <a:lnTo>
                    <a:pt x="611" y="430"/>
                  </a:lnTo>
                  <a:lnTo>
                    <a:pt x="611" y="430"/>
                  </a:lnTo>
                  <a:lnTo>
                    <a:pt x="611" y="430"/>
                  </a:lnTo>
                  <a:lnTo>
                    <a:pt x="611" y="430"/>
                  </a:lnTo>
                  <a:lnTo>
                    <a:pt x="616" y="430"/>
                  </a:lnTo>
                  <a:lnTo>
                    <a:pt x="616" y="430"/>
                  </a:lnTo>
                  <a:lnTo>
                    <a:pt x="616" y="434"/>
                  </a:lnTo>
                  <a:lnTo>
                    <a:pt x="620" y="434"/>
                  </a:lnTo>
                  <a:lnTo>
                    <a:pt x="624" y="434"/>
                  </a:lnTo>
                  <a:lnTo>
                    <a:pt x="629" y="439"/>
                  </a:lnTo>
                  <a:lnTo>
                    <a:pt x="629" y="443"/>
                  </a:lnTo>
                  <a:lnTo>
                    <a:pt x="629" y="443"/>
                  </a:lnTo>
                  <a:lnTo>
                    <a:pt x="629" y="448"/>
                  </a:lnTo>
                  <a:lnTo>
                    <a:pt x="633" y="448"/>
                  </a:lnTo>
                  <a:lnTo>
                    <a:pt x="638" y="452"/>
                  </a:lnTo>
                  <a:lnTo>
                    <a:pt x="638" y="452"/>
                  </a:lnTo>
                  <a:lnTo>
                    <a:pt x="638" y="456"/>
                  </a:lnTo>
                  <a:lnTo>
                    <a:pt x="638" y="456"/>
                  </a:lnTo>
                  <a:lnTo>
                    <a:pt x="638" y="456"/>
                  </a:lnTo>
                  <a:lnTo>
                    <a:pt x="638" y="456"/>
                  </a:lnTo>
                  <a:lnTo>
                    <a:pt x="629" y="448"/>
                  </a:lnTo>
                  <a:lnTo>
                    <a:pt x="629" y="443"/>
                  </a:lnTo>
                  <a:lnTo>
                    <a:pt x="624" y="443"/>
                  </a:lnTo>
                  <a:lnTo>
                    <a:pt x="620" y="439"/>
                  </a:lnTo>
                  <a:lnTo>
                    <a:pt x="616" y="439"/>
                  </a:lnTo>
                  <a:lnTo>
                    <a:pt x="616" y="439"/>
                  </a:lnTo>
                  <a:lnTo>
                    <a:pt x="616" y="439"/>
                  </a:lnTo>
                  <a:lnTo>
                    <a:pt x="616" y="439"/>
                  </a:lnTo>
                  <a:lnTo>
                    <a:pt x="611" y="434"/>
                  </a:lnTo>
                  <a:lnTo>
                    <a:pt x="611" y="434"/>
                  </a:lnTo>
                  <a:lnTo>
                    <a:pt x="611" y="434"/>
                  </a:lnTo>
                  <a:lnTo>
                    <a:pt x="611" y="434"/>
                  </a:lnTo>
                  <a:lnTo>
                    <a:pt x="611" y="434"/>
                  </a:lnTo>
                  <a:lnTo>
                    <a:pt x="611" y="434"/>
                  </a:lnTo>
                  <a:lnTo>
                    <a:pt x="611" y="434"/>
                  </a:lnTo>
                  <a:lnTo>
                    <a:pt x="607" y="434"/>
                  </a:lnTo>
                  <a:lnTo>
                    <a:pt x="607" y="434"/>
                  </a:lnTo>
                  <a:lnTo>
                    <a:pt x="607" y="434"/>
                  </a:lnTo>
                  <a:lnTo>
                    <a:pt x="602" y="434"/>
                  </a:lnTo>
                  <a:lnTo>
                    <a:pt x="602" y="439"/>
                  </a:lnTo>
                  <a:lnTo>
                    <a:pt x="602" y="439"/>
                  </a:lnTo>
                  <a:lnTo>
                    <a:pt x="607" y="439"/>
                  </a:lnTo>
                  <a:lnTo>
                    <a:pt x="616" y="443"/>
                  </a:lnTo>
                  <a:lnTo>
                    <a:pt x="616" y="443"/>
                  </a:lnTo>
                  <a:lnTo>
                    <a:pt x="616" y="443"/>
                  </a:lnTo>
                  <a:lnTo>
                    <a:pt x="616" y="443"/>
                  </a:lnTo>
                  <a:lnTo>
                    <a:pt x="616" y="443"/>
                  </a:lnTo>
                  <a:lnTo>
                    <a:pt x="607" y="443"/>
                  </a:lnTo>
                  <a:lnTo>
                    <a:pt x="607" y="448"/>
                  </a:lnTo>
                  <a:lnTo>
                    <a:pt x="607" y="448"/>
                  </a:lnTo>
                  <a:lnTo>
                    <a:pt x="607" y="448"/>
                  </a:lnTo>
                  <a:lnTo>
                    <a:pt x="620" y="448"/>
                  </a:lnTo>
                  <a:lnTo>
                    <a:pt x="620" y="448"/>
                  </a:lnTo>
                  <a:lnTo>
                    <a:pt x="620" y="443"/>
                  </a:lnTo>
                  <a:lnTo>
                    <a:pt x="620" y="443"/>
                  </a:lnTo>
                  <a:lnTo>
                    <a:pt x="620" y="448"/>
                  </a:lnTo>
                  <a:lnTo>
                    <a:pt x="620" y="448"/>
                  </a:lnTo>
                  <a:lnTo>
                    <a:pt x="620" y="448"/>
                  </a:lnTo>
                  <a:lnTo>
                    <a:pt x="624" y="448"/>
                  </a:lnTo>
                  <a:lnTo>
                    <a:pt x="624" y="452"/>
                  </a:lnTo>
                  <a:lnTo>
                    <a:pt x="629" y="452"/>
                  </a:lnTo>
                  <a:lnTo>
                    <a:pt x="629" y="452"/>
                  </a:lnTo>
                  <a:lnTo>
                    <a:pt x="624" y="452"/>
                  </a:lnTo>
                  <a:lnTo>
                    <a:pt x="620" y="452"/>
                  </a:lnTo>
                  <a:lnTo>
                    <a:pt x="620" y="452"/>
                  </a:lnTo>
                  <a:lnTo>
                    <a:pt x="620" y="452"/>
                  </a:lnTo>
                  <a:lnTo>
                    <a:pt x="620" y="452"/>
                  </a:lnTo>
                  <a:lnTo>
                    <a:pt x="624" y="456"/>
                  </a:lnTo>
                  <a:lnTo>
                    <a:pt x="620" y="456"/>
                  </a:lnTo>
                  <a:lnTo>
                    <a:pt x="620" y="456"/>
                  </a:lnTo>
                  <a:lnTo>
                    <a:pt x="620" y="456"/>
                  </a:lnTo>
                  <a:lnTo>
                    <a:pt x="620" y="456"/>
                  </a:lnTo>
                  <a:lnTo>
                    <a:pt x="620" y="456"/>
                  </a:lnTo>
                  <a:lnTo>
                    <a:pt x="620" y="456"/>
                  </a:lnTo>
                  <a:lnTo>
                    <a:pt x="620" y="456"/>
                  </a:lnTo>
                  <a:lnTo>
                    <a:pt x="616" y="456"/>
                  </a:lnTo>
                  <a:lnTo>
                    <a:pt x="616" y="461"/>
                  </a:lnTo>
                  <a:lnTo>
                    <a:pt x="611" y="461"/>
                  </a:lnTo>
                  <a:lnTo>
                    <a:pt x="611" y="456"/>
                  </a:lnTo>
                  <a:lnTo>
                    <a:pt x="611" y="461"/>
                  </a:lnTo>
                  <a:lnTo>
                    <a:pt x="611" y="461"/>
                  </a:lnTo>
                  <a:lnTo>
                    <a:pt x="611" y="461"/>
                  </a:lnTo>
                  <a:lnTo>
                    <a:pt x="611" y="465"/>
                  </a:lnTo>
                  <a:lnTo>
                    <a:pt x="611" y="465"/>
                  </a:lnTo>
                  <a:lnTo>
                    <a:pt x="616" y="465"/>
                  </a:lnTo>
                  <a:lnTo>
                    <a:pt x="620" y="461"/>
                  </a:lnTo>
                  <a:lnTo>
                    <a:pt x="624" y="461"/>
                  </a:lnTo>
                  <a:lnTo>
                    <a:pt x="624" y="461"/>
                  </a:lnTo>
                  <a:lnTo>
                    <a:pt x="624" y="465"/>
                  </a:lnTo>
                  <a:lnTo>
                    <a:pt x="629" y="465"/>
                  </a:lnTo>
                  <a:lnTo>
                    <a:pt x="633" y="465"/>
                  </a:lnTo>
                  <a:lnTo>
                    <a:pt x="633" y="470"/>
                  </a:lnTo>
                  <a:lnTo>
                    <a:pt x="633" y="470"/>
                  </a:lnTo>
                  <a:lnTo>
                    <a:pt x="633" y="470"/>
                  </a:lnTo>
                  <a:lnTo>
                    <a:pt x="633" y="470"/>
                  </a:lnTo>
                  <a:lnTo>
                    <a:pt x="633" y="470"/>
                  </a:lnTo>
                  <a:lnTo>
                    <a:pt x="624" y="470"/>
                  </a:lnTo>
                  <a:lnTo>
                    <a:pt x="624" y="465"/>
                  </a:lnTo>
                  <a:lnTo>
                    <a:pt x="620" y="465"/>
                  </a:lnTo>
                  <a:lnTo>
                    <a:pt x="620" y="465"/>
                  </a:lnTo>
                  <a:lnTo>
                    <a:pt x="620" y="465"/>
                  </a:lnTo>
                  <a:lnTo>
                    <a:pt x="620" y="465"/>
                  </a:lnTo>
                  <a:lnTo>
                    <a:pt x="620" y="470"/>
                  </a:lnTo>
                  <a:lnTo>
                    <a:pt x="620" y="470"/>
                  </a:lnTo>
                  <a:lnTo>
                    <a:pt x="616" y="470"/>
                  </a:lnTo>
                  <a:lnTo>
                    <a:pt x="616" y="474"/>
                  </a:lnTo>
                  <a:lnTo>
                    <a:pt x="624" y="474"/>
                  </a:lnTo>
                  <a:lnTo>
                    <a:pt x="624" y="479"/>
                  </a:lnTo>
                  <a:lnTo>
                    <a:pt x="620" y="479"/>
                  </a:lnTo>
                  <a:lnTo>
                    <a:pt x="620" y="479"/>
                  </a:lnTo>
                  <a:lnTo>
                    <a:pt x="624" y="483"/>
                  </a:lnTo>
                  <a:lnTo>
                    <a:pt x="624" y="483"/>
                  </a:lnTo>
                  <a:lnTo>
                    <a:pt x="624" y="483"/>
                  </a:lnTo>
                  <a:lnTo>
                    <a:pt x="624" y="483"/>
                  </a:lnTo>
                  <a:lnTo>
                    <a:pt x="624" y="483"/>
                  </a:lnTo>
                  <a:lnTo>
                    <a:pt x="620" y="483"/>
                  </a:lnTo>
                  <a:lnTo>
                    <a:pt x="620" y="479"/>
                  </a:lnTo>
                  <a:lnTo>
                    <a:pt x="620" y="479"/>
                  </a:lnTo>
                  <a:lnTo>
                    <a:pt x="616" y="474"/>
                  </a:lnTo>
                  <a:lnTo>
                    <a:pt x="616" y="474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20" y="483"/>
                  </a:lnTo>
                  <a:lnTo>
                    <a:pt x="620" y="483"/>
                  </a:lnTo>
                  <a:lnTo>
                    <a:pt x="620" y="483"/>
                  </a:lnTo>
                  <a:lnTo>
                    <a:pt x="620" y="487"/>
                  </a:lnTo>
                  <a:lnTo>
                    <a:pt x="620" y="487"/>
                  </a:lnTo>
                  <a:lnTo>
                    <a:pt x="620" y="487"/>
                  </a:lnTo>
                  <a:lnTo>
                    <a:pt x="620" y="487"/>
                  </a:lnTo>
                  <a:lnTo>
                    <a:pt x="620" y="487"/>
                  </a:lnTo>
                  <a:lnTo>
                    <a:pt x="620" y="492"/>
                  </a:lnTo>
                  <a:lnTo>
                    <a:pt x="620" y="492"/>
                  </a:lnTo>
                  <a:lnTo>
                    <a:pt x="620" y="492"/>
                  </a:lnTo>
                  <a:lnTo>
                    <a:pt x="620" y="492"/>
                  </a:lnTo>
                  <a:lnTo>
                    <a:pt x="620" y="487"/>
                  </a:lnTo>
                  <a:lnTo>
                    <a:pt x="611" y="479"/>
                  </a:lnTo>
                  <a:lnTo>
                    <a:pt x="611" y="479"/>
                  </a:lnTo>
                  <a:lnTo>
                    <a:pt x="611" y="474"/>
                  </a:lnTo>
                  <a:lnTo>
                    <a:pt x="607" y="479"/>
                  </a:lnTo>
                  <a:lnTo>
                    <a:pt x="611" y="479"/>
                  </a:lnTo>
                  <a:lnTo>
                    <a:pt x="611" y="479"/>
                  </a:lnTo>
                  <a:lnTo>
                    <a:pt x="611" y="479"/>
                  </a:lnTo>
                  <a:lnTo>
                    <a:pt x="611" y="483"/>
                  </a:lnTo>
                  <a:lnTo>
                    <a:pt x="611" y="487"/>
                  </a:lnTo>
                  <a:lnTo>
                    <a:pt x="611" y="487"/>
                  </a:lnTo>
                  <a:lnTo>
                    <a:pt x="611" y="487"/>
                  </a:lnTo>
                  <a:lnTo>
                    <a:pt x="611" y="492"/>
                  </a:lnTo>
                  <a:lnTo>
                    <a:pt x="611" y="492"/>
                  </a:lnTo>
                  <a:lnTo>
                    <a:pt x="611" y="492"/>
                  </a:lnTo>
                  <a:lnTo>
                    <a:pt x="616" y="496"/>
                  </a:lnTo>
                  <a:lnTo>
                    <a:pt x="620" y="496"/>
                  </a:lnTo>
                  <a:lnTo>
                    <a:pt x="620" y="501"/>
                  </a:lnTo>
                  <a:lnTo>
                    <a:pt x="620" y="501"/>
                  </a:lnTo>
                  <a:lnTo>
                    <a:pt x="624" y="505"/>
                  </a:lnTo>
                  <a:lnTo>
                    <a:pt x="624" y="505"/>
                  </a:lnTo>
                  <a:lnTo>
                    <a:pt x="624" y="505"/>
                  </a:lnTo>
                  <a:lnTo>
                    <a:pt x="620" y="505"/>
                  </a:lnTo>
                  <a:lnTo>
                    <a:pt x="616" y="496"/>
                  </a:lnTo>
                  <a:lnTo>
                    <a:pt x="611" y="496"/>
                  </a:lnTo>
                  <a:lnTo>
                    <a:pt x="611" y="496"/>
                  </a:lnTo>
                  <a:lnTo>
                    <a:pt x="611" y="492"/>
                  </a:lnTo>
                  <a:lnTo>
                    <a:pt x="607" y="492"/>
                  </a:lnTo>
                  <a:lnTo>
                    <a:pt x="607" y="487"/>
                  </a:lnTo>
                  <a:lnTo>
                    <a:pt x="607" y="487"/>
                  </a:lnTo>
                  <a:lnTo>
                    <a:pt x="607" y="483"/>
                  </a:lnTo>
                  <a:lnTo>
                    <a:pt x="607" y="479"/>
                  </a:lnTo>
                  <a:lnTo>
                    <a:pt x="607" y="479"/>
                  </a:lnTo>
                  <a:lnTo>
                    <a:pt x="598" y="474"/>
                  </a:lnTo>
                  <a:lnTo>
                    <a:pt x="602" y="470"/>
                  </a:lnTo>
                  <a:lnTo>
                    <a:pt x="602" y="470"/>
                  </a:lnTo>
                  <a:lnTo>
                    <a:pt x="602" y="470"/>
                  </a:lnTo>
                  <a:lnTo>
                    <a:pt x="602" y="465"/>
                  </a:lnTo>
                  <a:lnTo>
                    <a:pt x="602" y="465"/>
                  </a:lnTo>
                  <a:lnTo>
                    <a:pt x="602" y="461"/>
                  </a:lnTo>
                  <a:lnTo>
                    <a:pt x="602" y="461"/>
                  </a:lnTo>
                  <a:lnTo>
                    <a:pt x="602" y="456"/>
                  </a:lnTo>
                  <a:lnTo>
                    <a:pt x="602" y="456"/>
                  </a:lnTo>
                  <a:lnTo>
                    <a:pt x="602" y="452"/>
                  </a:lnTo>
                  <a:lnTo>
                    <a:pt x="602" y="452"/>
                  </a:lnTo>
                  <a:lnTo>
                    <a:pt x="602" y="452"/>
                  </a:lnTo>
                  <a:lnTo>
                    <a:pt x="598" y="456"/>
                  </a:lnTo>
                  <a:lnTo>
                    <a:pt x="598" y="452"/>
                  </a:lnTo>
                  <a:lnTo>
                    <a:pt x="598" y="452"/>
                  </a:lnTo>
                  <a:lnTo>
                    <a:pt x="598" y="452"/>
                  </a:lnTo>
                  <a:lnTo>
                    <a:pt x="602" y="452"/>
                  </a:lnTo>
                  <a:lnTo>
                    <a:pt x="602" y="448"/>
                  </a:lnTo>
                  <a:lnTo>
                    <a:pt x="598" y="448"/>
                  </a:lnTo>
                  <a:lnTo>
                    <a:pt x="598" y="443"/>
                  </a:lnTo>
                  <a:lnTo>
                    <a:pt x="598" y="443"/>
                  </a:lnTo>
                  <a:lnTo>
                    <a:pt x="598" y="443"/>
                  </a:lnTo>
                  <a:lnTo>
                    <a:pt x="598" y="443"/>
                  </a:lnTo>
                  <a:lnTo>
                    <a:pt x="593" y="443"/>
                  </a:lnTo>
                  <a:lnTo>
                    <a:pt x="593" y="443"/>
                  </a:lnTo>
                  <a:lnTo>
                    <a:pt x="593" y="443"/>
                  </a:lnTo>
                  <a:lnTo>
                    <a:pt x="593" y="448"/>
                  </a:lnTo>
                  <a:lnTo>
                    <a:pt x="593" y="448"/>
                  </a:lnTo>
                  <a:lnTo>
                    <a:pt x="593" y="448"/>
                  </a:lnTo>
                  <a:lnTo>
                    <a:pt x="593" y="452"/>
                  </a:lnTo>
                  <a:lnTo>
                    <a:pt x="593" y="452"/>
                  </a:lnTo>
                  <a:lnTo>
                    <a:pt x="593" y="452"/>
                  </a:lnTo>
                  <a:lnTo>
                    <a:pt x="589" y="452"/>
                  </a:lnTo>
                  <a:lnTo>
                    <a:pt x="589" y="452"/>
                  </a:lnTo>
                  <a:lnTo>
                    <a:pt x="593" y="456"/>
                  </a:lnTo>
                  <a:lnTo>
                    <a:pt x="593" y="456"/>
                  </a:lnTo>
                  <a:lnTo>
                    <a:pt x="593" y="456"/>
                  </a:lnTo>
                  <a:lnTo>
                    <a:pt x="593" y="461"/>
                  </a:lnTo>
                  <a:lnTo>
                    <a:pt x="589" y="461"/>
                  </a:lnTo>
                  <a:lnTo>
                    <a:pt x="589" y="465"/>
                  </a:lnTo>
                  <a:lnTo>
                    <a:pt x="589" y="465"/>
                  </a:lnTo>
                  <a:lnTo>
                    <a:pt x="585" y="465"/>
                  </a:lnTo>
                  <a:lnTo>
                    <a:pt x="585" y="465"/>
                  </a:lnTo>
                  <a:lnTo>
                    <a:pt x="585" y="465"/>
                  </a:lnTo>
                  <a:lnTo>
                    <a:pt x="585" y="465"/>
                  </a:lnTo>
                  <a:lnTo>
                    <a:pt x="585" y="465"/>
                  </a:lnTo>
                  <a:lnTo>
                    <a:pt x="585" y="465"/>
                  </a:lnTo>
                  <a:lnTo>
                    <a:pt x="580" y="465"/>
                  </a:lnTo>
                  <a:lnTo>
                    <a:pt x="580" y="470"/>
                  </a:lnTo>
                  <a:lnTo>
                    <a:pt x="580" y="470"/>
                  </a:lnTo>
                  <a:lnTo>
                    <a:pt x="580" y="470"/>
                  </a:lnTo>
                  <a:lnTo>
                    <a:pt x="580" y="470"/>
                  </a:lnTo>
                  <a:lnTo>
                    <a:pt x="576" y="470"/>
                  </a:lnTo>
                  <a:lnTo>
                    <a:pt x="576" y="470"/>
                  </a:lnTo>
                  <a:lnTo>
                    <a:pt x="576" y="470"/>
                  </a:lnTo>
                  <a:lnTo>
                    <a:pt x="576" y="465"/>
                  </a:lnTo>
                  <a:lnTo>
                    <a:pt x="576" y="465"/>
                  </a:lnTo>
                  <a:lnTo>
                    <a:pt x="576" y="465"/>
                  </a:lnTo>
                  <a:lnTo>
                    <a:pt x="580" y="465"/>
                  </a:lnTo>
                  <a:lnTo>
                    <a:pt x="580" y="465"/>
                  </a:lnTo>
                  <a:lnTo>
                    <a:pt x="585" y="465"/>
                  </a:lnTo>
                  <a:lnTo>
                    <a:pt x="585" y="461"/>
                  </a:lnTo>
                  <a:lnTo>
                    <a:pt x="585" y="461"/>
                  </a:lnTo>
                  <a:lnTo>
                    <a:pt x="580" y="461"/>
                  </a:lnTo>
                  <a:lnTo>
                    <a:pt x="580" y="461"/>
                  </a:lnTo>
                  <a:lnTo>
                    <a:pt x="585" y="461"/>
                  </a:lnTo>
                  <a:lnTo>
                    <a:pt x="585" y="456"/>
                  </a:lnTo>
                  <a:lnTo>
                    <a:pt x="580" y="456"/>
                  </a:lnTo>
                  <a:lnTo>
                    <a:pt x="580" y="456"/>
                  </a:lnTo>
                  <a:lnTo>
                    <a:pt x="580" y="456"/>
                  </a:lnTo>
                  <a:lnTo>
                    <a:pt x="580" y="456"/>
                  </a:lnTo>
                  <a:lnTo>
                    <a:pt x="580" y="456"/>
                  </a:lnTo>
                  <a:lnTo>
                    <a:pt x="580" y="452"/>
                  </a:lnTo>
                  <a:lnTo>
                    <a:pt x="580" y="452"/>
                  </a:lnTo>
                  <a:lnTo>
                    <a:pt x="580" y="452"/>
                  </a:lnTo>
                  <a:lnTo>
                    <a:pt x="580" y="452"/>
                  </a:lnTo>
                  <a:lnTo>
                    <a:pt x="580" y="456"/>
                  </a:lnTo>
                  <a:lnTo>
                    <a:pt x="576" y="456"/>
                  </a:lnTo>
                  <a:lnTo>
                    <a:pt x="576" y="461"/>
                  </a:lnTo>
                  <a:lnTo>
                    <a:pt x="576" y="461"/>
                  </a:lnTo>
                  <a:lnTo>
                    <a:pt x="571" y="461"/>
                  </a:lnTo>
                  <a:lnTo>
                    <a:pt x="571" y="461"/>
                  </a:lnTo>
                  <a:lnTo>
                    <a:pt x="571" y="465"/>
                  </a:lnTo>
                  <a:lnTo>
                    <a:pt x="571" y="465"/>
                  </a:lnTo>
                  <a:lnTo>
                    <a:pt x="571" y="465"/>
                  </a:lnTo>
                  <a:lnTo>
                    <a:pt x="571" y="461"/>
                  </a:lnTo>
                  <a:lnTo>
                    <a:pt x="571" y="461"/>
                  </a:lnTo>
                  <a:lnTo>
                    <a:pt x="571" y="456"/>
                  </a:lnTo>
                  <a:lnTo>
                    <a:pt x="567" y="461"/>
                  </a:lnTo>
                  <a:lnTo>
                    <a:pt x="567" y="461"/>
                  </a:lnTo>
                  <a:lnTo>
                    <a:pt x="562" y="465"/>
                  </a:lnTo>
                  <a:lnTo>
                    <a:pt x="562" y="470"/>
                  </a:lnTo>
                  <a:lnTo>
                    <a:pt x="562" y="470"/>
                  </a:lnTo>
                  <a:lnTo>
                    <a:pt x="562" y="470"/>
                  </a:lnTo>
                  <a:lnTo>
                    <a:pt x="558" y="470"/>
                  </a:lnTo>
                  <a:lnTo>
                    <a:pt x="558" y="474"/>
                  </a:lnTo>
                  <a:lnTo>
                    <a:pt x="562" y="474"/>
                  </a:lnTo>
                  <a:lnTo>
                    <a:pt x="562" y="479"/>
                  </a:lnTo>
                  <a:lnTo>
                    <a:pt x="567" y="479"/>
                  </a:lnTo>
                  <a:lnTo>
                    <a:pt x="567" y="474"/>
                  </a:lnTo>
                  <a:lnTo>
                    <a:pt x="567" y="474"/>
                  </a:lnTo>
                  <a:lnTo>
                    <a:pt x="567" y="474"/>
                  </a:lnTo>
                  <a:lnTo>
                    <a:pt x="567" y="474"/>
                  </a:lnTo>
                  <a:lnTo>
                    <a:pt x="567" y="474"/>
                  </a:lnTo>
                  <a:lnTo>
                    <a:pt x="571" y="470"/>
                  </a:lnTo>
                  <a:lnTo>
                    <a:pt x="571" y="465"/>
                  </a:lnTo>
                  <a:lnTo>
                    <a:pt x="571" y="465"/>
                  </a:lnTo>
                  <a:lnTo>
                    <a:pt x="576" y="465"/>
                  </a:lnTo>
                  <a:lnTo>
                    <a:pt x="576" y="470"/>
                  </a:lnTo>
                  <a:lnTo>
                    <a:pt x="576" y="470"/>
                  </a:lnTo>
                  <a:lnTo>
                    <a:pt x="576" y="470"/>
                  </a:lnTo>
                  <a:lnTo>
                    <a:pt x="576" y="470"/>
                  </a:lnTo>
                  <a:lnTo>
                    <a:pt x="585" y="474"/>
                  </a:lnTo>
                  <a:lnTo>
                    <a:pt x="589" y="470"/>
                  </a:lnTo>
                  <a:lnTo>
                    <a:pt x="589" y="470"/>
                  </a:lnTo>
                  <a:lnTo>
                    <a:pt x="589" y="470"/>
                  </a:lnTo>
                  <a:lnTo>
                    <a:pt x="589" y="465"/>
                  </a:lnTo>
                  <a:lnTo>
                    <a:pt x="593" y="470"/>
                  </a:lnTo>
                  <a:lnTo>
                    <a:pt x="593" y="470"/>
                  </a:lnTo>
                  <a:lnTo>
                    <a:pt x="589" y="470"/>
                  </a:lnTo>
                  <a:lnTo>
                    <a:pt x="589" y="474"/>
                  </a:lnTo>
                  <a:lnTo>
                    <a:pt x="593" y="474"/>
                  </a:lnTo>
                  <a:lnTo>
                    <a:pt x="602" y="474"/>
                  </a:lnTo>
                  <a:lnTo>
                    <a:pt x="602" y="474"/>
                  </a:lnTo>
                  <a:lnTo>
                    <a:pt x="598" y="474"/>
                  </a:lnTo>
                  <a:lnTo>
                    <a:pt x="593" y="474"/>
                  </a:lnTo>
                  <a:lnTo>
                    <a:pt x="593" y="479"/>
                  </a:lnTo>
                  <a:lnTo>
                    <a:pt x="593" y="479"/>
                  </a:lnTo>
                  <a:lnTo>
                    <a:pt x="593" y="483"/>
                  </a:lnTo>
                  <a:lnTo>
                    <a:pt x="593" y="483"/>
                  </a:lnTo>
                  <a:lnTo>
                    <a:pt x="593" y="483"/>
                  </a:lnTo>
                  <a:lnTo>
                    <a:pt x="593" y="487"/>
                  </a:lnTo>
                  <a:lnTo>
                    <a:pt x="589" y="487"/>
                  </a:lnTo>
                  <a:lnTo>
                    <a:pt x="589" y="492"/>
                  </a:lnTo>
                  <a:lnTo>
                    <a:pt x="589" y="492"/>
                  </a:lnTo>
                  <a:lnTo>
                    <a:pt x="589" y="492"/>
                  </a:lnTo>
                  <a:lnTo>
                    <a:pt x="589" y="492"/>
                  </a:lnTo>
                  <a:lnTo>
                    <a:pt x="589" y="492"/>
                  </a:lnTo>
                  <a:lnTo>
                    <a:pt x="589" y="487"/>
                  </a:lnTo>
                  <a:lnTo>
                    <a:pt x="589" y="487"/>
                  </a:lnTo>
                  <a:lnTo>
                    <a:pt x="585" y="483"/>
                  </a:lnTo>
                  <a:lnTo>
                    <a:pt x="585" y="483"/>
                  </a:lnTo>
                  <a:lnTo>
                    <a:pt x="576" y="487"/>
                  </a:lnTo>
                  <a:lnTo>
                    <a:pt x="576" y="487"/>
                  </a:lnTo>
                  <a:lnTo>
                    <a:pt x="576" y="492"/>
                  </a:lnTo>
                  <a:lnTo>
                    <a:pt x="576" y="492"/>
                  </a:lnTo>
                  <a:lnTo>
                    <a:pt x="571" y="492"/>
                  </a:lnTo>
                  <a:lnTo>
                    <a:pt x="571" y="492"/>
                  </a:lnTo>
                  <a:lnTo>
                    <a:pt x="571" y="496"/>
                  </a:lnTo>
                  <a:lnTo>
                    <a:pt x="571" y="496"/>
                  </a:lnTo>
                  <a:lnTo>
                    <a:pt x="571" y="496"/>
                  </a:lnTo>
                  <a:lnTo>
                    <a:pt x="571" y="496"/>
                  </a:lnTo>
                  <a:lnTo>
                    <a:pt x="571" y="496"/>
                  </a:lnTo>
                  <a:lnTo>
                    <a:pt x="571" y="496"/>
                  </a:lnTo>
                  <a:lnTo>
                    <a:pt x="571" y="496"/>
                  </a:lnTo>
                  <a:lnTo>
                    <a:pt x="571" y="496"/>
                  </a:lnTo>
                  <a:lnTo>
                    <a:pt x="571" y="492"/>
                  </a:lnTo>
                  <a:lnTo>
                    <a:pt x="571" y="492"/>
                  </a:lnTo>
                  <a:lnTo>
                    <a:pt x="571" y="492"/>
                  </a:lnTo>
                  <a:lnTo>
                    <a:pt x="571" y="487"/>
                  </a:lnTo>
                  <a:lnTo>
                    <a:pt x="571" y="487"/>
                  </a:lnTo>
                  <a:lnTo>
                    <a:pt x="571" y="487"/>
                  </a:lnTo>
                  <a:lnTo>
                    <a:pt x="562" y="492"/>
                  </a:lnTo>
                  <a:lnTo>
                    <a:pt x="562" y="492"/>
                  </a:lnTo>
                  <a:lnTo>
                    <a:pt x="562" y="492"/>
                  </a:lnTo>
                  <a:lnTo>
                    <a:pt x="562" y="492"/>
                  </a:lnTo>
                  <a:lnTo>
                    <a:pt x="554" y="501"/>
                  </a:lnTo>
                  <a:lnTo>
                    <a:pt x="554" y="501"/>
                  </a:lnTo>
                  <a:lnTo>
                    <a:pt x="554" y="496"/>
                  </a:lnTo>
                  <a:lnTo>
                    <a:pt x="558" y="496"/>
                  </a:lnTo>
                  <a:lnTo>
                    <a:pt x="558" y="496"/>
                  </a:lnTo>
                  <a:lnTo>
                    <a:pt x="554" y="492"/>
                  </a:lnTo>
                  <a:lnTo>
                    <a:pt x="549" y="492"/>
                  </a:lnTo>
                  <a:lnTo>
                    <a:pt x="545" y="492"/>
                  </a:lnTo>
                  <a:lnTo>
                    <a:pt x="545" y="492"/>
                  </a:lnTo>
                  <a:lnTo>
                    <a:pt x="540" y="492"/>
                  </a:lnTo>
                  <a:lnTo>
                    <a:pt x="540" y="496"/>
                  </a:lnTo>
                  <a:lnTo>
                    <a:pt x="540" y="496"/>
                  </a:lnTo>
                  <a:lnTo>
                    <a:pt x="536" y="496"/>
                  </a:lnTo>
                  <a:lnTo>
                    <a:pt x="536" y="496"/>
                  </a:lnTo>
                  <a:lnTo>
                    <a:pt x="536" y="496"/>
                  </a:lnTo>
                  <a:lnTo>
                    <a:pt x="536" y="501"/>
                  </a:lnTo>
                  <a:lnTo>
                    <a:pt x="549" y="496"/>
                  </a:lnTo>
                  <a:lnTo>
                    <a:pt x="549" y="496"/>
                  </a:lnTo>
                  <a:lnTo>
                    <a:pt x="549" y="501"/>
                  </a:lnTo>
                  <a:lnTo>
                    <a:pt x="540" y="501"/>
                  </a:lnTo>
                  <a:lnTo>
                    <a:pt x="536" y="501"/>
                  </a:lnTo>
                  <a:lnTo>
                    <a:pt x="536" y="501"/>
                  </a:lnTo>
                  <a:lnTo>
                    <a:pt x="531" y="501"/>
                  </a:lnTo>
                  <a:lnTo>
                    <a:pt x="531" y="505"/>
                  </a:lnTo>
                  <a:lnTo>
                    <a:pt x="531" y="505"/>
                  </a:lnTo>
                  <a:lnTo>
                    <a:pt x="531" y="505"/>
                  </a:lnTo>
                  <a:lnTo>
                    <a:pt x="531" y="505"/>
                  </a:lnTo>
                  <a:lnTo>
                    <a:pt x="531" y="505"/>
                  </a:lnTo>
                  <a:lnTo>
                    <a:pt x="531" y="510"/>
                  </a:lnTo>
                  <a:lnTo>
                    <a:pt x="536" y="505"/>
                  </a:lnTo>
                  <a:lnTo>
                    <a:pt x="536" y="505"/>
                  </a:lnTo>
                  <a:lnTo>
                    <a:pt x="536" y="505"/>
                  </a:lnTo>
                  <a:lnTo>
                    <a:pt x="536" y="510"/>
                  </a:lnTo>
                  <a:lnTo>
                    <a:pt x="536" y="510"/>
                  </a:lnTo>
                  <a:lnTo>
                    <a:pt x="536" y="510"/>
                  </a:lnTo>
                  <a:lnTo>
                    <a:pt x="536" y="510"/>
                  </a:lnTo>
                  <a:lnTo>
                    <a:pt x="536" y="510"/>
                  </a:lnTo>
                  <a:lnTo>
                    <a:pt x="536" y="510"/>
                  </a:lnTo>
                  <a:lnTo>
                    <a:pt x="545" y="510"/>
                  </a:lnTo>
                  <a:lnTo>
                    <a:pt x="545" y="510"/>
                  </a:lnTo>
                  <a:lnTo>
                    <a:pt x="545" y="510"/>
                  </a:lnTo>
                  <a:lnTo>
                    <a:pt x="545" y="514"/>
                  </a:lnTo>
                  <a:lnTo>
                    <a:pt x="549" y="514"/>
                  </a:lnTo>
                  <a:lnTo>
                    <a:pt x="549" y="514"/>
                  </a:lnTo>
                  <a:lnTo>
                    <a:pt x="549" y="514"/>
                  </a:lnTo>
                  <a:lnTo>
                    <a:pt x="536" y="514"/>
                  </a:lnTo>
                  <a:lnTo>
                    <a:pt x="536" y="514"/>
                  </a:lnTo>
                  <a:lnTo>
                    <a:pt x="536" y="514"/>
                  </a:lnTo>
                  <a:lnTo>
                    <a:pt x="536" y="514"/>
                  </a:lnTo>
                  <a:lnTo>
                    <a:pt x="531" y="514"/>
                  </a:lnTo>
                  <a:lnTo>
                    <a:pt x="531" y="518"/>
                  </a:lnTo>
                  <a:lnTo>
                    <a:pt x="536" y="518"/>
                  </a:lnTo>
                  <a:lnTo>
                    <a:pt x="536" y="518"/>
                  </a:lnTo>
                  <a:lnTo>
                    <a:pt x="531" y="523"/>
                  </a:lnTo>
                  <a:lnTo>
                    <a:pt x="531" y="527"/>
                  </a:lnTo>
                  <a:lnTo>
                    <a:pt x="536" y="527"/>
                  </a:lnTo>
                  <a:lnTo>
                    <a:pt x="536" y="527"/>
                  </a:lnTo>
                  <a:lnTo>
                    <a:pt x="540" y="527"/>
                  </a:lnTo>
                  <a:lnTo>
                    <a:pt x="540" y="527"/>
                  </a:lnTo>
                  <a:lnTo>
                    <a:pt x="540" y="523"/>
                  </a:lnTo>
                  <a:lnTo>
                    <a:pt x="545" y="523"/>
                  </a:lnTo>
                  <a:lnTo>
                    <a:pt x="554" y="518"/>
                  </a:lnTo>
                  <a:lnTo>
                    <a:pt x="554" y="518"/>
                  </a:lnTo>
                  <a:lnTo>
                    <a:pt x="554" y="518"/>
                  </a:lnTo>
                  <a:lnTo>
                    <a:pt x="558" y="514"/>
                  </a:lnTo>
                  <a:lnTo>
                    <a:pt x="558" y="514"/>
                  </a:lnTo>
                  <a:lnTo>
                    <a:pt x="562" y="510"/>
                  </a:lnTo>
                  <a:lnTo>
                    <a:pt x="567" y="505"/>
                  </a:lnTo>
                  <a:lnTo>
                    <a:pt x="562" y="505"/>
                  </a:lnTo>
                  <a:lnTo>
                    <a:pt x="562" y="501"/>
                  </a:lnTo>
                  <a:lnTo>
                    <a:pt x="562" y="496"/>
                  </a:lnTo>
                  <a:lnTo>
                    <a:pt x="562" y="496"/>
                  </a:lnTo>
                  <a:lnTo>
                    <a:pt x="567" y="496"/>
                  </a:lnTo>
                  <a:lnTo>
                    <a:pt x="567" y="501"/>
                  </a:lnTo>
                  <a:lnTo>
                    <a:pt x="567" y="501"/>
                  </a:lnTo>
                  <a:lnTo>
                    <a:pt x="567" y="496"/>
                  </a:lnTo>
                  <a:lnTo>
                    <a:pt x="567" y="496"/>
                  </a:lnTo>
                  <a:lnTo>
                    <a:pt x="567" y="501"/>
                  </a:lnTo>
                  <a:lnTo>
                    <a:pt x="567" y="501"/>
                  </a:lnTo>
                  <a:lnTo>
                    <a:pt x="567" y="505"/>
                  </a:lnTo>
                  <a:lnTo>
                    <a:pt x="567" y="505"/>
                  </a:lnTo>
                  <a:lnTo>
                    <a:pt x="576" y="510"/>
                  </a:lnTo>
                  <a:lnTo>
                    <a:pt x="576" y="510"/>
                  </a:lnTo>
                  <a:lnTo>
                    <a:pt x="580" y="505"/>
                  </a:lnTo>
                  <a:lnTo>
                    <a:pt x="580" y="505"/>
                  </a:lnTo>
                  <a:lnTo>
                    <a:pt x="580" y="505"/>
                  </a:lnTo>
                  <a:lnTo>
                    <a:pt x="580" y="505"/>
                  </a:lnTo>
                  <a:lnTo>
                    <a:pt x="580" y="510"/>
                  </a:lnTo>
                  <a:lnTo>
                    <a:pt x="580" y="510"/>
                  </a:lnTo>
                  <a:lnTo>
                    <a:pt x="576" y="510"/>
                  </a:lnTo>
                  <a:lnTo>
                    <a:pt x="580" y="510"/>
                  </a:lnTo>
                  <a:lnTo>
                    <a:pt x="585" y="514"/>
                  </a:lnTo>
                  <a:lnTo>
                    <a:pt x="585" y="514"/>
                  </a:lnTo>
                  <a:lnTo>
                    <a:pt x="585" y="518"/>
                  </a:lnTo>
                  <a:lnTo>
                    <a:pt x="585" y="518"/>
                  </a:lnTo>
                  <a:lnTo>
                    <a:pt x="585" y="518"/>
                  </a:lnTo>
                  <a:lnTo>
                    <a:pt x="589" y="518"/>
                  </a:lnTo>
                  <a:lnTo>
                    <a:pt x="589" y="518"/>
                  </a:lnTo>
                  <a:lnTo>
                    <a:pt x="589" y="518"/>
                  </a:lnTo>
                  <a:lnTo>
                    <a:pt x="589" y="523"/>
                  </a:lnTo>
                  <a:lnTo>
                    <a:pt x="585" y="523"/>
                  </a:lnTo>
                  <a:lnTo>
                    <a:pt x="580" y="514"/>
                  </a:lnTo>
                  <a:lnTo>
                    <a:pt x="576" y="514"/>
                  </a:lnTo>
                  <a:lnTo>
                    <a:pt x="567" y="514"/>
                  </a:lnTo>
                  <a:lnTo>
                    <a:pt x="567" y="514"/>
                  </a:lnTo>
                  <a:lnTo>
                    <a:pt x="567" y="518"/>
                  </a:lnTo>
                  <a:lnTo>
                    <a:pt x="571" y="518"/>
                  </a:lnTo>
                  <a:lnTo>
                    <a:pt x="571" y="518"/>
                  </a:lnTo>
                  <a:lnTo>
                    <a:pt x="576" y="518"/>
                  </a:lnTo>
                  <a:lnTo>
                    <a:pt x="580" y="523"/>
                  </a:lnTo>
                  <a:lnTo>
                    <a:pt x="571" y="518"/>
                  </a:lnTo>
                  <a:lnTo>
                    <a:pt x="571" y="518"/>
                  </a:lnTo>
                  <a:lnTo>
                    <a:pt x="571" y="523"/>
                  </a:lnTo>
                  <a:lnTo>
                    <a:pt x="567" y="523"/>
                  </a:lnTo>
                  <a:lnTo>
                    <a:pt x="562" y="518"/>
                  </a:lnTo>
                  <a:lnTo>
                    <a:pt x="562" y="518"/>
                  </a:lnTo>
                  <a:lnTo>
                    <a:pt x="562" y="514"/>
                  </a:lnTo>
                  <a:lnTo>
                    <a:pt x="562" y="518"/>
                  </a:lnTo>
                  <a:lnTo>
                    <a:pt x="558" y="518"/>
                  </a:lnTo>
                  <a:lnTo>
                    <a:pt x="558" y="518"/>
                  </a:lnTo>
                  <a:lnTo>
                    <a:pt x="558" y="523"/>
                  </a:lnTo>
                  <a:lnTo>
                    <a:pt x="562" y="523"/>
                  </a:lnTo>
                  <a:lnTo>
                    <a:pt x="562" y="523"/>
                  </a:lnTo>
                  <a:lnTo>
                    <a:pt x="554" y="527"/>
                  </a:lnTo>
                  <a:lnTo>
                    <a:pt x="554" y="532"/>
                  </a:lnTo>
                  <a:lnTo>
                    <a:pt x="554" y="532"/>
                  </a:lnTo>
                  <a:lnTo>
                    <a:pt x="558" y="532"/>
                  </a:lnTo>
                  <a:lnTo>
                    <a:pt x="558" y="532"/>
                  </a:lnTo>
                  <a:lnTo>
                    <a:pt x="562" y="532"/>
                  </a:lnTo>
                  <a:lnTo>
                    <a:pt x="562" y="532"/>
                  </a:lnTo>
                  <a:lnTo>
                    <a:pt x="562" y="532"/>
                  </a:lnTo>
                  <a:lnTo>
                    <a:pt x="567" y="532"/>
                  </a:lnTo>
                  <a:lnTo>
                    <a:pt x="562" y="532"/>
                  </a:lnTo>
                  <a:lnTo>
                    <a:pt x="562" y="532"/>
                  </a:lnTo>
                  <a:lnTo>
                    <a:pt x="567" y="527"/>
                  </a:lnTo>
                  <a:lnTo>
                    <a:pt x="567" y="527"/>
                  </a:lnTo>
                  <a:lnTo>
                    <a:pt x="567" y="532"/>
                  </a:lnTo>
                  <a:lnTo>
                    <a:pt x="567" y="532"/>
                  </a:lnTo>
                  <a:lnTo>
                    <a:pt x="567" y="532"/>
                  </a:lnTo>
                  <a:lnTo>
                    <a:pt x="567" y="532"/>
                  </a:lnTo>
                  <a:lnTo>
                    <a:pt x="571" y="536"/>
                  </a:lnTo>
                  <a:lnTo>
                    <a:pt x="567" y="536"/>
                  </a:lnTo>
                  <a:lnTo>
                    <a:pt x="567" y="536"/>
                  </a:lnTo>
                  <a:lnTo>
                    <a:pt x="567" y="541"/>
                  </a:lnTo>
                  <a:lnTo>
                    <a:pt x="567" y="536"/>
                  </a:lnTo>
                  <a:lnTo>
                    <a:pt x="567" y="536"/>
                  </a:lnTo>
                  <a:lnTo>
                    <a:pt x="562" y="536"/>
                  </a:lnTo>
                  <a:lnTo>
                    <a:pt x="562" y="532"/>
                  </a:lnTo>
                  <a:lnTo>
                    <a:pt x="558" y="532"/>
                  </a:lnTo>
                  <a:lnTo>
                    <a:pt x="558" y="536"/>
                  </a:lnTo>
                  <a:lnTo>
                    <a:pt x="558" y="536"/>
                  </a:lnTo>
                  <a:lnTo>
                    <a:pt x="558" y="536"/>
                  </a:lnTo>
                  <a:lnTo>
                    <a:pt x="558" y="536"/>
                  </a:lnTo>
                  <a:lnTo>
                    <a:pt x="558" y="541"/>
                  </a:lnTo>
                  <a:lnTo>
                    <a:pt x="558" y="541"/>
                  </a:lnTo>
                  <a:lnTo>
                    <a:pt x="558" y="541"/>
                  </a:lnTo>
                  <a:lnTo>
                    <a:pt x="558" y="545"/>
                  </a:lnTo>
                  <a:lnTo>
                    <a:pt x="571" y="545"/>
                  </a:lnTo>
                  <a:lnTo>
                    <a:pt x="576" y="545"/>
                  </a:lnTo>
                  <a:lnTo>
                    <a:pt x="580" y="541"/>
                  </a:lnTo>
                  <a:lnTo>
                    <a:pt x="589" y="536"/>
                  </a:lnTo>
                  <a:lnTo>
                    <a:pt x="593" y="541"/>
                  </a:lnTo>
                  <a:lnTo>
                    <a:pt x="585" y="541"/>
                  </a:lnTo>
                  <a:lnTo>
                    <a:pt x="576" y="545"/>
                  </a:lnTo>
                  <a:lnTo>
                    <a:pt x="576" y="549"/>
                  </a:lnTo>
                  <a:lnTo>
                    <a:pt x="571" y="549"/>
                  </a:lnTo>
                  <a:lnTo>
                    <a:pt x="571" y="554"/>
                  </a:lnTo>
                  <a:lnTo>
                    <a:pt x="576" y="554"/>
                  </a:lnTo>
                  <a:lnTo>
                    <a:pt x="576" y="554"/>
                  </a:lnTo>
                  <a:lnTo>
                    <a:pt x="576" y="554"/>
                  </a:lnTo>
                  <a:lnTo>
                    <a:pt x="571" y="554"/>
                  </a:lnTo>
                  <a:lnTo>
                    <a:pt x="571" y="558"/>
                  </a:lnTo>
                  <a:lnTo>
                    <a:pt x="576" y="558"/>
                  </a:lnTo>
                  <a:lnTo>
                    <a:pt x="576" y="563"/>
                  </a:lnTo>
                  <a:lnTo>
                    <a:pt x="576" y="563"/>
                  </a:lnTo>
                  <a:lnTo>
                    <a:pt x="576" y="563"/>
                  </a:lnTo>
                  <a:lnTo>
                    <a:pt x="576" y="567"/>
                  </a:lnTo>
                  <a:lnTo>
                    <a:pt x="576" y="567"/>
                  </a:lnTo>
                  <a:lnTo>
                    <a:pt x="576" y="567"/>
                  </a:lnTo>
                  <a:lnTo>
                    <a:pt x="576" y="572"/>
                  </a:lnTo>
                  <a:lnTo>
                    <a:pt x="580" y="572"/>
                  </a:lnTo>
                  <a:lnTo>
                    <a:pt x="580" y="572"/>
                  </a:lnTo>
                  <a:lnTo>
                    <a:pt x="580" y="576"/>
                  </a:lnTo>
                  <a:lnTo>
                    <a:pt x="580" y="576"/>
                  </a:lnTo>
                  <a:lnTo>
                    <a:pt x="576" y="576"/>
                  </a:lnTo>
                  <a:lnTo>
                    <a:pt x="576" y="576"/>
                  </a:lnTo>
                  <a:lnTo>
                    <a:pt x="576" y="576"/>
                  </a:lnTo>
                  <a:lnTo>
                    <a:pt x="580" y="576"/>
                  </a:lnTo>
                  <a:lnTo>
                    <a:pt x="580" y="576"/>
                  </a:lnTo>
                  <a:lnTo>
                    <a:pt x="576" y="572"/>
                  </a:lnTo>
                  <a:lnTo>
                    <a:pt x="576" y="572"/>
                  </a:lnTo>
                  <a:lnTo>
                    <a:pt x="576" y="567"/>
                  </a:lnTo>
                  <a:lnTo>
                    <a:pt x="571" y="567"/>
                  </a:lnTo>
                  <a:lnTo>
                    <a:pt x="571" y="567"/>
                  </a:lnTo>
                  <a:lnTo>
                    <a:pt x="571" y="563"/>
                  </a:lnTo>
                  <a:lnTo>
                    <a:pt x="571" y="563"/>
                  </a:lnTo>
                  <a:lnTo>
                    <a:pt x="571" y="558"/>
                  </a:lnTo>
                  <a:lnTo>
                    <a:pt x="571" y="554"/>
                  </a:lnTo>
                  <a:lnTo>
                    <a:pt x="571" y="554"/>
                  </a:lnTo>
                  <a:lnTo>
                    <a:pt x="567" y="549"/>
                  </a:lnTo>
                  <a:lnTo>
                    <a:pt x="562" y="549"/>
                  </a:lnTo>
                  <a:lnTo>
                    <a:pt x="558" y="549"/>
                  </a:lnTo>
                  <a:lnTo>
                    <a:pt x="558" y="549"/>
                  </a:lnTo>
                  <a:lnTo>
                    <a:pt x="558" y="549"/>
                  </a:lnTo>
                  <a:lnTo>
                    <a:pt x="558" y="554"/>
                  </a:lnTo>
                  <a:lnTo>
                    <a:pt x="558" y="554"/>
                  </a:lnTo>
                  <a:lnTo>
                    <a:pt x="558" y="554"/>
                  </a:lnTo>
                  <a:lnTo>
                    <a:pt x="554" y="554"/>
                  </a:lnTo>
                  <a:lnTo>
                    <a:pt x="554" y="554"/>
                  </a:lnTo>
                  <a:lnTo>
                    <a:pt x="554" y="558"/>
                  </a:lnTo>
                  <a:lnTo>
                    <a:pt x="554" y="558"/>
                  </a:lnTo>
                  <a:lnTo>
                    <a:pt x="554" y="554"/>
                  </a:lnTo>
                  <a:lnTo>
                    <a:pt x="554" y="554"/>
                  </a:lnTo>
                  <a:lnTo>
                    <a:pt x="554" y="554"/>
                  </a:lnTo>
                  <a:lnTo>
                    <a:pt x="554" y="549"/>
                  </a:lnTo>
                  <a:lnTo>
                    <a:pt x="554" y="549"/>
                  </a:lnTo>
                  <a:lnTo>
                    <a:pt x="554" y="549"/>
                  </a:lnTo>
                  <a:lnTo>
                    <a:pt x="554" y="549"/>
                  </a:lnTo>
                  <a:lnTo>
                    <a:pt x="554" y="549"/>
                  </a:lnTo>
                  <a:lnTo>
                    <a:pt x="554" y="549"/>
                  </a:lnTo>
                  <a:lnTo>
                    <a:pt x="554" y="549"/>
                  </a:lnTo>
                  <a:lnTo>
                    <a:pt x="554" y="549"/>
                  </a:lnTo>
                  <a:lnTo>
                    <a:pt x="554" y="549"/>
                  </a:lnTo>
                  <a:lnTo>
                    <a:pt x="554" y="545"/>
                  </a:lnTo>
                  <a:lnTo>
                    <a:pt x="554" y="545"/>
                  </a:lnTo>
                  <a:lnTo>
                    <a:pt x="554" y="545"/>
                  </a:lnTo>
                  <a:lnTo>
                    <a:pt x="554" y="545"/>
                  </a:lnTo>
                  <a:lnTo>
                    <a:pt x="554" y="545"/>
                  </a:lnTo>
                  <a:lnTo>
                    <a:pt x="554" y="545"/>
                  </a:lnTo>
                  <a:lnTo>
                    <a:pt x="549" y="545"/>
                  </a:lnTo>
                  <a:lnTo>
                    <a:pt x="549" y="545"/>
                  </a:lnTo>
                  <a:lnTo>
                    <a:pt x="549" y="549"/>
                  </a:lnTo>
                  <a:lnTo>
                    <a:pt x="549" y="549"/>
                  </a:lnTo>
                  <a:lnTo>
                    <a:pt x="545" y="549"/>
                  </a:lnTo>
                  <a:lnTo>
                    <a:pt x="545" y="549"/>
                  </a:lnTo>
                  <a:lnTo>
                    <a:pt x="545" y="549"/>
                  </a:lnTo>
                  <a:lnTo>
                    <a:pt x="536" y="549"/>
                  </a:lnTo>
                  <a:lnTo>
                    <a:pt x="536" y="549"/>
                  </a:lnTo>
                  <a:lnTo>
                    <a:pt x="540" y="549"/>
                  </a:lnTo>
                  <a:lnTo>
                    <a:pt x="545" y="549"/>
                  </a:lnTo>
                  <a:lnTo>
                    <a:pt x="549" y="545"/>
                  </a:lnTo>
                  <a:lnTo>
                    <a:pt x="545" y="545"/>
                  </a:lnTo>
                  <a:lnTo>
                    <a:pt x="545" y="541"/>
                  </a:lnTo>
                  <a:lnTo>
                    <a:pt x="545" y="541"/>
                  </a:lnTo>
                  <a:lnTo>
                    <a:pt x="545" y="536"/>
                  </a:lnTo>
                  <a:lnTo>
                    <a:pt x="545" y="541"/>
                  </a:lnTo>
                  <a:lnTo>
                    <a:pt x="549" y="541"/>
                  </a:lnTo>
                  <a:lnTo>
                    <a:pt x="549" y="541"/>
                  </a:lnTo>
                  <a:lnTo>
                    <a:pt x="549" y="541"/>
                  </a:lnTo>
                  <a:lnTo>
                    <a:pt x="549" y="541"/>
                  </a:lnTo>
                  <a:lnTo>
                    <a:pt x="554" y="541"/>
                  </a:lnTo>
                  <a:lnTo>
                    <a:pt x="554" y="541"/>
                  </a:lnTo>
                  <a:lnTo>
                    <a:pt x="554" y="541"/>
                  </a:lnTo>
                  <a:lnTo>
                    <a:pt x="554" y="541"/>
                  </a:lnTo>
                  <a:lnTo>
                    <a:pt x="549" y="536"/>
                  </a:lnTo>
                  <a:lnTo>
                    <a:pt x="549" y="536"/>
                  </a:lnTo>
                  <a:lnTo>
                    <a:pt x="549" y="536"/>
                  </a:lnTo>
                  <a:lnTo>
                    <a:pt x="545" y="536"/>
                  </a:lnTo>
                  <a:lnTo>
                    <a:pt x="536" y="545"/>
                  </a:lnTo>
                  <a:lnTo>
                    <a:pt x="531" y="545"/>
                  </a:lnTo>
                  <a:lnTo>
                    <a:pt x="531" y="545"/>
                  </a:lnTo>
                  <a:lnTo>
                    <a:pt x="531" y="549"/>
                  </a:lnTo>
                  <a:lnTo>
                    <a:pt x="531" y="549"/>
                  </a:lnTo>
                  <a:lnTo>
                    <a:pt x="531" y="549"/>
                  </a:lnTo>
                  <a:lnTo>
                    <a:pt x="531" y="549"/>
                  </a:lnTo>
                  <a:lnTo>
                    <a:pt x="531" y="549"/>
                  </a:lnTo>
                  <a:lnTo>
                    <a:pt x="531" y="549"/>
                  </a:lnTo>
                  <a:lnTo>
                    <a:pt x="531" y="554"/>
                  </a:lnTo>
                  <a:lnTo>
                    <a:pt x="536" y="549"/>
                  </a:lnTo>
                  <a:lnTo>
                    <a:pt x="536" y="554"/>
                  </a:lnTo>
                  <a:lnTo>
                    <a:pt x="536" y="554"/>
                  </a:lnTo>
                  <a:lnTo>
                    <a:pt x="536" y="554"/>
                  </a:lnTo>
                  <a:lnTo>
                    <a:pt x="540" y="554"/>
                  </a:lnTo>
                  <a:lnTo>
                    <a:pt x="549" y="554"/>
                  </a:lnTo>
                  <a:lnTo>
                    <a:pt x="545" y="558"/>
                  </a:lnTo>
                  <a:lnTo>
                    <a:pt x="540" y="558"/>
                  </a:lnTo>
                  <a:lnTo>
                    <a:pt x="540" y="558"/>
                  </a:lnTo>
                  <a:lnTo>
                    <a:pt x="540" y="558"/>
                  </a:lnTo>
                  <a:lnTo>
                    <a:pt x="536" y="563"/>
                  </a:lnTo>
                  <a:lnTo>
                    <a:pt x="536" y="563"/>
                  </a:lnTo>
                  <a:lnTo>
                    <a:pt x="536" y="563"/>
                  </a:lnTo>
                  <a:lnTo>
                    <a:pt x="536" y="563"/>
                  </a:lnTo>
                  <a:lnTo>
                    <a:pt x="536" y="558"/>
                  </a:lnTo>
                  <a:lnTo>
                    <a:pt x="536" y="558"/>
                  </a:lnTo>
                  <a:lnTo>
                    <a:pt x="536" y="558"/>
                  </a:lnTo>
                  <a:lnTo>
                    <a:pt x="531" y="558"/>
                  </a:lnTo>
                  <a:lnTo>
                    <a:pt x="531" y="558"/>
                  </a:lnTo>
                  <a:lnTo>
                    <a:pt x="527" y="558"/>
                  </a:lnTo>
                  <a:lnTo>
                    <a:pt x="523" y="558"/>
                  </a:lnTo>
                  <a:lnTo>
                    <a:pt x="523" y="558"/>
                  </a:lnTo>
                  <a:lnTo>
                    <a:pt x="523" y="563"/>
                  </a:lnTo>
                  <a:lnTo>
                    <a:pt x="523" y="563"/>
                  </a:lnTo>
                  <a:lnTo>
                    <a:pt x="523" y="563"/>
                  </a:lnTo>
                  <a:lnTo>
                    <a:pt x="523" y="563"/>
                  </a:lnTo>
                  <a:lnTo>
                    <a:pt x="523" y="563"/>
                  </a:lnTo>
                  <a:lnTo>
                    <a:pt x="523" y="563"/>
                  </a:lnTo>
                  <a:lnTo>
                    <a:pt x="523" y="563"/>
                  </a:lnTo>
                  <a:lnTo>
                    <a:pt x="518" y="572"/>
                  </a:lnTo>
                  <a:lnTo>
                    <a:pt x="514" y="576"/>
                  </a:lnTo>
                  <a:lnTo>
                    <a:pt x="514" y="576"/>
                  </a:lnTo>
                  <a:lnTo>
                    <a:pt x="514" y="576"/>
                  </a:lnTo>
                  <a:lnTo>
                    <a:pt x="514" y="580"/>
                  </a:lnTo>
                  <a:lnTo>
                    <a:pt x="514" y="580"/>
                  </a:lnTo>
                  <a:lnTo>
                    <a:pt x="509" y="580"/>
                  </a:lnTo>
                  <a:lnTo>
                    <a:pt x="509" y="585"/>
                  </a:lnTo>
                  <a:lnTo>
                    <a:pt x="509" y="585"/>
                  </a:lnTo>
                  <a:lnTo>
                    <a:pt x="514" y="580"/>
                  </a:lnTo>
                  <a:lnTo>
                    <a:pt x="514" y="580"/>
                  </a:lnTo>
                  <a:lnTo>
                    <a:pt x="523" y="580"/>
                  </a:lnTo>
                  <a:lnTo>
                    <a:pt x="523" y="580"/>
                  </a:lnTo>
                  <a:lnTo>
                    <a:pt x="527" y="576"/>
                  </a:lnTo>
                  <a:lnTo>
                    <a:pt x="527" y="576"/>
                  </a:lnTo>
                  <a:lnTo>
                    <a:pt x="527" y="576"/>
                  </a:lnTo>
                  <a:lnTo>
                    <a:pt x="527" y="580"/>
                  </a:lnTo>
                  <a:lnTo>
                    <a:pt x="527" y="580"/>
                  </a:lnTo>
                  <a:lnTo>
                    <a:pt x="527" y="585"/>
                  </a:lnTo>
                  <a:lnTo>
                    <a:pt x="523" y="585"/>
                  </a:lnTo>
                  <a:lnTo>
                    <a:pt x="527" y="585"/>
                  </a:lnTo>
                  <a:lnTo>
                    <a:pt x="536" y="580"/>
                  </a:lnTo>
                  <a:lnTo>
                    <a:pt x="536" y="580"/>
                  </a:lnTo>
                  <a:lnTo>
                    <a:pt x="536" y="580"/>
                  </a:lnTo>
                  <a:lnTo>
                    <a:pt x="531" y="580"/>
                  </a:lnTo>
                  <a:lnTo>
                    <a:pt x="531" y="580"/>
                  </a:lnTo>
                  <a:lnTo>
                    <a:pt x="540" y="576"/>
                  </a:lnTo>
                  <a:lnTo>
                    <a:pt x="545" y="580"/>
                  </a:lnTo>
                  <a:lnTo>
                    <a:pt x="545" y="580"/>
                  </a:lnTo>
                  <a:lnTo>
                    <a:pt x="545" y="576"/>
                  </a:lnTo>
                  <a:lnTo>
                    <a:pt x="545" y="576"/>
                  </a:lnTo>
                  <a:lnTo>
                    <a:pt x="545" y="576"/>
                  </a:lnTo>
                  <a:lnTo>
                    <a:pt x="545" y="576"/>
                  </a:lnTo>
                  <a:lnTo>
                    <a:pt x="545" y="576"/>
                  </a:lnTo>
                  <a:lnTo>
                    <a:pt x="549" y="576"/>
                  </a:lnTo>
                  <a:lnTo>
                    <a:pt x="554" y="572"/>
                  </a:lnTo>
                  <a:lnTo>
                    <a:pt x="554" y="572"/>
                  </a:lnTo>
                  <a:lnTo>
                    <a:pt x="554" y="576"/>
                  </a:lnTo>
                  <a:lnTo>
                    <a:pt x="554" y="580"/>
                  </a:lnTo>
                  <a:lnTo>
                    <a:pt x="549" y="580"/>
                  </a:lnTo>
                  <a:lnTo>
                    <a:pt x="549" y="580"/>
                  </a:lnTo>
                  <a:lnTo>
                    <a:pt x="549" y="580"/>
                  </a:lnTo>
                  <a:lnTo>
                    <a:pt x="549" y="580"/>
                  </a:lnTo>
                  <a:lnTo>
                    <a:pt x="554" y="585"/>
                  </a:lnTo>
                  <a:lnTo>
                    <a:pt x="558" y="585"/>
                  </a:lnTo>
                  <a:lnTo>
                    <a:pt x="558" y="580"/>
                  </a:lnTo>
                  <a:lnTo>
                    <a:pt x="558" y="580"/>
                  </a:lnTo>
                  <a:lnTo>
                    <a:pt x="558" y="580"/>
                  </a:lnTo>
                  <a:lnTo>
                    <a:pt x="562" y="580"/>
                  </a:lnTo>
                  <a:lnTo>
                    <a:pt x="562" y="585"/>
                  </a:lnTo>
                  <a:lnTo>
                    <a:pt x="562" y="585"/>
                  </a:lnTo>
                  <a:lnTo>
                    <a:pt x="558" y="585"/>
                  </a:lnTo>
                  <a:lnTo>
                    <a:pt x="558" y="585"/>
                  </a:lnTo>
                  <a:lnTo>
                    <a:pt x="558" y="585"/>
                  </a:lnTo>
                  <a:lnTo>
                    <a:pt x="562" y="585"/>
                  </a:lnTo>
                  <a:lnTo>
                    <a:pt x="562" y="585"/>
                  </a:lnTo>
                  <a:lnTo>
                    <a:pt x="567" y="585"/>
                  </a:lnTo>
                  <a:lnTo>
                    <a:pt x="567" y="585"/>
                  </a:lnTo>
                  <a:lnTo>
                    <a:pt x="576" y="585"/>
                  </a:lnTo>
                  <a:lnTo>
                    <a:pt x="576" y="589"/>
                  </a:lnTo>
                  <a:lnTo>
                    <a:pt x="580" y="585"/>
                  </a:lnTo>
                  <a:lnTo>
                    <a:pt x="580" y="585"/>
                  </a:lnTo>
                  <a:lnTo>
                    <a:pt x="580" y="589"/>
                  </a:lnTo>
                  <a:lnTo>
                    <a:pt x="585" y="589"/>
                  </a:lnTo>
                  <a:lnTo>
                    <a:pt x="585" y="589"/>
                  </a:lnTo>
                  <a:lnTo>
                    <a:pt x="585" y="589"/>
                  </a:lnTo>
                  <a:lnTo>
                    <a:pt x="580" y="589"/>
                  </a:lnTo>
                  <a:lnTo>
                    <a:pt x="567" y="585"/>
                  </a:lnTo>
                  <a:lnTo>
                    <a:pt x="567" y="585"/>
                  </a:lnTo>
                  <a:lnTo>
                    <a:pt x="562" y="589"/>
                  </a:lnTo>
                  <a:lnTo>
                    <a:pt x="567" y="589"/>
                  </a:lnTo>
                  <a:lnTo>
                    <a:pt x="567" y="594"/>
                  </a:lnTo>
                  <a:lnTo>
                    <a:pt x="571" y="594"/>
                  </a:lnTo>
                  <a:lnTo>
                    <a:pt x="571" y="594"/>
                  </a:lnTo>
                  <a:lnTo>
                    <a:pt x="571" y="594"/>
                  </a:lnTo>
                  <a:lnTo>
                    <a:pt x="567" y="598"/>
                  </a:lnTo>
                  <a:lnTo>
                    <a:pt x="567" y="598"/>
                  </a:lnTo>
                  <a:lnTo>
                    <a:pt x="567" y="603"/>
                  </a:lnTo>
                  <a:lnTo>
                    <a:pt x="567" y="603"/>
                  </a:lnTo>
                  <a:lnTo>
                    <a:pt x="571" y="603"/>
                  </a:lnTo>
                  <a:lnTo>
                    <a:pt x="571" y="607"/>
                  </a:lnTo>
                  <a:lnTo>
                    <a:pt x="571" y="607"/>
                  </a:lnTo>
                  <a:lnTo>
                    <a:pt x="567" y="603"/>
                  </a:lnTo>
                  <a:lnTo>
                    <a:pt x="567" y="603"/>
                  </a:lnTo>
                  <a:lnTo>
                    <a:pt x="562" y="603"/>
                  </a:lnTo>
                  <a:lnTo>
                    <a:pt x="567" y="598"/>
                  </a:lnTo>
                  <a:lnTo>
                    <a:pt x="567" y="594"/>
                  </a:lnTo>
                  <a:lnTo>
                    <a:pt x="567" y="594"/>
                  </a:lnTo>
                  <a:lnTo>
                    <a:pt x="562" y="594"/>
                  </a:lnTo>
                  <a:lnTo>
                    <a:pt x="562" y="594"/>
                  </a:lnTo>
                  <a:lnTo>
                    <a:pt x="558" y="589"/>
                  </a:lnTo>
                  <a:lnTo>
                    <a:pt x="558" y="589"/>
                  </a:lnTo>
                  <a:lnTo>
                    <a:pt x="558" y="589"/>
                  </a:lnTo>
                  <a:lnTo>
                    <a:pt x="554" y="589"/>
                  </a:lnTo>
                  <a:lnTo>
                    <a:pt x="554" y="589"/>
                  </a:lnTo>
                  <a:lnTo>
                    <a:pt x="549" y="585"/>
                  </a:lnTo>
                  <a:lnTo>
                    <a:pt x="549" y="585"/>
                  </a:lnTo>
                  <a:lnTo>
                    <a:pt x="545" y="589"/>
                  </a:lnTo>
                  <a:lnTo>
                    <a:pt x="545" y="589"/>
                  </a:lnTo>
                  <a:lnTo>
                    <a:pt x="540" y="594"/>
                  </a:lnTo>
                  <a:lnTo>
                    <a:pt x="540" y="594"/>
                  </a:lnTo>
                  <a:lnTo>
                    <a:pt x="540" y="594"/>
                  </a:lnTo>
                  <a:lnTo>
                    <a:pt x="545" y="598"/>
                  </a:lnTo>
                  <a:lnTo>
                    <a:pt x="545" y="598"/>
                  </a:lnTo>
                  <a:lnTo>
                    <a:pt x="545" y="603"/>
                  </a:lnTo>
                  <a:lnTo>
                    <a:pt x="545" y="603"/>
                  </a:lnTo>
                  <a:lnTo>
                    <a:pt x="545" y="603"/>
                  </a:lnTo>
                  <a:lnTo>
                    <a:pt x="540" y="598"/>
                  </a:lnTo>
                  <a:lnTo>
                    <a:pt x="540" y="594"/>
                  </a:lnTo>
                  <a:lnTo>
                    <a:pt x="540" y="594"/>
                  </a:lnTo>
                  <a:lnTo>
                    <a:pt x="540" y="594"/>
                  </a:lnTo>
                  <a:lnTo>
                    <a:pt x="540" y="594"/>
                  </a:lnTo>
                  <a:lnTo>
                    <a:pt x="540" y="589"/>
                  </a:lnTo>
                  <a:lnTo>
                    <a:pt x="540" y="589"/>
                  </a:lnTo>
                  <a:lnTo>
                    <a:pt x="540" y="589"/>
                  </a:lnTo>
                  <a:lnTo>
                    <a:pt x="545" y="585"/>
                  </a:lnTo>
                  <a:lnTo>
                    <a:pt x="545" y="585"/>
                  </a:lnTo>
                  <a:lnTo>
                    <a:pt x="540" y="585"/>
                  </a:lnTo>
                  <a:lnTo>
                    <a:pt x="531" y="585"/>
                  </a:lnTo>
                  <a:lnTo>
                    <a:pt x="531" y="585"/>
                  </a:lnTo>
                  <a:lnTo>
                    <a:pt x="531" y="589"/>
                  </a:lnTo>
                  <a:lnTo>
                    <a:pt x="527" y="589"/>
                  </a:lnTo>
                  <a:lnTo>
                    <a:pt x="527" y="589"/>
                  </a:lnTo>
                  <a:lnTo>
                    <a:pt x="527" y="589"/>
                  </a:lnTo>
                  <a:lnTo>
                    <a:pt x="527" y="589"/>
                  </a:lnTo>
                  <a:lnTo>
                    <a:pt x="523" y="589"/>
                  </a:lnTo>
                  <a:lnTo>
                    <a:pt x="523" y="589"/>
                  </a:lnTo>
                  <a:lnTo>
                    <a:pt x="518" y="589"/>
                  </a:lnTo>
                  <a:lnTo>
                    <a:pt x="518" y="589"/>
                  </a:lnTo>
                  <a:lnTo>
                    <a:pt x="527" y="589"/>
                  </a:lnTo>
                  <a:lnTo>
                    <a:pt x="531" y="594"/>
                  </a:lnTo>
                  <a:lnTo>
                    <a:pt x="531" y="594"/>
                  </a:lnTo>
                  <a:lnTo>
                    <a:pt x="531" y="594"/>
                  </a:lnTo>
                  <a:lnTo>
                    <a:pt x="531" y="598"/>
                  </a:lnTo>
                  <a:lnTo>
                    <a:pt x="531" y="598"/>
                  </a:lnTo>
                  <a:lnTo>
                    <a:pt x="531" y="598"/>
                  </a:lnTo>
                  <a:lnTo>
                    <a:pt x="531" y="598"/>
                  </a:lnTo>
                  <a:lnTo>
                    <a:pt x="527" y="594"/>
                  </a:lnTo>
                  <a:lnTo>
                    <a:pt x="527" y="594"/>
                  </a:lnTo>
                  <a:lnTo>
                    <a:pt x="518" y="594"/>
                  </a:lnTo>
                  <a:lnTo>
                    <a:pt x="518" y="594"/>
                  </a:lnTo>
                  <a:lnTo>
                    <a:pt x="518" y="594"/>
                  </a:lnTo>
                  <a:lnTo>
                    <a:pt x="518" y="594"/>
                  </a:lnTo>
                  <a:lnTo>
                    <a:pt x="518" y="598"/>
                  </a:lnTo>
                  <a:lnTo>
                    <a:pt x="518" y="598"/>
                  </a:lnTo>
                  <a:lnTo>
                    <a:pt x="514" y="598"/>
                  </a:lnTo>
                  <a:lnTo>
                    <a:pt x="514" y="598"/>
                  </a:lnTo>
                  <a:lnTo>
                    <a:pt x="514" y="598"/>
                  </a:lnTo>
                  <a:lnTo>
                    <a:pt x="514" y="598"/>
                  </a:lnTo>
                  <a:lnTo>
                    <a:pt x="514" y="594"/>
                  </a:lnTo>
                  <a:lnTo>
                    <a:pt x="514" y="594"/>
                  </a:lnTo>
                  <a:lnTo>
                    <a:pt x="514" y="594"/>
                  </a:lnTo>
                  <a:lnTo>
                    <a:pt x="509" y="594"/>
                  </a:lnTo>
                  <a:lnTo>
                    <a:pt x="509" y="594"/>
                  </a:lnTo>
                  <a:lnTo>
                    <a:pt x="509" y="594"/>
                  </a:lnTo>
                  <a:lnTo>
                    <a:pt x="509" y="598"/>
                  </a:lnTo>
                  <a:lnTo>
                    <a:pt x="509" y="598"/>
                  </a:lnTo>
                  <a:lnTo>
                    <a:pt x="509" y="598"/>
                  </a:lnTo>
                  <a:lnTo>
                    <a:pt x="509" y="603"/>
                  </a:lnTo>
                  <a:lnTo>
                    <a:pt x="505" y="603"/>
                  </a:lnTo>
                  <a:lnTo>
                    <a:pt x="505" y="603"/>
                  </a:lnTo>
                  <a:lnTo>
                    <a:pt x="509" y="603"/>
                  </a:lnTo>
                  <a:lnTo>
                    <a:pt x="514" y="603"/>
                  </a:lnTo>
                  <a:lnTo>
                    <a:pt x="518" y="607"/>
                  </a:lnTo>
                  <a:lnTo>
                    <a:pt x="523" y="607"/>
                  </a:lnTo>
                  <a:lnTo>
                    <a:pt x="523" y="607"/>
                  </a:lnTo>
                  <a:lnTo>
                    <a:pt x="523" y="607"/>
                  </a:lnTo>
                  <a:lnTo>
                    <a:pt x="523" y="611"/>
                  </a:lnTo>
                  <a:lnTo>
                    <a:pt x="523" y="611"/>
                  </a:lnTo>
                  <a:lnTo>
                    <a:pt x="523" y="611"/>
                  </a:lnTo>
                  <a:lnTo>
                    <a:pt x="523" y="611"/>
                  </a:lnTo>
                  <a:lnTo>
                    <a:pt x="523" y="607"/>
                  </a:lnTo>
                  <a:lnTo>
                    <a:pt x="518" y="607"/>
                  </a:lnTo>
                  <a:lnTo>
                    <a:pt x="518" y="607"/>
                  </a:lnTo>
                  <a:lnTo>
                    <a:pt x="518" y="607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05" y="607"/>
                  </a:lnTo>
                  <a:lnTo>
                    <a:pt x="505" y="607"/>
                  </a:lnTo>
                  <a:lnTo>
                    <a:pt x="505" y="607"/>
                  </a:lnTo>
                  <a:lnTo>
                    <a:pt x="505" y="611"/>
                  </a:lnTo>
                  <a:lnTo>
                    <a:pt x="505" y="616"/>
                  </a:lnTo>
                  <a:lnTo>
                    <a:pt x="505" y="616"/>
                  </a:lnTo>
                  <a:lnTo>
                    <a:pt x="505" y="616"/>
                  </a:lnTo>
                  <a:lnTo>
                    <a:pt x="505" y="616"/>
                  </a:lnTo>
                  <a:lnTo>
                    <a:pt x="505" y="616"/>
                  </a:lnTo>
                  <a:lnTo>
                    <a:pt x="505" y="616"/>
                  </a:lnTo>
                  <a:lnTo>
                    <a:pt x="500" y="616"/>
                  </a:lnTo>
                  <a:lnTo>
                    <a:pt x="500" y="620"/>
                  </a:lnTo>
                  <a:lnTo>
                    <a:pt x="500" y="616"/>
                  </a:lnTo>
                  <a:lnTo>
                    <a:pt x="500" y="616"/>
                  </a:lnTo>
                  <a:lnTo>
                    <a:pt x="500" y="620"/>
                  </a:lnTo>
                  <a:lnTo>
                    <a:pt x="496" y="616"/>
                  </a:lnTo>
                  <a:lnTo>
                    <a:pt x="496" y="616"/>
                  </a:lnTo>
                  <a:lnTo>
                    <a:pt x="496" y="611"/>
                  </a:lnTo>
                  <a:lnTo>
                    <a:pt x="496" y="611"/>
                  </a:lnTo>
                  <a:lnTo>
                    <a:pt x="496" y="607"/>
                  </a:lnTo>
                  <a:lnTo>
                    <a:pt x="496" y="607"/>
                  </a:lnTo>
                  <a:lnTo>
                    <a:pt x="496" y="607"/>
                  </a:lnTo>
                  <a:lnTo>
                    <a:pt x="496" y="607"/>
                  </a:lnTo>
                  <a:lnTo>
                    <a:pt x="492" y="607"/>
                  </a:lnTo>
                  <a:lnTo>
                    <a:pt x="492" y="611"/>
                  </a:lnTo>
                  <a:lnTo>
                    <a:pt x="492" y="611"/>
                  </a:lnTo>
                  <a:lnTo>
                    <a:pt x="492" y="616"/>
                  </a:lnTo>
                  <a:lnTo>
                    <a:pt x="496" y="616"/>
                  </a:lnTo>
                  <a:lnTo>
                    <a:pt x="496" y="616"/>
                  </a:lnTo>
                  <a:lnTo>
                    <a:pt x="492" y="620"/>
                  </a:lnTo>
                  <a:lnTo>
                    <a:pt x="492" y="620"/>
                  </a:lnTo>
                  <a:lnTo>
                    <a:pt x="492" y="620"/>
                  </a:lnTo>
                  <a:lnTo>
                    <a:pt x="492" y="620"/>
                  </a:lnTo>
                  <a:lnTo>
                    <a:pt x="492" y="620"/>
                  </a:lnTo>
                  <a:lnTo>
                    <a:pt x="492" y="620"/>
                  </a:lnTo>
                  <a:lnTo>
                    <a:pt x="492" y="620"/>
                  </a:lnTo>
                  <a:lnTo>
                    <a:pt x="487" y="625"/>
                  </a:lnTo>
                  <a:lnTo>
                    <a:pt x="487" y="625"/>
                  </a:lnTo>
                  <a:lnTo>
                    <a:pt x="492" y="625"/>
                  </a:lnTo>
                  <a:lnTo>
                    <a:pt x="487" y="625"/>
                  </a:lnTo>
                  <a:lnTo>
                    <a:pt x="487" y="625"/>
                  </a:lnTo>
                  <a:lnTo>
                    <a:pt x="487" y="620"/>
                  </a:lnTo>
                  <a:lnTo>
                    <a:pt x="487" y="620"/>
                  </a:lnTo>
                  <a:lnTo>
                    <a:pt x="487" y="620"/>
                  </a:lnTo>
                  <a:lnTo>
                    <a:pt x="492" y="620"/>
                  </a:lnTo>
                  <a:lnTo>
                    <a:pt x="492" y="616"/>
                  </a:lnTo>
                  <a:lnTo>
                    <a:pt x="487" y="616"/>
                  </a:lnTo>
                  <a:lnTo>
                    <a:pt x="487" y="616"/>
                  </a:lnTo>
                  <a:lnTo>
                    <a:pt x="487" y="616"/>
                  </a:lnTo>
                  <a:lnTo>
                    <a:pt x="487" y="616"/>
                  </a:lnTo>
                  <a:lnTo>
                    <a:pt x="487" y="616"/>
                  </a:lnTo>
                  <a:lnTo>
                    <a:pt x="483" y="620"/>
                  </a:lnTo>
                  <a:lnTo>
                    <a:pt x="483" y="620"/>
                  </a:lnTo>
                  <a:lnTo>
                    <a:pt x="483" y="620"/>
                  </a:lnTo>
                  <a:lnTo>
                    <a:pt x="478" y="620"/>
                  </a:lnTo>
                  <a:lnTo>
                    <a:pt x="478" y="620"/>
                  </a:lnTo>
                  <a:lnTo>
                    <a:pt x="478" y="620"/>
                  </a:lnTo>
                  <a:lnTo>
                    <a:pt x="478" y="620"/>
                  </a:lnTo>
                  <a:lnTo>
                    <a:pt x="478" y="625"/>
                  </a:lnTo>
                  <a:lnTo>
                    <a:pt x="469" y="625"/>
                  </a:lnTo>
                  <a:lnTo>
                    <a:pt x="469" y="625"/>
                  </a:lnTo>
                  <a:lnTo>
                    <a:pt x="469" y="625"/>
                  </a:lnTo>
                  <a:lnTo>
                    <a:pt x="465" y="629"/>
                  </a:lnTo>
                  <a:lnTo>
                    <a:pt x="469" y="629"/>
                  </a:lnTo>
                  <a:lnTo>
                    <a:pt x="469" y="629"/>
                  </a:lnTo>
                  <a:lnTo>
                    <a:pt x="474" y="629"/>
                  </a:lnTo>
                  <a:lnTo>
                    <a:pt x="474" y="629"/>
                  </a:lnTo>
                  <a:lnTo>
                    <a:pt x="474" y="634"/>
                  </a:lnTo>
                  <a:lnTo>
                    <a:pt x="474" y="634"/>
                  </a:lnTo>
                  <a:lnTo>
                    <a:pt x="474" y="634"/>
                  </a:lnTo>
                  <a:lnTo>
                    <a:pt x="474" y="634"/>
                  </a:lnTo>
                  <a:lnTo>
                    <a:pt x="474" y="634"/>
                  </a:lnTo>
                  <a:lnTo>
                    <a:pt x="474" y="634"/>
                  </a:lnTo>
                  <a:lnTo>
                    <a:pt x="474" y="634"/>
                  </a:lnTo>
                  <a:lnTo>
                    <a:pt x="474" y="634"/>
                  </a:lnTo>
                  <a:lnTo>
                    <a:pt x="474" y="638"/>
                  </a:lnTo>
                  <a:lnTo>
                    <a:pt x="478" y="638"/>
                  </a:lnTo>
                  <a:lnTo>
                    <a:pt x="478" y="638"/>
                  </a:lnTo>
                  <a:lnTo>
                    <a:pt x="478" y="638"/>
                  </a:lnTo>
                  <a:lnTo>
                    <a:pt x="478" y="638"/>
                  </a:lnTo>
                  <a:lnTo>
                    <a:pt x="483" y="642"/>
                  </a:lnTo>
                  <a:lnTo>
                    <a:pt x="487" y="642"/>
                  </a:lnTo>
                  <a:lnTo>
                    <a:pt x="492" y="642"/>
                  </a:lnTo>
                  <a:lnTo>
                    <a:pt x="478" y="642"/>
                  </a:lnTo>
                  <a:lnTo>
                    <a:pt x="474" y="642"/>
                  </a:lnTo>
                  <a:lnTo>
                    <a:pt x="469" y="642"/>
                  </a:lnTo>
                  <a:lnTo>
                    <a:pt x="469" y="642"/>
                  </a:lnTo>
                  <a:lnTo>
                    <a:pt x="465" y="642"/>
                  </a:lnTo>
                  <a:lnTo>
                    <a:pt x="469" y="647"/>
                  </a:lnTo>
                  <a:lnTo>
                    <a:pt x="469" y="647"/>
                  </a:lnTo>
                  <a:lnTo>
                    <a:pt x="469" y="647"/>
                  </a:lnTo>
                  <a:lnTo>
                    <a:pt x="478" y="647"/>
                  </a:lnTo>
                  <a:lnTo>
                    <a:pt x="478" y="647"/>
                  </a:lnTo>
                  <a:lnTo>
                    <a:pt x="478" y="647"/>
                  </a:lnTo>
                  <a:lnTo>
                    <a:pt x="469" y="647"/>
                  </a:lnTo>
                  <a:lnTo>
                    <a:pt x="469" y="647"/>
                  </a:lnTo>
                  <a:lnTo>
                    <a:pt x="469" y="651"/>
                  </a:lnTo>
                  <a:lnTo>
                    <a:pt x="469" y="651"/>
                  </a:lnTo>
                  <a:lnTo>
                    <a:pt x="469" y="651"/>
                  </a:lnTo>
                  <a:lnTo>
                    <a:pt x="469" y="651"/>
                  </a:lnTo>
                  <a:lnTo>
                    <a:pt x="474" y="651"/>
                  </a:lnTo>
                  <a:lnTo>
                    <a:pt x="478" y="651"/>
                  </a:lnTo>
                  <a:lnTo>
                    <a:pt x="487" y="651"/>
                  </a:lnTo>
                  <a:lnTo>
                    <a:pt x="483" y="651"/>
                  </a:lnTo>
                  <a:lnTo>
                    <a:pt x="483" y="656"/>
                  </a:lnTo>
                  <a:lnTo>
                    <a:pt x="474" y="651"/>
                  </a:lnTo>
                  <a:lnTo>
                    <a:pt x="474" y="656"/>
                  </a:lnTo>
                  <a:lnTo>
                    <a:pt x="478" y="656"/>
                  </a:lnTo>
                  <a:lnTo>
                    <a:pt x="474" y="656"/>
                  </a:lnTo>
                  <a:lnTo>
                    <a:pt x="465" y="656"/>
                  </a:lnTo>
                  <a:lnTo>
                    <a:pt x="465" y="656"/>
                  </a:lnTo>
                  <a:lnTo>
                    <a:pt x="465" y="656"/>
                  </a:lnTo>
                  <a:lnTo>
                    <a:pt x="465" y="651"/>
                  </a:lnTo>
                  <a:lnTo>
                    <a:pt x="452" y="651"/>
                  </a:lnTo>
                  <a:lnTo>
                    <a:pt x="452" y="651"/>
                  </a:lnTo>
                  <a:lnTo>
                    <a:pt x="452" y="656"/>
                  </a:lnTo>
                  <a:lnTo>
                    <a:pt x="465" y="660"/>
                  </a:lnTo>
                  <a:lnTo>
                    <a:pt x="465" y="660"/>
                  </a:lnTo>
                  <a:lnTo>
                    <a:pt x="469" y="665"/>
                  </a:lnTo>
                  <a:lnTo>
                    <a:pt x="465" y="665"/>
                  </a:lnTo>
                  <a:lnTo>
                    <a:pt x="465" y="660"/>
                  </a:lnTo>
                  <a:lnTo>
                    <a:pt x="461" y="660"/>
                  </a:lnTo>
                  <a:lnTo>
                    <a:pt x="461" y="660"/>
                  </a:lnTo>
                  <a:lnTo>
                    <a:pt x="456" y="660"/>
                  </a:lnTo>
                  <a:lnTo>
                    <a:pt x="456" y="660"/>
                  </a:lnTo>
                  <a:lnTo>
                    <a:pt x="456" y="660"/>
                  </a:lnTo>
                  <a:lnTo>
                    <a:pt x="456" y="660"/>
                  </a:lnTo>
                  <a:lnTo>
                    <a:pt x="452" y="660"/>
                  </a:lnTo>
                  <a:lnTo>
                    <a:pt x="452" y="660"/>
                  </a:lnTo>
                  <a:lnTo>
                    <a:pt x="452" y="660"/>
                  </a:lnTo>
                  <a:lnTo>
                    <a:pt x="447" y="660"/>
                  </a:lnTo>
                  <a:lnTo>
                    <a:pt x="447" y="660"/>
                  </a:lnTo>
                  <a:lnTo>
                    <a:pt x="452" y="665"/>
                  </a:lnTo>
                  <a:lnTo>
                    <a:pt x="461" y="665"/>
                  </a:lnTo>
                  <a:lnTo>
                    <a:pt x="461" y="665"/>
                  </a:lnTo>
                  <a:lnTo>
                    <a:pt x="461" y="665"/>
                  </a:lnTo>
                  <a:lnTo>
                    <a:pt x="456" y="665"/>
                  </a:lnTo>
                  <a:lnTo>
                    <a:pt x="456" y="665"/>
                  </a:lnTo>
                  <a:lnTo>
                    <a:pt x="452" y="665"/>
                  </a:lnTo>
                  <a:lnTo>
                    <a:pt x="452" y="669"/>
                  </a:lnTo>
                  <a:lnTo>
                    <a:pt x="452" y="669"/>
                  </a:lnTo>
                  <a:lnTo>
                    <a:pt x="452" y="669"/>
                  </a:lnTo>
                  <a:lnTo>
                    <a:pt x="452" y="669"/>
                  </a:lnTo>
                  <a:lnTo>
                    <a:pt x="452" y="673"/>
                  </a:lnTo>
                  <a:lnTo>
                    <a:pt x="452" y="673"/>
                  </a:lnTo>
                  <a:lnTo>
                    <a:pt x="452" y="673"/>
                  </a:lnTo>
                  <a:lnTo>
                    <a:pt x="452" y="673"/>
                  </a:lnTo>
                  <a:lnTo>
                    <a:pt x="456" y="673"/>
                  </a:lnTo>
                  <a:lnTo>
                    <a:pt x="461" y="673"/>
                  </a:lnTo>
                  <a:lnTo>
                    <a:pt x="461" y="673"/>
                  </a:lnTo>
                  <a:lnTo>
                    <a:pt x="465" y="669"/>
                  </a:lnTo>
                  <a:lnTo>
                    <a:pt x="465" y="669"/>
                  </a:lnTo>
                  <a:lnTo>
                    <a:pt x="474" y="665"/>
                  </a:lnTo>
                  <a:lnTo>
                    <a:pt x="478" y="669"/>
                  </a:lnTo>
                  <a:lnTo>
                    <a:pt x="469" y="669"/>
                  </a:lnTo>
                  <a:lnTo>
                    <a:pt x="465" y="669"/>
                  </a:lnTo>
                  <a:lnTo>
                    <a:pt x="465" y="673"/>
                  </a:lnTo>
                  <a:lnTo>
                    <a:pt x="465" y="673"/>
                  </a:lnTo>
                  <a:lnTo>
                    <a:pt x="474" y="678"/>
                  </a:lnTo>
                  <a:lnTo>
                    <a:pt x="474" y="678"/>
                  </a:lnTo>
                  <a:lnTo>
                    <a:pt x="474" y="678"/>
                  </a:lnTo>
                  <a:lnTo>
                    <a:pt x="474" y="678"/>
                  </a:lnTo>
                  <a:lnTo>
                    <a:pt x="469" y="678"/>
                  </a:lnTo>
                  <a:lnTo>
                    <a:pt x="465" y="678"/>
                  </a:lnTo>
                  <a:lnTo>
                    <a:pt x="465" y="673"/>
                  </a:lnTo>
                  <a:lnTo>
                    <a:pt x="465" y="673"/>
                  </a:lnTo>
                  <a:lnTo>
                    <a:pt x="461" y="678"/>
                  </a:lnTo>
                  <a:lnTo>
                    <a:pt x="456" y="678"/>
                  </a:lnTo>
                  <a:lnTo>
                    <a:pt x="456" y="678"/>
                  </a:lnTo>
                  <a:lnTo>
                    <a:pt x="456" y="678"/>
                  </a:lnTo>
                  <a:lnTo>
                    <a:pt x="452" y="678"/>
                  </a:lnTo>
                  <a:lnTo>
                    <a:pt x="452" y="678"/>
                  </a:lnTo>
                  <a:lnTo>
                    <a:pt x="456" y="682"/>
                  </a:lnTo>
                  <a:lnTo>
                    <a:pt x="456" y="682"/>
                  </a:lnTo>
                  <a:lnTo>
                    <a:pt x="452" y="682"/>
                  </a:lnTo>
                  <a:lnTo>
                    <a:pt x="452" y="687"/>
                  </a:lnTo>
                  <a:lnTo>
                    <a:pt x="456" y="687"/>
                  </a:lnTo>
                  <a:lnTo>
                    <a:pt x="461" y="687"/>
                  </a:lnTo>
                  <a:lnTo>
                    <a:pt x="456" y="687"/>
                  </a:lnTo>
                  <a:lnTo>
                    <a:pt x="452" y="687"/>
                  </a:lnTo>
                  <a:lnTo>
                    <a:pt x="452" y="687"/>
                  </a:lnTo>
                  <a:lnTo>
                    <a:pt x="452" y="687"/>
                  </a:lnTo>
                  <a:lnTo>
                    <a:pt x="452" y="682"/>
                  </a:lnTo>
                  <a:lnTo>
                    <a:pt x="452" y="682"/>
                  </a:lnTo>
                  <a:lnTo>
                    <a:pt x="452" y="682"/>
                  </a:lnTo>
                  <a:lnTo>
                    <a:pt x="452" y="678"/>
                  </a:lnTo>
                  <a:lnTo>
                    <a:pt x="447" y="678"/>
                  </a:lnTo>
                  <a:lnTo>
                    <a:pt x="447" y="678"/>
                  </a:lnTo>
                  <a:lnTo>
                    <a:pt x="443" y="678"/>
                  </a:lnTo>
                  <a:lnTo>
                    <a:pt x="443" y="678"/>
                  </a:lnTo>
                  <a:lnTo>
                    <a:pt x="439" y="678"/>
                  </a:lnTo>
                  <a:lnTo>
                    <a:pt x="439" y="682"/>
                  </a:lnTo>
                  <a:lnTo>
                    <a:pt x="439" y="682"/>
                  </a:lnTo>
                  <a:lnTo>
                    <a:pt x="443" y="682"/>
                  </a:lnTo>
                  <a:lnTo>
                    <a:pt x="443" y="682"/>
                  </a:lnTo>
                  <a:lnTo>
                    <a:pt x="443" y="682"/>
                  </a:lnTo>
                  <a:lnTo>
                    <a:pt x="443" y="682"/>
                  </a:lnTo>
                  <a:lnTo>
                    <a:pt x="443" y="682"/>
                  </a:lnTo>
                  <a:lnTo>
                    <a:pt x="443" y="687"/>
                  </a:lnTo>
                  <a:lnTo>
                    <a:pt x="447" y="687"/>
                  </a:lnTo>
                  <a:lnTo>
                    <a:pt x="447" y="687"/>
                  </a:lnTo>
                  <a:lnTo>
                    <a:pt x="447" y="687"/>
                  </a:lnTo>
                  <a:lnTo>
                    <a:pt x="447" y="687"/>
                  </a:lnTo>
                  <a:lnTo>
                    <a:pt x="447" y="687"/>
                  </a:lnTo>
                  <a:lnTo>
                    <a:pt x="447" y="687"/>
                  </a:lnTo>
                  <a:lnTo>
                    <a:pt x="443" y="687"/>
                  </a:lnTo>
                  <a:lnTo>
                    <a:pt x="447" y="691"/>
                  </a:lnTo>
                  <a:lnTo>
                    <a:pt x="447" y="691"/>
                  </a:lnTo>
                  <a:lnTo>
                    <a:pt x="447" y="691"/>
                  </a:lnTo>
                  <a:lnTo>
                    <a:pt x="447" y="691"/>
                  </a:lnTo>
                  <a:lnTo>
                    <a:pt x="447" y="691"/>
                  </a:lnTo>
                  <a:lnTo>
                    <a:pt x="447" y="691"/>
                  </a:lnTo>
                  <a:lnTo>
                    <a:pt x="447" y="696"/>
                  </a:lnTo>
                  <a:lnTo>
                    <a:pt x="439" y="700"/>
                  </a:lnTo>
                  <a:lnTo>
                    <a:pt x="439" y="704"/>
                  </a:lnTo>
                  <a:lnTo>
                    <a:pt x="443" y="704"/>
                  </a:lnTo>
                  <a:lnTo>
                    <a:pt x="443" y="704"/>
                  </a:lnTo>
                  <a:lnTo>
                    <a:pt x="443" y="704"/>
                  </a:lnTo>
                  <a:lnTo>
                    <a:pt x="447" y="704"/>
                  </a:lnTo>
                  <a:lnTo>
                    <a:pt x="447" y="704"/>
                  </a:lnTo>
                  <a:lnTo>
                    <a:pt x="447" y="704"/>
                  </a:lnTo>
                  <a:lnTo>
                    <a:pt x="447" y="704"/>
                  </a:lnTo>
                  <a:lnTo>
                    <a:pt x="447" y="709"/>
                  </a:lnTo>
                  <a:lnTo>
                    <a:pt x="447" y="709"/>
                  </a:lnTo>
                  <a:lnTo>
                    <a:pt x="447" y="709"/>
                  </a:lnTo>
                  <a:lnTo>
                    <a:pt x="452" y="709"/>
                  </a:lnTo>
                  <a:lnTo>
                    <a:pt x="452" y="709"/>
                  </a:lnTo>
                  <a:lnTo>
                    <a:pt x="456" y="704"/>
                  </a:lnTo>
                  <a:lnTo>
                    <a:pt x="456" y="704"/>
                  </a:lnTo>
                  <a:lnTo>
                    <a:pt x="456" y="704"/>
                  </a:lnTo>
                  <a:lnTo>
                    <a:pt x="456" y="704"/>
                  </a:lnTo>
                  <a:lnTo>
                    <a:pt x="456" y="700"/>
                  </a:lnTo>
                  <a:lnTo>
                    <a:pt x="456" y="700"/>
                  </a:lnTo>
                  <a:lnTo>
                    <a:pt x="456" y="700"/>
                  </a:lnTo>
                  <a:lnTo>
                    <a:pt x="456" y="700"/>
                  </a:lnTo>
                  <a:lnTo>
                    <a:pt x="456" y="700"/>
                  </a:lnTo>
                  <a:lnTo>
                    <a:pt x="456" y="700"/>
                  </a:lnTo>
                  <a:lnTo>
                    <a:pt x="456" y="704"/>
                  </a:lnTo>
                  <a:lnTo>
                    <a:pt x="456" y="704"/>
                  </a:lnTo>
                  <a:lnTo>
                    <a:pt x="461" y="704"/>
                  </a:lnTo>
                  <a:lnTo>
                    <a:pt x="461" y="704"/>
                  </a:lnTo>
                  <a:lnTo>
                    <a:pt x="461" y="704"/>
                  </a:lnTo>
                  <a:lnTo>
                    <a:pt x="465" y="704"/>
                  </a:lnTo>
                  <a:lnTo>
                    <a:pt x="461" y="704"/>
                  </a:lnTo>
                  <a:lnTo>
                    <a:pt x="461" y="704"/>
                  </a:lnTo>
                  <a:lnTo>
                    <a:pt x="461" y="704"/>
                  </a:lnTo>
                  <a:lnTo>
                    <a:pt x="465" y="704"/>
                  </a:lnTo>
                  <a:lnTo>
                    <a:pt x="469" y="709"/>
                  </a:lnTo>
                  <a:lnTo>
                    <a:pt x="465" y="709"/>
                  </a:lnTo>
                  <a:lnTo>
                    <a:pt x="456" y="709"/>
                  </a:lnTo>
                  <a:lnTo>
                    <a:pt x="447" y="713"/>
                  </a:lnTo>
                  <a:lnTo>
                    <a:pt x="447" y="713"/>
                  </a:lnTo>
                  <a:lnTo>
                    <a:pt x="443" y="718"/>
                  </a:lnTo>
                  <a:lnTo>
                    <a:pt x="443" y="718"/>
                  </a:lnTo>
                  <a:lnTo>
                    <a:pt x="443" y="718"/>
                  </a:lnTo>
                  <a:lnTo>
                    <a:pt x="443" y="722"/>
                  </a:lnTo>
                  <a:lnTo>
                    <a:pt x="443" y="722"/>
                  </a:lnTo>
                  <a:lnTo>
                    <a:pt x="443" y="727"/>
                  </a:lnTo>
                  <a:lnTo>
                    <a:pt x="452" y="722"/>
                  </a:lnTo>
                  <a:lnTo>
                    <a:pt x="456" y="718"/>
                  </a:lnTo>
                  <a:lnTo>
                    <a:pt x="456" y="713"/>
                  </a:lnTo>
                  <a:lnTo>
                    <a:pt x="461" y="713"/>
                  </a:lnTo>
                  <a:lnTo>
                    <a:pt x="465" y="713"/>
                  </a:lnTo>
                  <a:lnTo>
                    <a:pt x="465" y="713"/>
                  </a:lnTo>
                  <a:lnTo>
                    <a:pt x="469" y="709"/>
                  </a:lnTo>
                  <a:lnTo>
                    <a:pt x="469" y="709"/>
                  </a:lnTo>
                  <a:lnTo>
                    <a:pt x="469" y="709"/>
                  </a:lnTo>
                  <a:lnTo>
                    <a:pt x="469" y="709"/>
                  </a:lnTo>
                  <a:lnTo>
                    <a:pt x="469" y="709"/>
                  </a:lnTo>
                  <a:lnTo>
                    <a:pt x="474" y="713"/>
                  </a:lnTo>
                  <a:lnTo>
                    <a:pt x="469" y="713"/>
                  </a:lnTo>
                  <a:lnTo>
                    <a:pt x="469" y="713"/>
                  </a:lnTo>
                  <a:lnTo>
                    <a:pt x="474" y="718"/>
                  </a:lnTo>
                  <a:lnTo>
                    <a:pt x="474" y="713"/>
                  </a:lnTo>
                  <a:lnTo>
                    <a:pt x="478" y="713"/>
                  </a:lnTo>
                  <a:lnTo>
                    <a:pt x="478" y="709"/>
                  </a:lnTo>
                  <a:lnTo>
                    <a:pt x="478" y="709"/>
                  </a:lnTo>
                  <a:lnTo>
                    <a:pt x="478" y="709"/>
                  </a:lnTo>
                  <a:lnTo>
                    <a:pt x="478" y="709"/>
                  </a:lnTo>
                  <a:lnTo>
                    <a:pt x="478" y="709"/>
                  </a:lnTo>
                  <a:lnTo>
                    <a:pt x="483" y="709"/>
                  </a:lnTo>
                  <a:lnTo>
                    <a:pt x="487" y="713"/>
                  </a:lnTo>
                  <a:lnTo>
                    <a:pt x="487" y="713"/>
                  </a:lnTo>
                  <a:lnTo>
                    <a:pt x="487" y="709"/>
                  </a:lnTo>
                  <a:lnTo>
                    <a:pt x="492" y="709"/>
                  </a:lnTo>
                  <a:lnTo>
                    <a:pt x="496" y="704"/>
                  </a:lnTo>
                  <a:lnTo>
                    <a:pt x="496" y="704"/>
                  </a:lnTo>
                  <a:lnTo>
                    <a:pt x="500" y="704"/>
                  </a:lnTo>
                  <a:lnTo>
                    <a:pt x="500" y="704"/>
                  </a:lnTo>
                  <a:lnTo>
                    <a:pt x="500" y="704"/>
                  </a:lnTo>
                  <a:lnTo>
                    <a:pt x="496" y="709"/>
                  </a:lnTo>
                  <a:lnTo>
                    <a:pt x="496" y="709"/>
                  </a:lnTo>
                  <a:lnTo>
                    <a:pt x="496" y="709"/>
                  </a:lnTo>
                  <a:lnTo>
                    <a:pt x="492" y="709"/>
                  </a:lnTo>
                  <a:lnTo>
                    <a:pt x="492" y="713"/>
                  </a:lnTo>
                  <a:lnTo>
                    <a:pt x="492" y="713"/>
                  </a:lnTo>
                  <a:lnTo>
                    <a:pt x="492" y="713"/>
                  </a:lnTo>
                  <a:lnTo>
                    <a:pt x="492" y="718"/>
                  </a:lnTo>
                  <a:lnTo>
                    <a:pt x="492" y="718"/>
                  </a:lnTo>
                  <a:lnTo>
                    <a:pt x="483" y="718"/>
                  </a:lnTo>
                  <a:lnTo>
                    <a:pt x="483" y="722"/>
                  </a:lnTo>
                  <a:lnTo>
                    <a:pt x="478" y="722"/>
                  </a:lnTo>
                  <a:lnTo>
                    <a:pt x="478" y="718"/>
                  </a:lnTo>
                  <a:lnTo>
                    <a:pt x="483" y="718"/>
                  </a:lnTo>
                  <a:lnTo>
                    <a:pt x="483" y="718"/>
                  </a:lnTo>
                  <a:lnTo>
                    <a:pt x="478" y="718"/>
                  </a:lnTo>
                  <a:lnTo>
                    <a:pt x="474" y="718"/>
                  </a:lnTo>
                  <a:lnTo>
                    <a:pt x="474" y="718"/>
                  </a:lnTo>
                  <a:lnTo>
                    <a:pt x="469" y="722"/>
                  </a:lnTo>
                  <a:lnTo>
                    <a:pt x="478" y="727"/>
                  </a:lnTo>
                  <a:lnTo>
                    <a:pt x="478" y="722"/>
                  </a:lnTo>
                  <a:lnTo>
                    <a:pt x="483" y="727"/>
                  </a:lnTo>
                  <a:lnTo>
                    <a:pt x="483" y="727"/>
                  </a:lnTo>
                  <a:lnTo>
                    <a:pt x="483" y="727"/>
                  </a:lnTo>
                  <a:lnTo>
                    <a:pt x="483" y="727"/>
                  </a:lnTo>
                  <a:lnTo>
                    <a:pt x="483" y="727"/>
                  </a:lnTo>
                  <a:lnTo>
                    <a:pt x="483" y="727"/>
                  </a:lnTo>
                  <a:lnTo>
                    <a:pt x="478" y="727"/>
                  </a:lnTo>
                  <a:lnTo>
                    <a:pt x="478" y="727"/>
                  </a:lnTo>
                  <a:lnTo>
                    <a:pt x="478" y="727"/>
                  </a:lnTo>
                  <a:lnTo>
                    <a:pt x="478" y="727"/>
                  </a:lnTo>
                  <a:lnTo>
                    <a:pt x="474" y="727"/>
                  </a:lnTo>
                  <a:lnTo>
                    <a:pt x="469" y="727"/>
                  </a:lnTo>
                  <a:lnTo>
                    <a:pt x="469" y="727"/>
                  </a:lnTo>
                  <a:lnTo>
                    <a:pt x="469" y="731"/>
                  </a:lnTo>
                  <a:lnTo>
                    <a:pt x="469" y="731"/>
                  </a:lnTo>
                  <a:lnTo>
                    <a:pt x="469" y="731"/>
                  </a:lnTo>
                  <a:lnTo>
                    <a:pt x="469" y="731"/>
                  </a:lnTo>
                  <a:lnTo>
                    <a:pt x="465" y="731"/>
                  </a:lnTo>
                  <a:lnTo>
                    <a:pt x="469" y="731"/>
                  </a:lnTo>
                  <a:lnTo>
                    <a:pt x="469" y="727"/>
                  </a:lnTo>
                  <a:lnTo>
                    <a:pt x="469" y="727"/>
                  </a:lnTo>
                  <a:lnTo>
                    <a:pt x="469" y="722"/>
                  </a:lnTo>
                  <a:lnTo>
                    <a:pt x="465" y="722"/>
                  </a:lnTo>
                  <a:lnTo>
                    <a:pt x="465" y="722"/>
                  </a:lnTo>
                  <a:lnTo>
                    <a:pt x="465" y="722"/>
                  </a:lnTo>
                  <a:lnTo>
                    <a:pt x="469" y="722"/>
                  </a:lnTo>
                  <a:lnTo>
                    <a:pt x="469" y="718"/>
                  </a:lnTo>
                  <a:lnTo>
                    <a:pt x="469" y="718"/>
                  </a:lnTo>
                  <a:lnTo>
                    <a:pt x="465" y="718"/>
                  </a:lnTo>
                  <a:lnTo>
                    <a:pt x="456" y="718"/>
                  </a:lnTo>
                  <a:lnTo>
                    <a:pt x="452" y="722"/>
                  </a:lnTo>
                  <a:lnTo>
                    <a:pt x="447" y="722"/>
                  </a:lnTo>
                  <a:lnTo>
                    <a:pt x="447" y="727"/>
                  </a:lnTo>
                  <a:lnTo>
                    <a:pt x="443" y="727"/>
                  </a:lnTo>
                  <a:lnTo>
                    <a:pt x="443" y="727"/>
                  </a:lnTo>
                  <a:lnTo>
                    <a:pt x="443" y="727"/>
                  </a:lnTo>
                  <a:lnTo>
                    <a:pt x="443" y="727"/>
                  </a:lnTo>
                  <a:lnTo>
                    <a:pt x="443" y="727"/>
                  </a:lnTo>
                  <a:lnTo>
                    <a:pt x="434" y="731"/>
                  </a:lnTo>
                  <a:lnTo>
                    <a:pt x="430" y="731"/>
                  </a:lnTo>
                  <a:lnTo>
                    <a:pt x="425" y="731"/>
                  </a:lnTo>
                  <a:lnTo>
                    <a:pt x="425" y="735"/>
                  </a:lnTo>
                  <a:lnTo>
                    <a:pt x="421" y="735"/>
                  </a:lnTo>
                  <a:lnTo>
                    <a:pt x="421" y="740"/>
                  </a:lnTo>
                  <a:lnTo>
                    <a:pt x="425" y="740"/>
                  </a:lnTo>
                  <a:lnTo>
                    <a:pt x="425" y="740"/>
                  </a:lnTo>
                  <a:lnTo>
                    <a:pt x="425" y="740"/>
                  </a:lnTo>
                  <a:lnTo>
                    <a:pt x="425" y="740"/>
                  </a:lnTo>
                  <a:lnTo>
                    <a:pt x="425" y="740"/>
                  </a:lnTo>
                  <a:lnTo>
                    <a:pt x="425" y="740"/>
                  </a:lnTo>
                  <a:lnTo>
                    <a:pt x="425" y="740"/>
                  </a:lnTo>
                  <a:lnTo>
                    <a:pt x="434" y="740"/>
                  </a:lnTo>
                  <a:lnTo>
                    <a:pt x="439" y="735"/>
                  </a:lnTo>
                  <a:lnTo>
                    <a:pt x="443" y="735"/>
                  </a:lnTo>
                  <a:lnTo>
                    <a:pt x="439" y="740"/>
                  </a:lnTo>
                  <a:lnTo>
                    <a:pt x="439" y="740"/>
                  </a:lnTo>
                  <a:lnTo>
                    <a:pt x="439" y="744"/>
                  </a:lnTo>
                  <a:lnTo>
                    <a:pt x="439" y="744"/>
                  </a:lnTo>
                  <a:lnTo>
                    <a:pt x="439" y="744"/>
                  </a:lnTo>
                  <a:lnTo>
                    <a:pt x="434" y="749"/>
                  </a:lnTo>
                  <a:lnTo>
                    <a:pt x="434" y="749"/>
                  </a:lnTo>
                  <a:lnTo>
                    <a:pt x="434" y="749"/>
                  </a:lnTo>
                  <a:lnTo>
                    <a:pt x="439" y="753"/>
                  </a:lnTo>
                  <a:lnTo>
                    <a:pt x="443" y="753"/>
                  </a:lnTo>
                  <a:lnTo>
                    <a:pt x="443" y="753"/>
                  </a:lnTo>
                  <a:lnTo>
                    <a:pt x="447" y="753"/>
                  </a:lnTo>
                  <a:lnTo>
                    <a:pt x="447" y="758"/>
                  </a:lnTo>
                  <a:lnTo>
                    <a:pt x="447" y="758"/>
                  </a:lnTo>
                  <a:lnTo>
                    <a:pt x="447" y="758"/>
                  </a:lnTo>
                  <a:lnTo>
                    <a:pt x="447" y="762"/>
                  </a:lnTo>
                  <a:lnTo>
                    <a:pt x="447" y="762"/>
                  </a:lnTo>
                  <a:lnTo>
                    <a:pt x="447" y="766"/>
                  </a:lnTo>
                  <a:lnTo>
                    <a:pt x="447" y="766"/>
                  </a:lnTo>
                  <a:lnTo>
                    <a:pt x="447" y="762"/>
                  </a:lnTo>
                  <a:lnTo>
                    <a:pt x="447" y="762"/>
                  </a:lnTo>
                  <a:lnTo>
                    <a:pt x="447" y="762"/>
                  </a:lnTo>
                  <a:lnTo>
                    <a:pt x="447" y="762"/>
                  </a:lnTo>
                  <a:lnTo>
                    <a:pt x="447" y="762"/>
                  </a:lnTo>
                  <a:lnTo>
                    <a:pt x="443" y="762"/>
                  </a:lnTo>
                  <a:lnTo>
                    <a:pt x="443" y="762"/>
                  </a:lnTo>
                  <a:lnTo>
                    <a:pt x="443" y="762"/>
                  </a:lnTo>
                  <a:lnTo>
                    <a:pt x="443" y="762"/>
                  </a:lnTo>
                  <a:lnTo>
                    <a:pt x="443" y="762"/>
                  </a:lnTo>
                  <a:lnTo>
                    <a:pt x="443" y="758"/>
                  </a:lnTo>
                  <a:lnTo>
                    <a:pt x="443" y="758"/>
                  </a:lnTo>
                  <a:lnTo>
                    <a:pt x="443" y="758"/>
                  </a:lnTo>
                  <a:lnTo>
                    <a:pt x="439" y="758"/>
                  </a:lnTo>
                  <a:lnTo>
                    <a:pt x="439" y="758"/>
                  </a:lnTo>
                  <a:lnTo>
                    <a:pt x="439" y="758"/>
                  </a:lnTo>
                  <a:lnTo>
                    <a:pt x="439" y="758"/>
                  </a:lnTo>
                  <a:lnTo>
                    <a:pt x="434" y="753"/>
                  </a:lnTo>
                  <a:lnTo>
                    <a:pt x="434" y="753"/>
                  </a:lnTo>
                  <a:lnTo>
                    <a:pt x="430" y="753"/>
                  </a:lnTo>
                  <a:lnTo>
                    <a:pt x="430" y="753"/>
                  </a:lnTo>
                  <a:lnTo>
                    <a:pt x="430" y="753"/>
                  </a:lnTo>
                  <a:lnTo>
                    <a:pt x="421" y="758"/>
                  </a:lnTo>
                  <a:lnTo>
                    <a:pt x="421" y="758"/>
                  </a:lnTo>
                  <a:lnTo>
                    <a:pt x="421" y="762"/>
                  </a:lnTo>
                  <a:lnTo>
                    <a:pt x="421" y="762"/>
                  </a:lnTo>
                  <a:lnTo>
                    <a:pt x="421" y="762"/>
                  </a:lnTo>
                  <a:lnTo>
                    <a:pt x="421" y="766"/>
                  </a:lnTo>
                  <a:lnTo>
                    <a:pt x="421" y="766"/>
                  </a:lnTo>
                  <a:lnTo>
                    <a:pt x="421" y="766"/>
                  </a:lnTo>
                  <a:lnTo>
                    <a:pt x="421" y="766"/>
                  </a:lnTo>
                  <a:lnTo>
                    <a:pt x="421" y="766"/>
                  </a:lnTo>
                  <a:lnTo>
                    <a:pt x="421" y="771"/>
                  </a:lnTo>
                  <a:lnTo>
                    <a:pt x="421" y="771"/>
                  </a:lnTo>
                  <a:lnTo>
                    <a:pt x="421" y="766"/>
                  </a:lnTo>
                  <a:lnTo>
                    <a:pt x="421" y="766"/>
                  </a:lnTo>
                  <a:lnTo>
                    <a:pt x="425" y="771"/>
                  </a:lnTo>
                  <a:lnTo>
                    <a:pt x="425" y="771"/>
                  </a:lnTo>
                  <a:lnTo>
                    <a:pt x="425" y="775"/>
                  </a:lnTo>
                  <a:lnTo>
                    <a:pt x="425" y="775"/>
                  </a:lnTo>
                  <a:lnTo>
                    <a:pt x="421" y="775"/>
                  </a:lnTo>
                  <a:lnTo>
                    <a:pt x="421" y="771"/>
                  </a:lnTo>
                  <a:lnTo>
                    <a:pt x="421" y="771"/>
                  </a:lnTo>
                  <a:lnTo>
                    <a:pt x="421" y="771"/>
                  </a:lnTo>
                  <a:lnTo>
                    <a:pt x="421" y="771"/>
                  </a:lnTo>
                  <a:lnTo>
                    <a:pt x="421" y="775"/>
                  </a:lnTo>
                  <a:lnTo>
                    <a:pt x="416" y="775"/>
                  </a:lnTo>
                  <a:lnTo>
                    <a:pt x="416" y="780"/>
                  </a:lnTo>
                  <a:lnTo>
                    <a:pt x="416" y="780"/>
                  </a:lnTo>
                  <a:lnTo>
                    <a:pt x="416" y="784"/>
                  </a:lnTo>
                  <a:lnTo>
                    <a:pt x="421" y="784"/>
                  </a:lnTo>
                  <a:lnTo>
                    <a:pt x="421" y="784"/>
                  </a:lnTo>
                  <a:lnTo>
                    <a:pt x="421" y="784"/>
                  </a:lnTo>
                  <a:lnTo>
                    <a:pt x="421" y="789"/>
                  </a:lnTo>
                  <a:lnTo>
                    <a:pt x="421" y="789"/>
                  </a:lnTo>
                  <a:lnTo>
                    <a:pt x="421" y="789"/>
                  </a:lnTo>
                  <a:lnTo>
                    <a:pt x="421" y="789"/>
                  </a:lnTo>
                  <a:lnTo>
                    <a:pt x="425" y="793"/>
                  </a:lnTo>
                  <a:lnTo>
                    <a:pt x="425" y="793"/>
                  </a:lnTo>
                  <a:lnTo>
                    <a:pt x="425" y="793"/>
                  </a:lnTo>
                  <a:lnTo>
                    <a:pt x="425" y="793"/>
                  </a:lnTo>
                  <a:lnTo>
                    <a:pt x="430" y="793"/>
                  </a:lnTo>
                  <a:lnTo>
                    <a:pt x="425" y="793"/>
                  </a:lnTo>
                  <a:lnTo>
                    <a:pt x="425" y="793"/>
                  </a:lnTo>
                  <a:lnTo>
                    <a:pt x="425" y="793"/>
                  </a:lnTo>
                  <a:lnTo>
                    <a:pt x="425" y="793"/>
                  </a:lnTo>
                  <a:lnTo>
                    <a:pt x="421" y="793"/>
                  </a:lnTo>
                  <a:lnTo>
                    <a:pt x="421" y="793"/>
                  </a:lnTo>
                  <a:lnTo>
                    <a:pt x="421" y="793"/>
                  </a:lnTo>
                  <a:lnTo>
                    <a:pt x="416" y="793"/>
                  </a:lnTo>
                  <a:lnTo>
                    <a:pt x="416" y="789"/>
                  </a:lnTo>
                  <a:lnTo>
                    <a:pt x="421" y="789"/>
                  </a:lnTo>
                  <a:lnTo>
                    <a:pt x="421" y="789"/>
                  </a:lnTo>
                  <a:lnTo>
                    <a:pt x="421" y="789"/>
                  </a:lnTo>
                  <a:lnTo>
                    <a:pt x="416" y="789"/>
                  </a:lnTo>
                  <a:lnTo>
                    <a:pt x="416" y="789"/>
                  </a:lnTo>
                  <a:lnTo>
                    <a:pt x="416" y="784"/>
                  </a:lnTo>
                  <a:lnTo>
                    <a:pt x="416" y="784"/>
                  </a:lnTo>
                  <a:lnTo>
                    <a:pt x="416" y="784"/>
                  </a:lnTo>
                  <a:lnTo>
                    <a:pt x="416" y="784"/>
                  </a:lnTo>
                  <a:lnTo>
                    <a:pt x="416" y="784"/>
                  </a:lnTo>
                  <a:lnTo>
                    <a:pt x="412" y="780"/>
                  </a:lnTo>
                  <a:lnTo>
                    <a:pt x="412" y="780"/>
                  </a:lnTo>
                  <a:lnTo>
                    <a:pt x="412" y="784"/>
                  </a:lnTo>
                  <a:lnTo>
                    <a:pt x="412" y="784"/>
                  </a:lnTo>
                  <a:lnTo>
                    <a:pt x="412" y="784"/>
                  </a:lnTo>
                  <a:lnTo>
                    <a:pt x="408" y="784"/>
                  </a:lnTo>
                  <a:lnTo>
                    <a:pt x="408" y="784"/>
                  </a:lnTo>
                  <a:lnTo>
                    <a:pt x="408" y="789"/>
                  </a:lnTo>
                  <a:lnTo>
                    <a:pt x="408" y="789"/>
                  </a:lnTo>
                  <a:lnTo>
                    <a:pt x="408" y="793"/>
                  </a:lnTo>
                  <a:lnTo>
                    <a:pt x="403" y="793"/>
                  </a:lnTo>
                  <a:lnTo>
                    <a:pt x="403" y="793"/>
                  </a:lnTo>
                  <a:lnTo>
                    <a:pt x="408" y="797"/>
                  </a:lnTo>
                  <a:lnTo>
                    <a:pt x="403" y="797"/>
                  </a:lnTo>
                  <a:lnTo>
                    <a:pt x="403" y="797"/>
                  </a:lnTo>
                  <a:lnTo>
                    <a:pt x="408" y="797"/>
                  </a:lnTo>
                  <a:lnTo>
                    <a:pt x="408" y="797"/>
                  </a:lnTo>
                  <a:lnTo>
                    <a:pt x="408" y="797"/>
                  </a:lnTo>
                  <a:lnTo>
                    <a:pt x="408" y="797"/>
                  </a:lnTo>
                  <a:lnTo>
                    <a:pt x="408" y="802"/>
                  </a:lnTo>
                  <a:lnTo>
                    <a:pt x="408" y="806"/>
                  </a:lnTo>
                  <a:lnTo>
                    <a:pt x="408" y="806"/>
                  </a:lnTo>
                  <a:lnTo>
                    <a:pt x="408" y="806"/>
                  </a:lnTo>
                  <a:lnTo>
                    <a:pt x="412" y="806"/>
                  </a:lnTo>
                  <a:lnTo>
                    <a:pt x="412" y="802"/>
                  </a:lnTo>
                  <a:lnTo>
                    <a:pt x="416" y="802"/>
                  </a:lnTo>
                  <a:lnTo>
                    <a:pt x="412" y="802"/>
                  </a:lnTo>
                  <a:lnTo>
                    <a:pt x="412" y="806"/>
                  </a:lnTo>
                  <a:lnTo>
                    <a:pt x="412" y="806"/>
                  </a:lnTo>
                  <a:lnTo>
                    <a:pt x="412" y="806"/>
                  </a:lnTo>
                  <a:lnTo>
                    <a:pt x="412" y="811"/>
                  </a:lnTo>
                  <a:lnTo>
                    <a:pt x="416" y="806"/>
                  </a:lnTo>
                  <a:lnTo>
                    <a:pt x="416" y="802"/>
                  </a:lnTo>
                  <a:lnTo>
                    <a:pt x="416" y="802"/>
                  </a:lnTo>
                  <a:lnTo>
                    <a:pt x="416" y="802"/>
                  </a:lnTo>
                  <a:lnTo>
                    <a:pt x="416" y="806"/>
                  </a:lnTo>
                  <a:lnTo>
                    <a:pt x="416" y="806"/>
                  </a:lnTo>
                  <a:lnTo>
                    <a:pt x="421" y="806"/>
                  </a:lnTo>
                  <a:lnTo>
                    <a:pt x="416" y="806"/>
                  </a:lnTo>
                  <a:lnTo>
                    <a:pt x="416" y="811"/>
                  </a:lnTo>
                  <a:lnTo>
                    <a:pt x="416" y="811"/>
                  </a:lnTo>
                  <a:lnTo>
                    <a:pt x="416" y="811"/>
                  </a:lnTo>
                  <a:lnTo>
                    <a:pt x="416" y="811"/>
                  </a:lnTo>
                  <a:lnTo>
                    <a:pt x="421" y="811"/>
                  </a:lnTo>
                  <a:lnTo>
                    <a:pt x="421" y="815"/>
                  </a:lnTo>
                  <a:lnTo>
                    <a:pt x="421" y="815"/>
                  </a:lnTo>
                  <a:lnTo>
                    <a:pt x="421" y="815"/>
                  </a:lnTo>
                  <a:lnTo>
                    <a:pt x="416" y="815"/>
                  </a:lnTo>
                  <a:lnTo>
                    <a:pt x="416" y="815"/>
                  </a:lnTo>
                  <a:lnTo>
                    <a:pt x="425" y="815"/>
                  </a:lnTo>
                  <a:lnTo>
                    <a:pt x="430" y="815"/>
                  </a:lnTo>
                  <a:lnTo>
                    <a:pt x="421" y="820"/>
                  </a:lnTo>
                  <a:lnTo>
                    <a:pt x="421" y="820"/>
                  </a:lnTo>
                  <a:lnTo>
                    <a:pt x="421" y="824"/>
                  </a:lnTo>
                  <a:lnTo>
                    <a:pt x="425" y="828"/>
                  </a:lnTo>
                  <a:lnTo>
                    <a:pt x="421" y="828"/>
                  </a:lnTo>
                  <a:lnTo>
                    <a:pt x="421" y="820"/>
                  </a:lnTo>
                  <a:lnTo>
                    <a:pt x="416" y="820"/>
                  </a:lnTo>
                  <a:lnTo>
                    <a:pt x="416" y="820"/>
                  </a:lnTo>
                  <a:lnTo>
                    <a:pt x="416" y="820"/>
                  </a:lnTo>
                  <a:lnTo>
                    <a:pt x="416" y="820"/>
                  </a:lnTo>
                  <a:lnTo>
                    <a:pt x="416" y="820"/>
                  </a:lnTo>
                  <a:lnTo>
                    <a:pt x="416" y="820"/>
                  </a:lnTo>
                  <a:lnTo>
                    <a:pt x="416" y="820"/>
                  </a:lnTo>
                  <a:lnTo>
                    <a:pt x="416" y="820"/>
                  </a:lnTo>
                  <a:lnTo>
                    <a:pt x="416" y="820"/>
                  </a:lnTo>
                  <a:lnTo>
                    <a:pt x="416" y="820"/>
                  </a:lnTo>
                  <a:lnTo>
                    <a:pt x="412" y="820"/>
                  </a:lnTo>
                  <a:lnTo>
                    <a:pt x="412" y="820"/>
                  </a:lnTo>
                  <a:lnTo>
                    <a:pt x="412" y="820"/>
                  </a:lnTo>
                  <a:lnTo>
                    <a:pt x="416" y="824"/>
                  </a:lnTo>
                  <a:lnTo>
                    <a:pt x="416" y="824"/>
                  </a:lnTo>
                  <a:lnTo>
                    <a:pt x="416" y="828"/>
                  </a:lnTo>
                  <a:lnTo>
                    <a:pt x="416" y="828"/>
                  </a:lnTo>
                  <a:lnTo>
                    <a:pt x="416" y="828"/>
                  </a:lnTo>
                  <a:lnTo>
                    <a:pt x="421" y="828"/>
                  </a:lnTo>
                  <a:lnTo>
                    <a:pt x="421" y="828"/>
                  </a:lnTo>
                  <a:lnTo>
                    <a:pt x="421" y="833"/>
                  </a:lnTo>
                  <a:lnTo>
                    <a:pt x="421" y="833"/>
                  </a:lnTo>
                  <a:lnTo>
                    <a:pt x="421" y="833"/>
                  </a:lnTo>
                  <a:lnTo>
                    <a:pt x="421" y="833"/>
                  </a:lnTo>
                  <a:lnTo>
                    <a:pt x="421" y="828"/>
                  </a:lnTo>
                  <a:lnTo>
                    <a:pt x="416" y="828"/>
                  </a:lnTo>
                  <a:lnTo>
                    <a:pt x="412" y="828"/>
                  </a:lnTo>
                  <a:lnTo>
                    <a:pt x="412" y="828"/>
                  </a:lnTo>
                  <a:lnTo>
                    <a:pt x="412" y="828"/>
                  </a:lnTo>
                  <a:lnTo>
                    <a:pt x="412" y="828"/>
                  </a:lnTo>
                  <a:lnTo>
                    <a:pt x="412" y="828"/>
                  </a:lnTo>
                  <a:lnTo>
                    <a:pt x="412" y="828"/>
                  </a:lnTo>
                  <a:lnTo>
                    <a:pt x="408" y="833"/>
                  </a:lnTo>
                  <a:lnTo>
                    <a:pt x="408" y="833"/>
                  </a:lnTo>
                  <a:lnTo>
                    <a:pt x="408" y="833"/>
                  </a:lnTo>
                  <a:lnTo>
                    <a:pt x="412" y="833"/>
                  </a:lnTo>
                  <a:lnTo>
                    <a:pt x="412" y="833"/>
                  </a:lnTo>
                  <a:lnTo>
                    <a:pt x="412" y="833"/>
                  </a:lnTo>
                  <a:lnTo>
                    <a:pt x="408" y="837"/>
                  </a:lnTo>
                  <a:lnTo>
                    <a:pt x="408" y="837"/>
                  </a:lnTo>
                  <a:lnTo>
                    <a:pt x="403" y="837"/>
                  </a:lnTo>
                  <a:lnTo>
                    <a:pt x="403" y="837"/>
                  </a:lnTo>
                  <a:lnTo>
                    <a:pt x="403" y="837"/>
                  </a:lnTo>
                  <a:lnTo>
                    <a:pt x="403" y="842"/>
                  </a:lnTo>
                  <a:lnTo>
                    <a:pt x="399" y="842"/>
                  </a:lnTo>
                  <a:lnTo>
                    <a:pt x="399" y="846"/>
                  </a:lnTo>
                  <a:lnTo>
                    <a:pt x="403" y="846"/>
                  </a:lnTo>
                  <a:lnTo>
                    <a:pt x="403" y="842"/>
                  </a:lnTo>
                  <a:lnTo>
                    <a:pt x="403" y="842"/>
                  </a:lnTo>
                  <a:lnTo>
                    <a:pt x="403" y="842"/>
                  </a:lnTo>
                  <a:lnTo>
                    <a:pt x="408" y="842"/>
                  </a:lnTo>
                  <a:lnTo>
                    <a:pt x="412" y="842"/>
                  </a:lnTo>
                  <a:lnTo>
                    <a:pt x="412" y="842"/>
                  </a:lnTo>
                  <a:lnTo>
                    <a:pt x="412" y="842"/>
                  </a:lnTo>
                  <a:lnTo>
                    <a:pt x="412" y="842"/>
                  </a:lnTo>
                  <a:lnTo>
                    <a:pt x="412" y="842"/>
                  </a:lnTo>
                  <a:lnTo>
                    <a:pt x="412" y="842"/>
                  </a:lnTo>
                  <a:lnTo>
                    <a:pt x="416" y="842"/>
                  </a:lnTo>
                  <a:lnTo>
                    <a:pt x="421" y="842"/>
                  </a:lnTo>
                  <a:lnTo>
                    <a:pt x="425" y="842"/>
                  </a:lnTo>
                  <a:lnTo>
                    <a:pt x="421" y="842"/>
                  </a:lnTo>
                  <a:lnTo>
                    <a:pt x="412" y="842"/>
                  </a:lnTo>
                  <a:lnTo>
                    <a:pt x="412" y="846"/>
                  </a:lnTo>
                  <a:lnTo>
                    <a:pt x="412" y="846"/>
                  </a:lnTo>
                  <a:lnTo>
                    <a:pt x="408" y="842"/>
                  </a:lnTo>
                  <a:lnTo>
                    <a:pt x="408" y="842"/>
                  </a:lnTo>
                  <a:lnTo>
                    <a:pt x="408" y="842"/>
                  </a:lnTo>
                  <a:lnTo>
                    <a:pt x="403" y="846"/>
                  </a:lnTo>
                  <a:lnTo>
                    <a:pt x="403" y="846"/>
                  </a:lnTo>
                  <a:lnTo>
                    <a:pt x="408" y="846"/>
                  </a:lnTo>
                  <a:lnTo>
                    <a:pt x="408" y="846"/>
                  </a:lnTo>
                  <a:lnTo>
                    <a:pt x="408" y="846"/>
                  </a:lnTo>
                  <a:lnTo>
                    <a:pt x="408" y="846"/>
                  </a:lnTo>
                  <a:lnTo>
                    <a:pt x="408" y="846"/>
                  </a:lnTo>
                  <a:lnTo>
                    <a:pt x="408" y="846"/>
                  </a:lnTo>
                  <a:lnTo>
                    <a:pt x="412" y="846"/>
                  </a:lnTo>
                  <a:lnTo>
                    <a:pt x="412" y="851"/>
                  </a:lnTo>
                  <a:lnTo>
                    <a:pt x="412" y="851"/>
                  </a:lnTo>
                  <a:lnTo>
                    <a:pt x="412" y="851"/>
                  </a:lnTo>
                  <a:lnTo>
                    <a:pt x="412" y="851"/>
                  </a:lnTo>
                  <a:lnTo>
                    <a:pt x="408" y="851"/>
                  </a:lnTo>
                  <a:lnTo>
                    <a:pt x="408" y="855"/>
                  </a:lnTo>
                  <a:lnTo>
                    <a:pt x="408" y="855"/>
                  </a:lnTo>
                  <a:lnTo>
                    <a:pt x="408" y="855"/>
                  </a:lnTo>
                  <a:lnTo>
                    <a:pt x="412" y="855"/>
                  </a:lnTo>
                  <a:lnTo>
                    <a:pt x="412" y="855"/>
                  </a:lnTo>
                  <a:lnTo>
                    <a:pt x="416" y="855"/>
                  </a:lnTo>
                  <a:lnTo>
                    <a:pt x="416" y="855"/>
                  </a:lnTo>
                  <a:lnTo>
                    <a:pt x="416" y="855"/>
                  </a:lnTo>
                  <a:lnTo>
                    <a:pt x="421" y="851"/>
                  </a:lnTo>
                  <a:lnTo>
                    <a:pt x="430" y="842"/>
                  </a:lnTo>
                  <a:lnTo>
                    <a:pt x="430" y="837"/>
                  </a:lnTo>
                  <a:lnTo>
                    <a:pt x="430" y="837"/>
                  </a:lnTo>
                  <a:lnTo>
                    <a:pt x="434" y="833"/>
                  </a:lnTo>
                  <a:lnTo>
                    <a:pt x="434" y="833"/>
                  </a:lnTo>
                  <a:lnTo>
                    <a:pt x="434" y="833"/>
                  </a:lnTo>
                  <a:lnTo>
                    <a:pt x="434" y="833"/>
                  </a:lnTo>
                  <a:lnTo>
                    <a:pt x="430" y="842"/>
                  </a:lnTo>
                  <a:lnTo>
                    <a:pt x="430" y="842"/>
                  </a:lnTo>
                  <a:lnTo>
                    <a:pt x="430" y="842"/>
                  </a:lnTo>
                  <a:lnTo>
                    <a:pt x="430" y="846"/>
                  </a:lnTo>
                  <a:lnTo>
                    <a:pt x="430" y="846"/>
                  </a:lnTo>
                  <a:lnTo>
                    <a:pt x="430" y="846"/>
                  </a:lnTo>
                  <a:lnTo>
                    <a:pt x="425" y="846"/>
                  </a:lnTo>
                  <a:lnTo>
                    <a:pt x="425" y="851"/>
                  </a:lnTo>
                  <a:lnTo>
                    <a:pt x="421" y="855"/>
                  </a:lnTo>
                  <a:lnTo>
                    <a:pt x="421" y="855"/>
                  </a:lnTo>
                  <a:lnTo>
                    <a:pt x="421" y="855"/>
                  </a:lnTo>
                  <a:lnTo>
                    <a:pt x="421" y="855"/>
                  </a:lnTo>
                  <a:lnTo>
                    <a:pt x="416" y="855"/>
                  </a:lnTo>
                  <a:lnTo>
                    <a:pt x="421" y="855"/>
                  </a:lnTo>
                  <a:lnTo>
                    <a:pt x="421" y="855"/>
                  </a:lnTo>
                  <a:lnTo>
                    <a:pt x="421" y="859"/>
                  </a:lnTo>
                  <a:lnTo>
                    <a:pt x="416" y="859"/>
                  </a:lnTo>
                  <a:lnTo>
                    <a:pt x="412" y="859"/>
                  </a:lnTo>
                  <a:lnTo>
                    <a:pt x="412" y="859"/>
                  </a:lnTo>
                  <a:lnTo>
                    <a:pt x="412" y="864"/>
                  </a:lnTo>
                  <a:lnTo>
                    <a:pt x="408" y="864"/>
                  </a:lnTo>
                  <a:lnTo>
                    <a:pt x="408" y="864"/>
                  </a:lnTo>
                  <a:lnTo>
                    <a:pt x="403" y="864"/>
                  </a:lnTo>
                  <a:lnTo>
                    <a:pt x="403" y="868"/>
                  </a:lnTo>
                  <a:lnTo>
                    <a:pt x="399" y="868"/>
                  </a:lnTo>
                  <a:lnTo>
                    <a:pt x="394" y="868"/>
                  </a:lnTo>
                  <a:lnTo>
                    <a:pt x="394" y="868"/>
                  </a:lnTo>
                  <a:lnTo>
                    <a:pt x="399" y="873"/>
                  </a:lnTo>
                  <a:lnTo>
                    <a:pt x="399" y="873"/>
                  </a:lnTo>
                  <a:lnTo>
                    <a:pt x="399" y="873"/>
                  </a:lnTo>
                  <a:lnTo>
                    <a:pt x="399" y="873"/>
                  </a:lnTo>
                  <a:lnTo>
                    <a:pt x="399" y="873"/>
                  </a:lnTo>
                  <a:lnTo>
                    <a:pt x="399" y="873"/>
                  </a:lnTo>
                  <a:lnTo>
                    <a:pt x="399" y="873"/>
                  </a:lnTo>
                  <a:lnTo>
                    <a:pt x="394" y="873"/>
                  </a:lnTo>
                  <a:lnTo>
                    <a:pt x="394" y="873"/>
                  </a:lnTo>
                  <a:lnTo>
                    <a:pt x="394" y="873"/>
                  </a:lnTo>
                  <a:lnTo>
                    <a:pt x="394" y="873"/>
                  </a:lnTo>
                  <a:lnTo>
                    <a:pt x="394" y="873"/>
                  </a:lnTo>
                  <a:lnTo>
                    <a:pt x="394" y="873"/>
                  </a:lnTo>
                  <a:lnTo>
                    <a:pt x="394" y="873"/>
                  </a:lnTo>
                  <a:lnTo>
                    <a:pt x="394" y="868"/>
                  </a:lnTo>
                  <a:lnTo>
                    <a:pt x="394" y="868"/>
                  </a:lnTo>
                  <a:lnTo>
                    <a:pt x="394" y="868"/>
                  </a:lnTo>
                  <a:lnTo>
                    <a:pt x="390" y="868"/>
                  </a:lnTo>
                  <a:lnTo>
                    <a:pt x="390" y="868"/>
                  </a:lnTo>
                  <a:lnTo>
                    <a:pt x="390" y="868"/>
                  </a:lnTo>
                  <a:lnTo>
                    <a:pt x="390" y="868"/>
                  </a:lnTo>
                  <a:lnTo>
                    <a:pt x="390" y="868"/>
                  </a:lnTo>
                  <a:lnTo>
                    <a:pt x="390" y="868"/>
                  </a:lnTo>
                  <a:lnTo>
                    <a:pt x="390" y="864"/>
                  </a:lnTo>
                  <a:lnTo>
                    <a:pt x="390" y="868"/>
                  </a:lnTo>
                  <a:lnTo>
                    <a:pt x="390" y="868"/>
                  </a:lnTo>
                  <a:lnTo>
                    <a:pt x="390" y="868"/>
                  </a:lnTo>
                  <a:lnTo>
                    <a:pt x="390" y="868"/>
                  </a:lnTo>
                  <a:lnTo>
                    <a:pt x="385" y="868"/>
                  </a:lnTo>
                  <a:lnTo>
                    <a:pt x="385" y="868"/>
                  </a:lnTo>
                  <a:lnTo>
                    <a:pt x="385" y="868"/>
                  </a:lnTo>
                  <a:lnTo>
                    <a:pt x="385" y="868"/>
                  </a:lnTo>
                  <a:lnTo>
                    <a:pt x="385" y="864"/>
                  </a:lnTo>
                  <a:lnTo>
                    <a:pt x="385" y="868"/>
                  </a:lnTo>
                  <a:lnTo>
                    <a:pt x="381" y="868"/>
                  </a:lnTo>
                  <a:lnTo>
                    <a:pt x="381" y="868"/>
                  </a:lnTo>
                  <a:lnTo>
                    <a:pt x="377" y="873"/>
                  </a:lnTo>
                  <a:lnTo>
                    <a:pt x="377" y="873"/>
                  </a:lnTo>
                  <a:lnTo>
                    <a:pt x="377" y="873"/>
                  </a:lnTo>
                  <a:lnTo>
                    <a:pt x="377" y="877"/>
                  </a:lnTo>
                  <a:lnTo>
                    <a:pt x="377" y="877"/>
                  </a:lnTo>
                  <a:lnTo>
                    <a:pt x="377" y="877"/>
                  </a:lnTo>
                  <a:lnTo>
                    <a:pt x="377" y="877"/>
                  </a:lnTo>
                  <a:lnTo>
                    <a:pt x="372" y="877"/>
                  </a:lnTo>
                  <a:lnTo>
                    <a:pt x="372" y="881"/>
                  </a:lnTo>
                  <a:lnTo>
                    <a:pt x="368" y="881"/>
                  </a:lnTo>
                  <a:lnTo>
                    <a:pt x="368" y="881"/>
                  </a:lnTo>
                  <a:lnTo>
                    <a:pt x="368" y="877"/>
                  </a:lnTo>
                  <a:lnTo>
                    <a:pt x="368" y="877"/>
                  </a:lnTo>
                  <a:lnTo>
                    <a:pt x="368" y="877"/>
                  </a:lnTo>
                  <a:lnTo>
                    <a:pt x="368" y="881"/>
                  </a:lnTo>
                  <a:lnTo>
                    <a:pt x="368" y="881"/>
                  </a:lnTo>
                  <a:lnTo>
                    <a:pt x="368" y="881"/>
                  </a:lnTo>
                  <a:lnTo>
                    <a:pt x="368" y="881"/>
                  </a:lnTo>
                  <a:lnTo>
                    <a:pt x="363" y="881"/>
                  </a:lnTo>
                  <a:lnTo>
                    <a:pt x="363" y="881"/>
                  </a:lnTo>
                  <a:lnTo>
                    <a:pt x="359" y="881"/>
                  </a:lnTo>
                  <a:lnTo>
                    <a:pt x="359" y="881"/>
                  </a:lnTo>
                  <a:lnTo>
                    <a:pt x="363" y="886"/>
                  </a:lnTo>
                  <a:lnTo>
                    <a:pt x="363" y="886"/>
                  </a:lnTo>
                  <a:lnTo>
                    <a:pt x="363" y="886"/>
                  </a:lnTo>
                  <a:lnTo>
                    <a:pt x="363" y="881"/>
                  </a:lnTo>
                  <a:lnTo>
                    <a:pt x="363" y="881"/>
                  </a:lnTo>
                  <a:lnTo>
                    <a:pt x="363" y="886"/>
                  </a:lnTo>
                  <a:lnTo>
                    <a:pt x="363" y="886"/>
                  </a:lnTo>
                  <a:lnTo>
                    <a:pt x="363" y="886"/>
                  </a:lnTo>
                  <a:lnTo>
                    <a:pt x="363" y="886"/>
                  </a:lnTo>
                  <a:lnTo>
                    <a:pt x="359" y="886"/>
                  </a:lnTo>
                  <a:lnTo>
                    <a:pt x="359" y="886"/>
                  </a:lnTo>
                  <a:lnTo>
                    <a:pt x="354" y="881"/>
                  </a:lnTo>
                  <a:lnTo>
                    <a:pt x="354" y="886"/>
                  </a:lnTo>
                  <a:lnTo>
                    <a:pt x="350" y="890"/>
                  </a:lnTo>
                  <a:lnTo>
                    <a:pt x="346" y="890"/>
                  </a:lnTo>
                  <a:lnTo>
                    <a:pt x="363" y="886"/>
                  </a:lnTo>
                  <a:lnTo>
                    <a:pt x="368" y="886"/>
                  </a:lnTo>
                  <a:lnTo>
                    <a:pt x="372" y="886"/>
                  </a:lnTo>
                  <a:lnTo>
                    <a:pt x="368" y="886"/>
                  </a:lnTo>
                  <a:lnTo>
                    <a:pt x="363" y="890"/>
                  </a:lnTo>
                  <a:lnTo>
                    <a:pt x="350" y="895"/>
                  </a:lnTo>
                  <a:lnTo>
                    <a:pt x="346" y="895"/>
                  </a:lnTo>
                  <a:lnTo>
                    <a:pt x="346" y="895"/>
                  </a:lnTo>
                  <a:lnTo>
                    <a:pt x="346" y="895"/>
                  </a:lnTo>
                  <a:lnTo>
                    <a:pt x="350" y="895"/>
                  </a:lnTo>
                  <a:lnTo>
                    <a:pt x="350" y="899"/>
                  </a:lnTo>
                  <a:lnTo>
                    <a:pt x="354" y="895"/>
                  </a:lnTo>
                  <a:lnTo>
                    <a:pt x="354" y="899"/>
                  </a:lnTo>
                  <a:lnTo>
                    <a:pt x="354" y="904"/>
                  </a:lnTo>
                  <a:lnTo>
                    <a:pt x="354" y="904"/>
                  </a:lnTo>
                  <a:lnTo>
                    <a:pt x="350" y="904"/>
                  </a:lnTo>
                  <a:lnTo>
                    <a:pt x="350" y="904"/>
                  </a:lnTo>
                  <a:lnTo>
                    <a:pt x="346" y="904"/>
                  </a:lnTo>
                  <a:lnTo>
                    <a:pt x="346" y="908"/>
                  </a:lnTo>
                  <a:lnTo>
                    <a:pt x="346" y="908"/>
                  </a:lnTo>
                  <a:lnTo>
                    <a:pt x="354" y="904"/>
                  </a:lnTo>
                  <a:lnTo>
                    <a:pt x="354" y="904"/>
                  </a:lnTo>
                  <a:lnTo>
                    <a:pt x="354" y="904"/>
                  </a:lnTo>
                  <a:lnTo>
                    <a:pt x="359" y="899"/>
                  </a:lnTo>
                  <a:lnTo>
                    <a:pt x="359" y="899"/>
                  </a:lnTo>
                  <a:lnTo>
                    <a:pt x="359" y="899"/>
                  </a:lnTo>
                  <a:lnTo>
                    <a:pt x="359" y="899"/>
                  </a:lnTo>
                  <a:lnTo>
                    <a:pt x="363" y="895"/>
                  </a:lnTo>
                  <a:lnTo>
                    <a:pt x="363" y="895"/>
                  </a:lnTo>
                  <a:lnTo>
                    <a:pt x="368" y="895"/>
                  </a:lnTo>
                  <a:lnTo>
                    <a:pt x="368" y="895"/>
                  </a:lnTo>
                  <a:lnTo>
                    <a:pt x="368" y="890"/>
                  </a:lnTo>
                  <a:lnTo>
                    <a:pt x="368" y="890"/>
                  </a:lnTo>
                  <a:lnTo>
                    <a:pt x="372" y="886"/>
                  </a:lnTo>
                  <a:lnTo>
                    <a:pt x="381" y="881"/>
                  </a:lnTo>
                  <a:lnTo>
                    <a:pt x="385" y="881"/>
                  </a:lnTo>
                  <a:lnTo>
                    <a:pt x="385" y="881"/>
                  </a:lnTo>
                  <a:lnTo>
                    <a:pt x="390" y="877"/>
                  </a:lnTo>
                  <a:lnTo>
                    <a:pt x="390" y="877"/>
                  </a:lnTo>
                  <a:lnTo>
                    <a:pt x="394" y="877"/>
                  </a:lnTo>
                  <a:lnTo>
                    <a:pt x="394" y="877"/>
                  </a:lnTo>
                  <a:lnTo>
                    <a:pt x="399" y="881"/>
                  </a:lnTo>
                  <a:lnTo>
                    <a:pt x="390" y="877"/>
                  </a:lnTo>
                  <a:lnTo>
                    <a:pt x="390" y="881"/>
                  </a:lnTo>
                  <a:lnTo>
                    <a:pt x="385" y="881"/>
                  </a:lnTo>
                  <a:lnTo>
                    <a:pt x="385" y="881"/>
                  </a:lnTo>
                  <a:lnTo>
                    <a:pt x="385" y="881"/>
                  </a:lnTo>
                  <a:lnTo>
                    <a:pt x="381" y="881"/>
                  </a:lnTo>
                  <a:lnTo>
                    <a:pt x="377" y="886"/>
                  </a:lnTo>
                  <a:lnTo>
                    <a:pt x="372" y="886"/>
                  </a:lnTo>
                  <a:lnTo>
                    <a:pt x="372" y="890"/>
                  </a:lnTo>
                  <a:lnTo>
                    <a:pt x="372" y="890"/>
                  </a:lnTo>
                  <a:lnTo>
                    <a:pt x="372" y="890"/>
                  </a:lnTo>
                  <a:lnTo>
                    <a:pt x="368" y="895"/>
                  </a:lnTo>
                  <a:lnTo>
                    <a:pt x="368" y="895"/>
                  </a:lnTo>
                  <a:lnTo>
                    <a:pt x="372" y="895"/>
                  </a:lnTo>
                  <a:lnTo>
                    <a:pt x="377" y="890"/>
                  </a:lnTo>
                  <a:lnTo>
                    <a:pt x="377" y="895"/>
                  </a:lnTo>
                  <a:lnTo>
                    <a:pt x="377" y="895"/>
                  </a:lnTo>
                  <a:lnTo>
                    <a:pt x="377" y="895"/>
                  </a:lnTo>
                  <a:lnTo>
                    <a:pt x="377" y="895"/>
                  </a:lnTo>
                  <a:lnTo>
                    <a:pt x="368" y="895"/>
                  </a:lnTo>
                  <a:lnTo>
                    <a:pt x="368" y="895"/>
                  </a:lnTo>
                  <a:lnTo>
                    <a:pt x="368" y="895"/>
                  </a:lnTo>
                  <a:lnTo>
                    <a:pt x="372" y="899"/>
                  </a:lnTo>
                  <a:lnTo>
                    <a:pt x="372" y="899"/>
                  </a:lnTo>
                  <a:lnTo>
                    <a:pt x="372" y="899"/>
                  </a:lnTo>
                  <a:lnTo>
                    <a:pt x="377" y="899"/>
                  </a:lnTo>
                  <a:lnTo>
                    <a:pt x="377" y="899"/>
                  </a:lnTo>
                  <a:lnTo>
                    <a:pt x="377" y="899"/>
                  </a:lnTo>
                  <a:lnTo>
                    <a:pt x="377" y="899"/>
                  </a:lnTo>
                  <a:lnTo>
                    <a:pt x="363" y="904"/>
                  </a:lnTo>
                  <a:lnTo>
                    <a:pt x="363" y="904"/>
                  </a:lnTo>
                  <a:lnTo>
                    <a:pt x="363" y="904"/>
                  </a:lnTo>
                  <a:lnTo>
                    <a:pt x="363" y="904"/>
                  </a:lnTo>
                  <a:lnTo>
                    <a:pt x="363" y="904"/>
                  </a:lnTo>
                  <a:lnTo>
                    <a:pt x="368" y="908"/>
                  </a:lnTo>
                  <a:lnTo>
                    <a:pt x="368" y="908"/>
                  </a:lnTo>
                  <a:lnTo>
                    <a:pt x="363" y="908"/>
                  </a:lnTo>
                  <a:lnTo>
                    <a:pt x="363" y="908"/>
                  </a:lnTo>
                  <a:lnTo>
                    <a:pt x="363" y="904"/>
                  </a:lnTo>
                  <a:lnTo>
                    <a:pt x="359" y="908"/>
                  </a:lnTo>
                  <a:lnTo>
                    <a:pt x="354" y="908"/>
                  </a:lnTo>
                  <a:lnTo>
                    <a:pt x="354" y="912"/>
                  </a:lnTo>
                  <a:lnTo>
                    <a:pt x="354" y="912"/>
                  </a:lnTo>
                  <a:lnTo>
                    <a:pt x="354" y="912"/>
                  </a:lnTo>
                  <a:lnTo>
                    <a:pt x="354" y="912"/>
                  </a:lnTo>
                  <a:lnTo>
                    <a:pt x="354" y="912"/>
                  </a:lnTo>
                  <a:lnTo>
                    <a:pt x="354" y="912"/>
                  </a:lnTo>
                  <a:lnTo>
                    <a:pt x="354" y="912"/>
                  </a:lnTo>
                  <a:lnTo>
                    <a:pt x="354" y="912"/>
                  </a:lnTo>
                  <a:lnTo>
                    <a:pt x="354" y="912"/>
                  </a:lnTo>
                  <a:lnTo>
                    <a:pt x="354" y="912"/>
                  </a:lnTo>
                  <a:lnTo>
                    <a:pt x="354" y="917"/>
                  </a:lnTo>
                  <a:lnTo>
                    <a:pt x="354" y="917"/>
                  </a:lnTo>
                  <a:lnTo>
                    <a:pt x="354" y="917"/>
                  </a:lnTo>
                  <a:lnTo>
                    <a:pt x="354" y="917"/>
                  </a:lnTo>
                  <a:lnTo>
                    <a:pt x="354" y="917"/>
                  </a:lnTo>
                  <a:lnTo>
                    <a:pt x="354" y="921"/>
                  </a:lnTo>
                  <a:lnTo>
                    <a:pt x="359" y="921"/>
                  </a:lnTo>
                  <a:lnTo>
                    <a:pt x="359" y="921"/>
                  </a:lnTo>
                  <a:lnTo>
                    <a:pt x="359" y="921"/>
                  </a:lnTo>
                  <a:lnTo>
                    <a:pt x="359" y="926"/>
                  </a:lnTo>
                  <a:lnTo>
                    <a:pt x="359" y="926"/>
                  </a:lnTo>
                  <a:lnTo>
                    <a:pt x="359" y="926"/>
                  </a:lnTo>
                  <a:lnTo>
                    <a:pt x="363" y="926"/>
                  </a:lnTo>
                  <a:lnTo>
                    <a:pt x="363" y="926"/>
                  </a:lnTo>
                  <a:lnTo>
                    <a:pt x="363" y="926"/>
                  </a:lnTo>
                  <a:lnTo>
                    <a:pt x="363" y="926"/>
                  </a:lnTo>
                  <a:lnTo>
                    <a:pt x="363" y="926"/>
                  </a:lnTo>
                  <a:lnTo>
                    <a:pt x="363" y="926"/>
                  </a:lnTo>
                  <a:lnTo>
                    <a:pt x="363" y="921"/>
                  </a:lnTo>
                  <a:lnTo>
                    <a:pt x="363" y="921"/>
                  </a:lnTo>
                  <a:lnTo>
                    <a:pt x="363" y="921"/>
                  </a:lnTo>
                  <a:lnTo>
                    <a:pt x="368" y="921"/>
                  </a:lnTo>
                  <a:lnTo>
                    <a:pt x="368" y="921"/>
                  </a:lnTo>
                  <a:lnTo>
                    <a:pt x="368" y="921"/>
                  </a:lnTo>
                  <a:lnTo>
                    <a:pt x="368" y="921"/>
                  </a:lnTo>
                  <a:lnTo>
                    <a:pt x="368" y="926"/>
                  </a:lnTo>
                  <a:lnTo>
                    <a:pt x="368" y="926"/>
                  </a:lnTo>
                  <a:lnTo>
                    <a:pt x="368" y="926"/>
                  </a:lnTo>
                  <a:lnTo>
                    <a:pt x="377" y="926"/>
                  </a:lnTo>
                  <a:lnTo>
                    <a:pt x="372" y="926"/>
                  </a:lnTo>
                  <a:lnTo>
                    <a:pt x="368" y="926"/>
                  </a:lnTo>
                  <a:lnTo>
                    <a:pt x="363" y="930"/>
                  </a:lnTo>
                  <a:lnTo>
                    <a:pt x="363" y="930"/>
                  </a:lnTo>
                  <a:lnTo>
                    <a:pt x="363" y="930"/>
                  </a:lnTo>
                  <a:lnTo>
                    <a:pt x="363" y="930"/>
                  </a:lnTo>
                  <a:lnTo>
                    <a:pt x="359" y="930"/>
                  </a:lnTo>
                  <a:lnTo>
                    <a:pt x="359" y="930"/>
                  </a:lnTo>
                  <a:lnTo>
                    <a:pt x="359" y="930"/>
                  </a:lnTo>
                  <a:lnTo>
                    <a:pt x="363" y="930"/>
                  </a:lnTo>
                  <a:lnTo>
                    <a:pt x="363" y="930"/>
                  </a:lnTo>
                  <a:lnTo>
                    <a:pt x="363" y="935"/>
                  </a:lnTo>
                  <a:lnTo>
                    <a:pt x="363" y="935"/>
                  </a:lnTo>
                  <a:lnTo>
                    <a:pt x="359" y="935"/>
                  </a:lnTo>
                  <a:lnTo>
                    <a:pt x="359" y="935"/>
                  </a:lnTo>
                  <a:lnTo>
                    <a:pt x="359" y="935"/>
                  </a:lnTo>
                  <a:lnTo>
                    <a:pt x="359" y="939"/>
                  </a:lnTo>
                  <a:lnTo>
                    <a:pt x="359" y="939"/>
                  </a:lnTo>
                  <a:lnTo>
                    <a:pt x="368" y="939"/>
                  </a:lnTo>
                  <a:lnTo>
                    <a:pt x="368" y="939"/>
                  </a:lnTo>
                  <a:lnTo>
                    <a:pt x="363" y="939"/>
                  </a:lnTo>
                  <a:lnTo>
                    <a:pt x="359" y="943"/>
                  </a:lnTo>
                  <a:lnTo>
                    <a:pt x="359" y="943"/>
                  </a:lnTo>
                  <a:lnTo>
                    <a:pt x="359" y="943"/>
                  </a:lnTo>
                  <a:lnTo>
                    <a:pt x="354" y="943"/>
                  </a:lnTo>
                  <a:lnTo>
                    <a:pt x="354" y="943"/>
                  </a:lnTo>
                  <a:lnTo>
                    <a:pt x="354" y="943"/>
                  </a:lnTo>
                  <a:lnTo>
                    <a:pt x="354" y="943"/>
                  </a:lnTo>
                  <a:lnTo>
                    <a:pt x="354" y="943"/>
                  </a:lnTo>
                  <a:lnTo>
                    <a:pt x="354" y="948"/>
                  </a:lnTo>
                  <a:lnTo>
                    <a:pt x="354" y="948"/>
                  </a:lnTo>
                  <a:lnTo>
                    <a:pt x="354" y="948"/>
                  </a:lnTo>
                  <a:lnTo>
                    <a:pt x="354" y="948"/>
                  </a:lnTo>
                  <a:lnTo>
                    <a:pt x="350" y="952"/>
                  </a:lnTo>
                  <a:lnTo>
                    <a:pt x="350" y="957"/>
                  </a:lnTo>
                  <a:lnTo>
                    <a:pt x="346" y="957"/>
                  </a:lnTo>
                  <a:lnTo>
                    <a:pt x="346" y="957"/>
                  </a:lnTo>
                  <a:lnTo>
                    <a:pt x="350" y="952"/>
                  </a:lnTo>
                  <a:lnTo>
                    <a:pt x="350" y="948"/>
                  </a:lnTo>
                  <a:lnTo>
                    <a:pt x="350" y="948"/>
                  </a:lnTo>
                  <a:lnTo>
                    <a:pt x="350" y="943"/>
                  </a:lnTo>
                  <a:lnTo>
                    <a:pt x="350" y="943"/>
                  </a:lnTo>
                  <a:lnTo>
                    <a:pt x="350" y="943"/>
                  </a:lnTo>
                  <a:lnTo>
                    <a:pt x="350" y="943"/>
                  </a:lnTo>
                  <a:lnTo>
                    <a:pt x="346" y="943"/>
                  </a:lnTo>
                  <a:lnTo>
                    <a:pt x="346" y="943"/>
                  </a:lnTo>
                  <a:lnTo>
                    <a:pt x="341" y="943"/>
                  </a:lnTo>
                  <a:lnTo>
                    <a:pt x="341" y="939"/>
                  </a:lnTo>
                  <a:lnTo>
                    <a:pt x="341" y="939"/>
                  </a:lnTo>
                  <a:lnTo>
                    <a:pt x="341" y="939"/>
                  </a:lnTo>
                  <a:lnTo>
                    <a:pt x="341" y="935"/>
                  </a:lnTo>
                  <a:lnTo>
                    <a:pt x="337" y="935"/>
                  </a:lnTo>
                  <a:lnTo>
                    <a:pt x="337" y="935"/>
                  </a:lnTo>
                  <a:lnTo>
                    <a:pt x="337" y="930"/>
                  </a:lnTo>
                  <a:lnTo>
                    <a:pt x="337" y="930"/>
                  </a:lnTo>
                  <a:lnTo>
                    <a:pt x="337" y="926"/>
                  </a:lnTo>
                  <a:lnTo>
                    <a:pt x="337" y="926"/>
                  </a:lnTo>
                  <a:lnTo>
                    <a:pt x="337" y="926"/>
                  </a:lnTo>
                  <a:lnTo>
                    <a:pt x="332" y="926"/>
                  </a:lnTo>
                  <a:lnTo>
                    <a:pt x="332" y="921"/>
                  </a:lnTo>
                  <a:lnTo>
                    <a:pt x="332" y="921"/>
                  </a:lnTo>
                  <a:lnTo>
                    <a:pt x="332" y="921"/>
                  </a:lnTo>
                  <a:lnTo>
                    <a:pt x="332" y="926"/>
                  </a:lnTo>
                  <a:lnTo>
                    <a:pt x="332" y="926"/>
                  </a:lnTo>
                  <a:lnTo>
                    <a:pt x="332" y="926"/>
                  </a:lnTo>
                  <a:lnTo>
                    <a:pt x="332" y="926"/>
                  </a:lnTo>
                  <a:lnTo>
                    <a:pt x="328" y="926"/>
                  </a:lnTo>
                  <a:lnTo>
                    <a:pt x="328" y="926"/>
                  </a:lnTo>
                  <a:lnTo>
                    <a:pt x="328" y="926"/>
                  </a:lnTo>
                  <a:lnTo>
                    <a:pt x="328" y="926"/>
                  </a:lnTo>
                  <a:lnTo>
                    <a:pt x="332" y="926"/>
                  </a:lnTo>
                  <a:lnTo>
                    <a:pt x="332" y="930"/>
                  </a:lnTo>
                  <a:lnTo>
                    <a:pt x="332" y="930"/>
                  </a:lnTo>
                  <a:lnTo>
                    <a:pt x="332" y="930"/>
                  </a:lnTo>
                  <a:lnTo>
                    <a:pt x="332" y="930"/>
                  </a:lnTo>
                  <a:lnTo>
                    <a:pt x="332" y="935"/>
                  </a:lnTo>
                  <a:lnTo>
                    <a:pt x="332" y="935"/>
                  </a:lnTo>
                  <a:lnTo>
                    <a:pt x="332" y="935"/>
                  </a:lnTo>
                  <a:lnTo>
                    <a:pt x="332" y="935"/>
                  </a:lnTo>
                  <a:lnTo>
                    <a:pt x="328" y="935"/>
                  </a:lnTo>
                  <a:lnTo>
                    <a:pt x="328" y="935"/>
                  </a:lnTo>
                  <a:lnTo>
                    <a:pt x="328" y="935"/>
                  </a:lnTo>
                  <a:lnTo>
                    <a:pt x="332" y="939"/>
                  </a:lnTo>
                  <a:lnTo>
                    <a:pt x="332" y="939"/>
                  </a:lnTo>
                  <a:lnTo>
                    <a:pt x="332" y="939"/>
                  </a:lnTo>
                  <a:lnTo>
                    <a:pt x="328" y="935"/>
                  </a:lnTo>
                  <a:lnTo>
                    <a:pt x="328" y="935"/>
                  </a:lnTo>
                  <a:lnTo>
                    <a:pt x="328" y="939"/>
                  </a:lnTo>
                  <a:lnTo>
                    <a:pt x="328" y="939"/>
                  </a:lnTo>
                  <a:lnTo>
                    <a:pt x="328" y="939"/>
                  </a:lnTo>
                  <a:lnTo>
                    <a:pt x="328" y="939"/>
                  </a:lnTo>
                  <a:lnTo>
                    <a:pt x="328" y="935"/>
                  </a:lnTo>
                  <a:lnTo>
                    <a:pt x="328" y="935"/>
                  </a:lnTo>
                  <a:lnTo>
                    <a:pt x="323" y="935"/>
                  </a:lnTo>
                  <a:lnTo>
                    <a:pt x="323" y="935"/>
                  </a:lnTo>
                  <a:lnTo>
                    <a:pt x="323" y="935"/>
                  </a:lnTo>
                  <a:lnTo>
                    <a:pt x="323" y="935"/>
                  </a:lnTo>
                  <a:lnTo>
                    <a:pt x="323" y="939"/>
                  </a:lnTo>
                  <a:lnTo>
                    <a:pt x="323" y="939"/>
                  </a:lnTo>
                  <a:lnTo>
                    <a:pt x="323" y="939"/>
                  </a:lnTo>
                  <a:lnTo>
                    <a:pt x="323" y="939"/>
                  </a:lnTo>
                  <a:lnTo>
                    <a:pt x="323" y="939"/>
                  </a:lnTo>
                  <a:lnTo>
                    <a:pt x="319" y="939"/>
                  </a:lnTo>
                  <a:lnTo>
                    <a:pt x="319" y="939"/>
                  </a:lnTo>
                  <a:lnTo>
                    <a:pt x="319" y="939"/>
                  </a:lnTo>
                  <a:lnTo>
                    <a:pt x="319" y="939"/>
                  </a:lnTo>
                  <a:lnTo>
                    <a:pt x="319" y="939"/>
                  </a:lnTo>
                  <a:lnTo>
                    <a:pt x="319" y="939"/>
                  </a:lnTo>
                  <a:lnTo>
                    <a:pt x="319" y="939"/>
                  </a:lnTo>
                  <a:lnTo>
                    <a:pt x="319" y="939"/>
                  </a:lnTo>
                  <a:lnTo>
                    <a:pt x="319" y="939"/>
                  </a:lnTo>
                  <a:lnTo>
                    <a:pt x="315" y="943"/>
                  </a:lnTo>
                  <a:lnTo>
                    <a:pt x="315" y="943"/>
                  </a:lnTo>
                  <a:lnTo>
                    <a:pt x="315" y="943"/>
                  </a:lnTo>
                  <a:lnTo>
                    <a:pt x="319" y="943"/>
                  </a:lnTo>
                  <a:lnTo>
                    <a:pt x="319" y="943"/>
                  </a:lnTo>
                  <a:lnTo>
                    <a:pt x="323" y="943"/>
                  </a:lnTo>
                  <a:lnTo>
                    <a:pt x="323" y="943"/>
                  </a:lnTo>
                  <a:lnTo>
                    <a:pt x="323" y="943"/>
                  </a:lnTo>
                  <a:lnTo>
                    <a:pt x="323" y="948"/>
                  </a:lnTo>
                  <a:lnTo>
                    <a:pt x="323" y="948"/>
                  </a:lnTo>
                  <a:lnTo>
                    <a:pt x="328" y="952"/>
                  </a:lnTo>
                  <a:lnTo>
                    <a:pt x="323" y="952"/>
                  </a:lnTo>
                  <a:lnTo>
                    <a:pt x="323" y="952"/>
                  </a:lnTo>
                  <a:lnTo>
                    <a:pt x="319" y="948"/>
                  </a:lnTo>
                  <a:lnTo>
                    <a:pt x="319" y="948"/>
                  </a:lnTo>
                  <a:lnTo>
                    <a:pt x="319" y="948"/>
                  </a:lnTo>
                  <a:lnTo>
                    <a:pt x="319" y="948"/>
                  </a:lnTo>
                  <a:lnTo>
                    <a:pt x="319" y="948"/>
                  </a:lnTo>
                  <a:lnTo>
                    <a:pt x="319" y="948"/>
                  </a:lnTo>
                  <a:lnTo>
                    <a:pt x="315" y="948"/>
                  </a:lnTo>
                  <a:lnTo>
                    <a:pt x="315" y="943"/>
                  </a:lnTo>
                  <a:lnTo>
                    <a:pt x="315" y="943"/>
                  </a:lnTo>
                  <a:lnTo>
                    <a:pt x="315" y="943"/>
                  </a:lnTo>
                  <a:lnTo>
                    <a:pt x="315" y="943"/>
                  </a:lnTo>
                  <a:lnTo>
                    <a:pt x="315" y="943"/>
                  </a:lnTo>
                  <a:lnTo>
                    <a:pt x="315" y="943"/>
                  </a:lnTo>
                  <a:lnTo>
                    <a:pt x="315" y="943"/>
                  </a:lnTo>
                  <a:lnTo>
                    <a:pt x="310" y="943"/>
                  </a:lnTo>
                  <a:lnTo>
                    <a:pt x="310" y="943"/>
                  </a:lnTo>
                  <a:lnTo>
                    <a:pt x="310" y="943"/>
                  </a:lnTo>
                  <a:lnTo>
                    <a:pt x="310" y="943"/>
                  </a:lnTo>
                  <a:lnTo>
                    <a:pt x="310" y="943"/>
                  </a:lnTo>
                  <a:lnTo>
                    <a:pt x="315" y="943"/>
                  </a:lnTo>
                  <a:lnTo>
                    <a:pt x="315" y="943"/>
                  </a:lnTo>
                  <a:lnTo>
                    <a:pt x="315" y="948"/>
                  </a:lnTo>
                  <a:lnTo>
                    <a:pt x="315" y="948"/>
                  </a:lnTo>
                  <a:lnTo>
                    <a:pt x="315" y="948"/>
                  </a:lnTo>
                  <a:lnTo>
                    <a:pt x="310" y="943"/>
                  </a:lnTo>
                  <a:lnTo>
                    <a:pt x="310" y="943"/>
                  </a:lnTo>
                  <a:lnTo>
                    <a:pt x="306" y="943"/>
                  </a:lnTo>
                  <a:lnTo>
                    <a:pt x="306" y="943"/>
                  </a:lnTo>
                  <a:lnTo>
                    <a:pt x="306" y="948"/>
                  </a:lnTo>
                  <a:lnTo>
                    <a:pt x="306" y="948"/>
                  </a:lnTo>
                  <a:lnTo>
                    <a:pt x="310" y="948"/>
                  </a:lnTo>
                  <a:lnTo>
                    <a:pt x="310" y="948"/>
                  </a:lnTo>
                  <a:lnTo>
                    <a:pt x="310" y="948"/>
                  </a:lnTo>
                  <a:lnTo>
                    <a:pt x="310" y="948"/>
                  </a:lnTo>
                  <a:lnTo>
                    <a:pt x="310" y="948"/>
                  </a:lnTo>
                  <a:lnTo>
                    <a:pt x="310" y="948"/>
                  </a:lnTo>
                  <a:lnTo>
                    <a:pt x="310" y="948"/>
                  </a:lnTo>
                  <a:lnTo>
                    <a:pt x="315" y="948"/>
                  </a:lnTo>
                  <a:lnTo>
                    <a:pt x="315" y="952"/>
                  </a:lnTo>
                  <a:lnTo>
                    <a:pt x="315" y="952"/>
                  </a:lnTo>
                  <a:lnTo>
                    <a:pt x="315" y="952"/>
                  </a:lnTo>
                  <a:lnTo>
                    <a:pt x="315" y="952"/>
                  </a:lnTo>
                  <a:lnTo>
                    <a:pt x="315" y="952"/>
                  </a:lnTo>
                  <a:lnTo>
                    <a:pt x="315" y="952"/>
                  </a:lnTo>
                  <a:lnTo>
                    <a:pt x="315" y="957"/>
                  </a:lnTo>
                  <a:lnTo>
                    <a:pt x="310" y="952"/>
                  </a:lnTo>
                  <a:lnTo>
                    <a:pt x="310" y="952"/>
                  </a:lnTo>
                  <a:lnTo>
                    <a:pt x="306" y="952"/>
                  </a:lnTo>
                  <a:lnTo>
                    <a:pt x="306" y="952"/>
                  </a:lnTo>
                  <a:lnTo>
                    <a:pt x="310" y="952"/>
                  </a:lnTo>
                  <a:lnTo>
                    <a:pt x="310" y="957"/>
                  </a:lnTo>
                  <a:lnTo>
                    <a:pt x="310" y="957"/>
                  </a:lnTo>
                  <a:lnTo>
                    <a:pt x="310" y="952"/>
                  </a:lnTo>
                  <a:lnTo>
                    <a:pt x="306" y="952"/>
                  </a:lnTo>
                  <a:lnTo>
                    <a:pt x="306" y="952"/>
                  </a:lnTo>
                  <a:lnTo>
                    <a:pt x="306" y="952"/>
                  </a:lnTo>
                  <a:lnTo>
                    <a:pt x="306" y="952"/>
                  </a:lnTo>
                  <a:lnTo>
                    <a:pt x="306" y="952"/>
                  </a:lnTo>
                  <a:lnTo>
                    <a:pt x="306" y="957"/>
                  </a:lnTo>
                  <a:lnTo>
                    <a:pt x="306" y="957"/>
                  </a:lnTo>
                  <a:lnTo>
                    <a:pt x="306" y="961"/>
                  </a:lnTo>
                  <a:lnTo>
                    <a:pt x="306" y="961"/>
                  </a:lnTo>
                  <a:lnTo>
                    <a:pt x="306" y="961"/>
                  </a:lnTo>
                  <a:lnTo>
                    <a:pt x="306" y="961"/>
                  </a:lnTo>
                  <a:lnTo>
                    <a:pt x="306" y="961"/>
                  </a:lnTo>
                  <a:lnTo>
                    <a:pt x="306" y="961"/>
                  </a:lnTo>
                  <a:lnTo>
                    <a:pt x="306" y="961"/>
                  </a:lnTo>
                  <a:lnTo>
                    <a:pt x="301" y="961"/>
                  </a:lnTo>
                  <a:lnTo>
                    <a:pt x="301" y="961"/>
                  </a:lnTo>
                  <a:lnTo>
                    <a:pt x="301" y="961"/>
                  </a:lnTo>
                  <a:lnTo>
                    <a:pt x="301" y="966"/>
                  </a:lnTo>
                  <a:lnTo>
                    <a:pt x="301" y="961"/>
                  </a:lnTo>
                  <a:lnTo>
                    <a:pt x="297" y="961"/>
                  </a:lnTo>
                  <a:lnTo>
                    <a:pt x="297" y="966"/>
                  </a:lnTo>
                  <a:lnTo>
                    <a:pt x="297" y="966"/>
                  </a:lnTo>
                  <a:lnTo>
                    <a:pt x="297" y="966"/>
                  </a:lnTo>
                  <a:lnTo>
                    <a:pt x="292" y="966"/>
                  </a:lnTo>
                  <a:lnTo>
                    <a:pt x="292" y="970"/>
                  </a:lnTo>
                  <a:lnTo>
                    <a:pt x="297" y="970"/>
                  </a:lnTo>
                  <a:lnTo>
                    <a:pt x="301" y="970"/>
                  </a:lnTo>
                  <a:lnTo>
                    <a:pt x="301" y="974"/>
                  </a:lnTo>
                  <a:lnTo>
                    <a:pt x="301" y="974"/>
                  </a:lnTo>
                  <a:lnTo>
                    <a:pt x="297" y="970"/>
                  </a:lnTo>
                  <a:lnTo>
                    <a:pt x="297" y="970"/>
                  </a:lnTo>
                  <a:lnTo>
                    <a:pt x="292" y="970"/>
                  </a:lnTo>
                  <a:lnTo>
                    <a:pt x="292" y="970"/>
                  </a:lnTo>
                  <a:lnTo>
                    <a:pt x="292" y="970"/>
                  </a:lnTo>
                  <a:lnTo>
                    <a:pt x="292" y="970"/>
                  </a:lnTo>
                  <a:lnTo>
                    <a:pt x="292" y="974"/>
                  </a:lnTo>
                  <a:lnTo>
                    <a:pt x="292" y="974"/>
                  </a:lnTo>
                  <a:lnTo>
                    <a:pt x="292" y="974"/>
                  </a:lnTo>
                  <a:lnTo>
                    <a:pt x="292" y="974"/>
                  </a:lnTo>
                  <a:lnTo>
                    <a:pt x="288" y="974"/>
                  </a:lnTo>
                  <a:lnTo>
                    <a:pt x="288" y="974"/>
                  </a:lnTo>
                  <a:lnTo>
                    <a:pt x="288" y="974"/>
                  </a:lnTo>
                  <a:lnTo>
                    <a:pt x="292" y="974"/>
                  </a:lnTo>
                  <a:lnTo>
                    <a:pt x="292" y="974"/>
                  </a:lnTo>
                  <a:lnTo>
                    <a:pt x="292" y="974"/>
                  </a:lnTo>
                  <a:lnTo>
                    <a:pt x="292" y="974"/>
                  </a:lnTo>
                  <a:lnTo>
                    <a:pt x="292" y="979"/>
                  </a:lnTo>
                  <a:lnTo>
                    <a:pt x="292" y="979"/>
                  </a:lnTo>
                  <a:lnTo>
                    <a:pt x="288" y="979"/>
                  </a:lnTo>
                  <a:lnTo>
                    <a:pt x="288" y="979"/>
                  </a:lnTo>
                  <a:lnTo>
                    <a:pt x="288" y="979"/>
                  </a:lnTo>
                  <a:lnTo>
                    <a:pt x="288" y="979"/>
                  </a:lnTo>
                  <a:lnTo>
                    <a:pt x="288" y="979"/>
                  </a:lnTo>
                  <a:lnTo>
                    <a:pt x="288" y="979"/>
                  </a:lnTo>
                  <a:lnTo>
                    <a:pt x="288" y="979"/>
                  </a:lnTo>
                  <a:lnTo>
                    <a:pt x="288" y="983"/>
                  </a:lnTo>
                  <a:lnTo>
                    <a:pt x="292" y="983"/>
                  </a:lnTo>
                  <a:lnTo>
                    <a:pt x="292" y="983"/>
                  </a:lnTo>
                  <a:lnTo>
                    <a:pt x="292" y="983"/>
                  </a:lnTo>
                  <a:lnTo>
                    <a:pt x="292" y="983"/>
                  </a:lnTo>
                  <a:lnTo>
                    <a:pt x="288" y="988"/>
                  </a:lnTo>
                  <a:lnTo>
                    <a:pt x="288" y="983"/>
                  </a:lnTo>
                  <a:lnTo>
                    <a:pt x="284" y="983"/>
                  </a:lnTo>
                  <a:lnTo>
                    <a:pt x="284" y="983"/>
                  </a:lnTo>
                  <a:lnTo>
                    <a:pt x="284" y="983"/>
                  </a:lnTo>
                  <a:lnTo>
                    <a:pt x="279" y="983"/>
                  </a:lnTo>
                  <a:lnTo>
                    <a:pt x="279" y="983"/>
                  </a:lnTo>
                  <a:lnTo>
                    <a:pt x="279" y="988"/>
                  </a:lnTo>
                  <a:lnTo>
                    <a:pt x="284" y="988"/>
                  </a:lnTo>
                  <a:lnTo>
                    <a:pt x="284" y="988"/>
                  </a:lnTo>
                  <a:lnTo>
                    <a:pt x="284" y="992"/>
                  </a:lnTo>
                  <a:lnTo>
                    <a:pt x="284" y="992"/>
                  </a:lnTo>
                  <a:lnTo>
                    <a:pt x="284" y="992"/>
                  </a:lnTo>
                  <a:lnTo>
                    <a:pt x="279" y="992"/>
                  </a:lnTo>
                  <a:lnTo>
                    <a:pt x="279" y="992"/>
                  </a:lnTo>
                  <a:lnTo>
                    <a:pt x="279" y="997"/>
                  </a:lnTo>
                  <a:lnTo>
                    <a:pt x="279" y="997"/>
                  </a:lnTo>
                  <a:lnTo>
                    <a:pt x="279" y="997"/>
                  </a:lnTo>
                  <a:lnTo>
                    <a:pt x="279" y="1001"/>
                  </a:lnTo>
                  <a:lnTo>
                    <a:pt x="279" y="1001"/>
                  </a:lnTo>
                  <a:lnTo>
                    <a:pt x="279" y="1001"/>
                  </a:lnTo>
                  <a:lnTo>
                    <a:pt x="279" y="1001"/>
                  </a:lnTo>
                  <a:lnTo>
                    <a:pt x="284" y="997"/>
                  </a:lnTo>
                  <a:lnTo>
                    <a:pt x="284" y="997"/>
                  </a:lnTo>
                  <a:lnTo>
                    <a:pt x="284" y="1001"/>
                  </a:lnTo>
                  <a:lnTo>
                    <a:pt x="284" y="1001"/>
                  </a:lnTo>
                  <a:lnTo>
                    <a:pt x="288" y="1001"/>
                  </a:lnTo>
                  <a:lnTo>
                    <a:pt x="288" y="997"/>
                  </a:lnTo>
                  <a:lnTo>
                    <a:pt x="288" y="997"/>
                  </a:lnTo>
                  <a:lnTo>
                    <a:pt x="288" y="997"/>
                  </a:lnTo>
                  <a:lnTo>
                    <a:pt x="284" y="1001"/>
                  </a:lnTo>
                  <a:lnTo>
                    <a:pt x="279" y="1005"/>
                  </a:lnTo>
                  <a:lnTo>
                    <a:pt x="279" y="1005"/>
                  </a:lnTo>
                  <a:lnTo>
                    <a:pt x="279" y="1005"/>
                  </a:lnTo>
                  <a:lnTo>
                    <a:pt x="279" y="1005"/>
                  </a:lnTo>
                  <a:lnTo>
                    <a:pt x="284" y="1005"/>
                  </a:lnTo>
                  <a:lnTo>
                    <a:pt x="284" y="1001"/>
                  </a:lnTo>
                  <a:lnTo>
                    <a:pt x="288" y="1001"/>
                  </a:lnTo>
                  <a:lnTo>
                    <a:pt x="288" y="1001"/>
                  </a:lnTo>
                  <a:lnTo>
                    <a:pt x="288" y="1001"/>
                  </a:lnTo>
                  <a:lnTo>
                    <a:pt x="288" y="1001"/>
                  </a:lnTo>
                  <a:lnTo>
                    <a:pt x="288" y="1001"/>
                  </a:lnTo>
                  <a:lnTo>
                    <a:pt x="292" y="1005"/>
                  </a:lnTo>
                  <a:lnTo>
                    <a:pt x="288" y="1005"/>
                  </a:lnTo>
                  <a:lnTo>
                    <a:pt x="288" y="1005"/>
                  </a:lnTo>
                  <a:lnTo>
                    <a:pt x="284" y="1005"/>
                  </a:lnTo>
                  <a:lnTo>
                    <a:pt x="279" y="1010"/>
                  </a:lnTo>
                  <a:lnTo>
                    <a:pt x="279" y="1010"/>
                  </a:lnTo>
                  <a:lnTo>
                    <a:pt x="279" y="1010"/>
                  </a:lnTo>
                  <a:lnTo>
                    <a:pt x="275" y="1010"/>
                  </a:lnTo>
                  <a:lnTo>
                    <a:pt x="275" y="1010"/>
                  </a:lnTo>
                  <a:lnTo>
                    <a:pt x="275" y="1010"/>
                  </a:lnTo>
                  <a:lnTo>
                    <a:pt x="275" y="1010"/>
                  </a:lnTo>
                  <a:lnTo>
                    <a:pt x="275" y="1010"/>
                  </a:lnTo>
                  <a:lnTo>
                    <a:pt x="270" y="1010"/>
                  </a:lnTo>
                  <a:lnTo>
                    <a:pt x="270" y="1010"/>
                  </a:lnTo>
                  <a:lnTo>
                    <a:pt x="270" y="1010"/>
                  </a:lnTo>
                  <a:lnTo>
                    <a:pt x="275" y="1010"/>
                  </a:lnTo>
                  <a:lnTo>
                    <a:pt x="275" y="1014"/>
                  </a:lnTo>
                  <a:lnTo>
                    <a:pt x="270" y="1014"/>
                  </a:lnTo>
                  <a:lnTo>
                    <a:pt x="261" y="1019"/>
                  </a:lnTo>
                  <a:lnTo>
                    <a:pt x="257" y="1023"/>
                  </a:lnTo>
                  <a:lnTo>
                    <a:pt x="257" y="1023"/>
                  </a:lnTo>
                  <a:lnTo>
                    <a:pt x="270" y="1023"/>
                  </a:lnTo>
                  <a:lnTo>
                    <a:pt x="270" y="1023"/>
                  </a:lnTo>
                  <a:lnTo>
                    <a:pt x="266" y="1023"/>
                  </a:lnTo>
                  <a:lnTo>
                    <a:pt x="257" y="1028"/>
                  </a:lnTo>
                  <a:lnTo>
                    <a:pt x="257" y="1032"/>
                  </a:lnTo>
                  <a:lnTo>
                    <a:pt x="257" y="1032"/>
                  </a:lnTo>
                  <a:lnTo>
                    <a:pt x="257" y="1036"/>
                  </a:lnTo>
                  <a:lnTo>
                    <a:pt x="257" y="1036"/>
                  </a:lnTo>
                  <a:lnTo>
                    <a:pt x="257" y="1036"/>
                  </a:lnTo>
                  <a:lnTo>
                    <a:pt x="261" y="1032"/>
                  </a:lnTo>
                  <a:lnTo>
                    <a:pt x="261" y="1032"/>
                  </a:lnTo>
                  <a:lnTo>
                    <a:pt x="261" y="1032"/>
                  </a:lnTo>
                  <a:lnTo>
                    <a:pt x="261" y="1032"/>
                  </a:lnTo>
                  <a:lnTo>
                    <a:pt x="261" y="1032"/>
                  </a:lnTo>
                  <a:lnTo>
                    <a:pt x="261" y="1032"/>
                  </a:lnTo>
                  <a:lnTo>
                    <a:pt x="261" y="1032"/>
                  </a:lnTo>
                  <a:lnTo>
                    <a:pt x="261" y="1032"/>
                  </a:lnTo>
                  <a:lnTo>
                    <a:pt x="266" y="1032"/>
                  </a:lnTo>
                  <a:lnTo>
                    <a:pt x="270" y="1028"/>
                  </a:lnTo>
                  <a:lnTo>
                    <a:pt x="275" y="1028"/>
                  </a:lnTo>
                  <a:lnTo>
                    <a:pt x="275" y="1028"/>
                  </a:lnTo>
                  <a:lnTo>
                    <a:pt x="279" y="1023"/>
                  </a:lnTo>
                  <a:lnTo>
                    <a:pt x="279" y="1023"/>
                  </a:lnTo>
                  <a:lnTo>
                    <a:pt x="279" y="1023"/>
                  </a:lnTo>
                  <a:lnTo>
                    <a:pt x="284" y="1023"/>
                  </a:lnTo>
                  <a:lnTo>
                    <a:pt x="284" y="1023"/>
                  </a:lnTo>
                  <a:lnTo>
                    <a:pt x="284" y="1023"/>
                  </a:lnTo>
                  <a:lnTo>
                    <a:pt x="284" y="1023"/>
                  </a:lnTo>
                  <a:lnTo>
                    <a:pt x="284" y="1023"/>
                  </a:lnTo>
                  <a:lnTo>
                    <a:pt x="284" y="1023"/>
                  </a:lnTo>
                  <a:lnTo>
                    <a:pt x="279" y="1028"/>
                  </a:lnTo>
                  <a:lnTo>
                    <a:pt x="284" y="1028"/>
                  </a:lnTo>
                  <a:lnTo>
                    <a:pt x="284" y="1023"/>
                  </a:lnTo>
                  <a:lnTo>
                    <a:pt x="288" y="1023"/>
                  </a:lnTo>
                  <a:lnTo>
                    <a:pt x="284" y="1028"/>
                  </a:lnTo>
                  <a:lnTo>
                    <a:pt x="284" y="1028"/>
                  </a:lnTo>
                  <a:lnTo>
                    <a:pt x="279" y="1028"/>
                  </a:lnTo>
                  <a:lnTo>
                    <a:pt x="279" y="1032"/>
                  </a:lnTo>
                  <a:lnTo>
                    <a:pt x="275" y="1032"/>
                  </a:lnTo>
                  <a:lnTo>
                    <a:pt x="270" y="1032"/>
                  </a:lnTo>
                  <a:lnTo>
                    <a:pt x="270" y="1036"/>
                  </a:lnTo>
                  <a:lnTo>
                    <a:pt x="270" y="1036"/>
                  </a:lnTo>
                  <a:lnTo>
                    <a:pt x="270" y="1036"/>
                  </a:lnTo>
                  <a:lnTo>
                    <a:pt x="270" y="1036"/>
                  </a:lnTo>
                  <a:lnTo>
                    <a:pt x="270" y="1036"/>
                  </a:lnTo>
                  <a:lnTo>
                    <a:pt x="270" y="1036"/>
                  </a:lnTo>
                  <a:lnTo>
                    <a:pt x="270" y="1036"/>
                  </a:lnTo>
                  <a:lnTo>
                    <a:pt x="270" y="1036"/>
                  </a:lnTo>
                  <a:lnTo>
                    <a:pt x="270" y="1041"/>
                  </a:lnTo>
                  <a:lnTo>
                    <a:pt x="270" y="1041"/>
                  </a:lnTo>
                  <a:lnTo>
                    <a:pt x="270" y="1041"/>
                  </a:lnTo>
                  <a:lnTo>
                    <a:pt x="270" y="1041"/>
                  </a:lnTo>
                  <a:lnTo>
                    <a:pt x="270" y="1045"/>
                  </a:lnTo>
                  <a:lnTo>
                    <a:pt x="275" y="1045"/>
                  </a:lnTo>
                  <a:lnTo>
                    <a:pt x="275" y="1045"/>
                  </a:lnTo>
                  <a:lnTo>
                    <a:pt x="275" y="1045"/>
                  </a:lnTo>
                  <a:lnTo>
                    <a:pt x="275" y="1045"/>
                  </a:lnTo>
                  <a:lnTo>
                    <a:pt x="275" y="1045"/>
                  </a:lnTo>
                  <a:lnTo>
                    <a:pt x="275" y="1050"/>
                  </a:lnTo>
                  <a:lnTo>
                    <a:pt x="275" y="1054"/>
                  </a:lnTo>
                  <a:lnTo>
                    <a:pt x="275" y="1054"/>
                  </a:lnTo>
                  <a:lnTo>
                    <a:pt x="279" y="1054"/>
                  </a:lnTo>
                  <a:lnTo>
                    <a:pt x="279" y="1054"/>
                  </a:lnTo>
                  <a:lnTo>
                    <a:pt x="279" y="1054"/>
                  </a:lnTo>
                  <a:lnTo>
                    <a:pt x="279" y="1054"/>
                  </a:lnTo>
                  <a:lnTo>
                    <a:pt x="279" y="1059"/>
                  </a:lnTo>
                  <a:lnTo>
                    <a:pt x="279" y="1059"/>
                  </a:lnTo>
                  <a:lnTo>
                    <a:pt x="279" y="1054"/>
                  </a:lnTo>
                  <a:lnTo>
                    <a:pt x="279" y="1054"/>
                  </a:lnTo>
                  <a:lnTo>
                    <a:pt x="284" y="1054"/>
                  </a:lnTo>
                  <a:lnTo>
                    <a:pt x="284" y="1054"/>
                  </a:lnTo>
                  <a:lnTo>
                    <a:pt x="288" y="1050"/>
                  </a:lnTo>
                  <a:lnTo>
                    <a:pt x="292" y="1050"/>
                  </a:lnTo>
                  <a:lnTo>
                    <a:pt x="292" y="1050"/>
                  </a:lnTo>
                  <a:lnTo>
                    <a:pt x="292" y="1050"/>
                  </a:lnTo>
                  <a:lnTo>
                    <a:pt x="292" y="1050"/>
                  </a:lnTo>
                  <a:lnTo>
                    <a:pt x="297" y="1050"/>
                  </a:lnTo>
                  <a:lnTo>
                    <a:pt x="297" y="1050"/>
                  </a:lnTo>
                  <a:lnTo>
                    <a:pt x="301" y="1045"/>
                  </a:lnTo>
                  <a:lnTo>
                    <a:pt x="301" y="1045"/>
                  </a:lnTo>
                  <a:lnTo>
                    <a:pt x="301" y="1045"/>
                  </a:lnTo>
                  <a:lnTo>
                    <a:pt x="310" y="1041"/>
                  </a:lnTo>
                  <a:lnTo>
                    <a:pt x="310" y="1041"/>
                  </a:lnTo>
                  <a:lnTo>
                    <a:pt x="315" y="1041"/>
                  </a:lnTo>
                  <a:lnTo>
                    <a:pt x="315" y="1041"/>
                  </a:lnTo>
                  <a:lnTo>
                    <a:pt x="315" y="1036"/>
                  </a:lnTo>
                  <a:lnTo>
                    <a:pt x="315" y="1036"/>
                  </a:lnTo>
                  <a:lnTo>
                    <a:pt x="315" y="1032"/>
                  </a:lnTo>
                  <a:lnTo>
                    <a:pt x="319" y="1032"/>
                  </a:lnTo>
                  <a:lnTo>
                    <a:pt x="323" y="1032"/>
                  </a:lnTo>
                  <a:lnTo>
                    <a:pt x="328" y="1028"/>
                  </a:lnTo>
                  <a:lnTo>
                    <a:pt x="332" y="1028"/>
                  </a:lnTo>
                  <a:lnTo>
                    <a:pt x="332" y="1028"/>
                  </a:lnTo>
                  <a:lnTo>
                    <a:pt x="332" y="1023"/>
                  </a:lnTo>
                  <a:lnTo>
                    <a:pt x="332" y="1023"/>
                  </a:lnTo>
                  <a:lnTo>
                    <a:pt x="332" y="1023"/>
                  </a:lnTo>
                  <a:lnTo>
                    <a:pt x="332" y="1023"/>
                  </a:lnTo>
                  <a:lnTo>
                    <a:pt x="332" y="1019"/>
                  </a:lnTo>
                  <a:lnTo>
                    <a:pt x="332" y="1019"/>
                  </a:lnTo>
                  <a:lnTo>
                    <a:pt x="337" y="1019"/>
                  </a:lnTo>
                  <a:lnTo>
                    <a:pt x="337" y="1019"/>
                  </a:lnTo>
                  <a:lnTo>
                    <a:pt x="337" y="1014"/>
                  </a:lnTo>
                  <a:lnTo>
                    <a:pt x="337" y="1014"/>
                  </a:lnTo>
                  <a:lnTo>
                    <a:pt x="337" y="1010"/>
                  </a:lnTo>
                  <a:lnTo>
                    <a:pt x="332" y="1010"/>
                  </a:lnTo>
                  <a:lnTo>
                    <a:pt x="332" y="1010"/>
                  </a:lnTo>
                  <a:lnTo>
                    <a:pt x="328" y="1010"/>
                  </a:lnTo>
                  <a:lnTo>
                    <a:pt x="323" y="1014"/>
                  </a:lnTo>
                  <a:lnTo>
                    <a:pt x="319" y="1014"/>
                  </a:lnTo>
                  <a:lnTo>
                    <a:pt x="319" y="1014"/>
                  </a:lnTo>
                  <a:lnTo>
                    <a:pt x="315" y="1019"/>
                  </a:lnTo>
                  <a:lnTo>
                    <a:pt x="315" y="1019"/>
                  </a:lnTo>
                  <a:lnTo>
                    <a:pt x="310" y="1019"/>
                  </a:lnTo>
                  <a:lnTo>
                    <a:pt x="310" y="1019"/>
                  </a:lnTo>
                  <a:lnTo>
                    <a:pt x="315" y="1019"/>
                  </a:lnTo>
                  <a:lnTo>
                    <a:pt x="315" y="1014"/>
                  </a:lnTo>
                  <a:lnTo>
                    <a:pt x="319" y="1014"/>
                  </a:lnTo>
                  <a:lnTo>
                    <a:pt x="319" y="1010"/>
                  </a:lnTo>
                  <a:lnTo>
                    <a:pt x="323" y="1010"/>
                  </a:lnTo>
                  <a:lnTo>
                    <a:pt x="328" y="1010"/>
                  </a:lnTo>
                  <a:lnTo>
                    <a:pt x="328" y="1005"/>
                  </a:lnTo>
                  <a:lnTo>
                    <a:pt x="328" y="1005"/>
                  </a:lnTo>
                  <a:lnTo>
                    <a:pt x="332" y="1005"/>
                  </a:lnTo>
                  <a:lnTo>
                    <a:pt x="332" y="1001"/>
                  </a:lnTo>
                  <a:lnTo>
                    <a:pt x="341" y="997"/>
                  </a:lnTo>
                  <a:lnTo>
                    <a:pt x="346" y="992"/>
                  </a:lnTo>
                  <a:lnTo>
                    <a:pt x="346" y="992"/>
                  </a:lnTo>
                  <a:lnTo>
                    <a:pt x="346" y="988"/>
                  </a:lnTo>
                  <a:lnTo>
                    <a:pt x="350" y="983"/>
                  </a:lnTo>
                  <a:lnTo>
                    <a:pt x="350" y="983"/>
                  </a:lnTo>
                  <a:lnTo>
                    <a:pt x="354" y="983"/>
                  </a:lnTo>
                  <a:lnTo>
                    <a:pt x="350" y="983"/>
                  </a:lnTo>
                  <a:lnTo>
                    <a:pt x="350" y="988"/>
                  </a:lnTo>
                  <a:lnTo>
                    <a:pt x="346" y="988"/>
                  </a:lnTo>
                  <a:lnTo>
                    <a:pt x="346" y="988"/>
                  </a:lnTo>
                  <a:lnTo>
                    <a:pt x="346" y="992"/>
                  </a:lnTo>
                  <a:lnTo>
                    <a:pt x="346" y="992"/>
                  </a:lnTo>
                  <a:lnTo>
                    <a:pt x="346" y="992"/>
                  </a:lnTo>
                  <a:lnTo>
                    <a:pt x="354" y="992"/>
                  </a:lnTo>
                  <a:lnTo>
                    <a:pt x="354" y="992"/>
                  </a:lnTo>
                  <a:lnTo>
                    <a:pt x="359" y="992"/>
                  </a:lnTo>
                  <a:lnTo>
                    <a:pt x="359" y="992"/>
                  </a:lnTo>
                  <a:lnTo>
                    <a:pt x="359" y="992"/>
                  </a:lnTo>
                  <a:lnTo>
                    <a:pt x="359" y="997"/>
                  </a:lnTo>
                  <a:lnTo>
                    <a:pt x="359" y="997"/>
                  </a:lnTo>
                  <a:lnTo>
                    <a:pt x="359" y="997"/>
                  </a:lnTo>
                  <a:lnTo>
                    <a:pt x="350" y="1001"/>
                  </a:lnTo>
                  <a:lnTo>
                    <a:pt x="346" y="1001"/>
                  </a:lnTo>
                  <a:lnTo>
                    <a:pt x="346" y="1005"/>
                  </a:lnTo>
                  <a:lnTo>
                    <a:pt x="346" y="1005"/>
                  </a:lnTo>
                  <a:lnTo>
                    <a:pt x="341" y="1005"/>
                  </a:lnTo>
                  <a:lnTo>
                    <a:pt x="341" y="1010"/>
                  </a:lnTo>
                  <a:lnTo>
                    <a:pt x="341" y="1010"/>
                  </a:lnTo>
                  <a:lnTo>
                    <a:pt x="337" y="1010"/>
                  </a:lnTo>
                  <a:lnTo>
                    <a:pt x="337" y="1010"/>
                  </a:lnTo>
                  <a:lnTo>
                    <a:pt x="337" y="1014"/>
                  </a:lnTo>
                  <a:lnTo>
                    <a:pt x="337" y="1014"/>
                  </a:lnTo>
                  <a:lnTo>
                    <a:pt x="341" y="1014"/>
                  </a:lnTo>
                  <a:lnTo>
                    <a:pt x="341" y="1014"/>
                  </a:lnTo>
                  <a:lnTo>
                    <a:pt x="346" y="1014"/>
                  </a:lnTo>
                  <a:lnTo>
                    <a:pt x="350" y="1014"/>
                  </a:lnTo>
                  <a:lnTo>
                    <a:pt x="350" y="1014"/>
                  </a:lnTo>
                  <a:lnTo>
                    <a:pt x="350" y="1014"/>
                  </a:lnTo>
                  <a:lnTo>
                    <a:pt x="354" y="1014"/>
                  </a:lnTo>
                  <a:lnTo>
                    <a:pt x="354" y="1014"/>
                  </a:lnTo>
                  <a:lnTo>
                    <a:pt x="359" y="1014"/>
                  </a:lnTo>
                  <a:lnTo>
                    <a:pt x="354" y="1014"/>
                  </a:lnTo>
                  <a:lnTo>
                    <a:pt x="354" y="1019"/>
                  </a:lnTo>
                  <a:lnTo>
                    <a:pt x="354" y="1019"/>
                  </a:lnTo>
                  <a:lnTo>
                    <a:pt x="359" y="1019"/>
                  </a:lnTo>
                  <a:lnTo>
                    <a:pt x="359" y="1019"/>
                  </a:lnTo>
                  <a:lnTo>
                    <a:pt x="359" y="1019"/>
                  </a:lnTo>
                  <a:lnTo>
                    <a:pt x="359" y="1019"/>
                  </a:lnTo>
                  <a:lnTo>
                    <a:pt x="359" y="1023"/>
                  </a:lnTo>
                  <a:lnTo>
                    <a:pt x="359" y="1023"/>
                  </a:lnTo>
                  <a:lnTo>
                    <a:pt x="350" y="1023"/>
                  </a:lnTo>
                  <a:lnTo>
                    <a:pt x="346" y="1023"/>
                  </a:lnTo>
                  <a:lnTo>
                    <a:pt x="346" y="1023"/>
                  </a:lnTo>
                  <a:lnTo>
                    <a:pt x="346" y="1028"/>
                  </a:lnTo>
                  <a:lnTo>
                    <a:pt x="346" y="1032"/>
                  </a:lnTo>
                  <a:lnTo>
                    <a:pt x="341" y="1032"/>
                  </a:lnTo>
                  <a:lnTo>
                    <a:pt x="341" y="1032"/>
                  </a:lnTo>
                  <a:lnTo>
                    <a:pt x="337" y="1032"/>
                  </a:lnTo>
                  <a:lnTo>
                    <a:pt x="337" y="1032"/>
                  </a:lnTo>
                  <a:lnTo>
                    <a:pt x="337" y="1032"/>
                  </a:lnTo>
                  <a:lnTo>
                    <a:pt x="328" y="1032"/>
                  </a:lnTo>
                  <a:lnTo>
                    <a:pt x="328" y="1036"/>
                  </a:lnTo>
                  <a:lnTo>
                    <a:pt x="323" y="1041"/>
                  </a:lnTo>
                  <a:lnTo>
                    <a:pt x="323" y="1041"/>
                  </a:lnTo>
                  <a:lnTo>
                    <a:pt x="319" y="1041"/>
                  </a:lnTo>
                  <a:lnTo>
                    <a:pt x="319" y="1041"/>
                  </a:lnTo>
                  <a:lnTo>
                    <a:pt x="319" y="1041"/>
                  </a:lnTo>
                  <a:lnTo>
                    <a:pt x="319" y="1045"/>
                  </a:lnTo>
                  <a:lnTo>
                    <a:pt x="319" y="1045"/>
                  </a:lnTo>
                  <a:lnTo>
                    <a:pt x="319" y="1045"/>
                  </a:lnTo>
                  <a:lnTo>
                    <a:pt x="319" y="1045"/>
                  </a:lnTo>
                  <a:lnTo>
                    <a:pt x="319" y="1045"/>
                  </a:lnTo>
                  <a:lnTo>
                    <a:pt x="319" y="1045"/>
                  </a:lnTo>
                  <a:lnTo>
                    <a:pt x="319" y="1045"/>
                  </a:lnTo>
                  <a:lnTo>
                    <a:pt x="319" y="1050"/>
                  </a:lnTo>
                  <a:lnTo>
                    <a:pt x="315" y="1050"/>
                  </a:lnTo>
                  <a:lnTo>
                    <a:pt x="315" y="1050"/>
                  </a:lnTo>
                  <a:lnTo>
                    <a:pt x="315" y="1050"/>
                  </a:lnTo>
                  <a:lnTo>
                    <a:pt x="315" y="1050"/>
                  </a:lnTo>
                  <a:lnTo>
                    <a:pt x="319" y="1050"/>
                  </a:lnTo>
                  <a:lnTo>
                    <a:pt x="319" y="1050"/>
                  </a:lnTo>
                  <a:lnTo>
                    <a:pt x="319" y="1050"/>
                  </a:lnTo>
                  <a:lnTo>
                    <a:pt x="319" y="1045"/>
                  </a:lnTo>
                  <a:lnTo>
                    <a:pt x="323" y="1045"/>
                  </a:lnTo>
                  <a:lnTo>
                    <a:pt x="323" y="1045"/>
                  </a:lnTo>
                  <a:lnTo>
                    <a:pt x="323" y="1045"/>
                  </a:lnTo>
                  <a:lnTo>
                    <a:pt x="328" y="1045"/>
                  </a:lnTo>
                  <a:lnTo>
                    <a:pt x="328" y="1045"/>
                  </a:lnTo>
                  <a:lnTo>
                    <a:pt x="328" y="1045"/>
                  </a:lnTo>
                  <a:lnTo>
                    <a:pt x="328" y="1045"/>
                  </a:lnTo>
                  <a:lnTo>
                    <a:pt x="328" y="1045"/>
                  </a:lnTo>
                  <a:lnTo>
                    <a:pt x="328" y="1045"/>
                  </a:lnTo>
                  <a:lnTo>
                    <a:pt x="328" y="1050"/>
                  </a:lnTo>
                  <a:lnTo>
                    <a:pt x="328" y="1050"/>
                  </a:lnTo>
                  <a:lnTo>
                    <a:pt x="328" y="1050"/>
                  </a:lnTo>
                  <a:lnTo>
                    <a:pt x="328" y="1050"/>
                  </a:lnTo>
                  <a:lnTo>
                    <a:pt x="323" y="1050"/>
                  </a:lnTo>
                  <a:lnTo>
                    <a:pt x="323" y="1050"/>
                  </a:lnTo>
                  <a:lnTo>
                    <a:pt x="319" y="1054"/>
                  </a:lnTo>
                  <a:lnTo>
                    <a:pt x="323" y="1059"/>
                  </a:lnTo>
                  <a:lnTo>
                    <a:pt x="323" y="1059"/>
                  </a:lnTo>
                  <a:lnTo>
                    <a:pt x="328" y="1059"/>
                  </a:lnTo>
                  <a:lnTo>
                    <a:pt x="328" y="1063"/>
                  </a:lnTo>
                  <a:lnTo>
                    <a:pt x="328" y="1063"/>
                  </a:lnTo>
                  <a:lnTo>
                    <a:pt x="328" y="1063"/>
                  </a:lnTo>
                  <a:lnTo>
                    <a:pt x="328" y="1063"/>
                  </a:lnTo>
                  <a:lnTo>
                    <a:pt x="323" y="1063"/>
                  </a:lnTo>
                  <a:lnTo>
                    <a:pt x="323" y="1063"/>
                  </a:lnTo>
                  <a:lnTo>
                    <a:pt x="323" y="1063"/>
                  </a:lnTo>
                  <a:lnTo>
                    <a:pt x="323" y="1067"/>
                  </a:lnTo>
                  <a:lnTo>
                    <a:pt x="323" y="1063"/>
                  </a:lnTo>
                  <a:lnTo>
                    <a:pt x="319" y="1063"/>
                  </a:lnTo>
                  <a:lnTo>
                    <a:pt x="319" y="1063"/>
                  </a:lnTo>
                  <a:lnTo>
                    <a:pt x="319" y="1063"/>
                  </a:lnTo>
                  <a:lnTo>
                    <a:pt x="310" y="1063"/>
                  </a:lnTo>
                  <a:lnTo>
                    <a:pt x="310" y="1063"/>
                  </a:lnTo>
                  <a:lnTo>
                    <a:pt x="310" y="1063"/>
                  </a:lnTo>
                  <a:lnTo>
                    <a:pt x="306" y="1063"/>
                  </a:lnTo>
                  <a:lnTo>
                    <a:pt x="306" y="1063"/>
                  </a:lnTo>
                  <a:lnTo>
                    <a:pt x="301" y="1063"/>
                  </a:lnTo>
                  <a:lnTo>
                    <a:pt x="301" y="1063"/>
                  </a:lnTo>
                  <a:lnTo>
                    <a:pt x="301" y="1063"/>
                  </a:lnTo>
                  <a:lnTo>
                    <a:pt x="301" y="1063"/>
                  </a:lnTo>
                  <a:lnTo>
                    <a:pt x="297" y="1059"/>
                  </a:lnTo>
                  <a:lnTo>
                    <a:pt x="297" y="1059"/>
                  </a:lnTo>
                  <a:lnTo>
                    <a:pt x="288" y="1063"/>
                  </a:lnTo>
                  <a:lnTo>
                    <a:pt x="288" y="1063"/>
                  </a:lnTo>
                  <a:lnTo>
                    <a:pt x="284" y="1063"/>
                  </a:lnTo>
                  <a:lnTo>
                    <a:pt x="284" y="1067"/>
                  </a:lnTo>
                  <a:lnTo>
                    <a:pt x="284" y="1067"/>
                  </a:lnTo>
                  <a:lnTo>
                    <a:pt x="284" y="1067"/>
                  </a:lnTo>
                  <a:lnTo>
                    <a:pt x="284" y="1067"/>
                  </a:lnTo>
                  <a:lnTo>
                    <a:pt x="284" y="1072"/>
                  </a:lnTo>
                  <a:lnTo>
                    <a:pt x="284" y="1072"/>
                  </a:lnTo>
                  <a:lnTo>
                    <a:pt x="284" y="1072"/>
                  </a:lnTo>
                  <a:lnTo>
                    <a:pt x="284" y="1072"/>
                  </a:lnTo>
                  <a:lnTo>
                    <a:pt x="292" y="1076"/>
                  </a:lnTo>
                  <a:lnTo>
                    <a:pt x="297" y="1076"/>
                  </a:lnTo>
                  <a:lnTo>
                    <a:pt x="297" y="1076"/>
                  </a:lnTo>
                  <a:lnTo>
                    <a:pt x="297" y="1076"/>
                  </a:lnTo>
                  <a:lnTo>
                    <a:pt x="297" y="1076"/>
                  </a:lnTo>
                  <a:lnTo>
                    <a:pt x="297" y="1076"/>
                  </a:lnTo>
                  <a:lnTo>
                    <a:pt x="297" y="1076"/>
                  </a:lnTo>
                  <a:lnTo>
                    <a:pt x="297" y="1076"/>
                  </a:lnTo>
                  <a:lnTo>
                    <a:pt x="297" y="1081"/>
                  </a:lnTo>
                  <a:lnTo>
                    <a:pt x="297" y="1081"/>
                  </a:lnTo>
                  <a:lnTo>
                    <a:pt x="297" y="1081"/>
                  </a:lnTo>
                  <a:lnTo>
                    <a:pt x="297" y="1081"/>
                  </a:lnTo>
                  <a:lnTo>
                    <a:pt x="292" y="1085"/>
                  </a:lnTo>
                  <a:lnTo>
                    <a:pt x="292" y="1076"/>
                  </a:lnTo>
                  <a:lnTo>
                    <a:pt x="292" y="1076"/>
                  </a:lnTo>
                  <a:lnTo>
                    <a:pt x="292" y="1076"/>
                  </a:lnTo>
                  <a:lnTo>
                    <a:pt x="288" y="1076"/>
                  </a:lnTo>
                  <a:lnTo>
                    <a:pt x="288" y="1076"/>
                  </a:lnTo>
                  <a:lnTo>
                    <a:pt x="284" y="1072"/>
                  </a:lnTo>
                  <a:lnTo>
                    <a:pt x="284" y="1072"/>
                  </a:lnTo>
                  <a:lnTo>
                    <a:pt x="279" y="1072"/>
                  </a:lnTo>
                  <a:lnTo>
                    <a:pt x="279" y="1076"/>
                  </a:lnTo>
                  <a:lnTo>
                    <a:pt x="275" y="1076"/>
                  </a:lnTo>
                  <a:lnTo>
                    <a:pt x="275" y="1076"/>
                  </a:lnTo>
                  <a:lnTo>
                    <a:pt x="270" y="1076"/>
                  </a:lnTo>
                  <a:lnTo>
                    <a:pt x="279" y="1072"/>
                  </a:lnTo>
                  <a:lnTo>
                    <a:pt x="279" y="1067"/>
                  </a:lnTo>
                  <a:lnTo>
                    <a:pt x="279" y="1063"/>
                  </a:lnTo>
                  <a:lnTo>
                    <a:pt x="279" y="1063"/>
                  </a:lnTo>
                  <a:lnTo>
                    <a:pt x="275" y="1059"/>
                  </a:lnTo>
                  <a:lnTo>
                    <a:pt x="270" y="1054"/>
                  </a:lnTo>
                  <a:lnTo>
                    <a:pt x="270" y="1054"/>
                  </a:lnTo>
                  <a:lnTo>
                    <a:pt x="270" y="1050"/>
                  </a:lnTo>
                  <a:lnTo>
                    <a:pt x="270" y="1050"/>
                  </a:lnTo>
                  <a:lnTo>
                    <a:pt x="270" y="1045"/>
                  </a:lnTo>
                  <a:lnTo>
                    <a:pt x="266" y="1045"/>
                  </a:lnTo>
                  <a:lnTo>
                    <a:pt x="266" y="1041"/>
                  </a:lnTo>
                  <a:lnTo>
                    <a:pt x="266" y="1041"/>
                  </a:lnTo>
                  <a:lnTo>
                    <a:pt x="266" y="1041"/>
                  </a:lnTo>
                  <a:lnTo>
                    <a:pt x="261" y="1041"/>
                  </a:lnTo>
                  <a:lnTo>
                    <a:pt x="261" y="1041"/>
                  </a:lnTo>
                  <a:lnTo>
                    <a:pt x="257" y="1041"/>
                  </a:lnTo>
                  <a:lnTo>
                    <a:pt x="257" y="1045"/>
                  </a:lnTo>
                  <a:lnTo>
                    <a:pt x="253" y="1045"/>
                  </a:lnTo>
                  <a:lnTo>
                    <a:pt x="257" y="1045"/>
                  </a:lnTo>
                  <a:lnTo>
                    <a:pt x="257" y="1045"/>
                  </a:lnTo>
                  <a:lnTo>
                    <a:pt x="257" y="1050"/>
                  </a:lnTo>
                  <a:lnTo>
                    <a:pt x="257" y="1050"/>
                  </a:lnTo>
                  <a:lnTo>
                    <a:pt x="257" y="1050"/>
                  </a:lnTo>
                  <a:lnTo>
                    <a:pt x="257" y="1050"/>
                  </a:lnTo>
                  <a:lnTo>
                    <a:pt x="257" y="1045"/>
                  </a:lnTo>
                  <a:lnTo>
                    <a:pt x="253" y="1045"/>
                  </a:lnTo>
                  <a:lnTo>
                    <a:pt x="253" y="1045"/>
                  </a:lnTo>
                  <a:lnTo>
                    <a:pt x="253" y="1050"/>
                  </a:lnTo>
                  <a:lnTo>
                    <a:pt x="248" y="1054"/>
                  </a:lnTo>
                  <a:lnTo>
                    <a:pt x="248" y="1054"/>
                  </a:lnTo>
                  <a:lnTo>
                    <a:pt x="248" y="1054"/>
                  </a:lnTo>
                  <a:lnTo>
                    <a:pt x="248" y="1054"/>
                  </a:lnTo>
                  <a:lnTo>
                    <a:pt x="248" y="1050"/>
                  </a:lnTo>
                  <a:lnTo>
                    <a:pt x="248" y="1050"/>
                  </a:lnTo>
                  <a:lnTo>
                    <a:pt x="248" y="1050"/>
                  </a:lnTo>
                  <a:lnTo>
                    <a:pt x="248" y="1050"/>
                  </a:lnTo>
                  <a:lnTo>
                    <a:pt x="248" y="1050"/>
                  </a:lnTo>
                  <a:lnTo>
                    <a:pt x="244" y="1050"/>
                  </a:lnTo>
                  <a:lnTo>
                    <a:pt x="244" y="1054"/>
                  </a:lnTo>
                  <a:lnTo>
                    <a:pt x="244" y="1054"/>
                  </a:lnTo>
                  <a:lnTo>
                    <a:pt x="244" y="1050"/>
                  </a:lnTo>
                  <a:lnTo>
                    <a:pt x="239" y="1050"/>
                  </a:lnTo>
                  <a:lnTo>
                    <a:pt x="239" y="1054"/>
                  </a:lnTo>
                  <a:lnTo>
                    <a:pt x="239" y="1054"/>
                  </a:lnTo>
                  <a:lnTo>
                    <a:pt x="235" y="1054"/>
                  </a:lnTo>
                  <a:lnTo>
                    <a:pt x="235" y="1059"/>
                  </a:lnTo>
                  <a:lnTo>
                    <a:pt x="235" y="1059"/>
                  </a:lnTo>
                  <a:lnTo>
                    <a:pt x="239" y="1059"/>
                  </a:lnTo>
                  <a:lnTo>
                    <a:pt x="244" y="1059"/>
                  </a:lnTo>
                  <a:lnTo>
                    <a:pt x="244" y="1059"/>
                  </a:lnTo>
                  <a:lnTo>
                    <a:pt x="244" y="1059"/>
                  </a:lnTo>
                  <a:lnTo>
                    <a:pt x="244" y="1059"/>
                  </a:lnTo>
                  <a:lnTo>
                    <a:pt x="244" y="1054"/>
                  </a:lnTo>
                  <a:lnTo>
                    <a:pt x="244" y="1059"/>
                  </a:lnTo>
                  <a:lnTo>
                    <a:pt x="244" y="1059"/>
                  </a:lnTo>
                  <a:lnTo>
                    <a:pt x="244" y="1059"/>
                  </a:lnTo>
                  <a:lnTo>
                    <a:pt x="244" y="1059"/>
                  </a:lnTo>
                  <a:lnTo>
                    <a:pt x="244" y="1059"/>
                  </a:lnTo>
                  <a:lnTo>
                    <a:pt x="248" y="1059"/>
                  </a:lnTo>
                  <a:lnTo>
                    <a:pt x="253" y="1059"/>
                  </a:lnTo>
                  <a:lnTo>
                    <a:pt x="253" y="1059"/>
                  </a:lnTo>
                  <a:lnTo>
                    <a:pt x="253" y="1059"/>
                  </a:lnTo>
                  <a:lnTo>
                    <a:pt x="253" y="1059"/>
                  </a:lnTo>
                  <a:lnTo>
                    <a:pt x="253" y="1059"/>
                  </a:lnTo>
                  <a:lnTo>
                    <a:pt x="253" y="1059"/>
                  </a:lnTo>
                  <a:lnTo>
                    <a:pt x="239" y="1063"/>
                  </a:lnTo>
                  <a:lnTo>
                    <a:pt x="239" y="1063"/>
                  </a:lnTo>
                  <a:lnTo>
                    <a:pt x="235" y="1067"/>
                  </a:lnTo>
                  <a:lnTo>
                    <a:pt x="239" y="1067"/>
                  </a:lnTo>
                  <a:lnTo>
                    <a:pt x="239" y="1072"/>
                  </a:lnTo>
                  <a:lnTo>
                    <a:pt x="239" y="1072"/>
                  </a:lnTo>
                  <a:lnTo>
                    <a:pt x="239" y="1072"/>
                  </a:lnTo>
                  <a:lnTo>
                    <a:pt x="244" y="1072"/>
                  </a:lnTo>
                  <a:lnTo>
                    <a:pt x="248" y="1067"/>
                  </a:lnTo>
                  <a:lnTo>
                    <a:pt x="253" y="1067"/>
                  </a:lnTo>
                  <a:lnTo>
                    <a:pt x="253" y="1067"/>
                  </a:lnTo>
                  <a:lnTo>
                    <a:pt x="253" y="1072"/>
                  </a:lnTo>
                  <a:lnTo>
                    <a:pt x="244" y="1072"/>
                  </a:lnTo>
                  <a:lnTo>
                    <a:pt x="239" y="1076"/>
                  </a:lnTo>
                  <a:lnTo>
                    <a:pt x="235" y="1076"/>
                  </a:lnTo>
                  <a:lnTo>
                    <a:pt x="235" y="1076"/>
                  </a:lnTo>
                  <a:lnTo>
                    <a:pt x="235" y="1081"/>
                  </a:lnTo>
                  <a:lnTo>
                    <a:pt x="235" y="1076"/>
                  </a:lnTo>
                  <a:lnTo>
                    <a:pt x="235" y="1076"/>
                  </a:lnTo>
                  <a:lnTo>
                    <a:pt x="235" y="1072"/>
                  </a:lnTo>
                  <a:lnTo>
                    <a:pt x="235" y="1072"/>
                  </a:lnTo>
                  <a:lnTo>
                    <a:pt x="235" y="1067"/>
                  </a:lnTo>
                  <a:lnTo>
                    <a:pt x="235" y="1067"/>
                  </a:lnTo>
                  <a:lnTo>
                    <a:pt x="235" y="1067"/>
                  </a:lnTo>
                  <a:lnTo>
                    <a:pt x="235" y="1067"/>
                  </a:lnTo>
                  <a:lnTo>
                    <a:pt x="230" y="1063"/>
                  </a:lnTo>
                  <a:lnTo>
                    <a:pt x="230" y="1059"/>
                  </a:lnTo>
                  <a:lnTo>
                    <a:pt x="230" y="1059"/>
                  </a:lnTo>
                  <a:lnTo>
                    <a:pt x="230" y="1059"/>
                  </a:lnTo>
                  <a:lnTo>
                    <a:pt x="226" y="1063"/>
                  </a:lnTo>
                  <a:lnTo>
                    <a:pt x="226" y="1063"/>
                  </a:lnTo>
                  <a:lnTo>
                    <a:pt x="226" y="1063"/>
                  </a:lnTo>
                  <a:lnTo>
                    <a:pt x="226" y="1063"/>
                  </a:lnTo>
                  <a:lnTo>
                    <a:pt x="226" y="1067"/>
                  </a:lnTo>
                  <a:lnTo>
                    <a:pt x="226" y="1067"/>
                  </a:lnTo>
                  <a:lnTo>
                    <a:pt x="226" y="1063"/>
                  </a:lnTo>
                  <a:lnTo>
                    <a:pt x="222" y="1063"/>
                  </a:lnTo>
                  <a:lnTo>
                    <a:pt x="222" y="1067"/>
                  </a:lnTo>
                  <a:lnTo>
                    <a:pt x="222" y="1067"/>
                  </a:lnTo>
                  <a:lnTo>
                    <a:pt x="222" y="1067"/>
                  </a:lnTo>
                  <a:lnTo>
                    <a:pt x="217" y="1063"/>
                  </a:lnTo>
                  <a:lnTo>
                    <a:pt x="217" y="1063"/>
                  </a:lnTo>
                  <a:lnTo>
                    <a:pt x="217" y="1063"/>
                  </a:lnTo>
                  <a:lnTo>
                    <a:pt x="217" y="1063"/>
                  </a:lnTo>
                  <a:lnTo>
                    <a:pt x="213" y="1067"/>
                  </a:lnTo>
                  <a:lnTo>
                    <a:pt x="213" y="1067"/>
                  </a:lnTo>
                  <a:lnTo>
                    <a:pt x="213" y="1063"/>
                  </a:lnTo>
                  <a:lnTo>
                    <a:pt x="208" y="1067"/>
                  </a:lnTo>
                  <a:lnTo>
                    <a:pt x="208" y="1067"/>
                  </a:lnTo>
                  <a:lnTo>
                    <a:pt x="213" y="1072"/>
                  </a:lnTo>
                  <a:lnTo>
                    <a:pt x="213" y="1072"/>
                  </a:lnTo>
                  <a:lnTo>
                    <a:pt x="213" y="1072"/>
                  </a:lnTo>
                  <a:lnTo>
                    <a:pt x="213" y="1072"/>
                  </a:lnTo>
                  <a:lnTo>
                    <a:pt x="213" y="1072"/>
                  </a:lnTo>
                  <a:lnTo>
                    <a:pt x="213" y="1072"/>
                  </a:lnTo>
                  <a:lnTo>
                    <a:pt x="217" y="1072"/>
                  </a:lnTo>
                  <a:lnTo>
                    <a:pt x="213" y="1076"/>
                  </a:lnTo>
                  <a:lnTo>
                    <a:pt x="213" y="1076"/>
                  </a:lnTo>
                  <a:lnTo>
                    <a:pt x="204" y="1081"/>
                  </a:lnTo>
                  <a:lnTo>
                    <a:pt x="199" y="1081"/>
                  </a:lnTo>
                  <a:lnTo>
                    <a:pt x="204" y="1081"/>
                  </a:lnTo>
                  <a:lnTo>
                    <a:pt x="204" y="1081"/>
                  </a:lnTo>
                  <a:lnTo>
                    <a:pt x="204" y="1085"/>
                  </a:lnTo>
                  <a:lnTo>
                    <a:pt x="208" y="1085"/>
                  </a:lnTo>
                  <a:lnTo>
                    <a:pt x="208" y="1090"/>
                  </a:lnTo>
                  <a:lnTo>
                    <a:pt x="208" y="1090"/>
                  </a:lnTo>
                  <a:lnTo>
                    <a:pt x="208" y="1090"/>
                  </a:lnTo>
                  <a:lnTo>
                    <a:pt x="208" y="1090"/>
                  </a:lnTo>
                  <a:lnTo>
                    <a:pt x="222" y="1090"/>
                  </a:lnTo>
                  <a:lnTo>
                    <a:pt x="226" y="1090"/>
                  </a:lnTo>
                  <a:lnTo>
                    <a:pt x="222" y="1090"/>
                  </a:lnTo>
                  <a:lnTo>
                    <a:pt x="208" y="1094"/>
                  </a:lnTo>
                  <a:lnTo>
                    <a:pt x="204" y="1094"/>
                  </a:lnTo>
                  <a:lnTo>
                    <a:pt x="204" y="1094"/>
                  </a:lnTo>
                  <a:lnTo>
                    <a:pt x="204" y="1098"/>
                  </a:lnTo>
                  <a:lnTo>
                    <a:pt x="208" y="1098"/>
                  </a:lnTo>
                  <a:lnTo>
                    <a:pt x="208" y="1103"/>
                  </a:lnTo>
                  <a:lnTo>
                    <a:pt x="204" y="1098"/>
                  </a:lnTo>
                  <a:lnTo>
                    <a:pt x="186" y="1098"/>
                  </a:lnTo>
                  <a:lnTo>
                    <a:pt x="186" y="1098"/>
                  </a:lnTo>
                  <a:lnTo>
                    <a:pt x="191" y="1098"/>
                  </a:lnTo>
                  <a:lnTo>
                    <a:pt x="191" y="1098"/>
                  </a:lnTo>
                  <a:lnTo>
                    <a:pt x="191" y="1103"/>
                  </a:lnTo>
                  <a:lnTo>
                    <a:pt x="191" y="1103"/>
                  </a:lnTo>
                  <a:lnTo>
                    <a:pt x="191" y="1103"/>
                  </a:lnTo>
                  <a:lnTo>
                    <a:pt x="191" y="1103"/>
                  </a:lnTo>
                  <a:lnTo>
                    <a:pt x="191" y="1103"/>
                  </a:lnTo>
                  <a:lnTo>
                    <a:pt x="191" y="1103"/>
                  </a:lnTo>
                  <a:lnTo>
                    <a:pt x="191" y="1107"/>
                  </a:lnTo>
                  <a:lnTo>
                    <a:pt x="191" y="1107"/>
                  </a:lnTo>
                  <a:lnTo>
                    <a:pt x="191" y="1107"/>
                  </a:lnTo>
                  <a:lnTo>
                    <a:pt x="191" y="1103"/>
                  </a:lnTo>
                  <a:lnTo>
                    <a:pt x="191" y="1103"/>
                  </a:lnTo>
                  <a:lnTo>
                    <a:pt x="191" y="1103"/>
                  </a:lnTo>
                  <a:lnTo>
                    <a:pt x="186" y="1098"/>
                  </a:lnTo>
                  <a:lnTo>
                    <a:pt x="186" y="1098"/>
                  </a:lnTo>
                  <a:lnTo>
                    <a:pt x="186" y="1098"/>
                  </a:lnTo>
                  <a:lnTo>
                    <a:pt x="186" y="1103"/>
                  </a:lnTo>
                  <a:lnTo>
                    <a:pt x="186" y="1103"/>
                  </a:lnTo>
                  <a:lnTo>
                    <a:pt x="186" y="1103"/>
                  </a:lnTo>
                  <a:lnTo>
                    <a:pt x="186" y="1107"/>
                  </a:lnTo>
                  <a:lnTo>
                    <a:pt x="186" y="1107"/>
                  </a:lnTo>
                  <a:lnTo>
                    <a:pt x="186" y="1107"/>
                  </a:lnTo>
                  <a:lnTo>
                    <a:pt x="186" y="1107"/>
                  </a:lnTo>
                  <a:lnTo>
                    <a:pt x="186" y="1107"/>
                  </a:lnTo>
                  <a:lnTo>
                    <a:pt x="186" y="1107"/>
                  </a:lnTo>
                  <a:lnTo>
                    <a:pt x="186" y="1112"/>
                  </a:lnTo>
                  <a:lnTo>
                    <a:pt x="186" y="1112"/>
                  </a:lnTo>
                  <a:lnTo>
                    <a:pt x="186" y="1112"/>
                  </a:lnTo>
                  <a:lnTo>
                    <a:pt x="191" y="1112"/>
                  </a:lnTo>
                  <a:lnTo>
                    <a:pt x="191" y="1112"/>
                  </a:lnTo>
                  <a:lnTo>
                    <a:pt x="199" y="1112"/>
                  </a:lnTo>
                  <a:lnTo>
                    <a:pt x="199" y="1112"/>
                  </a:lnTo>
                  <a:lnTo>
                    <a:pt x="199" y="1112"/>
                  </a:lnTo>
                  <a:lnTo>
                    <a:pt x="195" y="1112"/>
                  </a:lnTo>
                  <a:lnTo>
                    <a:pt x="191" y="1116"/>
                  </a:lnTo>
                  <a:lnTo>
                    <a:pt x="195" y="1116"/>
                  </a:lnTo>
                  <a:lnTo>
                    <a:pt x="195" y="1116"/>
                  </a:lnTo>
                  <a:lnTo>
                    <a:pt x="195" y="1116"/>
                  </a:lnTo>
                  <a:lnTo>
                    <a:pt x="195" y="1116"/>
                  </a:lnTo>
                  <a:lnTo>
                    <a:pt x="195" y="1116"/>
                  </a:lnTo>
                  <a:lnTo>
                    <a:pt x="195" y="1116"/>
                  </a:lnTo>
                  <a:lnTo>
                    <a:pt x="199" y="1116"/>
                  </a:lnTo>
                  <a:lnTo>
                    <a:pt x="204" y="1112"/>
                  </a:lnTo>
                  <a:lnTo>
                    <a:pt x="208" y="1112"/>
                  </a:lnTo>
                  <a:lnTo>
                    <a:pt x="204" y="1116"/>
                  </a:lnTo>
                  <a:lnTo>
                    <a:pt x="204" y="1116"/>
                  </a:lnTo>
                  <a:lnTo>
                    <a:pt x="204" y="1116"/>
                  </a:lnTo>
                  <a:lnTo>
                    <a:pt x="204" y="1116"/>
                  </a:lnTo>
                  <a:lnTo>
                    <a:pt x="208" y="1116"/>
                  </a:lnTo>
                  <a:lnTo>
                    <a:pt x="213" y="1116"/>
                  </a:lnTo>
                  <a:lnTo>
                    <a:pt x="208" y="1116"/>
                  </a:lnTo>
                  <a:lnTo>
                    <a:pt x="199" y="1121"/>
                  </a:lnTo>
                  <a:lnTo>
                    <a:pt x="199" y="1121"/>
                  </a:lnTo>
                  <a:lnTo>
                    <a:pt x="199" y="1125"/>
                  </a:lnTo>
                  <a:lnTo>
                    <a:pt x="204" y="1125"/>
                  </a:lnTo>
                  <a:lnTo>
                    <a:pt x="204" y="1125"/>
                  </a:lnTo>
                  <a:lnTo>
                    <a:pt x="208" y="1129"/>
                  </a:lnTo>
                  <a:lnTo>
                    <a:pt x="208" y="1129"/>
                  </a:lnTo>
                  <a:lnTo>
                    <a:pt x="213" y="1134"/>
                  </a:lnTo>
                  <a:lnTo>
                    <a:pt x="213" y="1134"/>
                  </a:lnTo>
                  <a:lnTo>
                    <a:pt x="208" y="1134"/>
                  </a:lnTo>
                  <a:lnTo>
                    <a:pt x="208" y="1134"/>
                  </a:lnTo>
                  <a:lnTo>
                    <a:pt x="208" y="1134"/>
                  </a:lnTo>
                  <a:lnTo>
                    <a:pt x="208" y="1129"/>
                  </a:lnTo>
                  <a:lnTo>
                    <a:pt x="208" y="1129"/>
                  </a:lnTo>
                  <a:lnTo>
                    <a:pt x="204" y="1129"/>
                  </a:lnTo>
                  <a:lnTo>
                    <a:pt x="199" y="1125"/>
                  </a:lnTo>
                  <a:lnTo>
                    <a:pt x="199" y="1125"/>
                  </a:lnTo>
                  <a:lnTo>
                    <a:pt x="199" y="1129"/>
                  </a:lnTo>
                  <a:lnTo>
                    <a:pt x="204" y="1129"/>
                  </a:lnTo>
                  <a:lnTo>
                    <a:pt x="204" y="1129"/>
                  </a:lnTo>
                  <a:lnTo>
                    <a:pt x="204" y="1134"/>
                  </a:lnTo>
                  <a:lnTo>
                    <a:pt x="199" y="1129"/>
                  </a:lnTo>
                  <a:lnTo>
                    <a:pt x="195" y="1129"/>
                  </a:lnTo>
                  <a:lnTo>
                    <a:pt x="195" y="1125"/>
                  </a:lnTo>
                  <a:lnTo>
                    <a:pt x="195" y="1125"/>
                  </a:lnTo>
                  <a:lnTo>
                    <a:pt x="195" y="1129"/>
                  </a:lnTo>
                  <a:lnTo>
                    <a:pt x="195" y="1129"/>
                  </a:lnTo>
                  <a:lnTo>
                    <a:pt x="195" y="1129"/>
                  </a:lnTo>
                  <a:lnTo>
                    <a:pt x="195" y="1125"/>
                  </a:lnTo>
                  <a:lnTo>
                    <a:pt x="191" y="1121"/>
                  </a:lnTo>
                  <a:lnTo>
                    <a:pt x="191" y="1121"/>
                  </a:lnTo>
                  <a:lnTo>
                    <a:pt x="195" y="1121"/>
                  </a:lnTo>
                  <a:lnTo>
                    <a:pt x="195" y="1116"/>
                  </a:lnTo>
                  <a:lnTo>
                    <a:pt x="195" y="1116"/>
                  </a:lnTo>
                  <a:lnTo>
                    <a:pt x="191" y="1116"/>
                  </a:lnTo>
                  <a:lnTo>
                    <a:pt x="191" y="1116"/>
                  </a:lnTo>
                  <a:lnTo>
                    <a:pt x="191" y="1116"/>
                  </a:lnTo>
                  <a:lnTo>
                    <a:pt x="191" y="1116"/>
                  </a:lnTo>
                  <a:lnTo>
                    <a:pt x="191" y="1116"/>
                  </a:lnTo>
                  <a:lnTo>
                    <a:pt x="191" y="1112"/>
                  </a:lnTo>
                  <a:lnTo>
                    <a:pt x="186" y="1112"/>
                  </a:lnTo>
                  <a:lnTo>
                    <a:pt x="186" y="1112"/>
                  </a:lnTo>
                  <a:lnTo>
                    <a:pt x="182" y="1112"/>
                  </a:lnTo>
                  <a:lnTo>
                    <a:pt x="182" y="1107"/>
                  </a:lnTo>
                  <a:lnTo>
                    <a:pt x="182" y="1107"/>
                  </a:lnTo>
                  <a:lnTo>
                    <a:pt x="182" y="1103"/>
                  </a:lnTo>
                  <a:lnTo>
                    <a:pt x="182" y="1103"/>
                  </a:lnTo>
                  <a:lnTo>
                    <a:pt x="182" y="1103"/>
                  </a:lnTo>
                  <a:lnTo>
                    <a:pt x="177" y="1103"/>
                  </a:lnTo>
                  <a:lnTo>
                    <a:pt x="177" y="1103"/>
                  </a:lnTo>
                  <a:lnTo>
                    <a:pt x="177" y="1103"/>
                  </a:lnTo>
                  <a:lnTo>
                    <a:pt x="177" y="1103"/>
                  </a:lnTo>
                  <a:lnTo>
                    <a:pt x="173" y="1103"/>
                  </a:lnTo>
                  <a:lnTo>
                    <a:pt x="173" y="1107"/>
                  </a:lnTo>
                  <a:lnTo>
                    <a:pt x="173" y="1112"/>
                  </a:lnTo>
                  <a:lnTo>
                    <a:pt x="169" y="1112"/>
                  </a:lnTo>
                  <a:lnTo>
                    <a:pt x="169" y="1112"/>
                  </a:lnTo>
                  <a:lnTo>
                    <a:pt x="169" y="1116"/>
                  </a:lnTo>
                  <a:lnTo>
                    <a:pt x="173" y="1116"/>
                  </a:lnTo>
                  <a:lnTo>
                    <a:pt x="173" y="1116"/>
                  </a:lnTo>
                  <a:lnTo>
                    <a:pt x="173" y="1112"/>
                  </a:lnTo>
                  <a:lnTo>
                    <a:pt x="173" y="1112"/>
                  </a:lnTo>
                  <a:lnTo>
                    <a:pt x="173" y="1112"/>
                  </a:lnTo>
                  <a:lnTo>
                    <a:pt x="173" y="1112"/>
                  </a:lnTo>
                  <a:lnTo>
                    <a:pt x="173" y="1112"/>
                  </a:lnTo>
                  <a:lnTo>
                    <a:pt x="173" y="1112"/>
                  </a:lnTo>
                  <a:lnTo>
                    <a:pt x="173" y="1112"/>
                  </a:lnTo>
                  <a:lnTo>
                    <a:pt x="173" y="1112"/>
                  </a:lnTo>
                  <a:lnTo>
                    <a:pt x="173" y="1112"/>
                  </a:lnTo>
                  <a:lnTo>
                    <a:pt x="173" y="1112"/>
                  </a:lnTo>
                  <a:lnTo>
                    <a:pt x="177" y="1112"/>
                  </a:lnTo>
                  <a:lnTo>
                    <a:pt x="177" y="1112"/>
                  </a:lnTo>
                  <a:lnTo>
                    <a:pt x="182" y="1116"/>
                  </a:lnTo>
                  <a:lnTo>
                    <a:pt x="182" y="1121"/>
                  </a:lnTo>
                  <a:lnTo>
                    <a:pt x="182" y="1121"/>
                  </a:lnTo>
                  <a:lnTo>
                    <a:pt x="182" y="1121"/>
                  </a:lnTo>
                  <a:lnTo>
                    <a:pt x="182" y="1121"/>
                  </a:lnTo>
                  <a:lnTo>
                    <a:pt x="186" y="1121"/>
                  </a:lnTo>
                  <a:lnTo>
                    <a:pt x="186" y="1125"/>
                  </a:lnTo>
                  <a:lnTo>
                    <a:pt x="186" y="1125"/>
                  </a:lnTo>
                  <a:lnTo>
                    <a:pt x="186" y="1125"/>
                  </a:lnTo>
                  <a:lnTo>
                    <a:pt x="186" y="1125"/>
                  </a:lnTo>
                  <a:lnTo>
                    <a:pt x="186" y="1125"/>
                  </a:lnTo>
                  <a:lnTo>
                    <a:pt x="186" y="1125"/>
                  </a:lnTo>
                  <a:lnTo>
                    <a:pt x="186" y="1125"/>
                  </a:lnTo>
                  <a:lnTo>
                    <a:pt x="186" y="1129"/>
                  </a:lnTo>
                  <a:lnTo>
                    <a:pt x="186" y="1129"/>
                  </a:lnTo>
                  <a:lnTo>
                    <a:pt x="186" y="1134"/>
                  </a:lnTo>
                  <a:lnTo>
                    <a:pt x="191" y="1134"/>
                  </a:lnTo>
                  <a:lnTo>
                    <a:pt x="195" y="1138"/>
                  </a:lnTo>
                  <a:lnTo>
                    <a:pt x="195" y="1138"/>
                  </a:lnTo>
                  <a:lnTo>
                    <a:pt x="199" y="1143"/>
                  </a:lnTo>
                  <a:lnTo>
                    <a:pt x="204" y="1147"/>
                  </a:lnTo>
                  <a:lnTo>
                    <a:pt x="204" y="1147"/>
                  </a:lnTo>
                  <a:lnTo>
                    <a:pt x="204" y="1152"/>
                  </a:lnTo>
                  <a:lnTo>
                    <a:pt x="204" y="1156"/>
                  </a:lnTo>
                  <a:lnTo>
                    <a:pt x="204" y="1152"/>
                  </a:lnTo>
                  <a:lnTo>
                    <a:pt x="204" y="1147"/>
                  </a:lnTo>
                  <a:lnTo>
                    <a:pt x="199" y="1147"/>
                  </a:lnTo>
                  <a:lnTo>
                    <a:pt x="199" y="1147"/>
                  </a:lnTo>
                  <a:lnTo>
                    <a:pt x="199" y="1147"/>
                  </a:lnTo>
                  <a:lnTo>
                    <a:pt x="191" y="1138"/>
                  </a:lnTo>
                  <a:lnTo>
                    <a:pt x="191" y="1138"/>
                  </a:lnTo>
                  <a:lnTo>
                    <a:pt x="186" y="1138"/>
                  </a:lnTo>
                  <a:lnTo>
                    <a:pt x="182" y="1134"/>
                  </a:lnTo>
                  <a:lnTo>
                    <a:pt x="182" y="1134"/>
                  </a:lnTo>
                  <a:lnTo>
                    <a:pt x="182" y="1129"/>
                  </a:lnTo>
                  <a:lnTo>
                    <a:pt x="182" y="1125"/>
                  </a:lnTo>
                  <a:lnTo>
                    <a:pt x="182" y="1125"/>
                  </a:lnTo>
                  <a:lnTo>
                    <a:pt x="182" y="1125"/>
                  </a:lnTo>
                  <a:lnTo>
                    <a:pt x="182" y="1121"/>
                  </a:lnTo>
                  <a:lnTo>
                    <a:pt x="182" y="1121"/>
                  </a:lnTo>
                  <a:lnTo>
                    <a:pt x="182" y="1121"/>
                  </a:lnTo>
                  <a:lnTo>
                    <a:pt x="177" y="1121"/>
                  </a:lnTo>
                  <a:lnTo>
                    <a:pt x="173" y="1116"/>
                  </a:lnTo>
                  <a:lnTo>
                    <a:pt x="173" y="1116"/>
                  </a:lnTo>
                  <a:lnTo>
                    <a:pt x="169" y="1121"/>
                  </a:lnTo>
                  <a:lnTo>
                    <a:pt x="169" y="1121"/>
                  </a:lnTo>
                  <a:lnTo>
                    <a:pt x="169" y="1121"/>
                  </a:lnTo>
                  <a:lnTo>
                    <a:pt x="169" y="1121"/>
                  </a:lnTo>
                  <a:lnTo>
                    <a:pt x="160" y="1125"/>
                  </a:lnTo>
                  <a:lnTo>
                    <a:pt x="160" y="1125"/>
                  </a:lnTo>
                  <a:lnTo>
                    <a:pt x="164" y="1121"/>
                  </a:lnTo>
                  <a:lnTo>
                    <a:pt x="164" y="1121"/>
                  </a:lnTo>
                  <a:lnTo>
                    <a:pt x="164" y="1121"/>
                  </a:lnTo>
                  <a:lnTo>
                    <a:pt x="164" y="1116"/>
                  </a:lnTo>
                  <a:lnTo>
                    <a:pt x="164" y="1116"/>
                  </a:lnTo>
                  <a:lnTo>
                    <a:pt x="160" y="1116"/>
                  </a:lnTo>
                  <a:lnTo>
                    <a:pt x="160" y="1116"/>
                  </a:lnTo>
                  <a:lnTo>
                    <a:pt x="155" y="1121"/>
                  </a:lnTo>
                  <a:lnTo>
                    <a:pt x="151" y="1121"/>
                  </a:lnTo>
                  <a:lnTo>
                    <a:pt x="151" y="1125"/>
                  </a:lnTo>
                  <a:lnTo>
                    <a:pt x="146" y="1125"/>
                  </a:lnTo>
                  <a:lnTo>
                    <a:pt x="146" y="1121"/>
                  </a:lnTo>
                  <a:lnTo>
                    <a:pt x="146" y="1121"/>
                  </a:lnTo>
                  <a:lnTo>
                    <a:pt x="142" y="1116"/>
                  </a:lnTo>
                  <a:lnTo>
                    <a:pt x="142" y="1116"/>
                  </a:lnTo>
                  <a:lnTo>
                    <a:pt x="138" y="1112"/>
                  </a:lnTo>
                  <a:lnTo>
                    <a:pt x="138" y="1112"/>
                  </a:lnTo>
                  <a:lnTo>
                    <a:pt x="138" y="1112"/>
                  </a:lnTo>
                  <a:lnTo>
                    <a:pt x="133" y="1116"/>
                  </a:lnTo>
                  <a:lnTo>
                    <a:pt x="129" y="1116"/>
                  </a:lnTo>
                  <a:lnTo>
                    <a:pt x="129" y="1116"/>
                  </a:lnTo>
                  <a:lnTo>
                    <a:pt x="124" y="1121"/>
                  </a:lnTo>
                  <a:lnTo>
                    <a:pt x="120" y="1121"/>
                  </a:lnTo>
                  <a:lnTo>
                    <a:pt x="115" y="1125"/>
                  </a:lnTo>
                  <a:lnTo>
                    <a:pt x="115" y="1125"/>
                  </a:lnTo>
                  <a:lnTo>
                    <a:pt x="120" y="1125"/>
                  </a:lnTo>
                  <a:lnTo>
                    <a:pt x="120" y="1125"/>
                  </a:lnTo>
                  <a:lnTo>
                    <a:pt x="120" y="1129"/>
                  </a:lnTo>
                  <a:lnTo>
                    <a:pt x="124" y="1134"/>
                  </a:lnTo>
                  <a:lnTo>
                    <a:pt x="124" y="1134"/>
                  </a:lnTo>
                  <a:lnTo>
                    <a:pt x="129" y="1134"/>
                  </a:lnTo>
                  <a:lnTo>
                    <a:pt x="133" y="1134"/>
                  </a:lnTo>
                  <a:lnTo>
                    <a:pt x="133" y="1134"/>
                  </a:lnTo>
                  <a:lnTo>
                    <a:pt x="133" y="1134"/>
                  </a:lnTo>
                  <a:lnTo>
                    <a:pt x="124" y="1134"/>
                  </a:lnTo>
                  <a:lnTo>
                    <a:pt x="124" y="1134"/>
                  </a:lnTo>
                  <a:lnTo>
                    <a:pt x="120" y="1138"/>
                  </a:lnTo>
                  <a:lnTo>
                    <a:pt x="120" y="1138"/>
                  </a:lnTo>
                  <a:lnTo>
                    <a:pt x="120" y="1143"/>
                  </a:lnTo>
                  <a:lnTo>
                    <a:pt x="120" y="1143"/>
                  </a:lnTo>
                  <a:lnTo>
                    <a:pt x="120" y="1143"/>
                  </a:lnTo>
                  <a:lnTo>
                    <a:pt x="120" y="1143"/>
                  </a:lnTo>
                  <a:lnTo>
                    <a:pt x="120" y="1143"/>
                  </a:lnTo>
                  <a:lnTo>
                    <a:pt x="120" y="1147"/>
                  </a:lnTo>
                  <a:lnTo>
                    <a:pt x="120" y="1147"/>
                  </a:lnTo>
                  <a:lnTo>
                    <a:pt x="120" y="1147"/>
                  </a:lnTo>
                  <a:lnTo>
                    <a:pt x="120" y="1147"/>
                  </a:lnTo>
                  <a:lnTo>
                    <a:pt x="138" y="1143"/>
                  </a:lnTo>
                  <a:lnTo>
                    <a:pt x="142" y="1143"/>
                  </a:lnTo>
                  <a:lnTo>
                    <a:pt x="142" y="1143"/>
                  </a:lnTo>
                  <a:lnTo>
                    <a:pt x="146" y="1143"/>
                  </a:lnTo>
                  <a:lnTo>
                    <a:pt x="146" y="1143"/>
                  </a:lnTo>
                  <a:lnTo>
                    <a:pt x="155" y="1138"/>
                  </a:lnTo>
                  <a:lnTo>
                    <a:pt x="160" y="1138"/>
                  </a:lnTo>
                  <a:lnTo>
                    <a:pt x="160" y="1138"/>
                  </a:lnTo>
                  <a:lnTo>
                    <a:pt x="146" y="1143"/>
                  </a:lnTo>
                  <a:lnTo>
                    <a:pt x="142" y="1143"/>
                  </a:lnTo>
                  <a:lnTo>
                    <a:pt x="142" y="1147"/>
                  </a:lnTo>
                  <a:lnTo>
                    <a:pt x="142" y="1147"/>
                  </a:lnTo>
                  <a:lnTo>
                    <a:pt x="142" y="1147"/>
                  </a:lnTo>
                  <a:lnTo>
                    <a:pt x="142" y="1147"/>
                  </a:lnTo>
                  <a:lnTo>
                    <a:pt x="142" y="1147"/>
                  </a:lnTo>
                  <a:lnTo>
                    <a:pt x="142" y="1152"/>
                  </a:lnTo>
                  <a:lnTo>
                    <a:pt x="151" y="1152"/>
                  </a:lnTo>
                  <a:lnTo>
                    <a:pt x="151" y="1152"/>
                  </a:lnTo>
                  <a:lnTo>
                    <a:pt x="155" y="1147"/>
                  </a:lnTo>
                  <a:lnTo>
                    <a:pt x="169" y="1143"/>
                  </a:lnTo>
                  <a:lnTo>
                    <a:pt x="173" y="1143"/>
                  </a:lnTo>
                  <a:lnTo>
                    <a:pt x="177" y="1143"/>
                  </a:lnTo>
                  <a:lnTo>
                    <a:pt x="177" y="1138"/>
                  </a:lnTo>
                  <a:lnTo>
                    <a:pt x="177" y="1138"/>
                  </a:lnTo>
                  <a:lnTo>
                    <a:pt x="177" y="1143"/>
                  </a:lnTo>
                  <a:lnTo>
                    <a:pt x="177" y="1143"/>
                  </a:lnTo>
                  <a:lnTo>
                    <a:pt x="177" y="1143"/>
                  </a:lnTo>
                  <a:lnTo>
                    <a:pt x="177" y="1143"/>
                  </a:lnTo>
                  <a:lnTo>
                    <a:pt x="177" y="1143"/>
                  </a:lnTo>
                  <a:lnTo>
                    <a:pt x="182" y="1147"/>
                  </a:lnTo>
                  <a:lnTo>
                    <a:pt x="182" y="1152"/>
                  </a:lnTo>
                  <a:lnTo>
                    <a:pt x="182" y="1152"/>
                  </a:lnTo>
                  <a:lnTo>
                    <a:pt x="177" y="1147"/>
                  </a:lnTo>
                  <a:lnTo>
                    <a:pt x="177" y="1147"/>
                  </a:lnTo>
                  <a:lnTo>
                    <a:pt x="177" y="1147"/>
                  </a:lnTo>
                  <a:lnTo>
                    <a:pt x="173" y="1147"/>
                  </a:lnTo>
                  <a:lnTo>
                    <a:pt x="169" y="1147"/>
                  </a:lnTo>
                  <a:lnTo>
                    <a:pt x="155" y="1147"/>
                  </a:lnTo>
                  <a:lnTo>
                    <a:pt x="151" y="1152"/>
                  </a:lnTo>
                  <a:lnTo>
                    <a:pt x="151" y="1152"/>
                  </a:lnTo>
                  <a:lnTo>
                    <a:pt x="151" y="1152"/>
                  </a:lnTo>
                  <a:lnTo>
                    <a:pt x="151" y="1156"/>
                  </a:lnTo>
                  <a:lnTo>
                    <a:pt x="151" y="1160"/>
                  </a:lnTo>
                  <a:lnTo>
                    <a:pt x="151" y="1160"/>
                  </a:lnTo>
                  <a:lnTo>
                    <a:pt x="151" y="1160"/>
                  </a:lnTo>
                  <a:lnTo>
                    <a:pt x="151" y="1160"/>
                  </a:lnTo>
                  <a:lnTo>
                    <a:pt x="151" y="1160"/>
                  </a:lnTo>
                  <a:lnTo>
                    <a:pt x="146" y="1156"/>
                  </a:lnTo>
                  <a:lnTo>
                    <a:pt x="146" y="1156"/>
                  </a:lnTo>
                  <a:lnTo>
                    <a:pt x="146" y="1156"/>
                  </a:lnTo>
                  <a:lnTo>
                    <a:pt x="146" y="1160"/>
                  </a:lnTo>
                  <a:lnTo>
                    <a:pt x="146" y="1160"/>
                  </a:lnTo>
                  <a:lnTo>
                    <a:pt x="146" y="1160"/>
                  </a:lnTo>
                  <a:lnTo>
                    <a:pt x="146" y="1165"/>
                  </a:lnTo>
                  <a:lnTo>
                    <a:pt x="151" y="1165"/>
                  </a:lnTo>
                  <a:lnTo>
                    <a:pt x="164" y="1160"/>
                  </a:lnTo>
                  <a:lnTo>
                    <a:pt x="164" y="1165"/>
                  </a:lnTo>
                  <a:lnTo>
                    <a:pt x="155" y="1165"/>
                  </a:lnTo>
                  <a:lnTo>
                    <a:pt x="155" y="1165"/>
                  </a:lnTo>
                  <a:lnTo>
                    <a:pt x="151" y="1169"/>
                  </a:lnTo>
                  <a:lnTo>
                    <a:pt x="151" y="1169"/>
                  </a:lnTo>
                  <a:lnTo>
                    <a:pt x="151" y="1169"/>
                  </a:lnTo>
                  <a:lnTo>
                    <a:pt x="151" y="1174"/>
                  </a:lnTo>
                  <a:lnTo>
                    <a:pt x="151" y="1169"/>
                  </a:lnTo>
                  <a:lnTo>
                    <a:pt x="151" y="1169"/>
                  </a:lnTo>
                  <a:lnTo>
                    <a:pt x="151" y="1169"/>
                  </a:lnTo>
                  <a:lnTo>
                    <a:pt x="151" y="1165"/>
                  </a:lnTo>
                  <a:lnTo>
                    <a:pt x="146" y="1165"/>
                  </a:lnTo>
                  <a:lnTo>
                    <a:pt x="142" y="1160"/>
                  </a:lnTo>
                  <a:lnTo>
                    <a:pt x="138" y="1160"/>
                  </a:lnTo>
                  <a:lnTo>
                    <a:pt x="133" y="1160"/>
                  </a:lnTo>
                  <a:lnTo>
                    <a:pt x="133" y="1156"/>
                  </a:lnTo>
                  <a:lnTo>
                    <a:pt x="133" y="1156"/>
                  </a:lnTo>
                  <a:lnTo>
                    <a:pt x="129" y="1160"/>
                  </a:lnTo>
                  <a:lnTo>
                    <a:pt x="129" y="1160"/>
                  </a:lnTo>
                  <a:lnTo>
                    <a:pt x="129" y="1160"/>
                  </a:lnTo>
                  <a:lnTo>
                    <a:pt x="133" y="1165"/>
                  </a:lnTo>
                  <a:lnTo>
                    <a:pt x="129" y="1165"/>
                  </a:lnTo>
                  <a:lnTo>
                    <a:pt x="129" y="1165"/>
                  </a:lnTo>
                  <a:lnTo>
                    <a:pt x="129" y="1169"/>
                  </a:lnTo>
                  <a:lnTo>
                    <a:pt x="129" y="1169"/>
                  </a:lnTo>
                  <a:lnTo>
                    <a:pt x="129" y="1165"/>
                  </a:lnTo>
                  <a:lnTo>
                    <a:pt x="129" y="1160"/>
                  </a:lnTo>
                  <a:lnTo>
                    <a:pt x="129" y="1160"/>
                  </a:lnTo>
                  <a:lnTo>
                    <a:pt x="129" y="1160"/>
                  </a:lnTo>
                  <a:lnTo>
                    <a:pt x="124" y="1160"/>
                  </a:lnTo>
                  <a:lnTo>
                    <a:pt x="124" y="1156"/>
                  </a:lnTo>
                  <a:lnTo>
                    <a:pt x="124" y="1156"/>
                  </a:lnTo>
                  <a:lnTo>
                    <a:pt x="129" y="1156"/>
                  </a:lnTo>
                  <a:lnTo>
                    <a:pt x="129" y="1156"/>
                  </a:lnTo>
                  <a:lnTo>
                    <a:pt x="129" y="1156"/>
                  </a:lnTo>
                  <a:lnTo>
                    <a:pt x="120" y="1156"/>
                  </a:lnTo>
                  <a:lnTo>
                    <a:pt x="115" y="1156"/>
                  </a:lnTo>
                  <a:lnTo>
                    <a:pt x="115" y="1156"/>
                  </a:lnTo>
                  <a:lnTo>
                    <a:pt x="120" y="1156"/>
                  </a:lnTo>
                  <a:lnTo>
                    <a:pt x="120" y="1156"/>
                  </a:lnTo>
                  <a:lnTo>
                    <a:pt x="120" y="1156"/>
                  </a:lnTo>
                  <a:lnTo>
                    <a:pt x="120" y="1160"/>
                  </a:lnTo>
                  <a:lnTo>
                    <a:pt x="120" y="1160"/>
                  </a:lnTo>
                  <a:lnTo>
                    <a:pt x="120" y="1160"/>
                  </a:lnTo>
                  <a:lnTo>
                    <a:pt x="120" y="1160"/>
                  </a:lnTo>
                  <a:lnTo>
                    <a:pt x="120" y="1165"/>
                  </a:lnTo>
                  <a:lnTo>
                    <a:pt x="120" y="1165"/>
                  </a:lnTo>
                  <a:lnTo>
                    <a:pt x="115" y="1165"/>
                  </a:lnTo>
                  <a:lnTo>
                    <a:pt x="115" y="1165"/>
                  </a:lnTo>
                  <a:lnTo>
                    <a:pt x="120" y="1160"/>
                  </a:lnTo>
                  <a:lnTo>
                    <a:pt x="115" y="1160"/>
                  </a:lnTo>
                  <a:lnTo>
                    <a:pt x="115" y="1160"/>
                  </a:lnTo>
                  <a:lnTo>
                    <a:pt x="111" y="1156"/>
                  </a:lnTo>
                  <a:lnTo>
                    <a:pt x="111" y="1156"/>
                  </a:lnTo>
                  <a:lnTo>
                    <a:pt x="107" y="1156"/>
                  </a:lnTo>
                  <a:lnTo>
                    <a:pt x="107" y="1156"/>
                  </a:lnTo>
                  <a:lnTo>
                    <a:pt x="102" y="1160"/>
                  </a:lnTo>
                  <a:lnTo>
                    <a:pt x="102" y="1160"/>
                  </a:lnTo>
                  <a:lnTo>
                    <a:pt x="102" y="1156"/>
                  </a:lnTo>
                  <a:lnTo>
                    <a:pt x="102" y="1160"/>
                  </a:lnTo>
                  <a:lnTo>
                    <a:pt x="102" y="1160"/>
                  </a:lnTo>
                  <a:lnTo>
                    <a:pt x="102" y="1160"/>
                  </a:lnTo>
                  <a:lnTo>
                    <a:pt x="102" y="1160"/>
                  </a:lnTo>
                  <a:lnTo>
                    <a:pt x="102" y="1165"/>
                  </a:lnTo>
                  <a:lnTo>
                    <a:pt x="102" y="1165"/>
                  </a:lnTo>
                  <a:lnTo>
                    <a:pt x="102" y="1160"/>
                  </a:lnTo>
                  <a:lnTo>
                    <a:pt x="102" y="1160"/>
                  </a:lnTo>
                  <a:lnTo>
                    <a:pt x="98" y="1160"/>
                  </a:lnTo>
                  <a:lnTo>
                    <a:pt x="98" y="1160"/>
                  </a:lnTo>
                  <a:lnTo>
                    <a:pt x="89" y="1160"/>
                  </a:lnTo>
                  <a:lnTo>
                    <a:pt x="84" y="1160"/>
                  </a:lnTo>
                  <a:lnTo>
                    <a:pt x="84" y="1160"/>
                  </a:lnTo>
                  <a:lnTo>
                    <a:pt x="84" y="1160"/>
                  </a:lnTo>
                  <a:lnTo>
                    <a:pt x="84" y="1165"/>
                  </a:lnTo>
                  <a:lnTo>
                    <a:pt x="84" y="1165"/>
                  </a:lnTo>
                  <a:lnTo>
                    <a:pt x="84" y="1165"/>
                  </a:lnTo>
                  <a:lnTo>
                    <a:pt x="84" y="1165"/>
                  </a:lnTo>
                  <a:lnTo>
                    <a:pt x="84" y="1169"/>
                  </a:lnTo>
                  <a:lnTo>
                    <a:pt x="84" y="1169"/>
                  </a:lnTo>
                  <a:lnTo>
                    <a:pt x="84" y="1169"/>
                  </a:lnTo>
                  <a:lnTo>
                    <a:pt x="84" y="1169"/>
                  </a:lnTo>
                  <a:lnTo>
                    <a:pt x="84" y="1169"/>
                  </a:lnTo>
                  <a:lnTo>
                    <a:pt x="98" y="1169"/>
                  </a:lnTo>
                  <a:lnTo>
                    <a:pt x="98" y="1169"/>
                  </a:lnTo>
                  <a:lnTo>
                    <a:pt x="98" y="1169"/>
                  </a:lnTo>
                  <a:lnTo>
                    <a:pt x="93" y="1169"/>
                  </a:lnTo>
                  <a:lnTo>
                    <a:pt x="93" y="1169"/>
                  </a:lnTo>
                  <a:lnTo>
                    <a:pt x="102" y="1169"/>
                  </a:lnTo>
                  <a:lnTo>
                    <a:pt x="102" y="1169"/>
                  </a:lnTo>
                  <a:lnTo>
                    <a:pt x="107" y="1174"/>
                  </a:lnTo>
                  <a:lnTo>
                    <a:pt x="107" y="1174"/>
                  </a:lnTo>
                  <a:lnTo>
                    <a:pt x="107" y="1174"/>
                  </a:lnTo>
                  <a:lnTo>
                    <a:pt x="102" y="1174"/>
                  </a:lnTo>
                  <a:lnTo>
                    <a:pt x="98" y="1174"/>
                  </a:lnTo>
                  <a:lnTo>
                    <a:pt x="93" y="1174"/>
                  </a:lnTo>
                  <a:lnTo>
                    <a:pt x="93" y="1174"/>
                  </a:lnTo>
                  <a:lnTo>
                    <a:pt x="93" y="1174"/>
                  </a:lnTo>
                  <a:lnTo>
                    <a:pt x="89" y="1174"/>
                  </a:lnTo>
                  <a:lnTo>
                    <a:pt x="84" y="1174"/>
                  </a:lnTo>
                  <a:lnTo>
                    <a:pt x="80" y="1178"/>
                  </a:lnTo>
                  <a:lnTo>
                    <a:pt x="84" y="1178"/>
                  </a:lnTo>
                  <a:lnTo>
                    <a:pt x="84" y="1178"/>
                  </a:lnTo>
                  <a:lnTo>
                    <a:pt x="84" y="1178"/>
                  </a:lnTo>
                  <a:lnTo>
                    <a:pt x="84" y="1178"/>
                  </a:lnTo>
                  <a:lnTo>
                    <a:pt x="89" y="1178"/>
                  </a:lnTo>
                  <a:lnTo>
                    <a:pt x="89" y="1178"/>
                  </a:lnTo>
                  <a:lnTo>
                    <a:pt x="89" y="1178"/>
                  </a:lnTo>
                  <a:lnTo>
                    <a:pt x="93" y="1183"/>
                  </a:lnTo>
                  <a:lnTo>
                    <a:pt x="98" y="1178"/>
                  </a:lnTo>
                  <a:lnTo>
                    <a:pt x="107" y="1174"/>
                  </a:lnTo>
                  <a:lnTo>
                    <a:pt x="111" y="1174"/>
                  </a:lnTo>
                  <a:lnTo>
                    <a:pt x="111" y="1174"/>
                  </a:lnTo>
                  <a:lnTo>
                    <a:pt x="111" y="1178"/>
                  </a:lnTo>
                  <a:lnTo>
                    <a:pt x="111" y="1178"/>
                  </a:lnTo>
                  <a:lnTo>
                    <a:pt x="115" y="1178"/>
                  </a:lnTo>
                  <a:lnTo>
                    <a:pt x="115" y="1178"/>
                  </a:lnTo>
                  <a:lnTo>
                    <a:pt x="115" y="1178"/>
                  </a:lnTo>
                  <a:lnTo>
                    <a:pt x="120" y="1187"/>
                  </a:lnTo>
                  <a:lnTo>
                    <a:pt x="120" y="1187"/>
                  </a:lnTo>
                  <a:lnTo>
                    <a:pt x="120" y="1187"/>
                  </a:lnTo>
                  <a:lnTo>
                    <a:pt x="120" y="1187"/>
                  </a:lnTo>
                  <a:lnTo>
                    <a:pt x="120" y="1191"/>
                  </a:lnTo>
                  <a:lnTo>
                    <a:pt x="124" y="1196"/>
                  </a:lnTo>
                  <a:lnTo>
                    <a:pt x="133" y="1196"/>
                  </a:lnTo>
                  <a:lnTo>
                    <a:pt x="138" y="1196"/>
                  </a:lnTo>
                  <a:lnTo>
                    <a:pt x="142" y="1196"/>
                  </a:lnTo>
                  <a:lnTo>
                    <a:pt x="142" y="1196"/>
                  </a:lnTo>
                  <a:lnTo>
                    <a:pt x="142" y="1196"/>
                  </a:lnTo>
                  <a:lnTo>
                    <a:pt x="146" y="1200"/>
                  </a:lnTo>
                  <a:lnTo>
                    <a:pt x="146" y="1200"/>
                  </a:lnTo>
                  <a:lnTo>
                    <a:pt x="142" y="1200"/>
                  </a:lnTo>
                  <a:lnTo>
                    <a:pt x="142" y="1200"/>
                  </a:lnTo>
                  <a:lnTo>
                    <a:pt x="142" y="1200"/>
                  </a:lnTo>
                  <a:lnTo>
                    <a:pt x="142" y="1196"/>
                  </a:lnTo>
                  <a:lnTo>
                    <a:pt x="138" y="1196"/>
                  </a:lnTo>
                  <a:lnTo>
                    <a:pt x="138" y="1196"/>
                  </a:lnTo>
                  <a:lnTo>
                    <a:pt x="138" y="1196"/>
                  </a:lnTo>
                  <a:lnTo>
                    <a:pt x="133" y="1200"/>
                  </a:lnTo>
                  <a:lnTo>
                    <a:pt x="133" y="1200"/>
                  </a:lnTo>
                  <a:lnTo>
                    <a:pt x="129" y="1196"/>
                  </a:lnTo>
                  <a:lnTo>
                    <a:pt x="124" y="1196"/>
                  </a:lnTo>
                  <a:lnTo>
                    <a:pt x="124" y="1196"/>
                  </a:lnTo>
                  <a:lnTo>
                    <a:pt x="124" y="1200"/>
                  </a:lnTo>
                  <a:lnTo>
                    <a:pt x="124" y="1200"/>
                  </a:lnTo>
                  <a:lnTo>
                    <a:pt x="124" y="1205"/>
                  </a:lnTo>
                  <a:lnTo>
                    <a:pt x="124" y="1209"/>
                  </a:lnTo>
                  <a:lnTo>
                    <a:pt x="124" y="1209"/>
                  </a:lnTo>
                  <a:lnTo>
                    <a:pt x="124" y="1214"/>
                  </a:lnTo>
                  <a:lnTo>
                    <a:pt x="120" y="1214"/>
                  </a:lnTo>
                  <a:lnTo>
                    <a:pt x="120" y="1218"/>
                  </a:lnTo>
                  <a:lnTo>
                    <a:pt x="124" y="1218"/>
                  </a:lnTo>
                  <a:lnTo>
                    <a:pt x="129" y="1214"/>
                  </a:lnTo>
                  <a:lnTo>
                    <a:pt x="133" y="1218"/>
                  </a:lnTo>
                  <a:lnTo>
                    <a:pt x="133" y="1214"/>
                  </a:lnTo>
                  <a:lnTo>
                    <a:pt x="129" y="1214"/>
                  </a:lnTo>
                  <a:lnTo>
                    <a:pt x="129" y="1214"/>
                  </a:lnTo>
                  <a:lnTo>
                    <a:pt x="129" y="1218"/>
                  </a:lnTo>
                  <a:lnTo>
                    <a:pt x="124" y="1218"/>
                  </a:lnTo>
                  <a:lnTo>
                    <a:pt x="124" y="1218"/>
                  </a:lnTo>
                  <a:lnTo>
                    <a:pt x="120" y="1218"/>
                  </a:lnTo>
                  <a:lnTo>
                    <a:pt x="120" y="1214"/>
                  </a:lnTo>
                  <a:lnTo>
                    <a:pt x="120" y="1214"/>
                  </a:lnTo>
                  <a:lnTo>
                    <a:pt x="124" y="1209"/>
                  </a:lnTo>
                  <a:lnTo>
                    <a:pt x="124" y="1205"/>
                  </a:lnTo>
                  <a:lnTo>
                    <a:pt x="124" y="1205"/>
                  </a:lnTo>
                  <a:lnTo>
                    <a:pt x="124" y="1200"/>
                  </a:lnTo>
                  <a:lnTo>
                    <a:pt x="124" y="1200"/>
                  </a:lnTo>
                  <a:lnTo>
                    <a:pt x="124" y="1196"/>
                  </a:lnTo>
                  <a:lnTo>
                    <a:pt x="120" y="1196"/>
                  </a:lnTo>
                  <a:lnTo>
                    <a:pt x="115" y="1191"/>
                  </a:lnTo>
                  <a:lnTo>
                    <a:pt x="115" y="1187"/>
                  </a:lnTo>
                  <a:lnTo>
                    <a:pt x="115" y="1187"/>
                  </a:lnTo>
                  <a:lnTo>
                    <a:pt x="115" y="1183"/>
                  </a:lnTo>
                  <a:lnTo>
                    <a:pt x="115" y="1183"/>
                  </a:lnTo>
                  <a:lnTo>
                    <a:pt x="111" y="1178"/>
                  </a:lnTo>
                  <a:lnTo>
                    <a:pt x="107" y="1178"/>
                  </a:lnTo>
                  <a:lnTo>
                    <a:pt x="107" y="1178"/>
                  </a:lnTo>
                  <a:lnTo>
                    <a:pt x="107" y="1178"/>
                  </a:lnTo>
                  <a:lnTo>
                    <a:pt x="107" y="1178"/>
                  </a:lnTo>
                  <a:lnTo>
                    <a:pt x="98" y="1183"/>
                  </a:lnTo>
                  <a:lnTo>
                    <a:pt x="98" y="1183"/>
                  </a:lnTo>
                  <a:lnTo>
                    <a:pt x="98" y="1183"/>
                  </a:lnTo>
                  <a:lnTo>
                    <a:pt x="98" y="1183"/>
                  </a:lnTo>
                  <a:lnTo>
                    <a:pt x="98" y="1187"/>
                  </a:lnTo>
                  <a:lnTo>
                    <a:pt x="98" y="1187"/>
                  </a:lnTo>
                  <a:lnTo>
                    <a:pt x="98" y="1187"/>
                  </a:lnTo>
                  <a:lnTo>
                    <a:pt x="98" y="1187"/>
                  </a:lnTo>
                  <a:lnTo>
                    <a:pt x="98" y="1183"/>
                  </a:lnTo>
                  <a:lnTo>
                    <a:pt x="98" y="1183"/>
                  </a:lnTo>
                  <a:lnTo>
                    <a:pt x="93" y="1183"/>
                  </a:lnTo>
                  <a:lnTo>
                    <a:pt x="93" y="1183"/>
                  </a:lnTo>
                  <a:lnTo>
                    <a:pt x="93" y="1183"/>
                  </a:lnTo>
                  <a:lnTo>
                    <a:pt x="89" y="1187"/>
                  </a:lnTo>
                  <a:lnTo>
                    <a:pt x="93" y="1191"/>
                  </a:lnTo>
                  <a:lnTo>
                    <a:pt x="93" y="1191"/>
                  </a:lnTo>
                  <a:lnTo>
                    <a:pt x="98" y="1200"/>
                  </a:lnTo>
                  <a:lnTo>
                    <a:pt x="102" y="1209"/>
                  </a:lnTo>
                  <a:lnTo>
                    <a:pt x="102" y="1214"/>
                  </a:lnTo>
                  <a:lnTo>
                    <a:pt x="98" y="1218"/>
                  </a:lnTo>
                  <a:lnTo>
                    <a:pt x="98" y="1214"/>
                  </a:lnTo>
                  <a:lnTo>
                    <a:pt x="98" y="1214"/>
                  </a:lnTo>
                  <a:lnTo>
                    <a:pt x="98" y="1209"/>
                  </a:lnTo>
                  <a:lnTo>
                    <a:pt x="98" y="1200"/>
                  </a:lnTo>
                  <a:lnTo>
                    <a:pt x="93" y="1200"/>
                  </a:lnTo>
                  <a:lnTo>
                    <a:pt x="93" y="1200"/>
                  </a:lnTo>
                  <a:lnTo>
                    <a:pt x="89" y="1196"/>
                  </a:lnTo>
                  <a:lnTo>
                    <a:pt x="89" y="1191"/>
                  </a:lnTo>
                  <a:lnTo>
                    <a:pt x="89" y="1191"/>
                  </a:lnTo>
                  <a:lnTo>
                    <a:pt x="89" y="1187"/>
                  </a:lnTo>
                  <a:lnTo>
                    <a:pt x="84" y="1187"/>
                  </a:lnTo>
                  <a:lnTo>
                    <a:pt x="84" y="1187"/>
                  </a:lnTo>
                  <a:lnTo>
                    <a:pt x="76" y="1191"/>
                  </a:lnTo>
                  <a:lnTo>
                    <a:pt x="76" y="1191"/>
                  </a:lnTo>
                  <a:lnTo>
                    <a:pt x="71" y="1196"/>
                  </a:lnTo>
                  <a:lnTo>
                    <a:pt x="71" y="1196"/>
                  </a:lnTo>
                  <a:lnTo>
                    <a:pt x="67" y="1200"/>
                  </a:lnTo>
                  <a:lnTo>
                    <a:pt x="67" y="1200"/>
                  </a:lnTo>
                  <a:lnTo>
                    <a:pt x="67" y="1200"/>
                  </a:lnTo>
                  <a:lnTo>
                    <a:pt x="71" y="1205"/>
                  </a:lnTo>
                  <a:lnTo>
                    <a:pt x="71" y="1205"/>
                  </a:lnTo>
                  <a:lnTo>
                    <a:pt x="71" y="1205"/>
                  </a:lnTo>
                  <a:lnTo>
                    <a:pt x="71" y="1205"/>
                  </a:lnTo>
                  <a:lnTo>
                    <a:pt x="76" y="1205"/>
                  </a:lnTo>
                  <a:lnTo>
                    <a:pt x="71" y="1205"/>
                  </a:lnTo>
                  <a:lnTo>
                    <a:pt x="71" y="1205"/>
                  </a:lnTo>
                  <a:lnTo>
                    <a:pt x="67" y="1205"/>
                  </a:lnTo>
                  <a:lnTo>
                    <a:pt x="67" y="1205"/>
                  </a:lnTo>
                  <a:lnTo>
                    <a:pt x="67" y="1205"/>
                  </a:lnTo>
                  <a:lnTo>
                    <a:pt x="67" y="1205"/>
                  </a:lnTo>
                  <a:lnTo>
                    <a:pt x="67" y="1205"/>
                  </a:lnTo>
                  <a:lnTo>
                    <a:pt x="71" y="1209"/>
                  </a:lnTo>
                  <a:lnTo>
                    <a:pt x="71" y="1214"/>
                  </a:lnTo>
                  <a:lnTo>
                    <a:pt x="71" y="1214"/>
                  </a:lnTo>
                  <a:lnTo>
                    <a:pt x="71" y="1214"/>
                  </a:lnTo>
                  <a:lnTo>
                    <a:pt x="76" y="1214"/>
                  </a:lnTo>
                  <a:lnTo>
                    <a:pt x="76" y="1218"/>
                  </a:lnTo>
                  <a:lnTo>
                    <a:pt x="89" y="1222"/>
                  </a:lnTo>
                  <a:lnTo>
                    <a:pt x="89" y="1222"/>
                  </a:lnTo>
                  <a:lnTo>
                    <a:pt x="80" y="1218"/>
                  </a:lnTo>
                  <a:lnTo>
                    <a:pt x="76" y="1218"/>
                  </a:lnTo>
                  <a:lnTo>
                    <a:pt x="76" y="1218"/>
                  </a:lnTo>
                  <a:lnTo>
                    <a:pt x="71" y="1222"/>
                  </a:lnTo>
                  <a:lnTo>
                    <a:pt x="71" y="1218"/>
                  </a:lnTo>
                  <a:lnTo>
                    <a:pt x="71" y="1218"/>
                  </a:lnTo>
                  <a:lnTo>
                    <a:pt x="67" y="1214"/>
                  </a:lnTo>
                  <a:lnTo>
                    <a:pt x="67" y="1214"/>
                  </a:lnTo>
                  <a:lnTo>
                    <a:pt x="67" y="1218"/>
                  </a:lnTo>
                  <a:lnTo>
                    <a:pt x="67" y="1222"/>
                  </a:lnTo>
                  <a:lnTo>
                    <a:pt x="62" y="1227"/>
                  </a:lnTo>
                  <a:lnTo>
                    <a:pt x="62" y="1222"/>
                  </a:lnTo>
                  <a:lnTo>
                    <a:pt x="67" y="1218"/>
                  </a:lnTo>
                  <a:lnTo>
                    <a:pt x="67" y="1214"/>
                  </a:lnTo>
                  <a:lnTo>
                    <a:pt x="67" y="1214"/>
                  </a:lnTo>
                  <a:lnTo>
                    <a:pt x="67" y="1209"/>
                  </a:lnTo>
                  <a:lnTo>
                    <a:pt x="67" y="1209"/>
                  </a:lnTo>
                  <a:lnTo>
                    <a:pt x="67" y="1209"/>
                  </a:lnTo>
                  <a:lnTo>
                    <a:pt x="62" y="1205"/>
                  </a:lnTo>
                  <a:lnTo>
                    <a:pt x="62" y="1205"/>
                  </a:lnTo>
                  <a:lnTo>
                    <a:pt x="62" y="1205"/>
                  </a:lnTo>
                  <a:lnTo>
                    <a:pt x="58" y="1209"/>
                  </a:lnTo>
                  <a:lnTo>
                    <a:pt x="58" y="1209"/>
                  </a:lnTo>
                  <a:lnTo>
                    <a:pt x="53" y="1209"/>
                  </a:lnTo>
                  <a:lnTo>
                    <a:pt x="53" y="1209"/>
                  </a:lnTo>
                  <a:lnTo>
                    <a:pt x="53" y="1209"/>
                  </a:lnTo>
                  <a:lnTo>
                    <a:pt x="53" y="1214"/>
                  </a:lnTo>
                  <a:lnTo>
                    <a:pt x="53" y="1214"/>
                  </a:lnTo>
                  <a:lnTo>
                    <a:pt x="58" y="1218"/>
                  </a:lnTo>
                  <a:lnTo>
                    <a:pt x="58" y="1218"/>
                  </a:lnTo>
                  <a:lnTo>
                    <a:pt x="53" y="1214"/>
                  </a:lnTo>
                  <a:lnTo>
                    <a:pt x="53" y="1214"/>
                  </a:lnTo>
                  <a:lnTo>
                    <a:pt x="53" y="1214"/>
                  </a:lnTo>
                  <a:lnTo>
                    <a:pt x="53" y="1214"/>
                  </a:lnTo>
                  <a:lnTo>
                    <a:pt x="49" y="1209"/>
                  </a:lnTo>
                  <a:lnTo>
                    <a:pt x="49" y="1209"/>
                  </a:lnTo>
                  <a:lnTo>
                    <a:pt x="45" y="1209"/>
                  </a:lnTo>
                  <a:lnTo>
                    <a:pt x="45" y="1209"/>
                  </a:lnTo>
                  <a:lnTo>
                    <a:pt x="40" y="1209"/>
                  </a:lnTo>
                  <a:lnTo>
                    <a:pt x="40" y="1209"/>
                  </a:lnTo>
                  <a:lnTo>
                    <a:pt x="40" y="1209"/>
                  </a:lnTo>
                  <a:lnTo>
                    <a:pt x="40" y="1209"/>
                  </a:lnTo>
                  <a:lnTo>
                    <a:pt x="40" y="1214"/>
                  </a:lnTo>
                  <a:lnTo>
                    <a:pt x="40" y="1214"/>
                  </a:lnTo>
                  <a:lnTo>
                    <a:pt x="40" y="1214"/>
                  </a:lnTo>
                  <a:lnTo>
                    <a:pt x="40" y="1218"/>
                  </a:lnTo>
                  <a:lnTo>
                    <a:pt x="49" y="1218"/>
                  </a:lnTo>
                  <a:lnTo>
                    <a:pt x="49" y="1222"/>
                  </a:lnTo>
                  <a:lnTo>
                    <a:pt x="49" y="1222"/>
                  </a:lnTo>
                  <a:lnTo>
                    <a:pt x="49" y="1218"/>
                  </a:lnTo>
                  <a:lnTo>
                    <a:pt x="45" y="1218"/>
                  </a:lnTo>
                  <a:lnTo>
                    <a:pt x="45" y="1218"/>
                  </a:lnTo>
                  <a:lnTo>
                    <a:pt x="45" y="1218"/>
                  </a:lnTo>
                  <a:lnTo>
                    <a:pt x="45" y="1222"/>
                  </a:lnTo>
                  <a:lnTo>
                    <a:pt x="45" y="1227"/>
                  </a:lnTo>
                  <a:lnTo>
                    <a:pt x="45" y="1227"/>
                  </a:lnTo>
                  <a:lnTo>
                    <a:pt x="40" y="1227"/>
                  </a:lnTo>
                  <a:lnTo>
                    <a:pt x="40" y="1227"/>
                  </a:lnTo>
                  <a:lnTo>
                    <a:pt x="40" y="1222"/>
                  </a:lnTo>
                  <a:lnTo>
                    <a:pt x="40" y="1218"/>
                  </a:lnTo>
                  <a:lnTo>
                    <a:pt x="36" y="1218"/>
                  </a:lnTo>
                  <a:lnTo>
                    <a:pt x="31" y="1214"/>
                  </a:lnTo>
                  <a:lnTo>
                    <a:pt x="31" y="1214"/>
                  </a:lnTo>
                  <a:lnTo>
                    <a:pt x="31" y="1209"/>
                  </a:lnTo>
                  <a:lnTo>
                    <a:pt x="31" y="1209"/>
                  </a:lnTo>
                  <a:lnTo>
                    <a:pt x="31" y="1209"/>
                  </a:lnTo>
                  <a:lnTo>
                    <a:pt x="31" y="1209"/>
                  </a:lnTo>
                  <a:lnTo>
                    <a:pt x="31" y="1209"/>
                  </a:lnTo>
                  <a:lnTo>
                    <a:pt x="31" y="1209"/>
                  </a:lnTo>
                  <a:lnTo>
                    <a:pt x="31" y="1209"/>
                  </a:lnTo>
                  <a:lnTo>
                    <a:pt x="27" y="1205"/>
                  </a:lnTo>
                  <a:lnTo>
                    <a:pt x="27" y="1205"/>
                  </a:lnTo>
                  <a:lnTo>
                    <a:pt x="27" y="1205"/>
                  </a:lnTo>
                  <a:lnTo>
                    <a:pt x="27" y="1205"/>
                  </a:lnTo>
                  <a:lnTo>
                    <a:pt x="27" y="1205"/>
                  </a:lnTo>
                  <a:lnTo>
                    <a:pt x="27" y="1205"/>
                  </a:lnTo>
                  <a:lnTo>
                    <a:pt x="27" y="1209"/>
                  </a:lnTo>
                  <a:lnTo>
                    <a:pt x="27" y="1209"/>
                  </a:lnTo>
                  <a:lnTo>
                    <a:pt x="22" y="1205"/>
                  </a:lnTo>
                  <a:lnTo>
                    <a:pt x="22" y="1209"/>
                  </a:lnTo>
                  <a:lnTo>
                    <a:pt x="22" y="1205"/>
                  </a:lnTo>
                  <a:lnTo>
                    <a:pt x="22" y="1209"/>
                  </a:lnTo>
                  <a:lnTo>
                    <a:pt x="22" y="1209"/>
                  </a:lnTo>
                  <a:lnTo>
                    <a:pt x="22" y="1209"/>
                  </a:lnTo>
                  <a:lnTo>
                    <a:pt x="22" y="1209"/>
                  </a:lnTo>
                  <a:lnTo>
                    <a:pt x="22" y="1209"/>
                  </a:lnTo>
                  <a:lnTo>
                    <a:pt x="22" y="1209"/>
                  </a:lnTo>
                  <a:lnTo>
                    <a:pt x="22" y="1209"/>
                  </a:lnTo>
                  <a:lnTo>
                    <a:pt x="22" y="1209"/>
                  </a:lnTo>
                  <a:lnTo>
                    <a:pt x="22" y="1209"/>
                  </a:lnTo>
                  <a:lnTo>
                    <a:pt x="22" y="1209"/>
                  </a:lnTo>
                  <a:lnTo>
                    <a:pt x="22" y="1209"/>
                  </a:lnTo>
                  <a:lnTo>
                    <a:pt x="22" y="1214"/>
                  </a:lnTo>
                  <a:lnTo>
                    <a:pt x="22" y="1214"/>
                  </a:lnTo>
                  <a:lnTo>
                    <a:pt x="22" y="1214"/>
                  </a:lnTo>
                  <a:lnTo>
                    <a:pt x="22" y="1214"/>
                  </a:lnTo>
                  <a:lnTo>
                    <a:pt x="22" y="1214"/>
                  </a:lnTo>
                  <a:lnTo>
                    <a:pt x="22" y="1218"/>
                  </a:lnTo>
                  <a:lnTo>
                    <a:pt x="27" y="1218"/>
                  </a:lnTo>
                  <a:lnTo>
                    <a:pt x="31" y="1222"/>
                  </a:lnTo>
                  <a:lnTo>
                    <a:pt x="36" y="1222"/>
                  </a:lnTo>
                  <a:lnTo>
                    <a:pt x="36" y="1222"/>
                  </a:lnTo>
                  <a:lnTo>
                    <a:pt x="36" y="1222"/>
                  </a:lnTo>
                  <a:lnTo>
                    <a:pt x="36" y="1222"/>
                  </a:lnTo>
                  <a:lnTo>
                    <a:pt x="36" y="1227"/>
                  </a:lnTo>
                  <a:lnTo>
                    <a:pt x="40" y="1227"/>
                  </a:lnTo>
                  <a:lnTo>
                    <a:pt x="36" y="1227"/>
                  </a:lnTo>
                  <a:lnTo>
                    <a:pt x="36" y="1227"/>
                  </a:lnTo>
                  <a:lnTo>
                    <a:pt x="36" y="1227"/>
                  </a:lnTo>
                  <a:lnTo>
                    <a:pt x="31" y="1227"/>
                  </a:lnTo>
                  <a:lnTo>
                    <a:pt x="31" y="1231"/>
                  </a:lnTo>
                  <a:lnTo>
                    <a:pt x="31" y="1231"/>
                  </a:lnTo>
                  <a:lnTo>
                    <a:pt x="31" y="1231"/>
                  </a:lnTo>
                  <a:lnTo>
                    <a:pt x="31" y="1231"/>
                  </a:lnTo>
                  <a:lnTo>
                    <a:pt x="31" y="1231"/>
                  </a:lnTo>
                  <a:lnTo>
                    <a:pt x="31" y="1231"/>
                  </a:lnTo>
                  <a:lnTo>
                    <a:pt x="31" y="1231"/>
                  </a:lnTo>
                  <a:lnTo>
                    <a:pt x="27" y="1231"/>
                  </a:lnTo>
                  <a:lnTo>
                    <a:pt x="27" y="1231"/>
                  </a:lnTo>
                  <a:lnTo>
                    <a:pt x="27" y="1231"/>
                  </a:lnTo>
                  <a:lnTo>
                    <a:pt x="27" y="1231"/>
                  </a:lnTo>
                  <a:lnTo>
                    <a:pt x="27" y="1231"/>
                  </a:lnTo>
                  <a:lnTo>
                    <a:pt x="27" y="1231"/>
                  </a:lnTo>
                  <a:lnTo>
                    <a:pt x="27" y="1231"/>
                  </a:lnTo>
                  <a:lnTo>
                    <a:pt x="27" y="1231"/>
                  </a:lnTo>
                  <a:lnTo>
                    <a:pt x="27" y="1231"/>
                  </a:lnTo>
                  <a:lnTo>
                    <a:pt x="27" y="1231"/>
                  </a:lnTo>
                  <a:lnTo>
                    <a:pt x="27" y="1231"/>
                  </a:lnTo>
                  <a:lnTo>
                    <a:pt x="22" y="1236"/>
                  </a:lnTo>
                  <a:lnTo>
                    <a:pt x="22" y="1236"/>
                  </a:lnTo>
                  <a:lnTo>
                    <a:pt x="22" y="1236"/>
                  </a:lnTo>
                  <a:lnTo>
                    <a:pt x="22" y="1240"/>
                  </a:lnTo>
                  <a:lnTo>
                    <a:pt x="27" y="1240"/>
                  </a:lnTo>
                  <a:lnTo>
                    <a:pt x="27" y="1240"/>
                  </a:lnTo>
                  <a:lnTo>
                    <a:pt x="27" y="1240"/>
                  </a:lnTo>
                  <a:lnTo>
                    <a:pt x="31" y="1240"/>
                  </a:lnTo>
                  <a:lnTo>
                    <a:pt x="31" y="1240"/>
                  </a:lnTo>
                  <a:lnTo>
                    <a:pt x="31" y="1240"/>
                  </a:lnTo>
                  <a:lnTo>
                    <a:pt x="36" y="1236"/>
                  </a:lnTo>
                  <a:lnTo>
                    <a:pt x="40" y="1236"/>
                  </a:lnTo>
                  <a:lnTo>
                    <a:pt x="40" y="1236"/>
                  </a:lnTo>
                  <a:lnTo>
                    <a:pt x="40" y="1236"/>
                  </a:lnTo>
                  <a:lnTo>
                    <a:pt x="40" y="1236"/>
                  </a:lnTo>
                  <a:lnTo>
                    <a:pt x="45" y="1236"/>
                  </a:lnTo>
                  <a:lnTo>
                    <a:pt x="53" y="1236"/>
                  </a:lnTo>
                  <a:lnTo>
                    <a:pt x="67" y="1236"/>
                  </a:lnTo>
                  <a:lnTo>
                    <a:pt x="67" y="1240"/>
                  </a:lnTo>
                  <a:lnTo>
                    <a:pt x="67" y="1240"/>
                  </a:lnTo>
                  <a:lnTo>
                    <a:pt x="58" y="1240"/>
                  </a:lnTo>
                  <a:lnTo>
                    <a:pt x="58" y="1240"/>
                  </a:lnTo>
                  <a:lnTo>
                    <a:pt x="58" y="1245"/>
                  </a:lnTo>
                  <a:lnTo>
                    <a:pt x="58" y="1245"/>
                  </a:lnTo>
                  <a:lnTo>
                    <a:pt x="62" y="1245"/>
                  </a:lnTo>
                  <a:lnTo>
                    <a:pt x="62" y="1245"/>
                  </a:lnTo>
                  <a:lnTo>
                    <a:pt x="62" y="1245"/>
                  </a:lnTo>
                  <a:lnTo>
                    <a:pt x="62" y="1245"/>
                  </a:lnTo>
                  <a:lnTo>
                    <a:pt x="62" y="1240"/>
                  </a:lnTo>
                  <a:lnTo>
                    <a:pt x="62" y="1240"/>
                  </a:lnTo>
                  <a:lnTo>
                    <a:pt x="67" y="1240"/>
                  </a:lnTo>
                  <a:lnTo>
                    <a:pt x="67" y="1245"/>
                  </a:lnTo>
                  <a:lnTo>
                    <a:pt x="71" y="1245"/>
                  </a:lnTo>
                  <a:lnTo>
                    <a:pt x="71" y="1245"/>
                  </a:lnTo>
                  <a:lnTo>
                    <a:pt x="76" y="1245"/>
                  </a:lnTo>
                  <a:lnTo>
                    <a:pt x="76" y="1245"/>
                  </a:lnTo>
                  <a:lnTo>
                    <a:pt x="84" y="1245"/>
                  </a:lnTo>
                  <a:lnTo>
                    <a:pt x="93" y="1249"/>
                  </a:lnTo>
                  <a:lnTo>
                    <a:pt x="98" y="1249"/>
                  </a:lnTo>
                  <a:lnTo>
                    <a:pt x="98" y="1245"/>
                  </a:lnTo>
                  <a:lnTo>
                    <a:pt x="98" y="1245"/>
                  </a:lnTo>
                  <a:lnTo>
                    <a:pt x="98" y="1240"/>
                  </a:lnTo>
                  <a:lnTo>
                    <a:pt x="107" y="1240"/>
                  </a:lnTo>
                  <a:lnTo>
                    <a:pt x="107" y="1240"/>
                  </a:lnTo>
                  <a:lnTo>
                    <a:pt x="107" y="1240"/>
                  </a:lnTo>
                  <a:lnTo>
                    <a:pt x="107" y="1240"/>
                  </a:lnTo>
                  <a:lnTo>
                    <a:pt x="107" y="1240"/>
                  </a:lnTo>
                  <a:lnTo>
                    <a:pt x="107" y="1240"/>
                  </a:lnTo>
                  <a:lnTo>
                    <a:pt x="107" y="1240"/>
                  </a:lnTo>
                  <a:lnTo>
                    <a:pt x="111" y="1240"/>
                  </a:lnTo>
                  <a:lnTo>
                    <a:pt x="111" y="1245"/>
                  </a:lnTo>
                  <a:lnTo>
                    <a:pt x="111" y="1245"/>
                  </a:lnTo>
                  <a:lnTo>
                    <a:pt x="111" y="1245"/>
                  </a:lnTo>
                  <a:lnTo>
                    <a:pt x="115" y="1240"/>
                  </a:lnTo>
                  <a:lnTo>
                    <a:pt x="115" y="1245"/>
                  </a:lnTo>
                  <a:lnTo>
                    <a:pt x="111" y="1245"/>
                  </a:lnTo>
                  <a:lnTo>
                    <a:pt x="111" y="1245"/>
                  </a:lnTo>
                  <a:lnTo>
                    <a:pt x="111" y="1245"/>
                  </a:lnTo>
                  <a:lnTo>
                    <a:pt x="111" y="1245"/>
                  </a:lnTo>
                  <a:lnTo>
                    <a:pt x="111" y="1245"/>
                  </a:lnTo>
                  <a:lnTo>
                    <a:pt x="111" y="1245"/>
                  </a:lnTo>
                  <a:lnTo>
                    <a:pt x="111" y="1245"/>
                  </a:lnTo>
                  <a:lnTo>
                    <a:pt x="107" y="1245"/>
                  </a:lnTo>
                  <a:lnTo>
                    <a:pt x="107" y="1245"/>
                  </a:lnTo>
                  <a:lnTo>
                    <a:pt x="102" y="1240"/>
                  </a:lnTo>
                  <a:lnTo>
                    <a:pt x="102" y="1245"/>
                  </a:lnTo>
                  <a:lnTo>
                    <a:pt x="102" y="1245"/>
                  </a:lnTo>
                  <a:lnTo>
                    <a:pt x="102" y="1245"/>
                  </a:lnTo>
                  <a:lnTo>
                    <a:pt x="98" y="1245"/>
                  </a:lnTo>
                  <a:lnTo>
                    <a:pt x="98" y="1249"/>
                  </a:lnTo>
                  <a:lnTo>
                    <a:pt x="98" y="1249"/>
                  </a:lnTo>
                  <a:lnTo>
                    <a:pt x="98" y="1249"/>
                  </a:lnTo>
                  <a:lnTo>
                    <a:pt x="93" y="1249"/>
                  </a:lnTo>
                  <a:lnTo>
                    <a:pt x="89" y="1249"/>
                  </a:lnTo>
                  <a:lnTo>
                    <a:pt x="89" y="1249"/>
                  </a:lnTo>
                  <a:lnTo>
                    <a:pt x="89" y="1249"/>
                  </a:lnTo>
                  <a:lnTo>
                    <a:pt x="84" y="1249"/>
                  </a:lnTo>
                  <a:lnTo>
                    <a:pt x="71" y="1249"/>
                  </a:lnTo>
                  <a:lnTo>
                    <a:pt x="71" y="1249"/>
                  </a:lnTo>
                  <a:lnTo>
                    <a:pt x="76" y="1249"/>
                  </a:lnTo>
                  <a:lnTo>
                    <a:pt x="76" y="1249"/>
                  </a:lnTo>
                  <a:lnTo>
                    <a:pt x="76" y="1249"/>
                  </a:lnTo>
                  <a:lnTo>
                    <a:pt x="76" y="1249"/>
                  </a:lnTo>
                  <a:lnTo>
                    <a:pt x="76" y="1253"/>
                  </a:lnTo>
                  <a:lnTo>
                    <a:pt x="80" y="1253"/>
                  </a:lnTo>
                  <a:lnTo>
                    <a:pt x="80" y="1253"/>
                  </a:lnTo>
                  <a:lnTo>
                    <a:pt x="80" y="1253"/>
                  </a:lnTo>
                  <a:lnTo>
                    <a:pt x="76" y="1253"/>
                  </a:lnTo>
                  <a:lnTo>
                    <a:pt x="76" y="1253"/>
                  </a:lnTo>
                  <a:lnTo>
                    <a:pt x="71" y="1249"/>
                  </a:lnTo>
                  <a:lnTo>
                    <a:pt x="71" y="1249"/>
                  </a:lnTo>
                  <a:lnTo>
                    <a:pt x="71" y="1249"/>
                  </a:lnTo>
                  <a:lnTo>
                    <a:pt x="67" y="1249"/>
                  </a:lnTo>
                  <a:lnTo>
                    <a:pt x="67" y="1249"/>
                  </a:lnTo>
                  <a:lnTo>
                    <a:pt x="67" y="1253"/>
                  </a:lnTo>
                  <a:lnTo>
                    <a:pt x="67" y="1253"/>
                  </a:lnTo>
                  <a:lnTo>
                    <a:pt x="67" y="1253"/>
                  </a:lnTo>
                  <a:lnTo>
                    <a:pt x="67" y="1258"/>
                  </a:lnTo>
                  <a:lnTo>
                    <a:pt x="67" y="1258"/>
                  </a:lnTo>
                  <a:lnTo>
                    <a:pt x="67" y="1258"/>
                  </a:lnTo>
                  <a:lnTo>
                    <a:pt x="67" y="1253"/>
                  </a:lnTo>
                  <a:lnTo>
                    <a:pt x="67" y="1249"/>
                  </a:lnTo>
                  <a:lnTo>
                    <a:pt x="67" y="1249"/>
                  </a:lnTo>
                  <a:lnTo>
                    <a:pt x="67" y="1245"/>
                  </a:lnTo>
                  <a:lnTo>
                    <a:pt x="67" y="1245"/>
                  </a:lnTo>
                  <a:lnTo>
                    <a:pt x="67" y="1245"/>
                  </a:lnTo>
                  <a:lnTo>
                    <a:pt x="58" y="1249"/>
                  </a:lnTo>
                  <a:lnTo>
                    <a:pt x="53" y="1249"/>
                  </a:lnTo>
                  <a:lnTo>
                    <a:pt x="49" y="1249"/>
                  </a:lnTo>
                  <a:lnTo>
                    <a:pt x="49" y="1249"/>
                  </a:lnTo>
                  <a:lnTo>
                    <a:pt x="53" y="1245"/>
                  </a:lnTo>
                  <a:lnTo>
                    <a:pt x="53" y="1245"/>
                  </a:lnTo>
                  <a:lnTo>
                    <a:pt x="58" y="1245"/>
                  </a:lnTo>
                  <a:lnTo>
                    <a:pt x="53" y="1245"/>
                  </a:lnTo>
                  <a:lnTo>
                    <a:pt x="53" y="1240"/>
                  </a:lnTo>
                  <a:lnTo>
                    <a:pt x="53" y="1240"/>
                  </a:lnTo>
                  <a:lnTo>
                    <a:pt x="49" y="1240"/>
                  </a:lnTo>
                  <a:lnTo>
                    <a:pt x="49" y="1240"/>
                  </a:lnTo>
                  <a:lnTo>
                    <a:pt x="49" y="1240"/>
                  </a:lnTo>
                  <a:lnTo>
                    <a:pt x="45" y="1240"/>
                  </a:lnTo>
                  <a:lnTo>
                    <a:pt x="45" y="1240"/>
                  </a:lnTo>
                  <a:lnTo>
                    <a:pt x="45" y="1240"/>
                  </a:lnTo>
                  <a:lnTo>
                    <a:pt x="40" y="1240"/>
                  </a:lnTo>
                  <a:lnTo>
                    <a:pt x="36" y="1240"/>
                  </a:lnTo>
                  <a:lnTo>
                    <a:pt x="31" y="1245"/>
                  </a:lnTo>
                  <a:lnTo>
                    <a:pt x="31" y="1245"/>
                  </a:lnTo>
                  <a:lnTo>
                    <a:pt x="31" y="1245"/>
                  </a:lnTo>
                  <a:lnTo>
                    <a:pt x="31" y="1245"/>
                  </a:lnTo>
                  <a:lnTo>
                    <a:pt x="36" y="1245"/>
                  </a:lnTo>
                  <a:lnTo>
                    <a:pt x="36" y="1245"/>
                  </a:lnTo>
                  <a:lnTo>
                    <a:pt x="31" y="1245"/>
                  </a:lnTo>
                  <a:lnTo>
                    <a:pt x="31" y="1249"/>
                  </a:lnTo>
                  <a:lnTo>
                    <a:pt x="31" y="1249"/>
                  </a:lnTo>
                  <a:lnTo>
                    <a:pt x="31" y="1249"/>
                  </a:lnTo>
                  <a:lnTo>
                    <a:pt x="31" y="1249"/>
                  </a:lnTo>
                  <a:lnTo>
                    <a:pt x="31" y="1249"/>
                  </a:lnTo>
                  <a:lnTo>
                    <a:pt x="22" y="1253"/>
                  </a:lnTo>
                  <a:lnTo>
                    <a:pt x="22" y="1253"/>
                  </a:lnTo>
                  <a:lnTo>
                    <a:pt x="22" y="1253"/>
                  </a:lnTo>
                  <a:lnTo>
                    <a:pt x="22" y="1253"/>
                  </a:lnTo>
                  <a:lnTo>
                    <a:pt x="27" y="1253"/>
                  </a:lnTo>
                  <a:lnTo>
                    <a:pt x="27" y="1253"/>
                  </a:lnTo>
                  <a:lnTo>
                    <a:pt x="22" y="1258"/>
                  </a:lnTo>
                  <a:lnTo>
                    <a:pt x="22" y="1258"/>
                  </a:lnTo>
                  <a:lnTo>
                    <a:pt x="27" y="1258"/>
                  </a:lnTo>
                  <a:lnTo>
                    <a:pt x="27" y="1258"/>
                  </a:lnTo>
                  <a:lnTo>
                    <a:pt x="22" y="1262"/>
                  </a:lnTo>
                  <a:lnTo>
                    <a:pt x="22" y="1258"/>
                  </a:lnTo>
                  <a:lnTo>
                    <a:pt x="22" y="1258"/>
                  </a:lnTo>
                  <a:lnTo>
                    <a:pt x="22" y="1258"/>
                  </a:lnTo>
                  <a:lnTo>
                    <a:pt x="22" y="1258"/>
                  </a:lnTo>
                  <a:lnTo>
                    <a:pt x="22" y="1258"/>
                  </a:lnTo>
                  <a:lnTo>
                    <a:pt x="22" y="1258"/>
                  </a:lnTo>
                  <a:lnTo>
                    <a:pt x="22" y="1258"/>
                  </a:lnTo>
                  <a:lnTo>
                    <a:pt x="22" y="1258"/>
                  </a:lnTo>
                  <a:lnTo>
                    <a:pt x="22" y="1258"/>
                  </a:lnTo>
                  <a:lnTo>
                    <a:pt x="22" y="1258"/>
                  </a:lnTo>
                  <a:lnTo>
                    <a:pt x="22" y="1258"/>
                  </a:lnTo>
                  <a:lnTo>
                    <a:pt x="18" y="1258"/>
                  </a:lnTo>
                  <a:lnTo>
                    <a:pt x="18" y="1258"/>
                  </a:lnTo>
                  <a:lnTo>
                    <a:pt x="18" y="1258"/>
                  </a:lnTo>
                  <a:lnTo>
                    <a:pt x="18" y="1258"/>
                  </a:lnTo>
                  <a:lnTo>
                    <a:pt x="18" y="1258"/>
                  </a:lnTo>
                  <a:lnTo>
                    <a:pt x="18" y="1258"/>
                  </a:lnTo>
                  <a:lnTo>
                    <a:pt x="18" y="1258"/>
                  </a:lnTo>
                  <a:lnTo>
                    <a:pt x="18" y="1258"/>
                  </a:lnTo>
                  <a:lnTo>
                    <a:pt x="18" y="1258"/>
                  </a:lnTo>
                  <a:lnTo>
                    <a:pt x="14" y="1258"/>
                  </a:lnTo>
                  <a:lnTo>
                    <a:pt x="14" y="1262"/>
                  </a:lnTo>
                  <a:lnTo>
                    <a:pt x="14" y="1262"/>
                  </a:lnTo>
                  <a:lnTo>
                    <a:pt x="14" y="1262"/>
                  </a:lnTo>
                  <a:lnTo>
                    <a:pt x="14" y="1262"/>
                  </a:lnTo>
                  <a:lnTo>
                    <a:pt x="14" y="1262"/>
                  </a:lnTo>
                  <a:lnTo>
                    <a:pt x="14" y="1267"/>
                  </a:lnTo>
                  <a:lnTo>
                    <a:pt x="14" y="1267"/>
                  </a:lnTo>
                  <a:lnTo>
                    <a:pt x="14" y="1271"/>
                  </a:lnTo>
                  <a:lnTo>
                    <a:pt x="18" y="1271"/>
                  </a:lnTo>
                  <a:lnTo>
                    <a:pt x="31" y="1271"/>
                  </a:lnTo>
                  <a:lnTo>
                    <a:pt x="31" y="1271"/>
                  </a:lnTo>
                  <a:lnTo>
                    <a:pt x="31" y="1267"/>
                  </a:lnTo>
                  <a:lnTo>
                    <a:pt x="36" y="1267"/>
                  </a:lnTo>
                  <a:lnTo>
                    <a:pt x="36" y="1271"/>
                  </a:lnTo>
                  <a:lnTo>
                    <a:pt x="31" y="1271"/>
                  </a:lnTo>
                  <a:lnTo>
                    <a:pt x="36" y="1271"/>
                  </a:lnTo>
                  <a:lnTo>
                    <a:pt x="40" y="1276"/>
                  </a:lnTo>
                  <a:lnTo>
                    <a:pt x="40" y="1276"/>
                  </a:lnTo>
                  <a:lnTo>
                    <a:pt x="36" y="1276"/>
                  </a:lnTo>
                  <a:lnTo>
                    <a:pt x="36" y="1276"/>
                  </a:lnTo>
                  <a:lnTo>
                    <a:pt x="36" y="1276"/>
                  </a:lnTo>
                  <a:lnTo>
                    <a:pt x="36" y="1276"/>
                  </a:lnTo>
                  <a:lnTo>
                    <a:pt x="27" y="1276"/>
                  </a:lnTo>
                  <a:lnTo>
                    <a:pt x="27" y="1276"/>
                  </a:lnTo>
                  <a:lnTo>
                    <a:pt x="36" y="1276"/>
                  </a:lnTo>
                  <a:lnTo>
                    <a:pt x="36" y="1276"/>
                  </a:lnTo>
                  <a:lnTo>
                    <a:pt x="36" y="1280"/>
                  </a:lnTo>
                  <a:lnTo>
                    <a:pt x="31" y="1280"/>
                  </a:lnTo>
                  <a:lnTo>
                    <a:pt x="27" y="1280"/>
                  </a:lnTo>
                  <a:lnTo>
                    <a:pt x="27" y="1280"/>
                  </a:lnTo>
                  <a:lnTo>
                    <a:pt x="27" y="1280"/>
                  </a:lnTo>
                  <a:lnTo>
                    <a:pt x="27" y="1280"/>
                  </a:lnTo>
                  <a:lnTo>
                    <a:pt x="27" y="1280"/>
                  </a:lnTo>
                  <a:lnTo>
                    <a:pt x="27" y="1280"/>
                  </a:lnTo>
                  <a:lnTo>
                    <a:pt x="27" y="1280"/>
                  </a:lnTo>
                  <a:lnTo>
                    <a:pt x="27" y="1280"/>
                  </a:lnTo>
                  <a:lnTo>
                    <a:pt x="27" y="1284"/>
                  </a:lnTo>
                  <a:lnTo>
                    <a:pt x="31" y="1284"/>
                  </a:lnTo>
                  <a:lnTo>
                    <a:pt x="31" y="1284"/>
                  </a:lnTo>
                  <a:lnTo>
                    <a:pt x="40" y="1284"/>
                  </a:lnTo>
                  <a:lnTo>
                    <a:pt x="40" y="1284"/>
                  </a:lnTo>
                  <a:lnTo>
                    <a:pt x="40" y="1289"/>
                  </a:lnTo>
                  <a:lnTo>
                    <a:pt x="40" y="1289"/>
                  </a:lnTo>
                  <a:lnTo>
                    <a:pt x="45" y="1289"/>
                  </a:lnTo>
                  <a:lnTo>
                    <a:pt x="45" y="1289"/>
                  </a:lnTo>
                  <a:lnTo>
                    <a:pt x="49" y="1289"/>
                  </a:lnTo>
                  <a:lnTo>
                    <a:pt x="49" y="1289"/>
                  </a:lnTo>
                  <a:lnTo>
                    <a:pt x="49" y="1284"/>
                  </a:lnTo>
                  <a:lnTo>
                    <a:pt x="49" y="1284"/>
                  </a:lnTo>
                  <a:lnTo>
                    <a:pt x="53" y="1284"/>
                  </a:lnTo>
                  <a:lnTo>
                    <a:pt x="53" y="1284"/>
                  </a:lnTo>
                  <a:lnTo>
                    <a:pt x="58" y="1284"/>
                  </a:lnTo>
                  <a:lnTo>
                    <a:pt x="58" y="1289"/>
                  </a:lnTo>
                  <a:lnTo>
                    <a:pt x="58" y="1289"/>
                  </a:lnTo>
                  <a:lnTo>
                    <a:pt x="58" y="1289"/>
                  </a:lnTo>
                  <a:lnTo>
                    <a:pt x="58" y="1289"/>
                  </a:lnTo>
                  <a:lnTo>
                    <a:pt x="58" y="1289"/>
                  </a:lnTo>
                  <a:lnTo>
                    <a:pt x="58" y="1289"/>
                  </a:lnTo>
                  <a:lnTo>
                    <a:pt x="58" y="1284"/>
                  </a:lnTo>
                  <a:lnTo>
                    <a:pt x="53" y="1284"/>
                  </a:lnTo>
                  <a:lnTo>
                    <a:pt x="53" y="1284"/>
                  </a:lnTo>
                  <a:lnTo>
                    <a:pt x="53" y="1284"/>
                  </a:lnTo>
                  <a:lnTo>
                    <a:pt x="49" y="1289"/>
                  </a:lnTo>
                  <a:lnTo>
                    <a:pt x="49" y="1289"/>
                  </a:lnTo>
                  <a:lnTo>
                    <a:pt x="49" y="1289"/>
                  </a:lnTo>
                  <a:lnTo>
                    <a:pt x="49" y="1289"/>
                  </a:lnTo>
                  <a:lnTo>
                    <a:pt x="45" y="1289"/>
                  </a:lnTo>
                  <a:lnTo>
                    <a:pt x="45" y="1289"/>
                  </a:lnTo>
                  <a:lnTo>
                    <a:pt x="45" y="1289"/>
                  </a:lnTo>
                  <a:lnTo>
                    <a:pt x="45" y="1293"/>
                  </a:lnTo>
                  <a:lnTo>
                    <a:pt x="45" y="1293"/>
                  </a:lnTo>
                  <a:lnTo>
                    <a:pt x="36" y="1289"/>
                  </a:lnTo>
                  <a:lnTo>
                    <a:pt x="36" y="1289"/>
                  </a:lnTo>
                  <a:lnTo>
                    <a:pt x="31" y="1289"/>
                  </a:lnTo>
                  <a:lnTo>
                    <a:pt x="27" y="1289"/>
                  </a:lnTo>
                  <a:lnTo>
                    <a:pt x="27" y="1289"/>
                  </a:lnTo>
                  <a:lnTo>
                    <a:pt x="27" y="1289"/>
                  </a:lnTo>
                  <a:lnTo>
                    <a:pt x="27" y="1289"/>
                  </a:lnTo>
                  <a:lnTo>
                    <a:pt x="22" y="1289"/>
                  </a:lnTo>
                  <a:lnTo>
                    <a:pt x="14" y="1293"/>
                  </a:lnTo>
                  <a:lnTo>
                    <a:pt x="14" y="1293"/>
                  </a:lnTo>
                  <a:lnTo>
                    <a:pt x="18" y="1293"/>
                  </a:lnTo>
                  <a:lnTo>
                    <a:pt x="18" y="1293"/>
                  </a:lnTo>
                  <a:lnTo>
                    <a:pt x="22" y="1293"/>
                  </a:lnTo>
                  <a:lnTo>
                    <a:pt x="22" y="1293"/>
                  </a:lnTo>
                  <a:lnTo>
                    <a:pt x="22" y="1293"/>
                  </a:lnTo>
                  <a:lnTo>
                    <a:pt x="22" y="1293"/>
                  </a:lnTo>
                  <a:lnTo>
                    <a:pt x="22" y="1293"/>
                  </a:lnTo>
                  <a:lnTo>
                    <a:pt x="22" y="1293"/>
                  </a:lnTo>
                  <a:lnTo>
                    <a:pt x="22" y="1293"/>
                  </a:lnTo>
                  <a:lnTo>
                    <a:pt x="22" y="1293"/>
                  </a:lnTo>
                  <a:lnTo>
                    <a:pt x="22" y="1293"/>
                  </a:lnTo>
                  <a:lnTo>
                    <a:pt x="22" y="1293"/>
                  </a:lnTo>
                  <a:lnTo>
                    <a:pt x="22" y="1298"/>
                  </a:lnTo>
                  <a:lnTo>
                    <a:pt x="22" y="1298"/>
                  </a:lnTo>
                  <a:lnTo>
                    <a:pt x="22" y="1298"/>
                  </a:lnTo>
                  <a:lnTo>
                    <a:pt x="22" y="1298"/>
                  </a:lnTo>
                  <a:lnTo>
                    <a:pt x="22" y="1298"/>
                  </a:lnTo>
                  <a:lnTo>
                    <a:pt x="18" y="1293"/>
                  </a:lnTo>
                  <a:lnTo>
                    <a:pt x="18" y="1293"/>
                  </a:lnTo>
                  <a:lnTo>
                    <a:pt x="18" y="1298"/>
                  </a:lnTo>
                  <a:lnTo>
                    <a:pt x="18" y="1298"/>
                  </a:lnTo>
                  <a:lnTo>
                    <a:pt x="18" y="1298"/>
                  </a:lnTo>
                  <a:lnTo>
                    <a:pt x="18" y="1302"/>
                  </a:lnTo>
                  <a:lnTo>
                    <a:pt x="18" y="1302"/>
                  </a:lnTo>
                  <a:lnTo>
                    <a:pt x="18" y="1302"/>
                  </a:lnTo>
                  <a:lnTo>
                    <a:pt x="22" y="1302"/>
                  </a:lnTo>
                  <a:lnTo>
                    <a:pt x="22" y="1302"/>
                  </a:lnTo>
                  <a:lnTo>
                    <a:pt x="22" y="1302"/>
                  </a:lnTo>
                  <a:lnTo>
                    <a:pt x="27" y="1302"/>
                  </a:lnTo>
                  <a:lnTo>
                    <a:pt x="27" y="1302"/>
                  </a:lnTo>
                  <a:lnTo>
                    <a:pt x="45" y="1298"/>
                  </a:lnTo>
                  <a:lnTo>
                    <a:pt x="49" y="1298"/>
                  </a:lnTo>
                  <a:lnTo>
                    <a:pt x="49" y="1298"/>
                  </a:lnTo>
                  <a:lnTo>
                    <a:pt x="40" y="1298"/>
                  </a:lnTo>
                  <a:lnTo>
                    <a:pt x="31" y="1302"/>
                  </a:lnTo>
                  <a:lnTo>
                    <a:pt x="31" y="1302"/>
                  </a:lnTo>
                  <a:lnTo>
                    <a:pt x="36" y="1302"/>
                  </a:lnTo>
                  <a:lnTo>
                    <a:pt x="36" y="1302"/>
                  </a:lnTo>
                  <a:lnTo>
                    <a:pt x="36" y="1307"/>
                  </a:lnTo>
                  <a:lnTo>
                    <a:pt x="36" y="1307"/>
                  </a:lnTo>
                  <a:lnTo>
                    <a:pt x="36" y="1311"/>
                  </a:lnTo>
                  <a:lnTo>
                    <a:pt x="36" y="1311"/>
                  </a:lnTo>
                  <a:lnTo>
                    <a:pt x="36" y="1311"/>
                  </a:lnTo>
                  <a:lnTo>
                    <a:pt x="36" y="1311"/>
                  </a:lnTo>
                  <a:lnTo>
                    <a:pt x="31" y="1307"/>
                  </a:lnTo>
                  <a:lnTo>
                    <a:pt x="31" y="1307"/>
                  </a:lnTo>
                  <a:lnTo>
                    <a:pt x="31" y="1302"/>
                  </a:lnTo>
                  <a:lnTo>
                    <a:pt x="31" y="1302"/>
                  </a:lnTo>
                  <a:lnTo>
                    <a:pt x="31" y="1302"/>
                  </a:lnTo>
                  <a:lnTo>
                    <a:pt x="31" y="1302"/>
                  </a:lnTo>
                  <a:lnTo>
                    <a:pt x="27" y="1302"/>
                  </a:lnTo>
                  <a:lnTo>
                    <a:pt x="27" y="1302"/>
                  </a:lnTo>
                  <a:lnTo>
                    <a:pt x="27" y="1307"/>
                  </a:lnTo>
                  <a:lnTo>
                    <a:pt x="27" y="1307"/>
                  </a:lnTo>
                  <a:lnTo>
                    <a:pt x="22" y="1307"/>
                  </a:lnTo>
                  <a:lnTo>
                    <a:pt x="22" y="1307"/>
                  </a:lnTo>
                  <a:lnTo>
                    <a:pt x="22" y="1307"/>
                  </a:lnTo>
                  <a:lnTo>
                    <a:pt x="22" y="1307"/>
                  </a:lnTo>
                  <a:lnTo>
                    <a:pt x="18" y="1307"/>
                  </a:lnTo>
                  <a:lnTo>
                    <a:pt x="18" y="1307"/>
                  </a:lnTo>
                  <a:lnTo>
                    <a:pt x="18" y="1311"/>
                  </a:lnTo>
                  <a:lnTo>
                    <a:pt x="14" y="1311"/>
                  </a:lnTo>
                  <a:lnTo>
                    <a:pt x="14" y="1311"/>
                  </a:lnTo>
                  <a:lnTo>
                    <a:pt x="18" y="1311"/>
                  </a:lnTo>
                  <a:lnTo>
                    <a:pt x="18" y="1311"/>
                  </a:lnTo>
                  <a:lnTo>
                    <a:pt x="18" y="1311"/>
                  </a:lnTo>
                  <a:lnTo>
                    <a:pt x="18" y="1311"/>
                  </a:lnTo>
                  <a:lnTo>
                    <a:pt x="18" y="1311"/>
                  </a:lnTo>
                  <a:lnTo>
                    <a:pt x="18" y="1311"/>
                  </a:lnTo>
                  <a:lnTo>
                    <a:pt x="22" y="1311"/>
                  </a:lnTo>
                  <a:lnTo>
                    <a:pt x="18" y="1315"/>
                  </a:lnTo>
                  <a:lnTo>
                    <a:pt x="18" y="1315"/>
                  </a:lnTo>
                  <a:lnTo>
                    <a:pt x="18" y="1315"/>
                  </a:lnTo>
                  <a:lnTo>
                    <a:pt x="18" y="1315"/>
                  </a:lnTo>
                  <a:lnTo>
                    <a:pt x="18" y="1315"/>
                  </a:lnTo>
                  <a:lnTo>
                    <a:pt x="27" y="1315"/>
                  </a:lnTo>
                  <a:lnTo>
                    <a:pt x="27" y="1315"/>
                  </a:lnTo>
                  <a:lnTo>
                    <a:pt x="27" y="1315"/>
                  </a:lnTo>
                  <a:lnTo>
                    <a:pt x="31" y="1320"/>
                  </a:lnTo>
                  <a:lnTo>
                    <a:pt x="27" y="1320"/>
                  </a:lnTo>
                  <a:lnTo>
                    <a:pt x="27" y="1320"/>
                  </a:lnTo>
                  <a:lnTo>
                    <a:pt x="27" y="1320"/>
                  </a:lnTo>
                  <a:lnTo>
                    <a:pt x="31" y="1320"/>
                  </a:lnTo>
                  <a:lnTo>
                    <a:pt x="22" y="1320"/>
                  </a:lnTo>
                  <a:lnTo>
                    <a:pt x="22" y="1320"/>
                  </a:lnTo>
                  <a:lnTo>
                    <a:pt x="18" y="1320"/>
                  </a:lnTo>
                  <a:lnTo>
                    <a:pt x="22" y="1320"/>
                  </a:lnTo>
                  <a:lnTo>
                    <a:pt x="22" y="1324"/>
                  </a:lnTo>
                  <a:lnTo>
                    <a:pt x="27" y="1324"/>
                  </a:lnTo>
                  <a:lnTo>
                    <a:pt x="27" y="1320"/>
                  </a:lnTo>
                  <a:lnTo>
                    <a:pt x="27" y="1324"/>
                  </a:lnTo>
                  <a:lnTo>
                    <a:pt x="27" y="1324"/>
                  </a:lnTo>
                  <a:lnTo>
                    <a:pt x="31" y="1324"/>
                  </a:lnTo>
                  <a:lnTo>
                    <a:pt x="27" y="1324"/>
                  </a:lnTo>
                  <a:lnTo>
                    <a:pt x="27" y="1324"/>
                  </a:lnTo>
                  <a:lnTo>
                    <a:pt x="27" y="1324"/>
                  </a:lnTo>
                  <a:lnTo>
                    <a:pt x="27" y="1324"/>
                  </a:lnTo>
                  <a:lnTo>
                    <a:pt x="27" y="1324"/>
                  </a:lnTo>
                  <a:lnTo>
                    <a:pt x="27" y="1324"/>
                  </a:lnTo>
                  <a:lnTo>
                    <a:pt x="27" y="1329"/>
                  </a:lnTo>
                  <a:lnTo>
                    <a:pt x="27" y="1329"/>
                  </a:lnTo>
                  <a:lnTo>
                    <a:pt x="27" y="1329"/>
                  </a:lnTo>
                  <a:lnTo>
                    <a:pt x="27" y="1329"/>
                  </a:lnTo>
                  <a:lnTo>
                    <a:pt x="31" y="1329"/>
                  </a:lnTo>
                  <a:lnTo>
                    <a:pt x="31" y="1324"/>
                  </a:lnTo>
                  <a:lnTo>
                    <a:pt x="31" y="1324"/>
                  </a:lnTo>
                  <a:lnTo>
                    <a:pt x="36" y="1329"/>
                  </a:lnTo>
                  <a:lnTo>
                    <a:pt x="36" y="1329"/>
                  </a:lnTo>
                  <a:lnTo>
                    <a:pt x="40" y="1329"/>
                  </a:lnTo>
                  <a:lnTo>
                    <a:pt x="45" y="1329"/>
                  </a:lnTo>
                  <a:lnTo>
                    <a:pt x="45" y="1324"/>
                  </a:lnTo>
                  <a:lnTo>
                    <a:pt x="49" y="1324"/>
                  </a:lnTo>
                  <a:lnTo>
                    <a:pt x="53" y="1324"/>
                  </a:lnTo>
                  <a:lnTo>
                    <a:pt x="53" y="1324"/>
                  </a:lnTo>
                  <a:lnTo>
                    <a:pt x="53" y="1320"/>
                  </a:lnTo>
                  <a:lnTo>
                    <a:pt x="53" y="1320"/>
                  </a:lnTo>
                  <a:lnTo>
                    <a:pt x="58" y="1320"/>
                  </a:lnTo>
                  <a:lnTo>
                    <a:pt x="58" y="1320"/>
                  </a:lnTo>
                  <a:lnTo>
                    <a:pt x="58" y="1320"/>
                  </a:lnTo>
                  <a:lnTo>
                    <a:pt x="58" y="1320"/>
                  </a:lnTo>
                  <a:lnTo>
                    <a:pt x="58" y="1320"/>
                  </a:lnTo>
                  <a:lnTo>
                    <a:pt x="58" y="1315"/>
                  </a:lnTo>
                  <a:lnTo>
                    <a:pt x="58" y="1320"/>
                  </a:lnTo>
                  <a:lnTo>
                    <a:pt x="58" y="1320"/>
                  </a:lnTo>
                  <a:lnTo>
                    <a:pt x="58" y="1320"/>
                  </a:lnTo>
                  <a:lnTo>
                    <a:pt x="62" y="1320"/>
                  </a:lnTo>
                  <a:lnTo>
                    <a:pt x="67" y="1320"/>
                  </a:lnTo>
                  <a:lnTo>
                    <a:pt x="71" y="1315"/>
                  </a:lnTo>
                  <a:lnTo>
                    <a:pt x="71" y="1320"/>
                  </a:lnTo>
                  <a:lnTo>
                    <a:pt x="71" y="1320"/>
                  </a:lnTo>
                  <a:lnTo>
                    <a:pt x="67" y="1320"/>
                  </a:lnTo>
                  <a:lnTo>
                    <a:pt x="71" y="1324"/>
                  </a:lnTo>
                  <a:lnTo>
                    <a:pt x="76" y="1324"/>
                  </a:lnTo>
                  <a:lnTo>
                    <a:pt x="76" y="1320"/>
                  </a:lnTo>
                  <a:lnTo>
                    <a:pt x="80" y="1320"/>
                  </a:lnTo>
                  <a:lnTo>
                    <a:pt x="80" y="1324"/>
                  </a:lnTo>
                  <a:lnTo>
                    <a:pt x="84" y="1324"/>
                  </a:lnTo>
                  <a:lnTo>
                    <a:pt x="89" y="1324"/>
                  </a:lnTo>
                  <a:lnTo>
                    <a:pt x="93" y="1324"/>
                  </a:lnTo>
                  <a:lnTo>
                    <a:pt x="98" y="1324"/>
                  </a:lnTo>
                  <a:lnTo>
                    <a:pt x="98" y="1324"/>
                  </a:lnTo>
                  <a:lnTo>
                    <a:pt x="98" y="1324"/>
                  </a:lnTo>
                  <a:lnTo>
                    <a:pt x="98" y="1320"/>
                  </a:lnTo>
                  <a:lnTo>
                    <a:pt x="98" y="1320"/>
                  </a:lnTo>
                  <a:lnTo>
                    <a:pt x="98" y="1320"/>
                  </a:lnTo>
                  <a:lnTo>
                    <a:pt x="98" y="1320"/>
                  </a:lnTo>
                  <a:lnTo>
                    <a:pt x="98" y="1315"/>
                  </a:lnTo>
                  <a:lnTo>
                    <a:pt x="93" y="1315"/>
                  </a:lnTo>
                  <a:lnTo>
                    <a:pt x="93" y="1315"/>
                  </a:lnTo>
                  <a:lnTo>
                    <a:pt x="93" y="1315"/>
                  </a:lnTo>
                  <a:lnTo>
                    <a:pt x="98" y="1315"/>
                  </a:lnTo>
                  <a:lnTo>
                    <a:pt x="98" y="1315"/>
                  </a:lnTo>
                  <a:lnTo>
                    <a:pt x="98" y="1315"/>
                  </a:lnTo>
                  <a:lnTo>
                    <a:pt x="98" y="1315"/>
                  </a:lnTo>
                  <a:lnTo>
                    <a:pt x="98" y="1315"/>
                  </a:lnTo>
                  <a:lnTo>
                    <a:pt x="98" y="1311"/>
                  </a:lnTo>
                  <a:lnTo>
                    <a:pt x="98" y="1311"/>
                  </a:lnTo>
                  <a:lnTo>
                    <a:pt x="98" y="1311"/>
                  </a:lnTo>
                  <a:lnTo>
                    <a:pt x="98" y="1307"/>
                  </a:lnTo>
                  <a:lnTo>
                    <a:pt x="98" y="1307"/>
                  </a:lnTo>
                  <a:lnTo>
                    <a:pt x="98" y="1307"/>
                  </a:lnTo>
                  <a:lnTo>
                    <a:pt x="98" y="1307"/>
                  </a:lnTo>
                  <a:lnTo>
                    <a:pt x="98" y="1311"/>
                  </a:lnTo>
                  <a:lnTo>
                    <a:pt x="98" y="1311"/>
                  </a:lnTo>
                  <a:lnTo>
                    <a:pt x="102" y="1307"/>
                  </a:lnTo>
                  <a:lnTo>
                    <a:pt x="102" y="1307"/>
                  </a:lnTo>
                  <a:lnTo>
                    <a:pt x="107" y="1293"/>
                  </a:lnTo>
                  <a:lnTo>
                    <a:pt x="107" y="1293"/>
                  </a:lnTo>
                  <a:lnTo>
                    <a:pt x="107" y="1293"/>
                  </a:lnTo>
                  <a:lnTo>
                    <a:pt x="107" y="1298"/>
                  </a:lnTo>
                  <a:lnTo>
                    <a:pt x="107" y="1298"/>
                  </a:lnTo>
                  <a:lnTo>
                    <a:pt x="107" y="1298"/>
                  </a:lnTo>
                  <a:lnTo>
                    <a:pt x="107" y="1298"/>
                  </a:lnTo>
                  <a:lnTo>
                    <a:pt x="107" y="1302"/>
                  </a:lnTo>
                  <a:lnTo>
                    <a:pt x="107" y="1302"/>
                  </a:lnTo>
                  <a:lnTo>
                    <a:pt x="107" y="1302"/>
                  </a:lnTo>
                  <a:lnTo>
                    <a:pt x="107" y="1302"/>
                  </a:lnTo>
                  <a:lnTo>
                    <a:pt x="107" y="1302"/>
                  </a:lnTo>
                  <a:lnTo>
                    <a:pt x="102" y="1311"/>
                  </a:lnTo>
                  <a:lnTo>
                    <a:pt x="102" y="1311"/>
                  </a:lnTo>
                  <a:lnTo>
                    <a:pt x="102" y="1311"/>
                  </a:lnTo>
                  <a:lnTo>
                    <a:pt x="98" y="1315"/>
                  </a:lnTo>
                  <a:lnTo>
                    <a:pt x="107" y="1315"/>
                  </a:lnTo>
                  <a:lnTo>
                    <a:pt x="111" y="1320"/>
                  </a:lnTo>
                  <a:lnTo>
                    <a:pt x="115" y="1320"/>
                  </a:lnTo>
                  <a:lnTo>
                    <a:pt x="120" y="1320"/>
                  </a:lnTo>
                  <a:lnTo>
                    <a:pt x="120" y="1320"/>
                  </a:lnTo>
                  <a:lnTo>
                    <a:pt x="124" y="1320"/>
                  </a:lnTo>
                  <a:lnTo>
                    <a:pt x="120" y="1320"/>
                  </a:lnTo>
                  <a:lnTo>
                    <a:pt x="120" y="1324"/>
                  </a:lnTo>
                  <a:lnTo>
                    <a:pt x="120" y="1324"/>
                  </a:lnTo>
                  <a:lnTo>
                    <a:pt x="120" y="1324"/>
                  </a:lnTo>
                  <a:lnTo>
                    <a:pt x="120" y="1329"/>
                  </a:lnTo>
                  <a:lnTo>
                    <a:pt x="120" y="1324"/>
                  </a:lnTo>
                  <a:lnTo>
                    <a:pt x="124" y="1324"/>
                  </a:lnTo>
                  <a:lnTo>
                    <a:pt x="129" y="1324"/>
                  </a:lnTo>
                  <a:lnTo>
                    <a:pt x="129" y="1324"/>
                  </a:lnTo>
                  <a:lnTo>
                    <a:pt x="133" y="1320"/>
                  </a:lnTo>
                  <a:lnTo>
                    <a:pt x="133" y="1320"/>
                  </a:lnTo>
                  <a:lnTo>
                    <a:pt x="133" y="1320"/>
                  </a:lnTo>
                  <a:lnTo>
                    <a:pt x="133" y="1320"/>
                  </a:lnTo>
                  <a:lnTo>
                    <a:pt x="133" y="1320"/>
                  </a:lnTo>
                  <a:lnTo>
                    <a:pt x="133" y="1320"/>
                  </a:lnTo>
                  <a:lnTo>
                    <a:pt x="133" y="1320"/>
                  </a:lnTo>
                  <a:lnTo>
                    <a:pt x="133" y="1320"/>
                  </a:lnTo>
                  <a:lnTo>
                    <a:pt x="138" y="1320"/>
                  </a:lnTo>
                  <a:lnTo>
                    <a:pt x="138" y="1320"/>
                  </a:lnTo>
                  <a:lnTo>
                    <a:pt x="138" y="1320"/>
                  </a:lnTo>
                  <a:lnTo>
                    <a:pt x="138" y="1320"/>
                  </a:lnTo>
                  <a:lnTo>
                    <a:pt x="138" y="1320"/>
                  </a:lnTo>
                  <a:lnTo>
                    <a:pt x="138" y="1320"/>
                  </a:lnTo>
                  <a:lnTo>
                    <a:pt x="142" y="1320"/>
                  </a:lnTo>
                  <a:lnTo>
                    <a:pt x="142" y="1315"/>
                  </a:lnTo>
                  <a:lnTo>
                    <a:pt x="142" y="1315"/>
                  </a:lnTo>
                  <a:lnTo>
                    <a:pt x="138" y="1315"/>
                  </a:lnTo>
                  <a:lnTo>
                    <a:pt x="138" y="1311"/>
                  </a:lnTo>
                  <a:lnTo>
                    <a:pt x="138" y="1311"/>
                  </a:lnTo>
                  <a:lnTo>
                    <a:pt x="138" y="1307"/>
                  </a:lnTo>
                  <a:lnTo>
                    <a:pt x="138" y="1307"/>
                  </a:lnTo>
                  <a:lnTo>
                    <a:pt x="138" y="1307"/>
                  </a:lnTo>
                  <a:lnTo>
                    <a:pt x="138" y="1302"/>
                  </a:lnTo>
                  <a:lnTo>
                    <a:pt x="138" y="1298"/>
                  </a:lnTo>
                  <a:lnTo>
                    <a:pt x="138" y="1298"/>
                  </a:lnTo>
                  <a:lnTo>
                    <a:pt x="138" y="1298"/>
                  </a:lnTo>
                  <a:lnTo>
                    <a:pt x="138" y="1298"/>
                  </a:lnTo>
                  <a:lnTo>
                    <a:pt x="138" y="1298"/>
                  </a:lnTo>
                  <a:lnTo>
                    <a:pt x="142" y="1298"/>
                  </a:lnTo>
                  <a:lnTo>
                    <a:pt x="142" y="1298"/>
                  </a:lnTo>
                  <a:lnTo>
                    <a:pt x="151" y="1289"/>
                  </a:lnTo>
                  <a:lnTo>
                    <a:pt x="151" y="1284"/>
                  </a:lnTo>
                  <a:lnTo>
                    <a:pt x="151" y="1289"/>
                  </a:lnTo>
                  <a:lnTo>
                    <a:pt x="151" y="1289"/>
                  </a:lnTo>
                  <a:lnTo>
                    <a:pt x="151" y="1289"/>
                  </a:lnTo>
                  <a:lnTo>
                    <a:pt x="146" y="1289"/>
                  </a:lnTo>
                  <a:lnTo>
                    <a:pt x="146" y="1289"/>
                  </a:lnTo>
                  <a:lnTo>
                    <a:pt x="146" y="1293"/>
                  </a:lnTo>
                  <a:lnTo>
                    <a:pt x="146" y="1293"/>
                  </a:lnTo>
                  <a:lnTo>
                    <a:pt x="146" y="1298"/>
                  </a:lnTo>
                  <a:lnTo>
                    <a:pt x="142" y="1298"/>
                  </a:lnTo>
                  <a:lnTo>
                    <a:pt x="142" y="1298"/>
                  </a:lnTo>
                  <a:lnTo>
                    <a:pt x="142" y="1302"/>
                  </a:lnTo>
                  <a:lnTo>
                    <a:pt x="142" y="1302"/>
                  </a:lnTo>
                  <a:lnTo>
                    <a:pt x="138" y="1307"/>
                  </a:lnTo>
                  <a:lnTo>
                    <a:pt x="138" y="1307"/>
                  </a:lnTo>
                  <a:lnTo>
                    <a:pt x="138" y="1307"/>
                  </a:lnTo>
                  <a:lnTo>
                    <a:pt x="142" y="1307"/>
                  </a:lnTo>
                  <a:lnTo>
                    <a:pt x="142" y="1311"/>
                  </a:lnTo>
                  <a:lnTo>
                    <a:pt x="142" y="1311"/>
                  </a:lnTo>
                  <a:lnTo>
                    <a:pt x="142" y="1311"/>
                  </a:lnTo>
                  <a:lnTo>
                    <a:pt x="142" y="1315"/>
                  </a:lnTo>
                  <a:lnTo>
                    <a:pt x="142" y="1315"/>
                  </a:lnTo>
                  <a:lnTo>
                    <a:pt x="142" y="1315"/>
                  </a:lnTo>
                  <a:lnTo>
                    <a:pt x="142" y="1315"/>
                  </a:lnTo>
                  <a:lnTo>
                    <a:pt x="146" y="1315"/>
                  </a:lnTo>
                  <a:lnTo>
                    <a:pt x="155" y="1315"/>
                  </a:lnTo>
                  <a:lnTo>
                    <a:pt x="155" y="1315"/>
                  </a:lnTo>
                  <a:lnTo>
                    <a:pt x="160" y="1315"/>
                  </a:lnTo>
                  <a:lnTo>
                    <a:pt x="160" y="1315"/>
                  </a:lnTo>
                  <a:lnTo>
                    <a:pt x="155" y="1315"/>
                  </a:lnTo>
                  <a:lnTo>
                    <a:pt x="155" y="1315"/>
                  </a:lnTo>
                  <a:lnTo>
                    <a:pt x="146" y="1320"/>
                  </a:lnTo>
                  <a:lnTo>
                    <a:pt x="146" y="1320"/>
                  </a:lnTo>
                  <a:lnTo>
                    <a:pt x="146" y="1320"/>
                  </a:lnTo>
                  <a:lnTo>
                    <a:pt x="146" y="1320"/>
                  </a:lnTo>
                  <a:lnTo>
                    <a:pt x="142" y="1324"/>
                  </a:lnTo>
                  <a:lnTo>
                    <a:pt x="142" y="1324"/>
                  </a:lnTo>
                  <a:lnTo>
                    <a:pt x="142" y="1324"/>
                  </a:lnTo>
                  <a:lnTo>
                    <a:pt x="142" y="1324"/>
                  </a:lnTo>
                  <a:lnTo>
                    <a:pt x="142" y="1329"/>
                  </a:lnTo>
                  <a:lnTo>
                    <a:pt x="146" y="1329"/>
                  </a:lnTo>
                  <a:lnTo>
                    <a:pt x="146" y="1329"/>
                  </a:lnTo>
                  <a:lnTo>
                    <a:pt x="146" y="1329"/>
                  </a:lnTo>
                  <a:lnTo>
                    <a:pt x="142" y="1329"/>
                  </a:lnTo>
                  <a:lnTo>
                    <a:pt x="142" y="1329"/>
                  </a:lnTo>
                  <a:lnTo>
                    <a:pt x="138" y="1324"/>
                  </a:lnTo>
                  <a:lnTo>
                    <a:pt x="138" y="1324"/>
                  </a:lnTo>
                  <a:lnTo>
                    <a:pt x="133" y="1324"/>
                  </a:lnTo>
                  <a:lnTo>
                    <a:pt x="133" y="1324"/>
                  </a:lnTo>
                  <a:lnTo>
                    <a:pt x="133" y="1324"/>
                  </a:lnTo>
                  <a:lnTo>
                    <a:pt x="133" y="1329"/>
                  </a:lnTo>
                  <a:lnTo>
                    <a:pt x="124" y="1329"/>
                  </a:lnTo>
                  <a:lnTo>
                    <a:pt x="124" y="1329"/>
                  </a:lnTo>
                  <a:lnTo>
                    <a:pt x="124" y="1329"/>
                  </a:lnTo>
                  <a:lnTo>
                    <a:pt x="124" y="1329"/>
                  </a:lnTo>
                  <a:lnTo>
                    <a:pt x="124" y="1329"/>
                  </a:lnTo>
                  <a:lnTo>
                    <a:pt x="124" y="1333"/>
                  </a:lnTo>
                  <a:lnTo>
                    <a:pt x="124" y="1333"/>
                  </a:lnTo>
                  <a:lnTo>
                    <a:pt x="124" y="1333"/>
                  </a:lnTo>
                  <a:lnTo>
                    <a:pt x="124" y="1338"/>
                  </a:lnTo>
                  <a:lnTo>
                    <a:pt x="129" y="1342"/>
                  </a:lnTo>
                  <a:lnTo>
                    <a:pt x="129" y="1342"/>
                  </a:lnTo>
                  <a:lnTo>
                    <a:pt x="129" y="1342"/>
                  </a:lnTo>
                  <a:lnTo>
                    <a:pt x="133" y="1342"/>
                  </a:lnTo>
                  <a:lnTo>
                    <a:pt x="133" y="1342"/>
                  </a:lnTo>
                  <a:lnTo>
                    <a:pt x="133" y="1346"/>
                  </a:lnTo>
                  <a:lnTo>
                    <a:pt x="133" y="1351"/>
                  </a:lnTo>
                  <a:lnTo>
                    <a:pt x="129" y="1351"/>
                  </a:lnTo>
                  <a:lnTo>
                    <a:pt x="129" y="1355"/>
                  </a:lnTo>
                  <a:lnTo>
                    <a:pt x="129" y="1346"/>
                  </a:lnTo>
                  <a:lnTo>
                    <a:pt x="129" y="1346"/>
                  </a:lnTo>
                  <a:lnTo>
                    <a:pt x="129" y="1346"/>
                  </a:lnTo>
                  <a:lnTo>
                    <a:pt x="124" y="1342"/>
                  </a:lnTo>
                  <a:lnTo>
                    <a:pt x="124" y="1342"/>
                  </a:lnTo>
                  <a:lnTo>
                    <a:pt x="120" y="1342"/>
                  </a:lnTo>
                  <a:lnTo>
                    <a:pt x="115" y="1346"/>
                  </a:lnTo>
                  <a:lnTo>
                    <a:pt x="120" y="1342"/>
                  </a:lnTo>
                  <a:lnTo>
                    <a:pt x="120" y="1342"/>
                  </a:lnTo>
                  <a:lnTo>
                    <a:pt x="124" y="1342"/>
                  </a:lnTo>
                  <a:lnTo>
                    <a:pt x="124" y="1338"/>
                  </a:lnTo>
                  <a:lnTo>
                    <a:pt x="124" y="1338"/>
                  </a:lnTo>
                  <a:lnTo>
                    <a:pt x="124" y="1338"/>
                  </a:lnTo>
                  <a:lnTo>
                    <a:pt x="124" y="1338"/>
                  </a:lnTo>
                  <a:lnTo>
                    <a:pt x="120" y="1333"/>
                  </a:lnTo>
                  <a:lnTo>
                    <a:pt x="120" y="1329"/>
                  </a:lnTo>
                  <a:lnTo>
                    <a:pt x="120" y="1329"/>
                  </a:lnTo>
                  <a:lnTo>
                    <a:pt x="120" y="1329"/>
                  </a:lnTo>
                  <a:lnTo>
                    <a:pt x="115" y="1329"/>
                  </a:lnTo>
                  <a:lnTo>
                    <a:pt x="115" y="1329"/>
                  </a:lnTo>
                  <a:lnTo>
                    <a:pt x="115" y="1329"/>
                  </a:lnTo>
                  <a:lnTo>
                    <a:pt x="115" y="1329"/>
                  </a:lnTo>
                  <a:lnTo>
                    <a:pt x="115" y="1324"/>
                  </a:lnTo>
                  <a:lnTo>
                    <a:pt x="115" y="1324"/>
                  </a:lnTo>
                  <a:lnTo>
                    <a:pt x="115" y="1324"/>
                  </a:lnTo>
                  <a:lnTo>
                    <a:pt x="115" y="1324"/>
                  </a:lnTo>
                  <a:lnTo>
                    <a:pt x="111" y="1324"/>
                  </a:lnTo>
                  <a:lnTo>
                    <a:pt x="102" y="1320"/>
                  </a:lnTo>
                  <a:lnTo>
                    <a:pt x="102" y="1320"/>
                  </a:lnTo>
                  <a:lnTo>
                    <a:pt x="102" y="1320"/>
                  </a:lnTo>
                  <a:lnTo>
                    <a:pt x="102" y="1320"/>
                  </a:lnTo>
                  <a:lnTo>
                    <a:pt x="102" y="1320"/>
                  </a:lnTo>
                  <a:lnTo>
                    <a:pt x="102" y="1324"/>
                  </a:lnTo>
                  <a:lnTo>
                    <a:pt x="102" y="1324"/>
                  </a:lnTo>
                  <a:lnTo>
                    <a:pt x="98" y="1329"/>
                  </a:lnTo>
                  <a:lnTo>
                    <a:pt x="98" y="1329"/>
                  </a:lnTo>
                  <a:lnTo>
                    <a:pt x="93" y="1329"/>
                  </a:lnTo>
                  <a:lnTo>
                    <a:pt x="93" y="1329"/>
                  </a:lnTo>
                  <a:lnTo>
                    <a:pt x="93" y="1333"/>
                  </a:lnTo>
                  <a:lnTo>
                    <a:pt x="89" y="1333"/>
                  </a:lnTo>
                  <a:lnTo>
                    <a:pt x="89" y="1333"/>
                  </a:lnTo>
                  <a:lnTo>
                    <a:pt x="89" y="1338"/>
                  </a:lnTo>
                  <a:lnTo>
                    <a:pt x="89" y="1338"/>
                  </a:lnTo>
                  <a:lnTo>
                    <a:pt x="89" y="1338"/>
                  </a:lnTo>
                  <a:lnTo>
                    <a:pt x="89" y="1338"/>
                  </a:lnTo>
                  <a:lnTo>
                    <a:pt x="89" y="1338"/>
                  </a:lnTo>
                  <a:lnTo>
                    <a:pt x="89" y="1333"/>
                  </a:lnTo>
                  <a:lnTo>
                    <a:pt x="89" y="1333"/>
                  </a:lnTo>
                  <a:lnTo>
                    <a:pt x="89" y="1333"/>
                  </a:lnTo>
                  <a:lnTo>
                    <a:pt x="89" y="1333"/>
                  </a:lnTo>
                  <a:lnTo>
                    <a:pt x="89" y="1333"/>
                  </a:lnTo>
                  <a:lnTo>
                    <a:pt x="84" y="1333"/>
                  </a:lnTo>
                  <a:lnTo>
                    <a:pt x="84" y="1333"/>
                  </a:lnTo>
                  <a:lnTo>
                    <a:pt x="84" y="1333"/>
                  </a:lnTo>
                  <a:lnTo>
                    <a:pt x="84" y="1333"/>
                  </a:lnTo>
                  <a:lnTo>
                    <a:pt x="84" y="1333"/>
                  </a:lnTo>
                  <a:lnTo>
                    <a:pt x="84" y="1333"/>
                  </a:lnTo>
                  <a:lnTo>
                    <a:pt x="84" y="1329"/>
                  </a:lnTo>
                  <a:lnTo>
                    <a:pt x="84" y="1329"/>
                  </a:lnTo>
                  <a:lnTo>
                    <a:pt x="84" y="1329"/>
                  </a:lnTo>
                  <a:lnTo>
                    <a:pt x="80" y="1329"/>
                  </a:lnTo>
                  <a:lnTo>
                    <a:pt x="76" y="1324"/>
                  </a:lnTo>
                  <a:lnTo>
                    <a:pt x="76" y="1324"/>
                  </a:lnTo>
                  <a:lnTo>
                    <a:pt x="71" y="1324"/>
                  </a:lnTo>
                  <a:lnTo>
                    <a:pt x="71" y="1324"/>
                  </a:lnTo>
                  <a:lnTo>
                    <a:pt x="67" y="1324"/>
                  </a:lnTo>
                  <a:lnTo>
                    <a:pt x="62" y="1324"/>
                  </a:lnTo>
                  <a:lnTo>
                    <a:pt x="62" y="1324"/>
                  </a:lnTo>
                  <a:lnTo>
                    <a:pt x="62" y="1329"/>
                  </a:lnTo>
                  <a:lnTo>
                    <a:pt x="62" y="1329"/>
                  </a:lnTo>
                  <a:lnTo>
                    <a:pt x="62" y="1329"/>
                  </a:lnTo>
                  <a:lnTo>
                    <a:pt x="62" y="1329"/>
                  </a:lnTo>
                  <a:lnTo>
                    <a:pt x="62" y="1329"/>
                  </a:lnTo>
                  <a:lnTo>
                    <a:pt x="58" y="1329"/>
                  </a:lnTo>
                  <a:lnTo>
                    <a:pt x="58" y="1333"/>
                  </a:lnTo>
                  <a:lnTo>
                    <a:pt x="58" y="1333"/>
                  </a:lnTo>
                  <a:lnTo>
                    <a:pt x="58" y="1329"/>
                  </a:lnTo>
                  <a:lnTo>
                    <a:pt x="58" y="1329"/>
                  </a:lnTo>
                  <a:lnTo>
                    <a:pt x="58" y="1324"/>
                  </a:lnTo>
                  <a:lnTo>
                    <a:pt x="58" y="1329"/>
                  </a:lnTo>
                  <a:lnTo>
                    <a:pt x="53" y="1329"/>
                  </a:lnTo>
                  <a:lnTo>
                    <a:pt x="53" y="1329"/>
                  </a:lnTo>
                  <a:lnTo>
                    <a:pt x="53" y="1329"/>
                  </a:lnTo>
                  <a:lnTo>
                    <a:pt x="49" y="1329"/>
                  </a:lnTo>
                  <a:lnTo>
                    <a:pt x="49" y="1329"/>
                  </a:lnTo>
                  <a:lnTo>
                    <a:pt x="49" y="1329"/>
                  </a:lnTo>
                  <a:lnTo>
                    <a:pt x="49" y="1329"/>
                  </a:lnTo>
                  <a:lnTo>
                    <a:pt x="49" y="1333"/>
                  </a:lnTo>
                  <a:lnTo>
                    <a:pt x="49" y="1333"/>
                  </a:lnTo>
                  <a:lnTo>
                    <a:pt x="49" y="1333"/>
                  </a:lnTo>
                  <a:lnTo>
                    <a:pt x="49" y="1333"/>
                  </a:lnTo>
                  <a:lnTo>
                    <a:pt x="45" y="1329"/>
                  </a:lnTo>
                  <a:lnTo>
                    <a:pt x="45" y="1333"/>
                  </a:lnTo>
                  <a:lnTo>
                    <a:pt x="45" y="1333"/>
                  </a:lnTo>
                  <a:lnTo>
                    <a:pt x="40" y="1333"/>
                  </a:lnTo>
                  <a:lnTo>
                    <a:pt x="40" y="1333"/>
                  </a:lnTo>
                  <a:lnTo>
                    <a:pt x="40" y="1338"/>
                  </a:lnTo>
                  <a:lnTo>
                    <a:pt x="40" y="1338"/>
                  </a:lnTo>
                  <a:lnTo>
                    <a:pt x="40" y="1338"/>
                  </a:lnTo>
                  <a:lnTo>
                    <a:pt x="40" y="1338"/>
                  </a:lnTo>
                  <a:lnTo>
                    <a:pt x="40" y="1338"/>
                  </a:lnTo>
                  <a:lnTo>
                    <a:pt x="40" y="1338"/>
                  </a:lnTo>
                  <a:lnTo>
                    <a:pt x="40" y="1338"/>
                  </a:lnTo>
                  <a:lnTo>
                    <a:pt x="40" y="1338"/>
                  </a:lnTo>
                  <a:lnTo>
                    <a:pt x="40" y="1338"/>
                  </a:lnTo>
                  <a:lnTo>
                    <a:pt x="36" y="1338"/>
                  </a:lnTo>
                  <a:lnTo>
                    <a:pt x="36" y="1338"/>
                  </a:lnTo>
                  <a:lnTo>
                    <a:pt x="31" y="1333"/>
                  </a:lnTo>
                  <a:lnTo>
                    <a:pt x="27" y="1333"/>
                  </a:lnTo>
                  <a:lnTo>
                    <a:pt x="22" y="1329"/>
                  </a:lnTo>
                  <a:lnTo>
                    <a:pt x="22" y="1329"/>
                  </a:lnTo>
                  <a:lnTo>
                    <a:pt x="18" y="1333"/>
                  </a:lnTo>
                  <a:lnTo>
                    <a:pt x="18" y="1333"/>
                  </a:lnTo>
                  <a:lnTo>
                    <a:pt x="18" y="1338"/>
                  </a:lnTo>
                  <a:lnTo>
                    <a:pt x="18" y="1338"/>
                  </a:lnTo>
                  <a:lnTo>
                    <a:pt x="18" y="1342"/>
                  </a:lnTo>
                  <a:lnTo>
                    <a:pt x="18" y="1342"/>
                  </a:lnTo>
                  <a:lnTo>
                    <a:pt x="22" y="1342"/>
                  </a:lnTo>
                  <a:lnTo>
                    <a:pt x="22" y="1342"/>
                  </a:lnTo>
                  <a:lnTo>
                    <a:pt x="22" y="1342"/>
                  </a:lnTo>
                  <a:lnTo>
                    <a:pt x="22" y="1342"/>
                  </a:lnTo>
                  <a:lnTo>
                    <a:pt x="22" y="1342"/>
                  </a:lnTo>
                  <a:lnTo>
                    <a:pt x="22" y="1342"/>
                  </a:lnTo>
                  <a:lnTo>
                    <a:pt x="27" y="1338"/>
                  </a:lnTo>
                  <a:lnTo>
                    <a:pt x="27" y="1342"/>
                  </a:lnTo>
                  <a:lnTo>
                    <a:pt x="22" y="1342"/>
                  </a:lnTo>
                  <a:lnTo>
                    <a:pt x="22" y="1342"/>
                  </a:lnTo>
                  <a:lnTo>
                    <a:pt x="22" y="1342"/>
                  </a:lnTo>
                  <a:lnTo>
                    <a:pt x="22" y="1346"/>
                  </a:lnTo>
                  <a:lnTo>
                    <a:pt x="22" y="1351"/>
                  </a:lnTo>
                  <a:lnTo>
                    <a:pt x="22" y="1351"/>
                  </a:lnTo>
                  <a:lnTo>
                    <a:pt x="22" y="1351"/>
                  </a:lnTo>
                  <a:lnTo>
                    <a:pt x="22" y="1351"/>
                  </a:lnTo>
                  <a:lnTo>
                    <a:pt x="22" y="1351"/>
                  </a:lnTo>
                  <a:lnTo>
                    <a:pt x="22" y="1346"/>
                  </a:lnTo>
                  <a:lnTo>
                    <a:pt x="22" y="1346"/>
                  </a:lnTo>
                  <a:lnTo>
                    <a:pt x="22" y="1342"/>
                  </a:lnTo>
                  <a:lnTo>
                    <a:pt x="18" y="1342"/>
                  </a:lnTo>
                  <a:lnTo>
                    <a:pt x="18" y="1342"/>
                  </a:lnTo>
                  <a:lnTo>
                    <a:pt x="18" y="1342"/>
                  </a:lnTo>
                  <a:lnTo>
                    <a:pt x="18" y="1342"/>
                  </a:lnTo>
                  <a:lnTo>
                    <a:pt x="18" y="1346"/>
                  </a:lnTo>
                  <a:lnTo>
                    <a:pt x="18" y="1346"/>
                  </a:lnTo>
                  <a:lnTo>
                    <a:pt x="18" y="1346"/>
                  </a:lnTo>
                  <a:lnTo>
                    <a:pt x="18" y="1346"/>
                  </a:lnTo>
                  <a:lnTo>
                    <a:pt x="18" y="1351"/>
                  </a:lnTo>
                  <a:lnTo>
                    <a:pt x="18" y="1351"/>
                  </a:lnTo>
                  <a:lnTo>
                    <a:pt x="18" y="1351"/>
                  </a:lnTo>
                  <a:lnTo>
                    <a:pt x="18" y="1351"/>
                  </a:lnTo>
                  <a:lnTo>
                    <a:pt x="18" y="1355"/>
                  </a:lnTo>
                  <a:lnTo>
                    <a:pt x="18" y="1355"/>
                  </a:lnTo>
                  <a:lnTo>
                    <a:pt x="22" y="1355"/>
                  </a:lnTo>
                  <a:lnTo>
                    <a:pt x="22" y="1355"/>
                  </a:lnTo>
                  <a:lnTo>
                    <a:pt x="22" y="1355"/>
                  </a:lnTo>
                  <a:lnTo>
                    <a:pt x="22" y="1360"/>
                  </a:lnTo>
                  <a:lnTo>
                    <a:pt x="22" y="1360"/>
                  </a:lnTo>
                  <a:lnTo>
                    <a:pt x="27" y="1360"/>
                  </a:lnTo>
                  <a:lnTo>
                    <a:pt x="27" y="1355"/>
                  </a:lnTo>
                  <a:lnTo>
                    <a:pt x="27" y="1355"/>
                  </a:lnTo>
                  <a:lnTo>
                    <a:pt x="27" y="1360"/>
                  </a:lnTo>
                  <a:lnTo>
                    <a:pt x="31" y="1360"/>
                  </a:lnTo>
                  <a:lnTo>
                    <a:pt x="31" y="1360"/>
                  </a:lnTo>
                  <a:lnTo>
                    <a:pt x="36" y="1355"/>
                  </a:lnTo>
                  <a:lnTo>
                    <a:pt x="36" y="1355"/>
                  </a:lnTo>
                  <a:lnTo>
                    <a:pt x="36" y="1351"/>
                  </a:lnTo>
                  <a:lnTo>
                    <a:pt x="40" y="1351"/>
                  </a:lnTo>
                  <a:lnTo>
                    <a:pt x="40" y="1351"/>
                  </a:lnTo>
                  <a:lnTo>
                    <a:pt x="45" y="1346"/>
                  </a:lnTo>
                  <a:lnTo>
                    <a:pt x="40" y="1351"/>
                  </a:lnTo>
                  <a:lnTo>
                    <a:pt x="45" y="1351"/>
                  </a:lnTo>
                  <a:lnTo>
                    <a:pt x="45" y="1351"/>
                  </a:lnTo>
                  <a:lnTo>
                    <a:pt x="45" y="1351"/>
                  </a:lnTo>
                  <a:lnTo>
                    <a:pt x="45" y="1355"/>
                  </a:lnTo>
                  <a:lnTo>
                    <a:pt x="45" y="1355"/>
                  </a:lnTo>
                  <a:lnTo>
                    <a:pt x="45" y="1355"/>
                  </a:lnTo>
                  <a:lnTo>
                    <a:pt x="40" y="1355"/>
                  </a:lnTo>
                  <a:lnTo>
                    <a:pt x="40" y="1355"/>
                  </a:lnTo>
                  <a:lnTo>
                    <a:pt x="40" y="1351"/>
                  </a:lnTo>
                  <a:lnTo>
                    <a:pt x="36" y="1355"/>
                  </a:lnTo>
                  <a:lnTo>
                    <a:pt x="36" y="1355"/>
                  </a:lnTo>
                  <a:lnTo>
                    <a:pt x="36" y="1360"/>
                  </a:lnTo>
                  <a:lnTo>
                    <a:pt x="36" y="1360"/>
                  </a:lnTo>
                  <a:lnTo>
                    <a:pt x="31" y="1360"/>
                  </a:lnTo>
                  <a:lnTo>
                    <a:pt x="31" y="1360"/>
                  </a:lnTo>
                  <a:lnTo>
                    <a:pt x="31" y="1364"/>
                  </a:lnTo>
                  <a:lnTo>
                    <a:pt x="31" y="1364"/>
                  </a:lnTo>
                  <a:lnTo>
                    <a:pt x="31" y="1364"/>
                  </a:lnTo>
                  <a:lnTo>
                    <a:pt x="31" y="1364"/>
                  </a:lnTo>
                  <a:lnTo>
                    <a:pt x="31" y="1364"/>
                  </a:lnTo>
                  <a:lnTo>
                    <a:pt x="31" y="1364"/>
                  </a:lnTo>
                  <a:lnTo>
                    <a:pt x="36" y="1369"/>
                  </a:lnTo>
                  <a:lnTo>
                    <a:pt x="36" y="1369"/>
                  </a:lnTo>
                  <a:lnTo>
                    <a:pt x="36" y="1369"/>
                  </a:lnTo>
                  <a:lnTo>
                    <a:pt x="36" y="1369"/>
                  </a:lnTo>
                  <a:lnTo>
                    <a:pt x="36" y="1369"/>
                  </a:lnTo>
                  <a:lnTo>
                    <a:pt x="36" y="1369"/>
                  </a:lnTo>
                  <a:lnTo>
                    <a:pt x="36" y="1369"/>
                  </a:lnTo>
                  <a:lnTo>
                    <a:pt x="40" y="1373"/>
                  </a:lnTo>
                  <a:lnTo>
                    <a:pt x="40" y="1373"/>
                  </a:lnTo>
                  <a:lnTo>
                    <a:pt x="40" y="1373"/>
                  </a:lnTo>
                  <a:lnTo>
                    <a:pt x="40" y="1373"/>
                  </a:lnTo>
                  <a:lnTo>
                    <a:pt x="40" y="1377"/>
                  </a:lnTo>
                  <a:lnTo>
                    <a:pt x="40" y="1377"/>
                  </a:lnTo>
                  <a:lnTo>
                    <a:pt x="40" y="1373"/>
                  </a:lnTo>
                  <a:lnTo>
                    <a:pt x="36" y="1373"/>
                  </a:lnTo>
                  <a:lnTo>
                    <a:pt x="36" y="1373"/>
                  </a:lnTo>
                  <a:lnTo>
                    <a:pt x="40" y="1377"/>
                  </a:lnTo>
                  <a:lnTo>
                    <a:pt x="40" y="1377"/>
                  </a:lnTo>
                  <a:lnTo>
                    <a:pt x="40" y="1377"/>
                  </a:lnTo>
                  <a:lnTo>
                    <a:pt x="40" y="1377"/>
                  </a:lnTo>
                  <a:lnTo>
                    <a:pt x="36" y="1377"/>
                  </a:lnTo>
                  <a:lnTo>
                    <a:pt x="36" y="1377"/>
                  </a:lnTo>
                  <a:lnTo>
                    <a:pt x="36" y="1377"/>
                  </a:lnTo>
                  <a:lnTo>
                    <a:pt x="36" y="1377"/>
                  </a:lnTo>
                  <a:lnTo>
                    <a:pt x="36" y="1377"/>
                  </a:lnTo>
                  <a:lnTo>
                    <a:pt x="36" y="1377"/>
                  </a:lnTo>
                  <a:lnTo>
                    <a:pt x="36" y="1377"/>
                  </a:lnTo>
                  <a:lnTo>
                    <a:pt x="36" y="1377"/>
                  </a:lnTo>
                  <a:lnTo>
                    <a:pt x="36" y="1373"/>
                  </a:lnTo>
                  <a:lnTo>
                    <a:pt x="31" y="1373"/>
                  </a:lnTo>
                  <a:lnTo>
                    <a:pt x="31" y="1369"/>
                  </a:lnTo>
                  <a:lnTo>
                    <a:pt x="31" y="1369"/>
                  </a:lnTo>
                  <a:lnTo>
                    <a:pt x="27" y="1369"/>
                  </a:lnTo>
                  <a:lnTo>
                    <a:pt x="27" y="1364"/>
                  </a:lnTo>
                  <a:lnTo>
                    <a:pt x="22" y="1364"/>
                  </a:lnTo>
                  <a:lnTo>
                    <a:pt x="22" y="1364"/>
                  </a:lnTo>
                  <a:lnTo>
                    <a:pt x="18" y="1360"/>
                  </a:lnTo>
                  <a:lnTo>
                    <a:pt x="18" y="1360"/>
                  </a:lnTo>
                  <a:lnTo>
                    <a:pt x="14" y="1360"/>
                  </a:lnTo>
                  <a:lnTo>
                    <a:pt x="14" y="1360"/>
                  </a:lnTo>
                  <a:lnTo>
                    <a:pt x="14" y="1360"/>
                  </a:lnTo>
                  <a:lnTo>
                    <a:pt x="18" y="1364"/>
                  </a:lnTo>
                  <a:lnTo>
                    <a:pt x="18" y="1369"/>
                  </a:lnTo>
                  <a:lnTo>
                    <a:pt x="22" y="1369"/>
                  </a:lnTo>
                  <a:lnTo>
                    <a:pt x="22" y="1369"/>
                  </a:lnTo>
                  <a:lnTo>
                    <a:pt x="22" y="1369"/>
                  </a:lnTo>
                  <a:lnTo>
                    <a:pt x="27" y="1373"/>
                  </a:lnTo>
                  <a:lnTo>
                    <a:pt x="22" y="1369"/>
                  </a:lnTo>
                  <a:lnTo>
                    <a:pt x="22" y="1369"/>
                  </a:lnTo>
                  <a:lnTo>
                    <a:pt x="27" y="1373"/>
                  </a:lnTo>
                  <a:lnTo>
                    <a:pt x="31" y="1382"/>
                  </a:lnTo>
                  <a:lnTo>
                    <a:pt x="31" y="1382"/>
                  </a:lnTo>
                  <a:lnTo>
                    <a:pt x="27" y="1377"/>
                  </a:lnTo>
                  <a:lnTo>
                    <a:pt x="22" y="1377"/>
                  </a:lnTo>
                  <a:lnTo>
                    <a:pt x="22" y="1377"/>
                  </a:lnTo>
                  <a:lnTo>
                    <a:pt x="22" y="1377"/>
                  </a:lnTo>
                  <a:lnTo>
                    <a:pt x="27" y="1382"/>
                  </a:lnTo>
                  <a:lnTo>
                    <a:pt x="27" y="1382"/>
                  </a:lnTo>
                  <a:lnTo>
                    <a:pt x="31" y="1386"/>
                  </a:lnTo>
                  <a:lnTo>
                    <a:pt x="31" y="1386"/>
                  </a:lnTo>
                  <a:lnTo>
                    <a:pt x="31" y="1386"/>
                  </a:lnTo>
                  <a:lnTo>
                    <a:pt x="31" y="1386"/>
                  </a:lnTo>
                  <a:lnTo>
                    <a:pt x="36" y="1386"/>
                  </a:lnTo>
                  <a:lnTo>
                    <a:pt x="40" y="1382"/>
                  </a:lnTo>
                  <a:lnTo>
                    <a:pt x="45" y="1377"/>
                  </a:lnTo>
                  <a:lnTo>
                    <a:pt x="45" y="1377"/>
                  </a:lnTo>
                  <a:lnTo>
                    <a:pt x="45" y="1377"/>
                  </a:lnTo>
                  <a:lnTo>
                    <a:pt x="45" y="1373"/>
                  </a:lnTo>
                  <a:lnTo>
                    <a:pt x="45" y="1373"/>
                  </a:lnTo>
                  <a:lnTo>
                    <a:pt x="49" y="1373"/>
                  </a:lnTo>
                  <a:lnTo>
                    <a:pt x="49" y="1373"/>
                  </a:lnTo>
                  <a:lnTo>
                    <a:pt x="49" y="1373"/>
                  </a:lnTo>
                  <a:lnTo>
                    <a:pt x="49" y="1369"/>
                  </a:lnTo>
                  <a:lnTo>
                    <a:pt x="49" y="1369"/>
                  </a:lnTo>
                  <a:lnTo>
                    <a:pt x="53" y="1369"/>
                  </a:lnTo>
                  <a:lnTo>
                    <a:pt x="53" y="1369"/>
                  </a:lnTo>
                  <a:lnTo>
                    <a:pt x="53" y="1364"/>
                  </a:lnTo>
                  <a:lnTo>
                    <a:pt x="53" y="1364"/>
                  </a:lnTo>
                  <a:lnTo>
                    <a:pt x="53" y="1369"/>
                  </a:lnTo>
                  <a:lnTo>
                    <a:pt x="53" y="1369"/>
                  </a:lnTo>
                  <a:lnTo>
                    <a:pt x="53" y="1369"/>
                  </a:lnTo>
                  <a:lnTo>
                    <a:pt x="53" y="1373"/>
                  </a:lnTo>
                  <a:lnTo>
                    <a:pt x="53" y="1373"/>
                  </a:lnTo>
                  <a:lnTo>
                    <a:pt x="58" y="1369"/>
                  </a:lnTo>
                  <a:lnTo>
                    <a:pt x="58" y="1369"/>
                  </a:lnTo>
                  <a:lnTo>
                    <a:pt x="58" y="1369"/>
                  </a:lnTo>
                  <a:lnTo>
                    <a:pt x="58" y="1373"/>
                  </a:lnTo>
                  <a:lnTo>
                    <a:pt x="53" y="1373"/>
                  </a:lnTo>
                  <a:lnTo>
                    <a:pt x="58" y="1377"/>
                  </a:lnTo>
                  <a:lnTo>
                    <a:pt x="53" y="1377"/>
                  </a:lnTo>
                  <a:lnTo>
                    <a:pt x="53" y="1382"/>
                  </a:lnTo>
                  <a:lnTo>
                    <a:pt x="53" y="1386"/>
                  </a:lnTo>
                  <a:lnTo>
                    <a:pt x="53" y="1391"/>
                  </a:lnTo>
                  <a:lnTo>
                    <a:pt x="53" y="1391"/>
                  </a:lnTo>
                  <a:lnTo>
                    <a:pt x="53" y="1395"/>
                  </a:lnTo>
                  <a:lnTo>
                    <a:pt x="53" y="1395"/>
                  </a:lnTo>
                  <a:lnTo>
                    <a:pt x="53" y="1395"/>
                  </a:lnTo>
                  <a:lnTo>
                    <a:pt x="53" y="1400"/>
                  </a:lnTo>
                  <a:lnTo>
                    <a:pt x="53" y="1400"/>
                  </a:lnTo>
                  <a:lnTo>
                    <a:pt x="53" y="1400"/>
                  </a:lnTo>
                  <a:lnTo>
                    <a:pt x="49" y="1400"/>
                  </a:lnTo>
                  <a:lnTo>
                    <a:pt x="49" y="1404"/>
                  </a:lnTo>
                  <a:lnTo>
                    <a:pt x="45" y="1400"/>
                  </a:lnTo>
                  <a:lnTo>
                    <a:pt x="45" y="1400"/>
                  </a:lnTo>
                  <a:lnTo>
                    <a:pt x="40" y="1400"/>
                  </a:lnTo>
                  <a:lnTo>
                    <a:pt x="40" y="1395"/>
                  </a:lnTo>
                  <a:lnTo>
                    <a:pt x="36" y="1395"/>
                  </a:lnTo>
                  <a:lnTo>
                    <a:pt x="36" y="1395"/>
                  </a:lnTo>
                  <a:lnTo>
                    <a:pt x="36" y="1391"/>
                  </a:lnTo>
                  <a:lnTo>
                    <a:pt x="36" y="1391"/>
                  </a:lnTo>
                  <a:lnTo>
                    <a:pt x="31" y="1391"/>
                  </a:lnTo>
                  <a:lnTo>
                    <a:pt x="31" y="1395"/>
                  </a:lnTo>
                  <a:lnTo>
                    <a:pt x="31" y="1395"/>
                  </a:lnTo>
                  <a:lnTo>
                    <a:pt x="31" y="1400"/>
                  </a:lnTo>
                  <a:lnTo>
                    <a:pt x="31" y="1400"/>
                  </a:lnTo>
                  <a:lnTo>
                    <a:pt x="31" y="1400"/>
                  </a:lnTo>
                  <a:lnTo>
                    <a:pt x="31" y="1404"/>
                  </a:lnTo>
                  <a:lnTo>
                    <a:pt x="31" y="1404"/>
                  </a:lnTo>
                  <a:lnTo>
                    <a:pt x="31" y="1404"/>
                  </a:lnTo>
                  <a:lnTo>
                    <a:pt x="27" y="1404"/>
                  </a:lnTo>
                  <a:lnTo>
                    <a:pt x="27" y="1408"/>
                  </a:lnTo>
                  <a:lnTo>
                    <a:pt x="27" y="1408"/>
                  </a:lnTo>
                  <a:lnTo>
                    <a:pt x="27" y="1408"/>
                  </a:lnTo>
                  <a:lnTo>
                    <a:pt x="27" y="1408"/>
                  </a:lnTo>
                  <a:lnTo>
                    <a:pt x="27" y="1408"/>
                  </a:lnTo>
                  <a:lnTo>
                    <a:pt x="27" y="1408"/>
                  </a:lnTo>
                  <a:lnTo>
                    <a:pt x="31" y="1413"/>
                  </a:lnTo>
                  <a:lnTo>
                    <a:pt x="27" y="1413"/>
                  </a:lnTo>
                  <a:lnTo>
                    <a:pt x="27" y="1413"/>
                  </a:lnTo>
                  <a:lnTo>
                    <a:pt x="27" y="1413"/>
                  </a:lnTo>
                  <a:lnTo>
                    <a:pt x="27" y="1413"/>
                  </a:lnTo>
                  <a:lnTo>
                    <a:pt x="27" y="1413"/>
                  </a:lnTo>
                  <a:lnTo>
                    <a:pt x="27" y="1417"/>
                  </a:lnTo>
                  <a:lnTo>
                    <a:pt x="27" y="1417"/>
                  </a:lnTo>
                  <a:lnTo>
                    <a:pt x="31" y="1417"/>
                  </a:lnTo>
                  <a:lnTo>
                    <a:pt x="36" y="1417"/>
                  </a:lnTo>
                  <a:lnTo>
                    <a:pt x="31" y="1417"/>
                  </a:lnTo>
                  <a:lnTo>
                    <a:pt x="31" y="1422"/>
                  </a:lnTo>
                  <a:lnTo>
                    <a:pt x="31" y="1422"/>
                  </a:lnTo>
                  <a:lnTo>
                    <a:pt x="36" y="1422"/>
                  </a:lnTo>
                  <a:lnTo>
                    <a:pt x="36" y="1422"/>
                  </a:lnTo>
                  <a:lnTo>
                    <a:pt x="36" y="1422"/>
                  </a:lnTo>
                  <a:lnTo>
                    <a:pt x="36" y="1426"/>
                  </a:lnTo>
                  <a:lnTo>
                    <a:pt x="36" y="1426"/>
                  </a:lnTo>
                  <a:lnTo>
                    <a:pt x="31" y="1426"/>
                  </a:lnTo>
                  <a:lnTo>
                    <a:pt x="36" y="1426"/>
                  </a:lnTo>
                  <a:lnTo>
                    <a:pt x="36" y="1426"/>
                  </a:lnTo>
                  <a:lnTo>
                    <a:pt x="36" y="1430"/>
                  </a:lnTo>
                  <a:lnTo>
                    <a:pt x="36" y="1430"/>
                  </a:lnTo>
                  <a:lnTo>
                    <a:pt x="36" y="1430"/>
                  </a:lnTo>
                  <a:lnTo>
                    <a:pt x="36" y="1430"/>
                  </a:lnTo>
                  <a:lnTo>
                    <a:pt x="40" y="1430"/>
                  </a:lnTo>
                  <a:lnTo>
                    <a:pt x="40" y="1430"/>
                  </a:lnTo>
                  <a:lnTo>
                    <a:pt x="40" y="1430"/>
                  </a:lnTo>
                  <a:lnTo>
                    <a:pt x="40" y="1430"/>
                  </a:lnTo>
                  <a:lnTo>
                    <a:pt x="40" y="1426"/>
                  </a:lnTo>
                  <a:lnTo>
                    <a:pt x="45" y="1426"/>
                  </a:lnTo>
                  <a:lnTo>
                    <a:pt x="45" y="1422"/>
                  </a:lnTo>
                  <a:lnTo>
                    <a:pt x="45" y="1422"/>
                  </a:lnTo>
                  <a:lnTo>
                    <a:pt x="45" y="1422"/>
                  </a:lnTo>
                  <a:lnTo>
                    <a:pt x="49" y="1417"/>
                  </a:lnTo>
                  <a:lnTo>
                    <a:pt x="49" y="1417"/>
                  </a:lnTo>
                  <a:lnTo>
                    <a:pt x="49" y="1413"/>
                  </a:lnTo>
                  <a:lnTo>
                    <a:pt x="49" y="1408"/>
                  </a:lnTo>
                  <a:lnTo>
                    <a:pt x="49" y="1408"/>
                  </a:lnTo>
                  <a:lnTo>
                    <a:pt x="49" y="1408"/>
                  </a:lnTo>
                  <a:lnTo>
                    <a:pt x="49" y="1408"/>
                  </a:lnTo>
                  <a:lnTo>
                    <a:pt x="49" y="1408"/>
                  </a:lnTo>
                  <a:lnTo>
                    <a:pt x="49" y="1408"/>
                  </a:lnTo>
                  <a:lnTo>
                    <a:pt x="53" y="1408"/>
                  </a:lnTo>
                  <a:lnTo>
                    <a:pt x="53" y="1408"/>
                  </a:lnTo>
                  <a:lnTo>
                    <a:pt x="53" y="1408"/>
                  </a:lnTo>
                  <a:lnTo>
                    <a:pt x="53" y="1404"/>
                  </a:lnTo>
                  <a:lnTo>
                    <a:pt x="53" y="1404"/>
                  </a:lnTo>
                  <a:lnTo>
                    <a:pt x="53" y="1404"/>
                  </a:lnTo>
                  <a:lnTo>
                    <a:pt x="58" y="1404"/>
                  </a:lnTo>
                  <a:lnTo>
                    <a:pt x="58" y="1404"/>
                  </a:lnTo>
                  <a:lnTo>
                    <a:pt x="53" y="1408"/>
                  </a:lnTo>
                  <a:lnTo>
                    <a:pt x="53" y="1408"/>
                  </a:lnTo>
                  <a:lnTo>
                    <a:pt x="53" y="1408"/>
                  </a:lnTo>
                  <a:lnTo>
                    <a:pt x="53" y="1408"/>
                  </a:lnTo>
                  <a:lnTo>
                    <a:pt x="53" y="1408"/>
                  </a:lnTo>
                  <a:lnTo>
                    <a:pt x="53" y="1413"/>
                  </a:lnTo>
                  <a:lnTo>
                    <a:pt x="53" y="1413"/>
                  </a:lnTo>
                  <a:lnTo>
                    <a:pt x="49" y="1413"/>
                  </a:lnTo>
                  <a:lnTo>
                    <a:pt x="49" y="1417"/>
                  </a:lnTo>
                  <a:lnTo>
                    <a:pt x="49" y="1417"/>
                  </a:lnTo>
                  <a:lnTo>
                    <a:pt x="49" y="1417"/>
                  </a:lnTo>
                  <a:lnTo>
                    <a:pt x="49" y="1417"/>
                  </a:lnTo>
                  <a:lnTo>
                    <a:pt x="49" y="1417"/>
                  </a:lnTo>
                  <a:lnTo>
                    <a:pt x="49" y="1422"/>
                  </a:lnTo>
                  <a:lnTo>
                    <a:pt x="49" y="1422"/>
                  </a:lnTo>
                  <a:lnTo>
                    <a:pt x="49" y="1417"/>
                  </a:lnTo>
                  <a:lnTo>
                    <a:pt x="49" y="1417"/>
                  </a:lnTo>
                  <a:lnTo>
                    <a:pt x="49" y="1417"/>
                  </a:lnTo>
                  <a:lnTo>
                    <a:pt x="49" y="1417"/>
                  </a:lnTo>
                  <a:lnTo>
                    <a:pt x="49" y="1417"/>
                  </a:lnTo>
                  <a:lnTo>
                    <a:pt x="49" y="1422"/>
                  </a:lnTo>
                  <a:lnTo>
                    <a:pt x="49" y="1422"/>
                  </a:lnTo>
                  <a:lnTo>
                    <a:pt x="53" y="1422"/>
                  </a:lnTo>
                  <a:lnTo>
                    <a:pt x="53" y="1422"/>
                  </a:lnTo>
                  <a:lnTo>
                    <a:pt x="53" y="1422"/>
                  </a:lnTo>
                  <a:lnTo>
                    <a:pt x="49" y="1426"/>
                  </a:lnTo>
                  <a:lnTo>
                    <a:pt x="49" y="1426"/>
                  </a:lnTo>
                  <a:lnTo>
                    <a:pt x="49" y="1426"/>
                  </a:lnTo>
                  <a:lnTo>
                    <a:pt x="49" y="1426"/>
                  </a:lnTo>
                  <a:lnTo>
                    <a:pt x="49" y="1426"/>
                  </a:lnTo>
                  <a:lnTo>
                    <a:pt x="49" y="1426"/>
                  </a:lnTo>
                  <a:lnTo>
                    <a:pt x="45" y="1430"/>
                  </a:lnTo>
                  <a:lnTo>
                    <a:pt x="45" y="1430"/>
                  </a:lnTo>
                  <a:lnTo>
                    <a:pt x="49" y="1430"/>
                  </a:lnTo>
                  <a:lnTo>
                    <a:pt x="49" y="1430"/>
                  </a:lnTo>
                  <a:lnTo>
                    <a:pt x="49" y="1430"/>
                  </a:lnTo>
                  <a:lnTo>
                    <a:pt x="49" y="1430"/>
                  </a:lnTo>
                  <a:lnTo>
                    <a:pt x="53" y="1430"/>
                  </a:lnTo>
                  <a:lnTo>
                    <a:pt x="53" y="1430"/>
                  </a:lnTo>
                  <a:lnTo>
                    <a:pt x="53" y="1426"/>
                  </a:lnTo>
                  <a:lnTo>
                    <a:pt x="53" y="1426"/>
                  </a:lnTo>
                  <a:lnTo>
                    <a:pt x="53" y="1426"/>
                  </a:lnTo>
                  <a:lnTo>
                    <a:pt x="53" y="1426"/>
                  </a:lnTo>
                  <a:lnTo>
                    <a:pt x="58" y="1422"/>
                  </a:lnTo>
                  <a:lnTo>
                    <a:pt x="58" y="1422"/>
                  </a:lnTo>
                  <a:lnTo>
                    <a:pt x="58" y="1426"/>
                  </a:lnTo>
                  <a:lnTo>
                    <a:pt x="53" y="1426"/>
                  </a:lnTo>
                  <a:lnTo>
                    <a:pt x="53" y="1426"/>
                  </a:lnTo>
                  <a:lnTo>
                    <a:pt x="53" y="1430"/>
                  </a:lnTo>
                  <a:lnTo>
                    <a:pt x="58" y="1430"/>
                  </a:lnTo>
                  <a:lnTo>
                    <a:pt x="58" y="1435"/>
                  </a:lnTo>
                  <a:lnTo>
                    <a:pt x="53" y="1435"/>
                  </a:lnTo>
                  <a:lnTo>
                    <a:pt x="53" y="1435"/>
                  </a:lnTo>
                  <a:lnTo>
                    <a:pt x="53" y="1435"/>
                  </a:lnTo>
                  <a:lnTo>
                    <a:pt x="53" y="1435"/>
                  </a:lnTo>
                  <a:lnTo>
                    <a:pt x="53" y="1435"/>
                  </a:lnTo>
                  <a:lnTo>
                    <a:pt x="58" y="1439"/>
                  </a:lnTo>
                  <a:lnTo>
                    <a:pt x="58" y="1435"/>
                  </a:lnTo>
                  <a:lnTo>
                    <a:pt x="58" y="1435"/>
                  </a:lnTo>
                  <a:lnTo>
                    <a:pt x="58" y="1435"/>
                  </a:lnTo>
                  <a:lnTo>
                    <a:pt x="58" y="1435"/>
                  </a:lnTo>
                  <a:lnTo>
                    <a:pt x="58" y="1435"/>
                  </a:lnTo>
                  <a:lnTo>
                    <a:pt x="58" y="1439"/>
                  </a:lnTo>
                  <a:lnTo>
                    <a:pt x="58" y="1439"/>
                  </a:lnTo>
                  <a:lnTo>
                    <a:pt x="58" y="1439"/>
                  </a:lnTo>
                  <a:lnTo>
                    <a:pt x="58" y="1439"/>
                  </a:lnTo>
                  <a:lnTo>
                    <a:pt x="53" y="1439"/>
                  </a:lnTo>
                  <a:lnTo>
                    <a:pt x="53" y="1439"/>
                  </a:lnTo>
                  <a:lnTo>
                    <a:pt x="53" y="1439"/>
                  </a:lnTo>
                  <a:lnTo>
                    <a:pt x="53" y="1444"/>
                  </a:lnTo>
                  <a:lnTo>
                    <a:pt x="53" y="1444"/>
                  </a:lnTo>
                  <a:lnTo>
                    <a:pt x="53" y="1444"/>
                  </a:lnTo>
                  <a:lnTo>
                    <a:pt x="53" y="1444"/>
                  </a:lnTo>
                  <a:lnTo>
                    <a:pt x="53" y="1444"/>
                  </a:lnTo>
                  <a:lnTo>
                    <a:pt x="58" y="1448"/>
                  </a:lnTo>
                  <a:lnTo>
                    <a:pt x="58" y="1448"/>
                  </a:lnTo>
                  <a:lnTo>
                    <a:pt x="58" y="1444"/>
                  </a:lnTo>
                  <a:lnTo>
                    <a:pt x="58" y="1444"/>
                  </a:lnTo>
                  <a:lnTo>
                    <a:pt x="58" y="1444"/>
                  </a:lnTo>
                  <a:lnTo>
                    <a:pt x="58" y="1444"/>
                  </a:lnTo>
                  <a:lnTo>
                    <a:pt x="62" y="1444"/>
                  </a:lnTo>
                  <a:lnTo>
                    <a:pt x="62" y="1444"/>
                  </a:lnTo>
                  <a:lnTo>
                    <a:pt x="62" y="1439"/>
                  </a:lnTo>
                  <a:lnTo>
                    <a:pt x="62" y="1435"/>
                  </a:lnTo>
                  <a:lnTo>
                    <a:pt x="62" y="1430"/>
                  </a:lnTo>
                  <a:lnTo>
                    <a:pt x="62" y="1430"/>
                  </a:lnTo>
                  <a:lnTo>
                    <a:pt x="62" y="1430"/>
                  </a:lnTo>
                  <a:lnTo>
                    <a:pt x="62" y="1430"/>
                  </a:lnTo>
                  <a:lnTo>
                    <a:pt x="62" y="1430"/>
                  </a:lnTo>
                  <a:lnTo>
                    <a:pt x="67" y="1430"/>
                  </a:lnTo>
                  <a:lnTo>
                    <a:pt x="67" y="1426"/>
                  </a:lnTo>
                  <a:lnTo>
                    <a:pt x="67" y="1426"/>
                  </a:lnTo>
                  <a:lnTo>
                    <a:pt x="67" y="1422"/>
                  </a:lnTo>
                  <a:lnTo>
                    <a:pt x="71" y="1422"/>
                  </a:lnTo>
                  <a:lnTo>
                    <a:pt x="71" y="1417"/>
                  </a:lnTo>
                  <a:lnTo>
                    <a:pt x="71" y="1417"/>
                  </a:lnTo>
                  <a:lnTo>
                    <a:pt x="71" y="1417"/>
                  </a:lnTo>
                  <a:lnTo>
                    <a:pt x="71" y="1417"/>
                  </a:lnTo>
                  <a:lnTo>
                    <a:pt x="76" y="1417"/>
                  </a:lnTo>
                  <a:lnTo>
                    <a:pt x="76" y="1422"/>
                  </a:lnTo>
                  <a:lnTo>
                    <a:pt x="76" y="1422"/>
                  </a:lnTo>
                  <a:lnTo>
                    <a:pt x="76" y="1417"/>
                  </a:lnTo>
                  <a:lnTo>
                    <a:pt x="80" y="1417"/>
                  </a:lnTo>
                  <a:lnTo>
                    <a:pt x="80" y="1417"/>
                  </a:lnTo>
                  <a:lnTo>
                    <a:pt x="80" y="1413"/>
                  </a:lnTo>
                  <a:lnTo>
                    <a:pt x="80" y="1413"/>
                  </a:lnTo>
                  <a:lnTo>
                    <a:pt x="76" y="1413"/>
                  </a:lnTo>
                  <a:lnTo>
                    <a:pt x="80" y="1413"/>
                  </a:lnTo>
                  <a:lnTo>
                    <a:pt x="80" y="1408"/>
                  </a:lnTo>
                  <a:lnTo>
                    <a:pt x="80" y="1408"/>
                  </a:lnTo>
                  <a:lnTo>
                    <a:pt x="76" y="1408"/>
                  </a:lnTo>
                  <a:lnTo>
                    <a:pt x="76" y="1408"/>
                  </a:lnTo>
                  <a:lnTo>
                    <a:pt x="76" y="1408"/>
                  </a:lnTo>
                  <a:lnTo>
                    <a:pt x="80" y="1408"/>
                  </a:lnTo>
                  <a:lnTo>
                    <a:pt x="80" y="1404"/>
                  </a:lnTo>
                  <a:lnTo>
                    <a:pt x="80" y="1404"/>
                  </a:lnTo>
                  <a:lnTo>
                    <a:pt x="84" y="1404"/>
                  </a:lnTo>
                  <a:lnTo>
                    <a:pt x="84" y="1404"/>
                  </a:lnTo>
                  <a:lnTo>
                    <a:pt x="84" y="1404"/>
                  </a:lnTo>
                  <a:lnTo>
                    <a:pt x="80" y="1404"/>
                  </a:lnTo>
                  <a:lnTo>
                    <a:pt x="80" y="1400"/>
                  </a:lnTo>
                  <a:lnTo>
                    <a:pt x="80" y="1400"/>
                  </a:lnTo>
                  <a:lnTo>
                    <a:pt x="80" y="1400"/>
                  </a:lnTo>
                  <a:lnTo>
                    <a:pt x="80" y="1395"/>
                  </a:lnTo>
                  <a:lnTo>
                    <a:pt x="80" y="1395"/>
                  </a:lnTo>
                  <a:lnTo>
                    <a:pt x="80" y="1395"/>
                  </a:lnTo>
                  <a:lnTo>
                    <a:pt x="80" y="1395"/>
                  </a:lnTo>
                  <a:lnTo>
                    <a:pt x="80" y="1400"/>
                  </a:lnTo>
                  <a:lnTo>
                    <a:pt x="80" y="1404"/>
                  </a:lnTo>
                  <a:lnTo>
                    <a:pt x="84" y="1404"/>
                  </a:lnTo>
                  <a:lnTo>
                    <a:pt x="84" y="1404"/>
                  </a:lnTo>
                  <a:lnTo>
                    <a:pt x="84" y="1404"/>
                  </a:lnTo>
                  <a:lnTo>
                    <a:pt x="89" y="1404"/>
                  </a:lnTo>
                  <a:lnTo>
                    <a:pt x="89" y="1400"/>
                  </a:lnTo>
                  <a:lnTo>
                    <a:pt x="93" y="1400"/>
                  </a:lnTo>
                  <a:lnTo>
                    <a:pt x="93" y="1400"/>
                  </a:lnTo>
                  <a:lnTo>
                    <a:pt x="98" y="1400"/>
                  </a:lnTo>
                  <a:lnTo>
                    <a:pt x="98" y="1400"/>
                  </a:lnTo>
                  <a:lnTo>
                    <a:pt x="98" y="1395"/>
                  </a:lnTo>
                  <a:lnTo>
                    <a:pt x="102" y="1391"/>
                  </a:lnTo>
                  <a:lnTo>
                    <a:pt x="107" y="1391"/>
                  </a:lnTo>
                  <a:lnTo>
                    <a:pt x="107" y="1391"/>
                  </a:lnTo>
                  <a:lnTo>
                    <a:pt x="102" y="1395"/>
                  </a:lnTo>
                  <a:lnTo>
                    <a:pt x="102" y="1400"/>
                  </a:lnTo>
                  <a:lnTo>
                    <a:pt x="102" y="1400"/>
                  </a:lnTo>
                  <a:lnTo>
                    <a:pt x="102" y="1400"/>
                  </a:lnTo>
                  <a:lnTo>
                    <a:pt x="107" y="1400"/>
                  </a:lnTo>
                  <a:lnTo>
                    <a:pt x="107" y="1400"/>
                  </a:lnTo>
                  <a:lnTo>
                    <a:pt x="111" y="1395"/>
                  </a:lnTo>
                  <a:lnTo>
                    <a:pt x="111" y="1395"/>
                  </a:lnTo>
                  <a:lnTo>
                    <a:pt x="115" y="1395"/>
                  </a:lnTo>
                  <a:lnTo>
                    <a:pt x="115" y="1391"/>
                  </a:lnTo>
                  <a:lnTo>
                    <a:pt x="115" y="1391"/>
                  </a:lnTo>
                  <a:lnTo>
                    <a:pt x="120" y="1386"/>
                  </a:lnTo>
                  <a:lnTo>
                    <a:pt x="120" y="1386"/>
                  </a:lnTo>
                  <a:lnTo>
                    <a:pt x="124" y="1382"/>
                  </a:lnTo>
                  <a:lnTo>
                    <a:pt x="124" y="1382"/>
                  </a:lnTo>
                  <a:lnTo>
                    <a:pt x="120" y="1391"/>
                  </a:lnTo>
                  <a:lnTo>
                    <a:pt x="120" y="1391"/>
                  </a:lnTo>
                  <a:lnTo>
                    <a:pt x="120" y="1391"/>
                  </a:lnTo>
                  <a:lnTo>
                    <a:pt x="120" y="1391"/>
                  </a:lnTo>
                  <a:lnTo>
                    <a:pt x="120" y="1391"/>
                  </a:lnTo>
                  <a:lnTo>
                    <a:pt x="120" y="1391"/>
                  </a:lnTo>
                  <a:lnTo>
                    <a:pt x="120" y="1391"/>
                  </a:lnTo>
                  <a:lnTo>
                    <a:pt x="120" y="1391"/>
                  </a:lnTo>
                  <a:lnTo>
                    <a:pt x="115" y="1391"/>
                  </a:lnTo>
                  <a:lnTo>
                    <a:pt x="115" y="1391"/>
                  </a:lnTo>
                  <a:lnTo>
                    <a:pt x="129" y="1391"/>
                  </a:lnTo>
                  <a:lnTo>
                    <a:pt x="129" y="1395"/>
                  </a:lnTo>
                  <a:lnTo>
                    <a:pt x="124" y="1395"/>
                  </a:lnTo>
                  <a:lnTo>
                    <a:pt x="120" y="1395"/>
                  </a:lnTo>
                  <a:lnTo>
                    <a:pt x="111" y="1395"/>
                  </a:lnTo>
                  <a:lnTo>
                    <a:pt x="111" y="1395"/>
                  </a:lnTo>
                  <a:lnTo>
                    <a:pt x="111" y="1395"/>
                  </a:lnTo>
                  <a:lnTo>
                    <a:pt x="111" y="1400"/>
                  </a:lnTo>
                  <a:lnTo>
                    <a:pt x="107" y="1404"/>
                  </a:lnTo>
                  <a:lnTo>
                    <a:pt x="107" y="1404"/>
                  </a:lnTo>
                  <a:lnTo>
                    <a:pt x="107" y="1404"/>
                  </a:lnTo>
                  <a:lnTo>
                    <a:pt x="107" y="1404"/>
                  </a:lnTo>
                  <a:lnTo>
                    <a:pt x="102" y="1408"/>
                  </a:lnTo>
                  <a:lnTo>
                    <a:pt x="102" y="1413"/>
                  </a:lnTo>
                  <a:lnTo>
                    <a:pt x="102" y="1417"/>
                  </a:lnTo>
                  <a:lnTo>
                    <a:pt x="102" y="1422"/>
                  </a:lnTo>
                  <a:lnTo>
                    <a:pt x="102" y="1422"/>
                  </a:lnTo>
                  <a:lnTo>
                    <a:pt x="102" y="1422"/>
                  </a:lnTo>
                  <a:lnTo>
                    <a:pt x="98" y="1426"/>
                  </a:lnTo>
                  <a:lnTo>
                    <a:pt x="98" y="1430"/>
                  </a:lnTo>
                  <a:lnTo>
                    <a:pt x="98" y="1430"/>
                  </a:lnTo>
                  <a:lnTo>
                    <a:pt x="98" y="1439"/>
                  </a:lnTo>
                  <a:lnTo>
                    <a:pt x="98" y="1439"/>
                  </a:lnTo>
                  <a:lnTo>
                    <a:pt x="98" y="1435"/>
                  </a:lnTo>
                  <a:lnTo>
                    <a:pt x="98" y="1430"/>
                  </a:lnTo>
                  <a:lnTo>
                    <a:pt x="98" y="1430"/>
                  </a:lnTo>
                  <a:lnTo>
                    <a:pt x="98" y="1426"/>
                  </a:lnTo>
                  <a:lnTo>
                    <a:pt x="98" y="1417"/>
                  </a:lnTo>
                  <a:lnTo>
                    <a:pt x="98" y="1417"/>
                  </a:lnTo>
                  <a:lnTo>
                    <a:pt x="102" y="1413"/>
                  </a:lnTo>
                  <a:lnTo>
                    <a:pt x="102" y="1413"/>
                  </a:lnTo>
                  <a:lnTo>
                    <a:pt x="102" y="1413"/>
                  </a:lnTo>
                  <a:lnTo>
                    <a:pt x="102" y="1408"/>
                  </a:lnTo>
                  <a:lnTo>
                    <a:pt x="102" y="1400"/>
                  </a:lnTo>
                  <a:lnTo>
                    <a:pt x="102" y="1400"/>
                  </a:lnTo>
                  <a:lnTo>
                    <a:pt x="98" y="1400"/>
                  </a:lnTo>
                  <a:lnTo>
                    <a:pt x="98" y="1400"/>
                  </a:lnTo>
                  <a:lnTo>
                    <a:pt x="93" y="1400"/>
                  </a:lnTo>
                  <a:lnTo>
                    <a:pt x="93" y="1404"/>
                  </a:lnTo>
                  <a:lnTo>
                    <a:pt x="93" y="1404"/>
                  </a:lnTo>
                  <a:lnTo>
                    <a:pt x="89" y="1404"/>
                  </a:lnTo>
                  <a:lnTo>
                    <a:pt x="89" y="1408"/>
                  </a:lnTo>
                  <a:lnTo>
                    <a:pt x="89" y="1408"/>
                  </a:lnTo>
                  <a:lnTo>
                    <a:pt x="89" y="1408"/>
                  </a:lnTo>
                  <a:lnTo>
                    <a:pt x="89" y="1408"/>
                  </a:lnTo>
                  <a:lnTo>
                    <a:pt x="89" y="1408"/>
                  </a:lnTo>
                  <a:lnTo>
                    <a:pt x="89" y="1408"/>
                  </a:lnTo>
                  <a:lnTo>
                    <a:pt x="89" y="1408"/>
                  </a:lnTo>
                  <a:lnTo>
                    <a:pt x="89" y="1408"/>
                  </a:lnTo>
                  <a:lnTo>
                    <a:pt x="89" y="1408"/>
                  </a:lnTo>
                  <a:lnTo>
                    <a:pt x="84" y="1408"/>
                  </a:lnTo>
                  <a:lnTo>
                    <a:pt x="84" y="1413"/>
                  </a:lnTo>
                  <a:lnTo>
                    <a:pt x="84" y="1413"/>
                  </a:lnTo>
                  <a:lnTo>
                    <a:pt x="84" y="1413"/>
                  </a:lnTo>
                  <a:lnTo>
                    <a:pt x="80" y="1413"/>
                  </a:lnTo>
                  <a:lnTo>
                    <a:pt x="80" y="1417"/>
                  </a:lnTo>
                  <a:lnTo>
                    <a:pt x="80" y="1417"/>
                  </a:lnTo>
                  <a:lnTo>
                    <a:pt x="80" y="1417"/>
                  </a:lnTo>
                  <a:lnTo>
                    <a:pt x="80" y="1422"/>
                  </a:lnTo>
                  <a:lnTo>
                    <a:pt x="80" y="1422"/>
                  </a:lnTo>
                  <a:lnTo>
                    <a:pt x="76" y="1422"/>
                  </a:lnTo>
                  <a:lnTo>
                    <a:pt x="76" y="1426"/>
                  </a:lnTo>
                  <a:lnTo>
                    <a:pt x="76" y="1426"/>
                  </a:lnTo>
                  <a:lnTo>
                    <a:pt x="76" y="1430"/>
                  </a:lnTo>
                  <a:lnTo>
                    <a:pt x="76" y="1435"/>
                  </a:lnTo>
                  <a:lnTo>
                    <a:pt x="76" y="1435"/>
                  </a:lnTo>
                  <a:lnTo>
                    <a:pt x="80" y="1435"/>
                  </a:lnTo>
                  <a:lnTo>
                    <a:pt x="80" y="1430"/>
                  </a:lnTo>
                  <a:lnTo>
                    <a:pt x="80" y="1430"/>
                  </a:lnTo>
                  <a:lnTo>
                    <a:pt x="80" y="1430"/>
                  </a:lnTo>
                  <a:lnTo>
                    <a:pt x="84" y="1430"/>
                  </a:lnTo>
                  <a:lnTo>
                    <a:pt x="84" y="1430"/>
                  </a:lnTo>
                  <a:lnTo>
                    <a:pt x="84" y="1430"/>
                  </a:lnTo>
                  <a:lnTo>
                    <a:pt x="84" y="1430"/>
                  </a:lnTo>
                  <a:lnTo>
                    <a:pt x="84" y="1430"/>
                  </a:lnTo>
                  <a:lnTo>
                    <a:pt x="84" y="1430"/>
                  </a:lnTo>
                  <a:lnTo>
                    <a:pt x="84" y="1430"/>
                  </a:lnTo>
                  <a:lnTo>
                    <a:pt x="84" y="1435"/>
                  </a:lnTo>
                  <a:lnTo>
                    <a:pt x="76" y="1435"/>
                  </a:lnTo>
                  <a:lnTo>
                    <a:pt x="71" y="1439"/>
                  </a:lnTo>
                  <a:lnTo>
                    <a:pt x="67" y="1444"/>
                  </a:lnTo>
                  <a:lnTo>
                    <a:pt x="71" y="1448"/>
                  </a:lnTo>
                  <a:lnTo>
                    <a:pt x="71" y="1448"/>
                  </a:lnTo>
                  <a:lnTo>
                    <a:pt x="71" y="1448"/>
                  </a:lnTo>
                  <a:lnTo>
                    <a:pt x="71" y="1448"/>
                  </a:lnTo>
                  <a:lnTo>
                    <a:pt x="67" y="1448"/>
                  </a:lnTo>
                  <a:lnTo>
                    <a:pt x="67" y="1448"/>
                  </a:lnTo>
                  <a:lnTo>
                    <a:pt x="62" y="1453"/>
                  </a:lnTo>
                  <a:lnTo>
                    <a:pt x="62" y="1453"/>
                  </a:lnTo>
                  <a:lnTo>
                    <a:pt x="58" y="1453"/>
                  </a:lnTo>
                  <a:lnTo>
                    <a:pt x="58" y="1457"/>
                  </a:lnTo>
                  <a:lnTo>
                    <a:pt x="58" y="1457"/>
                  </a:lnTo>
                  <a:lnTo>
                    <a:pt x="53" y="1461"/>
                  </a:lnTo>
                  <a:lnTo>
                    <a:pt x="53" y="1461"/>
                  </a:lnTo>
                  <a:lnTo>
                    <a:pt x="53" y="1461"/>
                  </a:lnTo>
                  <a:lnTo>
                    <a:pt x="53" y="1461"/>
                  </a:lnTo>
                  <a:lnTo>
                    <a:pt x="53" y="1461"/>
                  </a:lnTo>
                  <a:lnTo>
                    <a:pt x="53" y="1461"/>
                  </a:lnTo>
                  <a:lnTo>
                    <a:pt x="53" y="1461"/>
                  </a:lnTo>
                  <a:lnTo>
                    <a:pt x="53" y="1461"/>
                  </a:lnTo>
                  <a:lnTo>
                    <a:pt x="53" y="1461"/>
                  </a:lnTo>
                  <a:lnTo>
                    <a:pt x="58" y="1466"/>
                  </a:lnTo>
                  <a:lnTo>
                    <a:pt x="58" y="1466"/>
                  </a:lnTo>
                  <a:lnTo>
                    <a:pt x="58" y="1466"/>
                  </a:lnTo>
                  <a:lnTo>
                    <a:pt x="58" y="1470"/>
                  </a:lnTo>
                  <a:lnTo>
                    <a:pt x="62" y="1470"/>
                  </a:lnTo>
                  <a:lnTo>
                    <a:pt x="62" y="1470"/>
                  </a:lnTo>
                  <a:lnTo>
                    <a:pt x="62" y="1470"/>
                  </a:lnTo>
                  <a:lnTo>
                    <a:pt x="67" y="1466"/>
                  </a:lnTo>
                  <a:lnTo>
                    <a:pt x="67" y="1466"/>
                  </a:lnTo>
                  <a:lnTo>
                    <a:pt x="67" y="1466"/>
                  </a:lnTo>
                  <a:lnTo>
                    <a:pt x="67" y="1461"/>
                  </a:lnTo>
                  <a:lnTo>
                    <a:pt x="67" y="1461"/>
                  </a:lnTo>
                  <a:lnTo>
                    <a:pt x="67" y="1461"/>
                  </a:lnTo>
                  <a:lnTo>
                    <a:pt x="67" y="1461"/>
                  </a:lnTo>
                  <a:lnTo>
                    <a:pt x="67" y="1461"/>
                  </a:lnTo>
                  <a:lnTo>
                    <a:pt x="67" y="1466"/>
                  </a:lnTo>
                  <a:lnTo>
                    <a:pt x="67" y="1466"/>
                  </a:lnTo>
                  <a:lnTo>
                    <a:pt x="67" y="1466"/>
                  </a:lnTo>
                  <a:lnTo>
                    <a:pt x="67" y="1466"/>
                  </a:lnTo>
                  <a:lnTo>
                    <a:pt x="67" y="1470"/>
                  </a:lnTo>
                  <a:lnTo>
                    <a:pt x="67" y="1470"/>
                  </a:lnTo>
                  <a:lnTo>
                    <a:pt x="67" y="1470"/>
                  </a:lnTo>
                  <a:lnTo>
                    <a:pt x="71" y="1470"/>
                  </a:lnTo>
                  <a:lnTo>
                    <a:pt x="71" y="1470"/>
                  </a:lnTo>
                  <a:lnTo>
                    <a:pt x="71" y="1470"/>
                  </a:lnTo>
                  <a:lnTo>
                    <a:pt x="76" y="1466"/>
                  </a:lnTo>
                  <a:lnTo>
                    <a:pt x="84" y="1461"/>
                  </a:lnTo>
                  <a:lnTo>
                    <a:pt x="84" y="1461"/>
                  </a:lnTo>
                  <a:lnTo>
                    <a:pt x="84" y="1461"/>
                  </a:lnTo>
                  <a:lnTo>
                    <a:pt x="80" y="1466"/>
                  </a:lnTo>
                  <a:lnTo>
                    <a:pt x="80" y="1466"/>
                  </a:lnTo>
                  <a:lnTo>
                    <a:pt x="80" y="1466"/>
                  </a:lnTo>
                  <a:lnTo>
                    <a:pt x="80" y="1466"/>
                  </a:lnTo>
                  <a:lnTo>
                    <a:pt x="80" y="1466"/>
                  </a:lnTo>
                  <a:lnTo>
                    <a:pt x="80" y="1466"/>
                  </a:lnTo>
                  <a:lnTo>
                    <a:pt x="80" y="1466"/>
                  </a:lnTo>
                  <a:lnTo>
                    <a:pt x="71" y="1470"/>
                  </a:lnTo>
                  <a:lnTo>
                    <a:pt x="71" y="1475"/>
                  </a:lnTo>
                  <a:lnTo>
                    <a:pt x="67" y="1470"/>
                  </a:lnTo>
                  <a:lnTo>
                    <a:pt x="67" y="1470"/>
                  </a:lnTo>
                  <a:lnTo>
                    <a:pt x="67" y="1470"/>
                  </a:lnTo>
                  <a:lnTo>
                    <a:pt x="67" y="1470"/>
                  </a:lnTo>
                  <a:lnTo>
                    <a:pt x="67" y="1470"/>
                  </a:lnTo>
                  <a:lnTo>
                    <a:pt x="67" y="1470"/>
                  </a:lnTo>
                  <a:lnTo>
                    <a:pt x="62" y="1470"/>
                  </a:lnTo>
                  <a:lnTo>
                    <a:pt x="62" y="1470"/>
                  </a:lnTo>
                  <a:lnTo>
                    <a:pt x="62" y="1475"/>
                  </a:lnTo>
                  <a:lnTo>
                    <a:pt x="62" y="1475"/>
                  </a:lnTo>
                  <a:lnTo>
                    <a:pt x="62" y="1475"/>
                  </a:lnTo>
                  <a:lnTo>
                    <a:pt x="58" y="1475"/>
                  </a:lnTo>
                  <a:lnTo>
                    <a:pt x="58" y="1475"/>
                  </a:lnTo>
                  <a:lnTo>
                    <a:pt x="58" y="1475"/>
                  </a:lnTo>
                  <a:lnTo>
                    <a:pt x="58" y="1479"/>
                  </a:lnTo>
                  <a:lnTo>
                    <a:pt x="58" y="1479"/>
                  </a:lnTo>
                  <a:lnTo>
                    <a:pt x="58" y="1479"/>
                  </a:lnTo>
                  <a:lnTo>
                    <a:pt x="58" y="1479"/>
                  </a:lnTo>
                  <a:lnTo>
                    <a:pt x="62" y="1479"/>
                  </a:lnTo>
                  <a:lnTo>
                    <a:pt x="62" y="1484"/>
                  </a:lnTo>
                  <a:lnTo>
                    <a:pt x="62" y="1484"/>
                  </a:lnTo>
                  <a:lnTo>
                    <a:pt x="58" y="1484"/>
                  </a:lnTo>
                  <a:lnTo>
                    <a:pt x="58" y="1484"/>
                  </a:lnTo>
                  <a:lnTo>
                    <a:pt x="58" y="1484"/>
                  </a:lnTo>
                  <a:lnTo>
                    <a:pt x="58" y="1484"/>
                  </a:lnTo>
                  <a:lnTo>
                    <a:pt x="58" y="1488"/>
                  </a:lnTo>
                  <a:lnTo>
                    <a:pt x="58" y="1488"/>
                  </a:lnTo>
                  <a:lnTo>
                    <a:pt x="58" y="1488"/>
                  </a:lnTo>
                  <a:lnTo>
                    <a:pt x="53" y="1488"/>
                  </a:lnTo>
                  <a:lnTo>
                    <a:pt x="58" y="1484"/>
                  </a:lnTo>
                  <a:lnTo>
                    <a:pt x="58" y="1484"/>
                  </a:lnTo>
                  <a:lnTo>
                    <a:pt x="53" y="1479"/>
                  </a:lnTo>
                  <a:lnTo>
                    <a:pt x="53" y="1479"/>
                  </a:lnTo>
                  <a:lnTo>
                    <a:pt x="49" y="1479"/>
                  </a:lnTo>
                  <a:lnTo>
                    <a:pt x="49" y="1479"/>
                  </a:lnTo>
                  <a:lnTo>
                    <a:pt x="49" y="1479"/>
                  </a:lnTo>
                  <a:lnTo>
                    <a:pt x="49" y="1479"/>
                  </a:lnTo>
                  <a:lnTo>
                    <a:pt x="45" y="1479"/>
                  </a:lnTo>
                  <a:lnTo>
                    <a:pt x="45" y="1484"/>
                  </a:lnTo>
                  <a:lnTo>
                    <a:pt x="45" y="1484"/>
                  </a:lnTo>
                  <a:lnTo>
                    <a:pt x="45" y="1488"/>
                  </a:lnTo>
                  <a:lnTo>
                    <a:pt x="45" y="1488"/>
                  </a:lnTo>
                  <a:lnTo>
                    <a:pt x="45" y="1488"/>
                  </a:lnTo>
                  <a:lnTo>
                    <a:pt x="45" y="1492"/>
                  </a:lnTo>
                  <a:lnTo>
                    <a:pt x="45" y="1492"/>
                  </a:lnTo>
                  <a:lnTo>
                    <a:pt x="45" y="1492"/>
                  </a:lnTo>
                  <a:lnTo>
                    <a:pt x="45" y="1492"/>
                  </a:lnTo>
                  <a:lnTo>
                    <a:pt x="40" y="1497"/>
                  </a:lnTo>
                  <a:lnTo>
                    <a:pt x="40" y="1497"/>
                  </a:lnTo>
                  <a:lnTo>
                    <a:pt x="40" y="1497"/>
                  </a:lnTo>
                  <a:lnTo>
                    <a:pt x="40" y="1497"/>
                  </a:lnTo>
                  <a:lnTo>
                    <a:pt x="40" y="1497"/>
                  </a:lnTo>
                  <a:lnTo>
                    <a:pt x="40" y="1497"/>
                  </a:lnTo>
                  <a:lnTo>
                    <a:pt x="40" y="1497"/>
                  </a:lnTo>
                  <a:lnTo>
                    <a:pt x="40" y="1492"/>
                  </a:lnTo>
                  <a:lnTo>
                    <a:pt x="40" y="1492"/>
                  </a:lnTo>
                  <a:lnTo>
                    <a:pt x="40" y="1492"/>
                  </a:lnTo>
                  <a:lnTo>
                    <a:pt x="40" y="1492"/>
                  </a:lnTo>
                  <a:lnTo>
                    <a:pt x="40" y="1492"/>
                  </a:lnTo>
                  <a:lnTo>
                    <a:pt x="40" y="1492"/>
                  </a:lnTo>
                  <a:lnTo>
                    <a:pt x="40" y="1492"/>
                  </a:lnTo>
                  <a:lnTo>
                    <a:pt x="40" y="1492"/>
                  </a:lnTo>
                  <a:lnTo>
                    <a:pt x="45" y="1492"/>
                  </a:lnTo>
                  <a:lnTo>
                    <a:pt x="45" y="1488"/>
                  </a:lnTo>
                  <a:lnTo>
                    <a:pt x="45" y="1488"/>
                  </a:lnTo>
                  <a:lnTo>
                    <a:pt x="45" y="1488"/>
                  </a:lnTo>
                  <a:lnTo>
                    <a:pt x="45" y="1488"/>
                  </a:lnTo>
                  <a:lnTo>
                    <a:pt x="45" y="1484"/>
                  </a:lnTo>
                  <a:lnTo>
                    <a:pt x="45" y="1484"/>
                  </a:lnTo>
                  <a:lnTo>
                    <a:pt x="45" y="1484"/>
                  </a:lnTo>
                  <a:lnTo>
                    <a:pt x="45" y="1479"/>
                  </a:lnTo>
                  <a:lnTo>
                    <a:pt x="45" y="1479"/>
                  </a:lnTo>
                  <a:lnTo>
                    <a:pt x="45" y="1475"/>
                  </a:lnTo>
                  <a:lnTo>
                    <a:pt x="45" y="1475"/>
                  </a:lnTo>
                  <a:lnTo>
                    <a:pt x="45" y="1475"/>
                  </a:lnTo>
                  <a:lnTo>
                    <a:pt x="45" y="1475"/>
                  </a:lnTo>
                  <a:lnTo>
                    <a:pt x="45" y="1475"/>
                  </a:lnTo>
                  <a:lnTo>
                    <a:pt x="45" y="1475"/>
                  </a:lnTo>
                  <a:lnTo>
                    <a:pt x="40" y="1475"/>
                  </a:lnTo>
                  <a:lnTo>
                    <a:pt x="40" y="1479"/>
                  </a:lnTo>
                  <a:lnTo>
                    <a:pt x="40" y="1479"/>
                  </a:lnTo>
                  <a:lnTo>
                    <a:pt x="40" y="1479"/>
                  </a:lnTo>
                  <a:lnTo>
                    <a:pt x="40" y="1484"/>
                  </a:lnTo>
                  <a:lnTo>
                    <a:pt x="40" y="1484"/>
                  </a:lnTo>
                  <a:lnTo>
                    <a:pt x="40" y="1484"/>
                  </a:lnTo>
                  <a:lnTo>
                    <a:pt x="40" y="1488"/>
                  </a:lnTo>
                  <a:lnTo>
                    <a:pt x="40" y="1488"/>
                  </a:lnTo>
                  <a:lnTo>
                    <a:pt x="40" y="1488"/>
                  </a:lnTo>
                  <a:lnTo>
                    <a:pt x="40" y="1484"/>
                  </a:lnTo>
                  <a:lnTo>
                    <a:pt x="36" y="1484"/>
                  </a:lnTo>
                  <a:lnTo>
                    <a:pt x="36" y="1484"/>
                  </a:lnTo>
                  <a:lnTo>
                    <a:pt x="36" y="1484"/>
                  </a:lnTo>
                  <a:lnTo>
                    <a:pt x="36" y="1484"/>
                  </a:lnTo>
                  <a:lnTo>
                    <a:pt x="31" y="1484"/>
                  </a:lnTo>
                  <a:lnTo>
                    <a:pt x="31" y="1488"/>
                  </a:lnTo>
                  <a:lnTo>
                    <a:pt x="31" y="1492"/>
                  </a:lnTo>
                  <a:lnTo>
                    <a:pt x="31" y="1492"/>
                  </a:lnTo>
                  <a:lnTo>
                    <a:pt x="27" y="1492"/>
                  </a:lnTo>
                  <a:lnTo>
                    <a:pt x="27" y="1492"/>
                  </a:lnTo>
                  <a:lnTo>
                    <a:pt x="31" y="1492"/>
                  </a:lnTo>
                  <a:lnTo>
                    <a:pt x="31" y="1497"/>
                  </a:lnTo>
                  <a:lnTo>
                    <a:pt x="27" y="1497"/>
                  </a:lnTo>
                  <a:lnTo>
                    <a:pt x="27" y="1497"/>
                  </a:lnTo>
                  <a:lnTo>
                    <a:pt x="27" y="1497"/>
                  </a:lnTo>
                  <a:lnTo>
                    <a:pt x="27" y="1497"/>
                  </a:lnTo>
                  <a:lnTo>
                    <a:pt x="27" y="1497"/>
                  </a:lnTo>
                  <a:lnTo>
                    <a:pt x="27" y="1497"/>
                  </a:lnTo>
                  <a:lnTo>
                    <a:pt x="27" y="1497"/>
                  </a:lnTo>
                  <a:lnTo>
                    <a:pt x="27" y="1501"/>
                  </a:lnTo>
                  <a:lnTo>
                    <a:pt x="27" y="1506"/>
                  </a:lnTo>
                  <a:lnTo>
                    <a:pt x="27" y="1506"/>
                  </a:lnTo>
                  <a:lnTo>
                    <a:pt x="31" y="1506"/>
                  </a:lnTo>
                  <a:lnTo>
                    <a:pt x="31" y="1515"/>
                  </a:lnTo>
                  <a:lnTo>
                    <a:pt x="36" y="1515"/>
                  </a:lnTo>
                  <a:lnTo>
                    <a:pt x="36" y="1515"/>
                  </a:lnTo>
                  <a:lnTo>
                    <a:pt x="36" y="1506"/>
                  </a:lnTo>
                  <a:lnTo>
                    <a:pt x="36" y="1506"/>
                  </a:lnTo>
                  <a:lnTo>
                    <a:pt x="36" y="1506"/>
                  </a:lnTo>
                  <a:lnTo>
                    <a:pt x="36" y="1506"/>
                  </a:lnTo>
                  <a:lnTo>
                    <a:pt x="36" y="1510"/>
                  </a:lnTo>
                  <a:lnTo>
                    <a:pt x="36" y="1510"/>
                  </a:lnTo>
                  <a:lnTo>
                    <a:pt x="36" y="1510"/>
                  </a:lnTo>
                  <a:lnTo>
                    <a:pt x="36" y="1515"/>
                  </a:lnTo>
                  <a:lnTo>
                    <a:pt x="36" y="1515"/>
                  </a:lnTo>
                  <a:lnTo>
                    <a:pt x="36" y="1515"/>
                  </a:lnTo>
                  <a:lnTo>
                    <a:pt x="36" y="1519"/>
                  </a:lnTo>
                  <a:lnTo>
                    <a:pt x="36" y="1519"/>
                  </a:lnTo>
                  <a:lnTo>
                    <a:pt x="40" y="1519"/>
                  </a:lnTo>
                  <a:lnTo>
                    <a:pt x="40" y="1519"/>
                  </a:lnTo>
                  <a:lnTo>
                    <a:pt x="40" y="1519"/>
                  </a:lnTo>
                  <a:lnTo>
                    <a:pt x="40" y="1519"/>
                  </a:lnTo>
                  <a:lnTo>
                    <a:pt x="40" y="1515"/>
                  </a:lnTo>
                  <a:lnTo>
                    <a:pt x="40" y="1510"/>
                  </a:lnTo>
                  <a:lnTo>
                    <a:pt x="40" y="1510"/>
                  </a:lnTo>
                  <a:lnTo>
                    <a:pt x="40" y="1506"/>
                  </a:lnTo>
                  <a:lnTo>
                    <a:pt x="40" y="1510"/>
                  </a:lnTo>
                  <a:lnTo>
                    <a:pt x="40" y="1510"/>
                  </a:lnTo>
                  <a:lnTo>
                    <a:pt x="40" y="1515"/>
                  </a:lnTo>
                  <a:lnTo>
                    <a:pt x="40" y="1515"/>
                  </a:lnTo>
                  <a:lnTo>
                    <a:pt x="40" y="1519"/>
                  </a:lnTo>
                  <a:lnTo>
                    <a:pt x="40" y="1519"/>
                  </a:lnTo>
                  <a:lnTo>
                    <a:pt x="45" y="1519"/>
                  </a:lnTo>
                  <a:lnTo>
                    <a:pt x="45" y="1519"/>
                  </a:lnTo>
                  <a:lnTo>
                    <a:pt x="45" y="1519"/>
                  </a:lnTo>
                  <a:lnTo>
                    <a:pt x="45" y="1519"/>
                  </a:lnTo>
                  <a:lnTo>
                    <a:pt x="49" y="1519"/>
                  </a:lnTo>
                  <a:lnTo>
                    <a:pt x="49" y="1515"/>
                  </a:lnTo>
                  <a:lnTo>
                    <a:pt x="49" y="1510"/>
                  </a:lnTo>
                  <a:lnTo>
                    <a:pt x="49" y="1510"/>
                  </a:lnTo>
                  <a:lnTo>
                    <a:pt x="49" y="1510"/>
                  </a:lnTo>
                  <a:lnTo>
                    <a:pt x="49" y="1506"/>
                  </a:lnTo>
                  <a:lnTo>
                    <a:pt x="49" y="1506"/>
                  </a:lnTo>
                  <a:lnTo>
                    <a:pt x="49" y="1506"/>
                  </a:lnTo>
                  <a:lnTo>
                    <a:pt x="49" y="1510"/>
                  </a:lnTo>
                  <a:lnTo>
                    <a:pt x="49" y="1515"/>
                  </a:lnTo>
                  <a:lnTo>
                    <a:pt x="53" y="1515"/>
                  </a:lnTo>
                  <a:lnTo>
                    <a:pt x="53" y="1515"/>
                  </a:lnTo>
                  <a:lnTo>
                    <a:pt x="49" y="1515"/>
                  </a:lnTo>
                  <a:lnTo>
                    <a:pt x="49" y="1519"/>
                  </a:lnTo>
                  <a:lnTo>
                    <a:pt x="49" y="1519"/>
                  </a:lnTo>
                  <a:lnTo>
                    <a:pt x="49" y="1519"/>
                  </a:lnTo>
                  <a:lnTo>
                    <a:pt x="49" y="1519"/>
                  </a:lnTo>
                  <a:lnTo>
                    <a:pt x="53" y="1519"/>
                  </a:lnTo>
                  <a:lnTo>
                    <a:pt x="53" y="1519"/>
                  </a:lnTo>
                  <a:lnTo>
                    <a:pt x="53" y="1519"/>
                  </a:lnTo>
                  <a:lnTo>
                    <a:pt x="53" y="1515"/>
                  </a:lnTo>
                  <a:lnTo>
                    <a:pt x="53" y="1515"/>
                  </a:lnTo>
                  <a:lnTo>
                    <a:pt x="53" y="1515"/>
                  </a:lnTo>
                  <a:lnTo>
                    <a:pt x="53" y="1515"/>
                  </a:lnTo>
                  <a:lnTo>
                    <a:pt x="53" y="1515"/>
                  </a:lnTo>
                  <a:lnTo>
                    <a:pt x="58" y="1515"/>
                  </a:lnTo>
                  <a:lnTo>
                    <a:pt x="58" y="1515"/>
                  </a:lnTo>
                  <a:lnTo>
                    <a:pt x="58" y="1515"/>
                  </a:lnTo>
                  <a:lnTo>
                    <a:pt x="58" y="1515"/>
                  </a:lnTo>
                  <a:lnTo>
                    <a:pt x="62" y="1515"/>
                  </a:lnTo>
                  <a:lnTo>
                    <a:pt x="62" y="1515"/>
                  </a:lnTo>
                  <a:lnTo>
                    <a:pt x="62" y="1510"/>
                  </a:lnTo>
                  <a:lnTo>
                    <a:pt x="62" y="1510"/>
                  </a:lnTo>
                  <a:lnTo>
                    <a:pt x="58" y="1506"/>
                  </a:lnTo>
                  <a:lnTo>
                    <a:pt x="58" y="1506"/>
                  </a:lnTo>
                  <a:lnTo>
                    <a:pt x="58" y="1506"/>
                  </a:lnTo>
                  <a:lnTo>
                    <a:pt x="58" y="1506"/>
                  </a:lnTo>
                  <a:lnTo>
                    <a:pt x="53" y="1506"/>
                  </a:lnTo>
                  <a:lnTo>
                    <a:pt x="53" y="1506"/>
                  </a:lnTo>
                  <a:lnTo>
                    <a:pt x="53" y="1506"/>
                  </a:lnTo>
                  <a:lnTo>
                    <a:pt x="53" y="1501"/>
                  </a:lnTo>
                  <a:lnTo>
                    <a:pt x="53" y="1501"/>
                  </a:lnTo>
                  <a:lnTo>
                    <a:pt x="53" y="1501"/>
                  </a:lnTo>
                  <a:lnTo>
                    <a:pt x="58" y="1506"/>
                  </a:lnTo>
                  <a:lnTo>
                    <a:pt x="58" y="1501"/>
                  </a:lnTo>
                  <a:lnTo>
                    <a:pt x="58" y="1501"/>
                  </a:lnTo>
                  <a:lnTo>
                    <a:pt x="58" y="1501"/>
                  </a:lnTo>
                  <a:lnTo>
                    <a:pt x="58" y="1497"/>
                  </a:lnTo>
                  <a:lnTo>
                    <a:pt x="58" y="1497"/>
                  </a:lnTo>
                  <a:lnTo>
                    <a:pt x="58" y="1497"/>
                  </a:lnTo>
                  <a:lnTo>
                    <a:pt x="58" y="1492"/>
                  </a:lnTo>
                  <a:lnTo>
                    <a:pt x="62" y="1492"/>
                  </a:lnTo>
                  <a:lnTo>
                    <a:pt x="62" y="1492"/>
                  </a:lnTo>
                  <a:lnTo>
                    <a:pt x="62" y="1497"/>
                  </a:lnTo>
                  <a:lnTo>
                    <a:pt x="62" y="1497"/>
                  </a:lnTo>
                  <a:lnTo>
                    <a:pt x="62" y="1497"/>
                  </a:lnTo>
                  <a:lnTo>
                    <a:pt x="62" y="1497"/>
                  </a:lnTo>
                  <a:lnTo>
                    <a:pt x="62" y="1501"/>
                  </a:lnTo>
                  <a:lnTo>
                    <a:pt x="62" y="1501"/>
                  </a:lnTo>
                  <a:lnTo>
                    <a:pt x="67" y="1501"/>
                  </a:lnTo>
                  <a:lnTo>
                    <a:pt x="71" y="1501"/>
                  </a:lnTo>
                  <a:lnTo>
                    <a:pt x="76" y="1497"/>
                  </a:lnTo>
                  <a:lnTo>
                    <a:pt x="76" y="1497"/>
                  </a:lnTo>
                  <a:lnTo>
                    <a:pt x="76" y="1497"/>
                  </a:lnTo>
                  <a:lnTo>
                    <a:pt x="80" y="1501"/>
                  </a:lnTo>
                  <a:lnTo>
                    <a:pt x="67" y="1506"/>
                  </a:lnTo>
                  <a:lnTo>
                    <a:pt x="62" y="1501"/>
                  </a:lnTo>
                  <a:lnTo>
                    <a:pt x="62" y="1506"/>
                  </a:lnTo>
                  <a:lnTo>
                    <a:pt x="62" y="1506"/>
                  </a:lnTo>
                  <a:lnTo>
                    <a:pt x="62" y="1506"/>
                  </a:lnTo>
                  <a:lnTo>
                    <a:pt x="62" y="1510"/>
                  </a:lnTo>
                  <a:lnTo>
                    <a:pt x="62" y="1510"/>
                  </a:lnTo>
                  <a:lnTo>
                    <a:pt x="67" y="1510"/>
                  </a:lnTo>
                  <a:lnTo>
                    <a:pt x="67" y="1510"/>
                  </a:lnTo>
                  <a:lnTo>
                    <a:pt x="67" y="1510"/>
                  </a:lnTo>
                  <a:lnTo>
                    <a:pt x="67" y="1515"/>
                  </a:lnTo>
                  <a:lnTo>
                    <a:pt x="67" y="1515"/>
                  </a:lnTo>
                  <a:lnTo>
                    <a:pt x="71" y="1510"/>
                  </a:lnTo>
                  <a:lnTo>
                    <a:pt x="71" y="1510"/>
                  </a:lnTo>
                  <a:lnTo>
                    <a:pt x="71" y="1510"/>
                  </a:lnTo>
                  <a:lnTo>
                    <a:pt x="71" y="1510"/>
                  </a:lnTo>
                  <a:lnTo>
                    <a:pt x="67" y="1510"/>
                  </a:lnTo>
                  <a:lnTo>
                    <a:pt x="67" y="1506"/>
                  </a:lnTo>
                  <a:lnTo>
                    <a:pt x="67" y="1506"/>
                  </a:lnTo>
                  <a:lnTo>
                    <a:pt x="71" y="1506"/>
                  </a:lnTo>
                  <a:lnTo>
                    <a:pt x="71" y="1506"/>
                  </a:lnTo>
                  <a:lnTo>
                    <a:pt x="71" y="1506"/>
                  </a:lnTo>
                  <a:lnTo>
                    <a:pt x="71" y="1506"/>
                  </a:lnTo>
                  <a:lnTo>
                    <a:pt x="71" y="1506"/>
                  </a:lnTo>
                  <a:lnTo>
                    <a:pt x="71" y="1510"/>
                  </a:lnTo>
                  <a:lnTo>
                    <a:pt x="71" y="1506"/>
                  </a:lnTo>
                  <a:lnTo>
                    <a:pt x="76" y="1506"/>
                  </a:lnTo>
                  <a:lnTo>
                    <a:pt x="76" y="1506"/>
                  </a:lnTo>
                  <a:lnTo>
                    <a:pt x="76" y="1501"/>
                  </a:lnTo>
                  <a:lnTo>
                    <a:pt x="80" y="1501"/>
                  </a:lnTo>
                  <a:lnTo>
                    <a:pt x="80" y="1501"/>
                  </a:lnTo>
                  <a:lnTo>
                    <a:pt x="80" y="1497"/>
                  </a:lnTo>
                  <a:lnTo>
                    <a:pt x="80" y="1497"/>
                  </a:lnTo>
                  <a:lnTo>
                    <a:pt x="84" y="1492"/>
                  </a:lnTo>
                  <a:lnTo>
                    <a:pt x="84" y="1492"/>
                  </a:lnTo>
                  <a:lnTo>
                    <a:pt x="84" y="1492"/>
                  </a:lnTo>
                  <a:lnTo>
                    <a:pt x="84" y="1488"/>
                  </a:lnTo>
                  <a:lnTo>
                    <a:pt x="84" y="1484"/>
                  </a:lnTo>
                  <a:lnTo>
                    <a:pt x="84" y="1484"/>
                  </a:lnTo>
                  <a:lnTo>
                    <a:pt x="84" y="1484"/>
                  </a:lnTo>
                  <a:lnTo>
                    <a:pt x="84" y="1484"/>
                  </a:lnTo>
                  <a:lnTo>
                    <a:pt x="84" y="1484"/>
                  </a:lnTo>
                  <a:lnTo>
                    <a:pt x="84" y="1488"/>
                  </a:lnTo>
                  <a:lnTo>
                    <a:pt x="84" y="1488"/>
                  </a:lnTo>
                  <a:lnTo>
                    <a:pt x="84" y="1492"/>
                  </a:lnTo>
                  <a:lnTo>
                    <a:pt x="84" y="1492"/>
                  </a:lnTo>
                  <a:lnTo>
                    <a:pt x="84" y="1492"/>
                  </a:lnTo>
                  <a:lnTo>
                    <a:pt x="84" y="1497"/>
                  </a:lnTo>
                  <a:lnTo>
                    <a:pt x="84" y="1497"/>
                  </a:lnTo>
                  <a:lnTo>
                    <a:pt x="89" y="1492"/>
                  </a:lnTo>
                  <a:lnTo>
                    <a:pt x="98" y="1492"/>
                  </a:lnTo>
                  <a:lnTo>
                    <a:pt x="98" y="1492"/>
                  </a:lnTo>
                  <a:lnTo>
                    <a:pt x="93" y="1492"/>
                  </a:lnTo>
                  <a:lnTo>
                    <a:pt x="84" y="1497"/>
                  </a:lnTo>
                  <a:lnTo>
                    <a:pt x="80" y="1497"/>
                  </a:lnTo>
                  <a:lnTo>
                    <a:pt x="80" y="1501"/>
                  </a:lnTo>
                  <a:lnTo>
                    <a:pt x="80" y="1501"/>
                  </a:lnTo>
                  <a:lnTo>
                    <a:pt x="80" y="1501"/>
                  </a:lnTo>
                  <a:lnTo>
                    <a:pt x="80" y="1506"/>
                  </a:lnTo>
                  <a:lnTo>
                    <a:pt x="80" y="1506"/>
                  </a:lnTo>
                  <a:lnTo>
                    <a:pt x="80" y="1506"/>
                  </a:lnTo>
                  <a:lnTo>
                    <a:pt x="80" y="1506"/>
                  </a:lnTo>
                  <a:lnTo>
                    <a:pt x="80" y="1506"/>
                  </a:lnTo>
                  <a:lnTo>
                    <a:pt x="80" y="1506"/>
                  </a:lnTo>
                  <a:lnTo>
                    <a:pt x="80" y="1506"/>
                  </a:lnTo>
                  <a:lnTo>
                    <a:pt x="76" y="1506"/>
                  </a:lnTo>
                  <a:lnTo>
                    <a:pt x="76" y="1510"/>
                  </a:lnTo>
                  <a:lnTo>
                    <a:pt x="71" y="1510"/>
                  </a:lnTo>
                  <a:lnTo>
                    <a:pt x="71" y="1510"/>
                  </a:lnTo>
                  <a:lnTo>
                    <a:pt x="71" y="1510"/>
                  </a:lnTo>
                  <a:lnTo>
                    <a:pt x="71" y="1510"/>
                  </a:lnTo>
                  <a:lnTo>
                    <a:pt x="71" y="1515"/>
                  </a:lnTo>
                  <a:lnTo>
                    <a:pt x="71" y="1515"/>
                  </a:lnTo>
                  <a:lnTo>
                    <a:pt x="71" y="1515"/>
                  </a:lnTo>
                  <a:lnTo>
                    <a:pt x="71" y="1515"/>
                  </a:lnTo>
                  <a:lnTo>
                    <a:pt x="71" y="1515"/>
                  </a:lnTo>
                  <a:lnTo>
                    <a:pt x="71" y="1515"/>
                  </a:lnTo>
                  <a:lnTo>
                    <a:pt x="71" y="1515"/>
                  </a:lnTo>
                  <a:lnTo>
                    <a:pt x="71" y="1515"/>
                  </a:lnTo>
                  <a:lnTo>
                    <a:pt x="76" y="1515"/>
                  </a:lnTo>
                  <a:lnTo>
                    <a:pt x="76" y="1515"/>
                  </a:lnTo>
                  <a:lnTo>
                    <a:pt x="76" y="1515"/>
                  </a:lnTo>
                  <a:lnTo>
                    <a:pt x="76" y="1515"/>
                  </a:lnTo>
                  <a:lnTo>
                    <a:pt x="76" y="1515"/>
                  </a:lnTo>
                  <a:lnTo>
                    <a:pt x="76" y="1515"/>
                  </a:lnTo>
                  <a:lnTo>
                    <a:pt x="76" y="1515"/>
                  </a:lnTo>
                  <a:lnTo>
                    <a:pt x="76" y="1515"/>
                  </a:lnTo>
                  <a:lnTo>
                    <a:pt x="76" y="1515"/>
                  </a:lnTo>
                  <a:lnTo>
                    <a:pt x="80" y="1515"/>
                  </a:lnTo>
                  <a:lnTo>
                    <a:pt x="80" y="1515"/>
                  </a:lnTo>
                  <a:lnTo>
                    <a:pt x="80" y="1515"/>
                  </a:lnTo>
                  <a:lnTo>
                    <a:pt x="80" y="1515"/>
                  </a:lnTo>
                  <a:lnTo>
                    <a:pt x="80" y="1515"/>
                  </a:lnTo>
                  <a:lnTo>
                    <a:pt x="80" y="1515"/>
                  </a:lnTo>
                  <a:lnTo>
                    <a:pt x="80" y="1515"/>
                  </a:lnTo>
                  <a:lnTo>
                    <a:pt x="80" y="1515"/>
                  </a:lnTo>
                  <a:lnTo>
                    <a:pt x="80" y="1515"/>
                  </a:lnTo>
                  <a:lnTo>
                    <a:pt x="80" y="1515"/>
                  </a:lnTo>
                  <a:lnTo>
                    <a:pt x="84" y="1515"/>
                  </a:lnTo>
                  <a:lnTo>
                    <a:pt x="84" y="1519"/>
                  </a:lnTo>
                  <a:lnTo>
                    <a:pt x="76" y="1519"/>
                  </a:lnTo>
                  <a:lnTo>
                    <a:pt x="76" y="1523"/>
                  </a:lnTo>
                  <a:lnTo>
                    <a:pt x="80" y="1523"/>
                  </a:lnTo>
                  <a:lnTo>
                    <a:pt x="80" y="1519"/>
                  </a:lnTo>
                  <a:lnTo>
                    <a:pt x="89" y="1515"/>
                  </a:lnTo>
                  <a:lnTo>
                    <a:pt x="89" y="1515"/>
                  </a:lnTo>
                  <a:lnTo>
                    <a:pt x="93" y="1515"/>
                  </a:lnTo>
                  <a:lnTo>
                    <a:pt x="93" y="1515"/>
                  </a:lnTo>
                  <a:lnTo>
                    <a:pt x="89" y="1515"/>
                  </a:lnTo>
                  <a:lnTo>
                    <a:pt x="89" y="1519"/>
                  </a:lnTo>
                  <a:lnTo>
                    <a:pt x="84" y="1519"/>
                  </a:lnTo>
                  <a:lnTo>
                    <a:pt x="80" y="1523"/>
                  </a:lnTo>
                  <a:lnTo>
                    <a:pt x="76" y="1523"/>
                  </a:lnTo>
                  <a:lnTo>
                    <a:pt x="76" y="1528"/>
                  </a:lnTo>
                  <a:lnTo>
                    <a:pt x="76" y="1528"/>
                  </a:lnTo>
                  <a:lnTo>
                    <a:pt x="71" y="1532"/>
                  </a:lnTo>
                  <a:lnTo>
                    <a:pt x="71" y="1532"/>
                  </a:lnTo>
                  <a:lnTo>
                    <a:pt x="71" y="1532"/>
                  </a:lnTo>
                  <a:lnTo>
                    <a:pt x="76" y="1532"/>
                  </a:lnTo>
                  <a:lnTo>
                    <a:pt x="76" y="1532"/>
                  </a:lnTo>
                  <a:lnTo>
                    <a:pt x="76" y="1537"/>
                  </a:lnTo>
                  <a:lnTo>
                    <a:pt x="71" y="1537"/>
                  </a:lnTo>
                  <a:lnTo>
                    <a:pt x="71" y="1537"/>
                  </a:lnTo>
                  <a:lnTo>
                    <a:pt x="67" y="1537"/>
                  </a:lnTo>
                  <a:lnTo>
                    <a:pt x="62" y="1537"/>
                  </a:lnTo>
                  <a:lnTo>
                    <a:pt x="62" y="1541"/>
                  </a:lnTo>
                  <a:lnTo>
                    <a:pt x="62" y="1541"/>
                  </a:lnTo>
                  <a:lnTo>
                    <a:pt x="62" y="1546"/>
                  </a:lnTo>
                  <a:lnTo>
                    <a:pt x="67" y="1546"/>
                  </a:lnTo>
                  <a:lnTo>
                    <a:pt x="67" y="1546"/>
                  </a:lnTo>
                  <a:lnTo>
                    <a:pt x="67" y="1546"/>
                  </a:lnTo>
                  <a:lnTo>
                    <a:pt x="71" y="1546"/>
                  </a:lnTo>
                  <a:lnTo>
                    <a:pt x="71" y="1546"/>
                  </a:lnTo>
                  <a:lnTo>
                    <a:pt x="71" y="1546"/>
                  </a:lnTo>
                  <a:lnTo>
                    <a:pt x="71" y="1550"/>
                  </a:lnTo>
                  <a:lnTo>
                    <a:pt x="71" y="1550"/>
                  </a:lnTo>
                  <a:lnTo>
                    <a:pt x="71" y="1550"/>
                  </a:lnTo>
                  <a:lnTo>
                    <a:pt x="71" y="1550"/>
                  </a:lnTo>
                  <a:lnTo>
                    <a:pt x="71" y="1550"/>
                  </a:lnTo>
                  <a:lnTo>
                    <a:pt x="67" y="1554"/>
                  </a:lnTo>
                  <a:lnTo>
                    <a:pt x="71" y="1554"/>
                  </a:lnTo>
                  <a:lnTo>
                    <a:pt x="71" y="1559"/>
                  </a:lnTo>
                  <a:lnTo>
                    <a:pt x="76" y="1550"/>
                  </a:lnTo>
                  <a:lnTo>
                    <a:pt x="80" y="1550"/>
                  </a:lnTo>
                  <a:lnTo>
                    <a:pt x="84" y="1550"/>
                  </a:lnTo>
                  <a:lnTo>
                    <a:pt x="89" y="1546"/>
                  </a:lnTo>
                  <a:lnTo>
                    <a:pt x="102" y="1541"/>
                  </a:lnTo>
                  <a:lnTo>
                    <a:pt x="102" y="1546"/>
                  </a:lnTo>
                  <a:lnTo>
                    <a:pt x="80" y="1550"/>
                  </a:lnTo>
                  <a:lnTo>
                    <a:pt x="76" y="1554"/>
                  </a:lnTo>
                  <a:lnTo>
                    <a:pt x="76" y="1554"/>
                  </a:lnTo>
                  <a:lnTo>
                    <a:pt x="76" y="1559"/>
                  </a:lnTo>
                  <a:lnTo>
                    <a:pt x="76" y="1559"/>
                  </a:lnTo>
                  <a:lnTo>
                    <a:pt x="71" y="1559"/>
                  </a:lnTo>
                  <a:lnTo>
                    <a:pt x="76" y="1563"/>
                  </a:lnTo>
                  <a:lnTo>
                    <a:pt x="76" y="1563"/>
                  </a:lnTo>
                  <a:lnTo>
                    <a:pt x="76" y="1563"/>
                  </a:lnTo>
                  <a:lnTo>
                    <a:pt x="76" y="1563"/>
                  </a:lnTo>
                  <a:lnTo>
                    <a:pt x="80" y="1563"/>
                  </a:lnTo>
                  <a:lnTo>
                    <a:pt x="80" y="1568"/>
                  </a:lnTo>
                  <a:lnTo>
                    <a:pt x="76" y="1568"/>
                  </a:lnTo>
                  <a:lnTo>
                    <a:pt x="76" y="1563"/>
                  </a:lnTo>
                  <a:lnTo>
                    <a:pt x="67" y="1559"/>
                  </a:lnTo>
                  <a:lnTo>
                    <a:pt x="67" y="1559"/>
                  </a:lnTo>
                  <a:lnTo>
                    <a:pt x="67" y="1554"/>
                  </a:lnTo>
                  <a:lnTo>
                    <a:pt x="67" y="1554"/>
                  </a:lnTo>
                  <a:lnTo>
                    <a:pt x="62" y="1554"/>
                  </a:lnTo>
                  <a:lnTo>
                    <a:pt x="62" y="1554"/>
                  </a:lnTo>
                  <a:lnTo>
                    <a:pt x="62" y="1554"/>
                  </a:lnTo>
                  <a:lnTo>
                    <a:pt x="62" y="1554"/>
                  </a:lnTo>
                  <a:lnTo>
                    <a:pt x="62" y="1554"/>
                  </a:lnTo>
                  <a:lnTo>
                    <a:pt x="62" y="1554"/>
                  </a:lnTo>
                  <a:lnTo>
                    <a:pt x="62" y="1554"/>
                  </a:lnTo>
                  <a:lnTo>
                    <a:pt x="58" y="1554"/>
                  </a:lnTo>
                  <a:lnTo>
                    <a:pt x="58" y="1554"/>
                  </a:lnTo>
                  <a:lnTo>
                    <a:pt x="58" y="1559"/>
                  </a:lnTo>
                  <a:lnTo>
                    <a:pt x="53" y="1563"/>
                  </a:lnTo>
                  <a:lnTo>
                    <a:pt x="53" y="1559"/>
                  </a:lnTo>
                  <a:lnTo>
                    <a:pt x="53" y="1559"/>
                  </a:lnTo>
                  <a:lnTo>
                    <a:pt x="53" y="1554"/>
                  </a:lnTo>
                  <a:lnTo>
                    <a:pt x="53" y="1550"/>
                  </a:lnTo>
                  <a:lnTo>
                    <a:pt x="45" y="1546"/>
                  </a:lnTo>
                  <a:lnTo>
                    <a:pt x="45" y="1550"/>
                  </a:lnTo>
                  <a:lnTo>
                    <a:pt x="45" y="1550"/>
                  </a:lnTo>
                  <a:lnTo>
                    <a:pt x="45" y="1550"/>
                  </a:lnTo>
                  <a:lnTo>
                    <a:pt x="45" y="1550"/>
                  </a:lnTo>
                  <a:lnTo>
                    <a:pt x="49" y="1550"/>
                  </a:lnTo>
                  <a:lnTo>
                    <a:pt x="49" y="1550"/>
                  </a:lnTo>
                  <a:lnTo>
                    <a:pt x="49" y="1550"/>
                  </a:lnTo>
                  <a:lnTo>
                    <a:pt x="49" y="1550"/>
                  </a:lnTo>
                  <a:lnTo>
                    <a:pt x="49" y="1550"/>
                  </a:lnTo>
                  <a:lnTo>
                    <a:pt x="45" y="1554"/>
                  </a:lnTo>
                  <a:lnTo>
                    <a:pt x="49" y="1554"/>
                  </a:lnTo>
                  <a:lnTo>
                    <a:pt x="49" y="1554"/>
                  </a:lnTo>
                  <a:lnTo>
                    <a:pt x="49" y="1559"/>
                  </a:lnTo>
                  <a:lnTo>
                    <a:pt x="49" y="1559"/>
                  </a:lnTo>
                  <a:lnTo>
                    <a:pt x="49" y="1559"/>
                  </a:lnTo>
                  <a:lnTo>
                    <a:pt x="49" y="1554"/>
                  </a:lnTo>
                  <a:lnTo>
                    <a:pt x="45" y="1554"/>
                  </a:lnTo>
                  <a:lnTo>
                    <a:pt x="45" y="1554"/>
                  </a:lnTo>
                  <a:lnTo>
                    <a:pt x="45" y="1554"/>
                  </a:lnTo>
                  <a:lnTo>
                    <a:pt x="45" y="1554"/>
                  </a:lnTo>
                  <a:lnTo>
                    <a:pt x="45" y="1554"/>
                  </a:lnTo>
                  <a:lnTo>
                    <a:pt x="45" y="1559"/>
                  </a:lnTo>
                  <a:lnTo>
                    <a:pt x="45" y="1559"/>
                  </a:lnTo>
                  <a:lnTo>
                    <a:pt x="49" y="1559"/>
                  </a:lnTo>
                  <a:lnTo>
                    <a:pt x="49" y="1559"/>
                  </a:lnTo>
                  <a:lnTo>
                    <a:pt x="49" y="1559"/>
                  </a:lnTo>
                  <a:lnTo>
                    <a:pt x="49" y="1563"/>
                  </a:lnTo>
                  <a:lnTo>
                    <a:pt x="45" y="1563"/>
                  </a:lnTo>
                  <a:lnTo>
                    <a:pt x="45" y="1563"/>
                  </a:lnTo>
                  <a:lnTo>
                    <a:pt x="45" y="1563"/>
                  </a:lnTo>
                  <a:lnTo>
                    <a:pt x="45" y="1563"/>
                  </a:lnTo>
                  <a:lnTo>
                    <a:pt x="45" y="1568"/>
                  </a:lnTo>
                  <a:lnTo>
                    <a:pt x="45" y="1568"/>
                  </a:lnTo>
                  <a:lnTo>
                    <a:pt x="45" y="1568"/>
                  </a:lnTo>
                  <a:lnTo>
                    <a:pt x="45" y="1572"/>
                  </a:lnTo>
                  <a:lnTo>
                    <a:pt x="45" y="1572"/>
                  </a:lnTo>
                  <a:lnTo>
                    <a:pt x="45" y="1577"/>
                  </a:lnTo>
                  <a:lnTo>
                    <a:pt x="45" y="1577"/>
                  </a:lnTo>
                  <a:lnTo>
                    <a:pt x="45" y="1577"/>
                  </a:lnTo>
                  <a:lnTo>
                    <a:pt x="45" y="1581"/>
                  </a:lnTo>
                  <a:lnTo>
                    <a:pt x="45" y="1585"/>
                  </a:lnTo>
                  <a:lnTo>
                    <a:pt x="49" y="1585"/>
                  </a:lnTo>
                  <a:lnTo>
                    <a:pt x="49" y="1590"/>
                  </a:lnTo>
                  <a:lnTo>
                    <a:pt x="53" y="1594"/>
                  </a:lnTo>
                  <a:lnTo>
                    <a:pt x="53" y="1594"/>
                  </a:lnTo>
                  <a:lnTo>
                    <a:pt x="53" y="1599"/>
                  </a:lnTo>
                  <a:lnTo>
                    <a:pt x="58" y="1599"/>
                  </a:lnTo>
                  <a:lnTo>
                    <a:pt x="58" y="1599"/>
                  </a:lnTo>
                  <a:lnTo>
                    <a:pt x="58" y="1603"/>
                  </a:lnTo>
                  <a:lnTo>
                    <a:pt x="62" y="1603"/>
                  </a:lnTo>
                  <a:lnTo>
                    <a:pt x="67" y="1603"/>
                  </a:lnTo>
                  <a:lnTo>
                    <a:pt x="67" y="1603"/>
                  </a:lnTo>
                  <a:lnTo>
                    <a:pt x="67" y="1603"/>
                  </a:lnTo>
                  <a:lnTo>
                    <a:pt x="67" y="1603"/>
                  </a:lnTo>
                  <a:lnTo>
                    <a:pt x="67" y="1603"/>
                  </a:lnTo>
                  <a:lnTo>
                    <a:pt x="67" y="1608"/>
                  </a:lnTo>
                  <a:lnTo>
                    <a:pt x="67" y="1608"/>
                  </a:lnTo>
                  <a:lnTo>
                    <a:pt x="71" y="1608"/>
                  </a:lnTo>
                  <a:lnTo>
                    <a:pt x="71" y="1608"/>
                  </a:lnTo>
                  <a:lnTo>
                    <a:pt x="71" y="1612"/>
                  </a:lnTo>
                  <a:lnTo>
                    <a:pt x="71" y="1612"/>
                  </a:lnTo>
                  <a:lnTo>
                    <a:pt x="71" y="1612"/>
                  </a:lnTo>
                  <a:lnTo>
                    <a:pt x="71" y="1612"/>
                  </a:lnTo>
                  <a:lnTo>
                    <a:pt x="76" y="1612"/>
                  </a:lnTo>
                  <a:lnTo>
                    <a:pt x="76" y="1616"/>
                  </a:lnTo>
                  <a:lnTo>
                    <a:pt x="76" y="1616"/>
                  </a:lnTo>
                  <a:lnTo>
                    <a:pt x="80" y="1616"/>
                  </a:lnTo>
                  <a:lnTo>
                    <a:pt x="80" y="1616"/>
                  </a:lnTo>
                  <a:lnTo>
                    <a:pt x="84" y="1616"/>
                  </a:lnTo>
                  <a:lnTo>
                    <a:pt x="84" y="1616"/>
                  </a:lnTo>
                  <a:lnTo>
                    <a:pt x="84" y="1621"/>
                  </a:lnTo>
                  <a:lnTo>
                    <a:pt x="84" y="1621"/>
                  </a:lnTo>
                  <a:lnTo>
                    <a:pt x="84" y="1621"/>
                  </a:lnTo>
                  <a:lnTo>
                    <a:pt x="89" y="1621"/>
                  </a:lnTo>
                  <a:lnTo>
                    <a:pt x="93" y="1621"/>
                  </a:lnTo>
                  <a:lnTo>
                    <a:pt x="98" y="1625"/>
                  </a:lnTo>
                  <a:lnTo>
                    <a:pt x="98" y="1625"/>
                  </a:lnTo>
                  <a:lnTo>
                    <a:pt x="102" y="1625"/>
                  </a:lnTo>
                  <a:lnTo>
                    <a:pt x="102" y="1625"/>
                  </a:lnTo>
                  <a:lnTo>
                    <a:pt x="102" y="1616"/>
                  </a:lnTo>
                  <a:lnTo>
                    <a:pt x="102" y="1616"/>
                  </a:lnTo>
                  <a:lnTo>
                    <a:pt x="107" y="1616"/>
                  </a:lnTo>
                  <a:lnTo>
                    <a:pt x="107" y="1616"/>
                  </a:lnTo>
                  <a:lnTo>
                    <a:pt x="107" y="1621"/>
                  </a:lnTo>
                  <a:lnTo>
                    <a:pt x="107" y="1621"/>
                  </a:lnTo>
                  <a:lnTo>
                    <a:pt x="107" y="1621"/>
                  </a:lnTo>
                  <a:lnTo>
                    <a:pt x="107" y="1621"/>
                  </a:lnTo>
                  <a:lnTo>
                    <a:pt x="102" y="1621"/>
                  </a:lnTo>
                  <a:lnTo>
                    <a:pt x="102" y="1621"/>
                  </a:lnTo>
                  <a:lnTo>
                    <a:pt x="102" y="1625"/>
                  </a:lnTo>
                  <a:lnTo>
                    <a:pt x="107" y="1625"/>
                  </a:lnTo>
                  <a:lnTo>
                    <a:pt x="107" y="1630"/>
                  </a:lnTo>
                  <a:lnTo>
                    <a:pt x="107" y="1630"/>
                  </a:lnTo>
                  <a:lnTo>
                    <a:pt x="111" y="1625"/>
                  </a:lnTo>
                  <a:lnTo>
                    <a:pt x="111" y="1625"/>
                  </a:lnTo>
                  <a:lnTo>
                    <a:pt x="115" y="1621"/>
                  </a:lnTo>
                  <a:lnTo>
                    <a:pt x="115" y="1625"/>
                  </a:lnTo>
                  <a:lnTo>
                    <a:pt x="111" y="1625"/>
                  </a:lnTo>
                  <a:lnTo>
                    <a:pt x="107" y="1630"/>
                  </a:lnTo>
                  <a:lnTo>
                    <a:pt x="107" y="1630"/>
                  </a:lnTo>
                  <a:lnTo>
                    <a:pt x="107" y="1630"/>
                  </a:lnTo>
                  <a:lnTo>
                    <a:pt x="107" y="1630"/>
                  </a:lnTo>
                  <a:lnTo>
                    <a:pt x="107" y="1634"/>
                  </a:lnTo>
                  <a:lnTo>
                    <a:pt x="107" y="1634"/>
                  </a:lnTo>
                  <a:lnTo>
                    <a:pt x="102" y="1634"/>
                  </a:lnTo>
                  <a:lnTo>
                    <a:pt x="102" y="1634"/>
                  </a:lnTo>
                  <a:lnTo>
                    <a:pt x="102" y="1634"/>
                  </a:lnTo>
                  <a:lnTo>
                    <a:pt x="102" y="1639"/>
                  </a:lnTo>
                  <a:lnTo>
                    <a:pt x="98" y="1639"/>
                  </a:lnTo>
                  <a:lnTo>
                    <a:pt x="98" y="1639"/>
                  </a:lnTo>
                  <a:lnTo>
                    <a:pt x="98" y="1639"/>
                  </a:lnTo>
                  <a:lnTo>
                    <a:pt x="102" y="1643"/>
                  </a:lnTo>
                  <a:lnTo>
                    <a:pt x="102" y="1643"/>
                  </a:lnTo>
                  <a:lnTo>
                    <a:pt x="107" y="1643"/>
                  </a:lnTo>
                  <a:lnTo>
                    <a:pt x="111" y="1643"/>
                  </a:lnTo>
                  <a:lnTo>
                    <a:pt x="111" y="1643"/>
                  </a:lnTo>
                  <a:lnTo>
                    <a:pt x="111" y="1643"/>
                  </a:lnTo>
                  <a:lnTo>
                    <a:pt x="111" y="1643"/>
                  </a:lnTo>
                  <a:lnTo>
                    <a:pt x="111" y="1643"/>
                  </a:lnTo>
                  <a:lnTo>
                    <a:pt x="111" y="1643"/>
                  </a:lnTo>
                  <a:lnTo>
                    <a:pt x="111" y="1643"/>
                  </a:lnTo>
                  <a:lnTo>
                    <a:pt x="111" y="1643"/>
                  </a:lnTo>
                  <a:lnTo>
                    <a:pt x="107" y="1639"/>
                  </a:lnTo>
                  <a:lnTo>
                    <a:pt x="107" y="1639"/>
                  </a:lnTo>
                  <a:lnTo>
                    <a:pt x="107" y="1639"/>
                  </a:lnTo>
                  <a:lnTo>
                    <a:pt x="107" y="1639"/>
                  </a:lnTo>
                  <a:lnTo>
                    <a:pt x="107" y="1639"/>
                  </a:lnTo>
                  <a:lnTo>
                    <a:pt x="107" y="1639"/>
                  </a:lnTo>
                  <a:lnTo>
                    <a:pt x="107" y="1630"/>
                  </a:lnTo>
                  <a:lnTo>
                    <a:pt x="107" y="1634"/>
                  </a:lnTo>
                  <a:lnTo>
                    <a:pt x="107" y="1634"/>
                  </a:lnTo>
                  <a:lnTo>
                    <a:pt x="107" y="1634"/>
                  </a:lnTo>
                  <a:lnTo>
                    <a:pt x="107" y="1639"/>
                  </a:lnTo>
                  <a:lnTo>
                    <a:pt x="107" y="1639"/>
                  </a:lnTo>
                  <a:lnTo>
                    <a:pt x="111" y="1639"/>
                  </a:lnTo>
                  <a:lnTo>
                    <a:pt x="111" y="1639"/>
                  </a:lnTo>
                  <a:lnTo>
                    <a:pt x="111" y="1639"/>
                  </a:lnTo>
                  <a:lnTo>
                    <a:pt x="111" y="1634"/>
                  </a:lnTo>
                  <a:lnTo>
                    <a:pt x="111" y="1634"/>
                  </a:lnTo>
                  <a:lnTo>
                    <a:pt x="115" y="1634"/>
                  </a:lnTo>
                  <a:lnTo>
                    <a:pt x="115" y="1639"/>
                  </a:lnTo>
                  <a:lnTo>
                    <a:pt x="120" y="1639"/>
                  </a:lnTo>
                  <a:lnTo>
                    <a:pt x="120" y="1634"/>
                  </a:lnTo>
                  <a:lnTo>
                    <a:pt x="124" y="1634"/>
                  </a:lnTo>
                  <a:lnTo>
                    <a:pt x="120" y="1639"/>
                  </a:lnTo>
                  <a:lnTo>
                    <a:pt x="120" y="1639"/>
                  </a:lnTo>
                  <a:lnTo>
                    <a:pt x="115" y="1639"/>
                  </a:lnTo>
                  <a:lnTo>
                    <a:pt x="115" y="1639"/>
                  </a:lnTo>
                  <a:lnTo>
                    <a:pt x="111" y="1639"/>
                  </a:lnTo>
                  <a:lnTo>
                    <a:pt x="111" y="1643"/>
                  </a:lnTo>
                  <a:lnTo>
                    <a:pt x="115" y="1643"/>
                  </a:lnTo>
                  <a:lnTo>
                    <a:pt x="115" y="1643"/>
                  </a:lnTo>
                  <a:lnTo>
                    <a:pt x="115" y="1643"/>
                  </a:lnTo>
                  <a:lnTo>
                    <a:pt x="115" y="1643"/>
                  </a:lnTo>
                  <a:lnTo>
                    <a:pt x="115" y="1639"/>
                  </a:lnTo>
                  <a:lnTo>
                    <a:pt x="120" y="1639"/>
                  </a:lnTo>
                  <a:lnTo>
                    <a:pt x="120" y="1643"/>
                  </a:lnTo>
                  <a:lnTo>
                    <a:pt x="120" y="1643"/>
                  </a:lnTo>
                  <a:lnTo>
                    <a:pt x="120" y="1643"/>
                  </a:lnTo>
                  <a:lnTo>
                    <a:pt x="115" y="1643"/>
                  </a:lnTo>
                  <a:lnTo>
                    <a:pt x="120" y="1643"/>
                  </a:lnTo>
                  <a:lnTo>
                    <a:pt x="120" y="1639"/>
                  </a:lnTo>
                  <a:lnTo>
                    <a:pt x="124" y="1639"/>
                  </a:lnTo>
                  <a:lnTo>
                    <a:pt x="120" y="1643"/>
                  </a:lnTo>
                  <a:lnTo>
                    <a:pt x="120" y="1643"/>
                  </a:lnTo>
                  <a:lnTo>
                    <a:pt x="120" y="1647"/>
                  </a:lnTo>
                  <a:lnTo>
                    <a:pt x="120" y="1647"/>
                  </a:lnTo>
                  <a:lnTo>
                    <a:pt x="124" y="1643"/>
                  </a:lnTo>
                  <a:lnTo>
                    <a:pt x="124" y="1643"/>
                  </a:lnTo>
                  <a:lnTo>
                    <a:pt x="124" y="1643"/>
                  </a:lnTo>
                  <a:lnTo>
                    <a:pt x="129" y="1639"/>
                  </a:lnTo>
                  <a:lnTo>
                    <a:pt x="129" y="1639"/>
                  </a:lnTo>
                  <a:lnTo>
                    <a:pt x="129" y="1643"/>
                  </a:lnTo>
                  <a:lnTo>
                    <a:pt x="129" y="1643"/>
                  </a:lnTo>
                  <a:lnTo>
                    <a:pt x="129" y="1643"/>
                  </a:lnTo>
                  <a:lnTo>
                    <a:pt x="129" y="1643"/>
                  </a:lnTo>
                  <a:lnTo>
                    <a:pt x="129" y="1643"/>
                  </a:lnTo>
                  <a:lnTo>
                    <a:pt x="129" y="1643"/>
                  </a:lnTo>
                  <a:lnTo>
                    <a:pt x="129" y="1643"/>
                  </a:lnTo>
                  <a:lnTo>
                    <a:pt x="129" y="1643"/>
                  </a:lnTo>
                  <a:lnTo>
                    <a:pt x="124" y="1643"/>
                  </a:lnTo>
                  <a:lnTo>
                    <a:pt x="124" y="1647"/>
                  </a:lnTo>
                  <a:lnTo>
                    <a:pt x="124" y="1647"/>
                  </a:lnTo>
                  <a:lnTo>
                    <a:pt x="124" y="1647"/>
                  </a:lnTo>
                  <a:lnTo>
                    <a:pt x="124" y="1652"/>
                  </a:lnTo>
                  <a:lnTo>
                    <a:pt x="124" y="1652"/>
                  </a:lnTo>
                  <a:lnTo>
                    <a:pt x="124" y="1652"/>
                  </a:lnTo>
                  <a:lnTo>
                    <a:pt x="124" y="1652"/>
                  </a:lnTo>
                  <a:lnTo>
                    <a:pt x="124" y="1652"/>
                  </a:lnTo>
                  <a:lnTo>
                    <a:pt x="129" y="1647"/>
                  </a:lnTo>
                  <a:lnTo>
                    <a:pt x="129" y="1647"/>
                  </a:lnTo>
                  <a:lnTo>
                    <a:pt x="129" y="1647"/>
                  </a:lnTo>
                  <a:lnTo>
                    <a:pt x="129" y="1647"/>
                  </a:lnTo>
                  <a:lnTo>
                    <a:pt x="129" y="1647"/>
                  </a:lnTo>
                  <a:lnTo>
                    <a:pt x="129" y="1647"/>
                  </a:lnTo>
                  <a:lnTo>
                    <a:pt x="129" y="1647"/>
                  </a:lnTo>
                  <a:lnTo>
                    <a:pt x="133" y="1643"/>
                  </a:lnTo>
                  <a:lnTo>
                    <a:pt x="133" y="1647"/>
                  </a:lnTo>
                  <a:lnTo>
                    <a:pt x="133" y="1647"/>
                  </a:lnTo>
                  <a:lnTo>
                    <a:pt x="133" y="1647"/>
                  </a:lnTo>
                  <a:lnTo>
                    <a:pt x="138" y="1643"/>
                  </a:lnTo>
                  <a:lnTo>
                    <a:pt x="138" y="1647"/>
                  </a:lnTo>
                  <a:lnTo>
                    <a:pt x="138" y="1647"/>
                  </a:lnTo>
                  <a:lnTo>
                    <a:pt x="142" y="1647"/>
                  </a:lnTo>
                  <a:lnTo>
                    <a:pt x="155" y="1647"/>
                  </a:lnTo>
                  <a:lnTo>
                    <a:pt x="155" y="1647"/>
                  </a:lnTo>
                  <a:lnTo>
                    <a:pt x="155" y="1647"/>
                  </a:lnTo>
                  <a:lnTo>
                    <a:pt x="155" y="1647"/>
                  </a:lnTo>
                  <a:lnTo>
                    <a:pt x="155" y="1647"/>
                  </a:lnTo>
                  <a:lnTo>
                    <a:pt x="155" y="1647"/>
                  </a:lnTo>
                  <a:lnTo>
                    <a:pt x="155" y="1647"/>
                  </a:lnTo>
                  <a:lnTo>
                    <a:pt x="155" y="1643"/>
                  </a:lnTo>
                  <a:lnTo>
                    <a:pt x="155" y="1647"/>
                  </a:lnTo>
                  <a:lnTo>
                    <a:pt x="155" y="1647"/>
                  </a:lnTo>
                  <a:lnTo>
                    <a:pt x="160" y="1647"/>
                  </a:lnTo>
                  <a:lnTo>
                    <a:pt x="155" y="1643"/>
                  </a:lnTo>
                  <a:lnTo>
                    <a:pt x="160" y="1643"/>
                  </a:lnTo>
                  <a:lnTo>
                    <a:pt x="160" y="1643"/>
                  </a:lnTo>
                  <a:lnTo>
                    <a:pt x="160" y="1643"/>
                  </a:lnTo>
                  <a:lnTo>
                    <a:pt x="164" y="1643"/>
                  </a:lnTo>
                  <a:lnTo>
                    <a:pt x="173" y="1643"/>
                  </a:lnTo>
                  <a:lnTo>
                    <a:pt x="173" y="1643"/>
                  </a:lnTo>
                  <a:lnTo>
                    <a:pt x="173" y="1639"/>
                  </a:lnTo>
                  <a:lnTo>
                    <a:pt x="173" y="1639"/>
                  </a:lnTo>
                  <a:lnTo>
                    <a:pt x="177" y="1634"/>
                  </a:lnTo>
                  <a:lnTo>
                    <a:pt x="177" y="1634"/>
                  </a:lnTo>
                  <a:lnTo>
                    <a:pt x="177" y="1634"/>
                  </a:lnTo>
                  <a:lnTo>
                    <a:pt x="177" y="1630"/>
                  </a:lnTo>
                  <a:lnTo>
                    <a:pt x="177" y="1630"/>
                  </a:lnTo>
                  <a:lnTo>
                    <a:pt x="177" y="1630"/>
                  </a:lnTo>
                  <a:lnTo>
                    <a:pt x="177" y="1630"/>
                  </a:lnTo>
                  <a:lnTo>
                    <a:pt x="177" y="1634"/>
                  </a:lnTo>
                  <a:lnTo>
                    <a:pt x="182" y="1634"/>
                  </a:lnTo>
                  <a:lnTo>
                    <a:pt x="177" y="1634"/>
                  </a:lnTo>
                  <a:lnTo>
                    <a:pt x="177" y="1634"/>
                  </a:lnTo>
                  <a:lnTo>
                    <a:pt x="177" y="1634"/>
                  </a:lnTo>
                  <a:lnTo>
                    <a:pt x="177" y="1639"/>
                  </a:lnTo>
                  <a:lnTo>
                    <a:pt x="177" y="1639"/>
                  </a:lnTo>
                  <a:lnTo>
                    <a:pt x="177" y="1639"/>
                  </a:lnTo>
                  <a:lnTo>
                    <a:pt x="177" y="1639"/>
                  </a:lnTo>
                  <a:lnTo>
                    <a:pt x="182" y="1639"/>
                  </a:lnTo>
                  <a:lnTo>
                    <a:pt x="182" y="1639"/>
                  </a:lnTo>
                  <a:lnTo>
                    <a:pt x="182" y="1639"/>
                  </a:lnTo>
                  <a:lnTo>
                    <a:pt x="182" y="1639"/>
                  </a:lnTo>
                  <a:lnTo>
                    <a:pt x="182" y="1634"/>
                  </a:lnTo>
                  <a:lnTo>
                    <a:pt x="186" y="1634"/>
                  </a:lnTo>
                  <a:lnTo>
                    <a:pt x="186" y="1639"/>
                  </a:lnTo>
                  <a:lnTo>
                    <a:pt x="186" y="1639"/>
                  </a:lnTo>
                  <a:lnTo>
                    <a:pt x="186" y="1639"/>
                  </a:lnTo>
                  <a:lnTo>
                    <a:pt x="186" y="1634"/>
                  </a:lnTo>
                  <a:lnTo>
                    <a:pt x="186" y="1634"/>
                  </a:lnTo>
                  <a:lnTo>
                    <a:pt x="186" y="1634"/>
                  </a:lnTo>
                  <a:lnTo>
                    <a:pt x="186" y="1634"/>
                  </a:lnTo>
                  <a:lnTo>
                    <a:pt x="191" y="1634"/>
                  </a:lnTo>
                  <a:lnTo>
                    <a:pt x="191" y="1634"/>
                  </a:lnTo>
                  <a:lnTo>
                    <a:pt x="191" y="1630"/>
                  </a:lnTo>
                  <a:lnTo>
                    <a:pt x="191" y="1630"/>
                  </a:lnTo>
                  <a:lnTo>
                    <a:pt x="191" y="1630"/>
                  </a:lnTo>
                  <a:lnTo>
                    <a:pt x="186" y="1630"/>
                  </a:lnTo>
                  <a:lnTo>
                    <a:pt x="191" y="1630"/>
                  </a:lnTo>
                  <a:lnTo>
                    <a:pt x="191" y="1630"/>
                  </a:lnTo>
                  <a:lnTo>
                    <a:pt x="191" y="1630"/>
                  </a:lnTo>
                  <a:lnTo>
                    <a:pt x="191" y="1630"/>
                  </a:lnTo>
                  <a:lnTo>
                    <a:pt x="195" y="1625"/>
                  </a:lnTo>
                  <a:lnTo>
                    <a:pt x="195" y="1625"/>
                  </a:lnTo>
                  <a:lnTo>
                    <a:pt x="195" y="1625"/>
                  </a:lnTo>
                  <a:lnTo>
                    <a:pt x="195" y="1625"/>
                  </a:lnTo>
                  <a:lnTo>
                    <a:pt x="195" y="1625"/>
                  </a:lnTo>
                  <a:lnTo>
                    <a:pt x="195" y="1625"/>
                  </a:lnTo>
                  <a:lnTo>
                    <a:pt x="195" y="1621"/>
                  </a:lnTo>
                  <a:lnTo>
                    <a:pt x="199" y="1625"/>
                  </a:lnTo>
                  <a:lnTo>
                    <a:pt x="199" y="1625"/>
                  </a:lnTo>
                  <a:lnTo>
                    <a:pt x="199" y="1625"/>
                  </a:lnTo>
                  <a:lnTo>
                    <a:pt x="199" y="1625"/>
                  </a:lnTo>
                  <a:lnTo>
                    <a:pt x="204" y="1625"/>
                  </a:lnTo>
                  <a:lnTo>
                    <a:pt x="204" y="1625"/>
                  </a:lnTo>
                  <a:lnTo>
                    <a:pt x="204" y="1621"/>
                  </a:lnTo>
                  <a:lnTo>
                    <a:pt x="204" y="1621"/>
                  </a:lnTo>
                  <a:lnTo>
                    <a:pt x="204" y="1621"/>
                  </a:lnTo>
                  <a:lnTo>
                    <a:pt x="204" y="1616"/>
                  </a:lnTo>
                  <a:lnTo>
                    <a:pt x="208" y="1616"/>
                  </a:lnTo>
                  <a:lnTo>
                    <a:pt x="208" y="1616"/>
                  </a:lnTo>
                  <a:lnTo>
                    <a:pt x="208" y="1616"/>
                  </a:lnTo>
                  <a:lnTo>
                    <a:pt x="208" y="1616"/>
                  </a:lnTo>
                  <a:lnTo>
                    <a:pt x="208" y="1616"/>
                  </a:lnTo>
                  <a:lnTo>
                    <a:pt x="208" y="1616"/>
                  </a:lnTo>
                  <a:lnTo>
                    <a:pt x="208" y="1616"/>
                  </a:lnTo>
                  <a:lnTo>
                    <a:pt x="208" y="1612"/>
                  </a:lnTo>
                  <a:lnTo>
                    <a:pt x="208" y="1612"/>
                  </a:lnTo>
                  <a:lnTo>
                    <a:pt x="213" y="1612"/>
                  </a:lnTo>
                  <a:lnTo>
                    <a:pt x="213" y="1612"/>
                  </a:lnTo>
                  <a:lnTo>
                    <a:pt x="213" y="1612"/>
                  </a:lnTo>
                  <a:lnTo>
                    <a:pt x="213" y="1612"/>
                  </a:lnTo>
                  <a:lnTo>
                    <a:pt x="213" y="1612"/>
                  </a:lnTo>
                  <a:lnTo>
                    <a:pt x="213" y="1608"/>
                  </a:lnTo>
                  <a:lnTo>
                    <a:pt x="217" y="1608"/>
                  </a:lnTo>
                  <a:lnTo>
                    <a:pt x="217" y="1608"/>
                  </a:lnTo>
                  <a:lnTo>
                    <a:pt x="217" y="1608"/>
                  </a:lnTo>
                  <a:lnTo>
                    <a:pt x="217" y="1603"/>
                  </a:lnTo>
                  <a:lnTo>
                    <a:pt x="222" y="1603"/>
                  </a:lnTo>
                  <a:lnTo>
                    <a:pt x="222" y="1599"/>
                  </a:lnTo>
                  <a:lnTo>
                    <a:pt x="226" y="1599"/>
                  </a:lnTo>
                  <a:lnTo>
                    <a:pt x="226" y="1599"/>
                  </a:lnTo>
                  <a:lnTo>
                    <a:pt x="226" y="1594"/>
                  </a:lnTo>
                  <a:lnTo>
                    <a:pt x="226" y="1594"/>
                  </a:lnTo>
                  <a:lnTo>
                    <a:pt x="226" y="1594"/>
                  </a:lnTo>
                  <a:lnTo>
                    <a:pt x="226" y="1590"/>
                  </a:lnTo>
                  <a:lnTo>
                    <a:pt x="226" y="1590"/>
                  </a:lnTo>
                  <a:lnTo>
                    <a:pt x="222" y="1590"/>
                  </a:lnTo>
                  <a:lnTo>
                    <a:pt x="226" y="1590"/>
                  </a:lnTo>
                  <a:lnTo>
                    <a:pt x="226" y="1590"/>
                  </a:lnTo>
                  <a:lnTo>
                    <a:pt x="226" y="1590"/>
                  </a:lnTo>
                  <a:lnTo>
                    <a:pt x="226" y="1590"/>
                  </a:lnTo>
                  <a:lnTo>
                    <a:pt x="226" y="1590"/>
                  </a:lnTo>
                  <a:lnTo>
                    <a:pt x="226" y="1590"/>
                  </a:lnTo>
                  <a:lnTo>
                    <a:pt x="226" y="1590"/>
                  </a:lnTo>
                  <a:lnTo>
                    <a:pt x="226" y="1590"/>
                  </a:lnTo>
                  <a:lnTo>
                    <a:pt x="226" y="1590"/>
                  </a:lnTo>
                  <a:lnTo>
                    <a:pt x="230" y="1590"/>
                  </a:lnTo>
                  <a:lnTo>
                    <a:pt x="235" y="1590"/>
                  </a:lnTo>
                  <a:lnTo>
                    <a:pt x="235" y="1585"/>
                  </a:lnTo>
                  <a:lnTo>
                    <a:pt x="239" y="1585"/>
                  </a:lnTo>
                  <a:lnTo>
                    <a:pt x="239" y="1581"/>
                  </a:lnTo>
                  <a:lnTo>
                    <a:pt x="239" y="1581"/>
                  </a:lnTo>
                  <a:lnTo>
                    <a:pt x="235" y="1581"/>
                  </a:lnTo>
                  <a:lnTo>
                    <a:pt x="235" y="1581"/>
                  </a:lnTo>
                  <a:lnTo>
                    <a:pt x="230" y="1581"/>
                  </a:lnTo>
                  <a:lnTo>
                    <a:pt x="235" y="1581"/>
                  </a:lnTo>
                  <a:lnTo>
                    <a:pt x="239" y="1581"/>
                  </a:lnTo>
                  <a:lnTo>
                    <a:pt x="239" y="1581"/>
                  </a:lnTo>
                  <a:lnTo>
                    <a:pt x="239" y="1577"/>
                  </a:lnTo>
                  <a:lnTo>
                    <a:pt x="235" y="1577"/>
                  </a:lnTo>
                  <a:lnTo>
                    <a:pt x="235" y="1577"/>
                  </a:lnTo>
                  <a:lnTo>
                    <a:pt x="239" y="1577"/>
                  </a:lnTo>
                  <a:lnTo>
                    <a:pt x="235" y="1581"/>
                  </a:lnTo>
                  <a:lnTo>
                    <a:pt x="230" y="1577"/>
                  </a:lnTo>
                  <a:lnTo>
                    <a:pt x="230" y="1577"/>
                  </a:lnTo>
                  <a:lnTo>
                    <a:pt x="230" y="1577"/>
                  </a:lnTo>
                  <a:lnTo>
                    <a:pt x="230" y="1577"/>
                  </a:lnTo>
                  <a:lnTo>
                    <a:pt x="230" y="1577"/>
                  </a:lnTo>
                  <a:lnTo>
                    <a:pt x="239" y="1577"/>
                  </a:lnTo>
                  <a:lnTo>
                    <a:pt x="244" y="1577"/>
                  </a:lnTo>
                  <a:lnTo>
                    <a:pt x="248" y="1577"/>
                  </a:lnTo>
                  <a:lnTo>
                    <a:pt x="248" y="1572"/>
                  </a:lnTo>
                  <a:lnTo>
                    <a:pt x="248" y="1572"/>
                  </a:lnTo>
                  <a:lnTo>
                    <a:pt x="248" y="1572"/>
                  </a:lnTo>
                  <a:lnTo>
                    <a:pt x="248" y="1572"/>
                  </a:lnTo>
                  <a:lnTo>
                    <a:pt x="248" y="1568"/>
                  </a:lnTo>
                  <a:lnTo>
                    <a:pt x="248" y="1572"/>
                  </a:lnTo>
                  <a:lnTo>
                    <a:pt x="248" y="1572"/>
                  </a:lnTo>
                  <a:lnTo>
                    <a:pt x="248" y="1568"/>
                  </a:lnTo>
                  <a:lnTo>
                    <a:pt x="253" y="1568"/>
                  </a:lnTo>
                  <a:lnTo>
                    <a:pt x="253" y="1568"/>
                  </a:lnTo>
                  <a:lnTo>
                    <a:pt x="253" y="1568"/>
                  </a:lnTo>
                  <a:lnTo>
                    <a:pt x="248" y="1563"/>
                  </a:lnTo>
                  <a:lnTo>
                    <a:pt x="248" y="1563"/>
                  </a:lnTo>
                  <a:lnTo>
                    <a:pt x="248" y="1568"/>
                  </a:lnTo>
                  <a:lnTo>
                    <a:pt x="244" y="1568"/>
                  </a:lnTo>
                  <a:lnTo>
                    <a:pt x="244" y="1568"/>
                  </a:lnTo>
                  <a:lnTo>
                    <a:pt x="244" y="1568"/>
                  </a:lnTo>
                  <a:lnTo>
                    <a:pt x="244" y="1568"/>
                  </a:lnTo>
                  <a:lnTo>
                    <a:pt x="244" y="1568"/>
                  </a:lnTo>
                  <a:lnTo>
                    <a:pt x="244" y="1563"/>
                  </a:lnTo>
                  <a:lnTo>
                    <a:pt x="244" y="1563"/>
                  </a:lnTo>
                  <a:lnTo>
                    <a:pt x="244" y="1563"/>
                  </a:lnTo>
                  <a:lnTo>
                    <a:pt x="248" y="1563"/>
                  </a:lnTo>
                  <a:lnTo>
                    <a:pt x="248" y="1563"/>
                  </a:lnTo>
                  <a:lnTo>
                    <a:pt x="248" y="1563"/>
                  </a:lnTo>
                  <a:lnTo>
                    <a:pt x="248" y="1563"/>
                  </a:lnTo>
                  <a:lnTo>
                    <a:pt x="248" y="1563"/>
                  </a:lnTo>
                  <a:lnTo>
                    <a:pt x="248" y="1559"/>
                  </a:lnTo>
                  <a:lnTo>
                    <a:pt x="248" y="1559"/>
                  </a:lnTo>
                  <a:lnTo>
                    <a:pt x="248" y="1559"/>
                  </a:lnTo>
                  <a:lnTo>
                    <a:pt x="248" y="1563"/>
                  </a:lnTo>
                  <a:lnTo>
                    <a:pt x="248" y="1559"/>
                  </a:lnTo>
                  <a:lnTo>
                    <a:pt x="248" y="1559"/>
                  </a:lnTo>
                  <a:lnTo>
                    <a:pt x="253" y="1559"/>
                  </a:lnTo>
                  <a:lnTo>
                    <a:pt x="253" y="1563"/>
                  </a:lnTo>
                  <a:lnTo>
                    <a:pt x="253" y="1559"/>
                  </a:lnTo>
                  <a:lnTo>
                    <a:pt x="253" y="1559"/>
                  </a:lnTo>
                  <a:lnTo>
                    <a:pt x="257" y="1559"/>
                  </a:lnTo>
                  <a:lnTo>
                    <a:pt x="257" y="1559"/>
                  </a:lnTo>
                  <a:lnTo>
                    <a:pt x="257" y="1559"/>
                  </a:lnTo>
                  <a:lnTo>
                    <a:pt x="253" y="1559"/>
                  </a:lnTo>
                  <a:lnTo>
                    <a:pt x="257" y="1559"/>
                  </a:lnTo>
                  <a:lnTo>
                    <a:pt x="261" y="1559"/>
                  </a:lnTo>
                  <a:lnTo>
                    <a:pt x="261" y="1554"/>
                  </a:lnTo>
                  <a:lnTo>
                    <a:pt x="261" y="1554"/>
                  </a:lnTo>
                  <a:lnTo>
                    <a:pt x="261" y="1554"/>
                  </a:lnTo>
                  <a:lnTo>
                    <a:pt x="261" y="1554"/>
                  </a:lnTo>
                  <a:lnTo>
                    <a:pt x="266" y="1554"/>
                  </a:lnTo>
                  <a:lnTo>
                    <a:pt x="266" y="1554"/>
                  </a:lnTo>
                  <a:lnTo>
                    <a:pt x="266" y="1550"/>
                  </a:lnTo>
                  <a:lnTo>
                    <a:pt x="261" y="1550"/>
                  </a:lnTo>
                  <a:lnTo>
                    <a:pt x="261" y="1550"/>
                  </a:lnTo>
                  <a:lnTo>
                    <a:pt x="261" y="1550"/>
                  </a:lnTo>
                  <a:lnTo>
                    <a:pt x="266" y="1550"/>
                  </a:lnTo>
                  <a:lnTo>
                    <a:pt x="266" y="1550"/>
                  </a:lnTo>
                  <a:lnTo>
                    <a:pt x="266" y="1550"/>
                  </a:lnTo>
                  <a:lnTo>
                    <a:pt x="266" y="1550"/>
                  </a:lnTo>
                  <a:lnTo>
                    <a:pt x="266" y="1550"/>
                  </a:lnTo>
                  <a:lnTo>
                    <a:pt x="266" y="1550"/>
                  </a:lnTo>
                  <a:lnTo>
                    <a:pt x="266" y="1550"/>
                  </a:lnTo>
                  <a:lnTo>
                    <a:pt x="266" y="1550"/>
                  </a:lnTo>
                  <a:lnTo>
                    <a:pt x="266" y="1546"/>
                  </a:lnTo>
                  <a:lnTo>
                    <a:pt x="261" y="1546"/>
                  </a:lnTo>
                  <a:lnTo>
                    <a:pt x="261" y="1546"/>
                  </a:lnTo>
                  <a:lnTo>
                    <a:pt x="261" y="1541"/>
                  </a:lnTo>
                  <a:lnTo>
                    <a:pt x="257" y="1541"/>
                  </a:lnTo>
                  <a:lnTo>
                    <a:pt x="257" y="1537"/>
                  </a:lnTo>
                  <a:lnTo>
                    <a:pt x="261" y="1537"/>
                  </a:lnTo>
                  <a:lnTo>
                    <a:pt x="261" y="1537"/>
                  </a:lnTo>
                  <a:lnTo>
                    <a:pt x="261" y="1537"/>
                  </a:lnTo>
                  <a:lnTo>
                    <a:pt x="261" y="1537"/>
                  </a:lnTo>
                  <a:lnTo>
                    <a:pt x="261" y="1537"/>
                  </a:lnTo>
                  <a:lnTo>
                    <a:pt x="261" y="1537"/>
                  </a:lnTo>
                  <a:lnTo>
                    <a:pt x="261" y="1541"/>
                  </a:lnTo>
                  <a:lnTo>
                    <a:pt x="261" y="1541"/>
                  </a:lnTo>
                  <a:lnTo>
                    <a:pt x="261" y="1541"/>
                  </a:lnTo>
                  <a:lnTo>
                    <a:pt x="261" y="1546"/>
                  </a:lnTo>
                  <a:lnTo>
                    <a:pt x="261" y="1546"/>
                  </a:lnTo>
                  <a:lnTo>
                    <a:pt x="266" y="1546"/>
                  </a:lnTo>
                  <a:lnTo>
                    <a:pt x="266" y="1541"/>
                  </a:lnTo>
                  <a:lnTo>
                    <a:pt x="266" y="1541"/>
                  </a:lnTo>
                  <a:lnTo>
                    <a:pt x="266" y="1541"/>
                  </a:lnTo>
                  <a:lnTo>
                    <a:pt x="266" y="1541"/>
                  </a:lnTo>
                  <a:lnTo>
                    <a:pt x="266" y="1541"/>
                  </a:lnTo>
                  <a:lnTo>
                    <a:pt x="266" y="1541"/>
                  </a:lnTo>
                  <a:lnTo>
                    <a:pt x="266" y="1541"/>
                  </a:lnTo>
                  <a:lnTo>
                    <a:pt x="266" y="1541"/>
                  </a:lnTo>
                  <a:lnTo>
                    <a:pt x="266" y="1541"/>
                  </a:lnTo>
                  <a:lnTo>
                    <a:pt x="266" y="1541"/>
                  </a:lnTo>
                  <a:lnTo>
                    <a:pt x="266" y="1546"/>
                  </a:lnTo>
                  <a:lnTo>
                    <a:pt x="270" y="1546"/>
                  </a:lnTo>
                  <a:lnTo>
                    <a:pt x="270" y="1546"/>
                  </a:lnTo>
                  <a:lnTo>
                    <a:pt x="270" y="1546"/>
                  </a:lnTo>
                  <a:lnTo>
                    <a:pt x="270" y="1546"/>
                  </a:lnTo>
                  <a:lnTo>
                    <a:pt x="270" y="1550"/>
                  </a:lnTo>
                  <a:lnTo>
                    <a:pt x="275" y="1550"/>
                  </a:lnTo>
                  <a:lnTo>
                    <a:pt x="270" y="1554"/>
                  </a:lnTo>
                  <a:lnTo>
                    <a:pt x="270" y="1554"/>
                  </a:lnTo>
                  <a:lnTo>
                    <a:pt x="275" y="1554"/>
                  </a:lnTo>
                  <a:lnTo>
                    <a:pt x="279" y="1554"/>
                  </a:lnTo>
                  <a:lnTo>
                    <a:pt x="279" y="1554"/>
                  </a:lnTo>
                  <a:lnTo>
                    <a:pt x="284" y="1550"/>
                  </a:lnTo>
                  <a:lnTo>
                    <a:pt x="284" y="1550"/>
                  </a:lnTo>
                  <a:lnTo>
                    <a:pt x="284" y="1546"/>
                  </a:lnTo>
                  <a:lnTo>
                    <a:pt x="284" y="1546"/>
                  </a:lnTo>
                  <a:lnTo>
                    <a:pt x="284" y="1546"/>
                  </a:lnTo>
                  <a:lnTo>
                    <a:pt x="284" y="1546"/>
                  </a:lnTo>
                  <a:lnTo>
                    <a:pt x="284" y="1546"/>
                  </a:lnTo>
                  <a:lnTo>
                    <a:pt x="288" y="1546"/>
                  </a:lnTo>
                  <a:lnTo>
                    <a:pt x="288" y="1546"/>
                  </a:lnTo>
                  <a:lnTo>
                    <a:pt x="288" y="1546"/>
                  </a:lnTo>
                  <a:lnTo>
                    <a:pt x="288" y="1546"/>
                  </a:lnTo>
                  <a:lnTo>
                    <a:pt x="288" y="1546"/>
                  </a:lnTo>
                  <a:lnTo>
                    <a:pt x="288" y="1546"/>
                  </a:lnTo>
                  <a:lnTo>
                    <a:pt x="288" y="1550"/>
                  </a:lnTo>
                  <a:lnTo>
                    <a:pt x="288" y="1550"/>
                  </a:lnTo>
                  <a:lnTo>
                    <a:pt x="288" y="1550"/>
                  </a:lnTo>
                  <a:lnTo>
                    <a:pt x="288" y="1550"/>
                  </a:lnTo>
                  <a:lnTo>
                    <a:pt x="292" y="1546"/>
                  </a:lnTo>
                  <a:lnTo>
                    <a:pt x="292" y="1546"/>
                  </a:lnTo>
                  <a:lnTo>
                    <a:pt x="292" y="1546"/>
                  </a:lnTo>
                  <a:lnTo>
                    <a:pt x="292" y="1546"/>
                  </a:lnTo>
                  <a:lnTo>
                    <a:pt x="292" y="1546"/>
                  </a:lnTo>
                  <a:lnTo>
                    <a:pt x="292" y="1541"/>
                  </a:lnTo>
                  <a:lnTo>
                    <a:pt x="292" y="1541"/>
                  </a:lnTo>
                  <a:lnTo>
                    <a:pt x="292" y="1541"/>
                  </a:lnTo>
                  <a:lnTo>
                    <a:pt x="292" y="1537"/>
                  </a:lnTo>
                  <a:lnTo>
                    <a:pt x="292" y="1537"/>
                  </a:lnTo>
                  <a:lnTo>
                    <a:pt x="297" y="1546"/>
                  </a:lnTo>
                  <a:lnTo>
                    <a:pt x="297" y="1546"/>
                  </a:lnTo>
                  <a:lnTo>
                    <a:pt x="297" y="1546"/>
                  </a:lnTo>
                  <a:lnTo>
                    <a:pt x="297" y="1541"/>
                  </a:lnTo>
                  <a:lnTo>
                    <a:pt x="297" y="1537"/>
                  </a:lnTo>
                  <a:lnTo>
                    <a:pt x="297" y="1541"/>
                  </a:lnTo>
                  <a:lnTo>
                    <a:pt x="297" y="1541"/>
                  </a:lnTo>
                  <a:lnTo>
                    <a:pt x="297" y="1541"/>
                  </a:lnTo>
                  <a:lnTo>
                    <a:pt x="297" y="1541"/>
                  </a:lnTo>
                  <a:lnTo>
                    <a:pt x="297" y="1541"/>
                  </a:lnTo>
                  <a:lnTo>
                    <a:pt x="297" y="1537"/>
                  </a:lnTo>
                  <a:lnTo>
                    <a:pt x="297" y="1537"/>
                  </a:lnTo>
                  <a:lnTo>
                    <a:pt x="297" y="1537"/>
                  </a:lnTo>
                  <a:lnTo>
                    <a:pt x="297" y="1537"/>
                  </a:lnTo>
                  <a:lnTo>
                    <a:pt x="297" y="1532"/>
                  </a:lnTo>
                  <a:lnTo>
                    <a:pt x="297" y="1532"/>
                  </a:lnTo>
                  <a:lnTo>
                    <a:pt x="297" y="1528"/>
                  </a:lnTo>
                  <a:lnTo>
                    <a:pt x="297" y="1528"/>
                  </a:lnTo>
                  <a:lnTo>
                    <a:pt x="297" y="1528"/>
                  </a:lnTo>
                  <a:lnTo>
                    <a:pt x="301" y="1528"/>
                  </a:lnTo>
                  <a:lnTo>
                    <a:pt x="301" y="1528"/>
                  </a:lnTo>
                  <a:lnTo>
                    <a:pt x="301" y="1523"/>
                  </a:lnTo>
                  <a:lnTo>
                    <a:pt x="301" y="1523"/>
                  </a:lnTo>
                  <a:lnTo>
                    <a:pt x="301" y="1523"/>
                  </a:lnTo>
                  <a:lnTo>
                    <a:pt x="301" y="1523"/>
                  </a:lnTo>
                  <a:lnTo>
                    <a:pt x="301" y="1523"/>
                  </a:lnTo>
                  <a:lnTo>
                    <a:pt x="301" y="1523"/>
                  </a:lnTo>
                  <a:lnTo>
                    <a:pt x="306" y="1523"/>
                  </a:lnTo>
                  <a:lnTo>
                    <a:pt x="306" y="1523"/>
                  </a:lnTo>
                  <a:lnTo>
                    <a:pt x="306" y="1523"/>
                  </a:lnTo>
                  <a:lnTo>
                    <a:pt x="306" y="1519"/>
                  </a:lnTo>
                  <a:lnTo>
                    <a:pt x="306" y="1519"/>
                  </a:lnTo>
                  <a:lnTo>
                    <a:pt x="310" y="1519"/>
                  </a:lnTo>
                  <a:lnTo>
                    <a:pt x="306" y="1515"/>
                  </a:lnTo>
                  <a:lnTo>
                    <a:pt x="306" y="1515"/>
                  </a:lnTo>
                  <a:lnTo>
                    <a:pt x="306" y="1515"/>
                  </a:lnTo>
                  <a:lnTo>
                    <a:pt x="306" y="1510"/>
                  </a:lnTo>
                  <a:lnTo>
                    <a:pt x="306" y="1510"/>
                  </a:lnTo>
                  <a:lnTo>
                    <a:pt x="306" y="1506"/>
                  </a:lnTo>
                  <a:lnTo>
                    <a:pt x="306" y="1506"/>
                  </a:lnTo>
                  <a:lnTo>
                    <a:pt x="306" y="1506"/>
                  </a:lnTo>
                  <a:lnTo>
                    <a:pt x="301" y="1501"/>
                  </a:lnTo>
                  <a:lnTo>
                    <a:pt x="297" y="1497"/>
                  </a:lnTo>
                  <a:lnTo>
                    <a:pt x="297" y="1497"/>
                  </a:lnTo>
                  <a:lnTo>
                    <a:pt x="297" y="1497"/>
                  </a:lnTo>
                  <a:lnTo>
                    <a:pt x="297" y="1497"/>
                  </a:lnTo>
                  <a:lnTo>
                    <a:pt x="292" y="1492"/>
                  </a:lnTo>
                  <a:lnTo>
                    <a:pt x="292" y="1492"/>
                  </a:lnTo>
                  <a:lnTo>
                    <a:pt x="297" y="1492"/>
                  </a:lnTo>
                  <a:lnTo>
                    <a:pt x="297" y="1492"/>
                  </a:lnTo>
                  <a:lnTo>
                    <a:pt x="301" y="1497"/>
                  </a:lnTo>
                  <a:lnTo>
                    <a:pt x="301" y="1492"/>
                  </a:lnTo>
                  <a:lnTo>
                    <a:pt x="301" y="1492"/>
                  </a:lnTo>
                  <a:lnTo>
                    <a:pt x="301" y="1488"/>
                  </a:lnTo>
                  <a:lnTo>
                    <a:pt x="301" y="1488"/>
                  </a:lnTo>
                  <a:lnTo>
                    <a:pt x="301" y="1484"/>
                  </a:lnTo>
                  <a:lnTo>
                    <a:pt x="301" y="1484"/>
                  </a:lnTo>
                  <a:lnTo>
                    <a:pt x="301" y="1479"/>
                  </a:lnTo>
                  <a:lnTo>
                    <a:pt x="297" y="1479"/>
                  </a:lnTo>
                  <a:lnTo>
                    <a:pt x="297" y="1479"/>
                  </a:lnTo>
                  <a:lnTo>
                    <a:pt x="297" y="1479"/>
                  </a:lnTo>
                  <a:lnTo>
                    <a:pt x="292" y="1479"/>
                  </a:lnTo>
                  <a:lnTo>
                    <a:pt x="292" y="1475"/>
                  </a:lnTo>
                  <a:lnTo>
                    <a:pt x="292" y="1475"/>
                  </a:lnTo>
                  <a:lnTo>
                    <a:pt x="292" y="1475"/>
                  </a:lnTo>
                  <a:lnTo>
                    <a:pt x="297" y="1475"/>
                  </a:lnTo>
                  <a:lnTo>
                    <a:pt x="297" y="1475"/>
                  </a:lnTo>
                  <a:lnTo>
                    <a:pt x="297" y="1475"/>
                  </a:lnTo>
                  <a:lnTo>
                    <a:pt x="301" y="1475"/>
                  </a:lnTo>
                  <a:lnTo>
                    <a:pt x="301" y="1475"/>
                  </a:lnTo>
                  <a:lnTo>
                    <a:pt x="301" y="1475"/>
                  </a:lnTo>
                  <a:lnTo>
                    <a:pt x="301" y="1475"/>
                  </a:lnTo>
                  <a:lnTo>
                    <a:pt x="301" y="1475"/>
                  </a:lnTo>
                  <a:lnTo>
                    <a:pt x="301" y="1475"/>
                  </a:lnTo>
                  <a:lnTo>
                    <a:pt x="301" y="1479"/>
                  </a:lnTo>
                  <a:lnTo>
                    <a:pt x="301" y="1479"/>
                  </a:lnTo>
                  <a:lnTo>
                    <a:pt x="301" y="1479"/>
                  </a:lnTo>
                  <a:lnTo>
                    <a:pt x="301" y="1479"/>
                  </a:lnTo>
                  <a:lnTo>
                    <a:pt x="301" y="1484"/>
                  </a:lnTo>
                  <a:lnTo>
                    <a:pt x="306" y="1488"/>
                  </a:lnTo>
                  <a:lnTo>
                    <a:pt x="306" y="1488"/>
                  </a:lnTo>
                  <a:lnTo>
                    <a:pt x="301" y="1492"/>
                  </a:lnTo>
                  <a:lnTo>
                    <a:pt x="301" y="1492"/>
                  </a:lnTo>
                  <a:lnTo>
                    <a:pt x="306" y="1497"/>
                  </a:lnTo>
                  <a:lnTo>
                    <a:pt x="306" y="1497"/>
                  </a:lnTo>
                  <a:lnTo>
                    <a:pt x="310" y="1492"/>
                  </a:lnTo>
                  <a:lnTo>
                    <a:pt x="310" y="1492"/>
                  </a:lnTo>
                  <a:lnTo>
                    <a:pt x="315" y="1488"/>
                  </a:lnTo>
                  <a:lnTo>
                    <a:pt x="315" y="1484"/>
                  </a:lnTo>
                  <a:lnTo>
                    <a:pt x="315" y="1484"/>
                  </a:lnTo>
                  <a:lnTo>
                    <a:pt x="310" y="1479"/>
                  </a:lnTo>
                  <a:lnTo>
                    <a:pt x="310" y="1479"/>
                  </a:lnTo>
                  <a:lnTo>
                    <a:pt x="310" y="1479"/>
                  </a:lnTo>
                  <a:lnTo>
                    <a:pt x="310" y="1479"/>
                  </a:lnTo>
                  <a:lnTo>
                    <a:pt x="306" y="1475"/>
                  </a:lnTo>
                  <a:lnTo>
                    <a:pt x="306" y="1475"/>
                  </a:lnTo>
                  <a:lnTo>
                    <a:pt x="306" y="1470"/>
                  </a:lnTo>
                  <a:lnTo>
                    <a:pt x="306" y="1466"/>
                  </a:lnTo>
                  <a:lnTo>
                    <a:pt x="306" y="1466"/>
                  </a:lnTo>
                  <a:lnTo>
                    <a:pt x="306" y="1466"/>
                  </a:lnTo>
                  <a:lnTo>
                    <a:pt x="306" y="1461"/>
                  </a:lnTo>
                  <a:lnTo>
                    <a:pt x="306" y="1461"/>
                  </a:lnTo>
                  <a:lnTo>
                    <a:pt x="306" y="1461"/>
                  </a:lnTo>
                  <a:lnTo>
                    <a:pt x="306" y="1457"/>
                  </a:lnTo>
                  <a:lnTo>
                    <a:pt x="310" y="1457"/>
                  </a:lnTo>
                  <a:lnTo>
                    <a:pt x="310" y="1457"/>
                  </a:lnTo>
                  <a:lnTo>
                    <a:pt x="310" y="1457"/>
                  </a:lnTo>
                  <a:lnTo>
                    <a:pt x="315" y="1457"/>
                  </a:lnTo>
                  <a:lnTo>
                    <a:pt x="315" y="1457"/>
                  </a:lnTo>
                  <a:lnTo>
                    <a:pt x="315" y="1457"/>
                  </a:lnTo>
                  <a:lnTo>
                    <a:pt x="315" y="1457"/>
                  </a:lnTo>
                  <a:lnTo>
                    <a:pt x="315" y="1457"/>
                  </a:lnTo>
                  <a:lnTo>
                    <a:pt x="319" y="1457"/>
                  </a:lnTo>
                  <a:lnTo>
                    <a:pt x="319" y="1457"/>
                  </a:lnTo>
                  <a:lnTo>
                    <a:pt x="319" y="1457"/>
                  </a:lnTo>
                  <a:lnTo>
                    <a:pt x="319" y="1457"/>
                  </a:lnTo>
                  <a:lnTo>
                    <a:pt x="319" y="1457"/>
                  </a:lnTo>
                  <a:lnTo>
                    <a:pt x="319" y="1457"/>
                  </a:lnTo>
                  <a:lnTo>
                    <a:pt x="319" y="1461"/>
                  </a:lnTo>
                  <a:lnTo>
                    <a:pt x="319" y="1466"/>
                  </a:lnTo>
                  <a:lnTo>
                    <a:pt x="319" y="1470"/>
                  </a:lnTo>
                  <a:lnTo>
                    <a:pt x="319" y="1475"/>
                  </a:lnTo>
                  <a:lnTo>
                    <a:pt x="319" y="1470"/>
                  </a:lnTo>
                  <a:lnTo>
                    <a:pt x="319" y="1466"/>
                  </a:lnTo>
                  <a:lnTo>
                    <a:pt x="315" y="1461"/>
                  </a:lnTo>
                  <a:lnTo>
                    <a:pt x="315" y="1461"/>
                  </a:lnTo>
                  <a:lnTo>
                    <a:pt x="315" y="1466"/>
                  </a:lnTo>
                  <a:lnTo>
                    <a:pt x="310" y="1470"/>
                  </a:lnTo>
                  <a:lnTo>
                    <a:pt x="310" y="1470"/>
                  </a:lnTo>
                  <a:lnTo>
                    <a:pt x="310" y="1475"/>
                  </a:lnTo>
                  <a:lnTo>
                    <a:pt x="310" y="1479"/>
                  </a:lnTo>
                  <a:lnTo>
                    <a:pt x="315" y="1479"/>
                  </a:lnTo>
                  <a:lnTo>
                    <a:pt x="315" y="1479"/>
                  </a:lnTo>
                  <a:lnTo>
                    <a:pt x="315" y="1479"/>
                  </a:lnTo>
                  <a:lnTo>
                    <a:pt x="315" y="1484"/>
                  </a:lnTo>
                  <a:lnTo>
                    <a:pt x="315" y="1488"/>
                  </a:lnTo>
                  <a:lnTo>
                    <a:pt x="315" y="1488"/>
                  </a:lnTo>
                  <a:lnTo>
                    <a:pt x="315" y="1492"/>
                  </a:lnTo>
                  <a:lnTo>
                    <a:pt x="315" y="1492"/>
                  </a:lnTo>
                  <a:lnTo>
                    <a:pt x="315" y="1497"/>
                  </a:lnTo>
                  <a:lnTo>
                    <a:pt x="315" y="1497"/>
                  </a:lnTo>
                  <a:lnTo>
                    <a:pt x="315" y="1497"/>
                  </a:lnTo>
                  <a:lnTo>
                    <a:pt x="319" y="1497"/>
                  </a:lnTo>
                  <a:lnTo>
                    <a:pt x="319" y="1501"/>
                  </a:lnTo>
                  <a:lnTo>
                    <a:pt x="319" y="1501"/>
                  </a:lnTo>
                  <a:lnTo>
                    <a:pt x="319" y="1501"/>
                  </a:lnTo>
                  <a:lnTo>
                    <a:pt x="315" y="1506"/>
                  </a:lnTo>
                  <a:lnTo>
                    <a:pt x="315" y="1506"/>
                  </a:lnTo>
                  <a:lnTo>
                    <a:pt x="315" y="1506"/>
                  </a:lnTo>
                  <a:lnTo>
                    <a:pt x="315" y="1501"/>
                  </a:lnTo>
                  <a:lnTo>
                    <a:pt x="315" y="1501"/>
                  </a:lnTo>
                  <a:lnTo>
                    <a:pt x="315" y="1497"/>
                  </a:lnTo>
                  <a:lnTo>
                    <a:pt x="315" y="1497"/>
                  </a:lnTo>
                  <a:lnTo>
                    <a:pt x="315" y="1501"/>
                  </a:lnTo>
                  <a:lnTo>
                    <a:pt x="315" y="1501"/>
                  </a:lnTo>
                  <a:lnTo>
                    <a:pt x="310" y="1506"/>
                  </a:lnTo>
                  <a:lnTo>
                    <a:pt x="315" y="1506"/>
                  </a:lnTo>
                  <a:lnTo>
                    <a:pt x="315" y="1506"/>
                  </a:lnTo>
                  <a:lnTo>
                    <a:pt x="315" y="1506"/>
                  </a:lnTo>
                  <a:lnTo>
                    <a:pt x="315" y="1510"/>
                  </a:lnTo>
                  <a:lnTo>
                    <a:pt x="315" y="1510"/>
                  </a:lnTo>
                  <a:lnTo>
                    <a:pt x="315" y="1510"/>
                  </a:lnTo>
                  <a:lnTo>
                    <a:pt x="315" y="1515"/>
                  </a:lnTo>
                  <a:lnTo>
                    <a:pt x="315" y="1515"/>
                  </a:lnTo>
                  <a:lnTo>
                    <a:pt x="315" y="1519"/>
                  </a:lnTo>
                  <a:lnTo>
                    <a:pt x="319" y="1519"/>
                  </a:lnTo>
                  <a:lnTo>
                    <a:pt x="319" y="1519"/>
                  </a:lnTo>
                  <a:lnTo>
                    <a:pt x="319" y="1515"/>
                  </a:lnTo>
                  <a:lnTo>
                    <a:pt x="319" y="1515"/>
                  </a:lnTo>
                  <a:lnTo>
                    <a:pt x="319" y="1515"/>
                  </a:lnTo>
                  <a:lnTo>
                    <a:pt x="319" y="1515"/>
                  </a:lnTo>
                  <a:lnTo>
                    <a:pt x="323" y="1519"/>
                  </a:lnTo>
                  <a:lnTo>
                    <a:pt x="323" y="1519"/>
                  </a:lnTo>
                  <a:lnTo>
                    <a:pt x="319" y="1519"/>
                  </a:lnTo>
                  <a:lnTo>
                    <a:pt x="319" y="1523"/>
                  </a:lnTo>
                  <a:lnTo>
                    <a:pt x="319" y="1523"/>
                  </a:lnTo>
                  <a:lnTo>
                    <a:pt x="319" y="1528"/>
                  </a:lnTo>
                  <a:lnTo>
                    <a:pt x="319" y="1528"/>
                  </a:lnTo>
                  <a:lnTo>
                    <a:pt x="319" y="1523"/>
                  </a:lnTo>
                  <a:lnTo>
                    <a:pt x="323" y="1523"/>
                  </a:lnTo>
                  <a:lnTo>
                    <a:pt x="323" y="1523"/>
                  </a:lnTo>
                  <a:lnTo>
                    <a:pt x="323" y="1528"/>
                  </a:lnTo>
                  <a:lnTo>
                    <a:pt x="323" y="1528"/>
                  </a:lnTo>
                  <a:lnTo>
                    <a:pt x="323" y="1528"/>
                  </a:lnTo>
                  <a:lnTo>
                    <a:pt x="323" y="1532"/>
                  </a:lnTo>
                  <a:lnTo>
                    <a:pt x="323" y="1532"/>
                  </a:lnTo>
                  <a:lnTo>
                    <a:pt x="328" y="1532"/>
                  </a:lnTo>
                  <a:lnTo>
                    <a:pt x="328" y="1532"/>
                  </a:lnTo>
                  <a:lnTo>
                    <a:pt x="328" y="1532"/>
                  </a:lnTo>
                  <a:lnTo>
                    <a:pt x="328" y="1532"/>
                  </a:lnTo>
                  <a:lnTo>
                    <a:pt x="328" y="1532"/>
                  </a:lnTo>
                  <a:lnTo>
                    <a:pt x="328" y="1532"/>
                  </a:lnTo>
                  <a:lnTo>
                    <a:pt x="328" y="1528"/>
                  </a:lnTo>
                  <a:lnTo>
                    <a:pt x="328" y="1532"/>
                  </a:lnTo>
                  <a:lnTo>
                    <a:pt x="328" y="1532"/>
                  </a:lnTo>
                  <a:lnTo>
                    <a:pt x="328" y="1532"/>
                  </a:lnTo>
                  <a:lnTo>
                    <a:pt x="328" y="1537"/>
                  </a:lnTo>
                  <a:lnTo>
                    <a:pt x="332" y="1537"/>
                  </a:lnTo>
                  <a:lnTo>
                    <a:pt x="332" y="1532"/>
                  </a:lnTo>
                  <a:lnTo>
                    <a:pt x="332" y="1532"/>
                  </a:lnTo>
                  <a:lnTo>
                    <a:pt x="332" y="1532"/>
                  </a:lnTo>
                  <a:lnTo>
                    <a:pt x="332" y="1532"/>
                  </a:lnTo>
                  <a:lnTo>
                    <a:pt x="332" y="1532"/>
                  </a:lnTo>
                  <a:lnTo>
                    <a:pt x="332" y="1532"/>
                  </a:lnTo>
                  <a:lnTo>
                    <a:pt x="332" y="1532"/>
                  </a:lnTo>
                  <a:lnTo>
                    <a:pt x="337" y="1532"/>
                  </a:lnTo>
                  <a:lnTo>
                    <a:pt x="337" y="1537"/>
                  </a:lnTo>
                  <a:lnTo>
                    <a:pt x="337" y="1537"/>
                  </a:lnTo>
                  <a:lnTo>
                    <a:pt x="337" y="1537"/>
                  </a:lnTo>
                  <a:lnTo>
                    <a:pt x="341" y="1537"/>
                  </a:lnTo>
                  <a:lnTo>
                    <a:pt x="337" y="1532"/>
                  </a:lnTo>
                  <a:lnTo>
                    <a:pt x="337" y="1532"/>
                  </a:lnTo>
                  <a:lnTo>
                    <a:pt x="341" y="1532"/>
                  </a:lnTo>
                  <a:lnTo>
                    <a:pt x="341" y="1537"/>
                  </a:lnTo>
                  <a:lnTo>
                    <a:pt x="341" y="1537"/>
                  </a:lnTo>
                  <a:lnTo>
                    <a:pt x="341" y="1532"/>
                  </a:lnTo>
                  <a:lnTo>
                    <a:pt x="341" y="1532"/>
                  </a:lnTo>
                  <a:lnTo>
                    <a:pt x="341" y="1532"/>
                  </a:lnTo>
                  <a:lnTo>
                    <a:pt x="341" y="1532"/>
                  </a:lnTo>
                  <a:lnTo>
                    <a:pt x="341" y="1528"/>
                  </a:lnTo>
                  <a:lnTo>
                    <a:pt x="341" y="1528"/>
                  </a:lnTo>
                  <a:lnTo>
                    <a:pt x="341" y="1532"/>
                  </a:lnTo>
                  <a:lnTo>
                    <a:pt x="341" y="1532"/>
                  </a:lnTo>
                  <a:lnTo>
                    <a:pt x="341" y="1532"/>
                  </a:lnTo>
                  <a:lnTo>
                    <a:pt x="341" y="1532"/>
                  </a:lnTo>
                  <a:lnTo>
                    <a:pt x="341" y="1532"/>
                  </a:lnTo>
                  <a:lnTo>
                    <a:pt x="346" y="1532"/>
                  </a:lnTo>
                  <a:lnTo>
                    <a:pt x="346" y="1532"/>
                  </a:lnTo>
                  <a:lnTo>
                    <a:pt x="346" y="1532"/>
                  </a:lnTo>
                  <a:lnTo>
                    <a:pt x="346" y="1532"/>
                  </a:lnTo>
                  <a:lnTo>
                    <a:pt x="346" y="1532"/>
                  </a:lnTo>
                  <a:lnTo>
                    <a:pt x="346" y="1537"/>
                  </a:lnTo>
                  <a:lnTo>
                    <a:pt x="346" y="1537"/>
                  </a:lnTo>
                  <a:lnTo>
                    <a:pt x="341" y="1537"/>
                  </a:lnTo>
                  <a:lnTo>
                    <a:pt x="341" y="1537"/>
                  </a:lnTo>
                  <a:lnTo>
                    <a:pt x="341" y="1537"/>
                  </a:lnTo>
                  <a:lnTo>
                    <a:pt x="346" y="1537"/>
                  </a:lnTo>
                  <a:lnTo>
                    <a:pt x="350" y="1537"/>
                  </a:lnTo>
                  <a:lnTo>
                    <a:pt x="350" y="1537"/>
                  </a:lnTo>
                  <a:lnTo>
                    <a:pt x="354" y="1541"/>
                  </a:lnTo>
                  <a:lnTo>
                    <a:pt x="354" y="1541"/>
                  </a:lnTo>
                  <a:lnTo>
                    <a:pt x="354" y="1541"/>
                  </a:lnTo>
                  <a:lnTo>
                    <a:pt x="354" y="1546"/>
                  </a:lnTo>
                  <a:lnTo>
                    <a:pt x="354" y="1546"/>
                  </a:lnTo>
                  <a:lnTo>
                    <a:pt x="359" y="1550"/>
                  </a:lnTo>
                  <a:lnTo>
                    <a:pt x="359" y="1550"/>
                  </a:lnTo>
                  <a:lnTo>
                    <a:pt x="359" y="1550"/>
                  </a:lnTo>
                  <a:lnTo>
                    <a:pt x="359" y="1550"/>
                  </a:lnTo>
                  <a:lnTo>
                    <a:pt x="359" y="1550"/>
                  </a:lnTo>
                  <a:lnTo>
                    <a:pt x="359" y="1554"/>
                  </a:lnTo>
                  <a:lnTo>
                    <a:pt x="359" y="1559"/>
                  </a:lnTo>
                  <a:lnTo>
                    <a:pt x="359" y="1559"/>
                  </a:lnTo>
                  <a:lnTo>
                    <a:pt x="363" y="1563"/>
                  </a:lnTo>
                  <a:lnTo>
                    <a:pt x="368" y="1559"/>
                  </a:lnTo>
                  <a:lnTo>
                    <a:pt x="368" y="1559"/>
                  </a:lnTo>
                  <a:lnTo>
                    <a:pt x="372" y="1550"/>
                  </a:lnTo>
                  <a:lnTo>
                    <a:pt x="372" y="1550"/>
                  </a:lnTo>
                  <a:lnTo>
                    <a:pt x="372" y="1546"/>
                  </a:lnTo>
                  <a:lnTo>
                    <a:pt x="372" y="1541"/>
                  </a:lnTo>
                  <a:lnTo>
                    <a:pt x="372" y="1541"/>
                  </a:lnTo>
                  <a:lnTo>
                    <a:pt x="372" y="1537"/>
                  </a:lnTo>
                  <a:lnTo>
                    <a:pt x="377" y="1528"/>
                  </a:lnTo>
                  <a:lnTo>
                    <a:pt x="377" y="1528"/>
                  </a:lnTo>
                  <a:lnTo>
                    <a:pt x="377" y="1523"/>
                  </a:lnTo>
                  <a:lnTo>
                    <a:pt x="377" y="1523"/>
                  </a:lnTo>
                  <a:lnTo>
                    <a:pt x="377" y="1523"/>
                  </a:lnTo>
                  <a:lnTo>
                    <a:pt x="377" y="1523"/>
                  </a:lnTo>
                  <a:lnTo>
                    <a:pt x="377" y="1519"/>
                  </a:lnTo>
                  <a:lnTo>
                    <a:pt x="377" y="1510"/>
                  </a:lnTo>
                  <a:lnTo>
                    <a:pt x="368" y="1492"/>
                  </a:lnTo>
                  <a:lnTo>
                    <a:pt x="368" y="1488"/>
                  </a:lnTo>
                  <a:lnTo>
                    <a:pt x="368" y="1488"/>
                  </a:lnTo>
                  <a:lnTo>
                    <a:pt x="372" y="1484"/>
                  </a:lnTo>
                  <a:lnTo>
                    <a:pt x="377" y="1479"/>
                  </a:lnTo>
                  <a:lnTo>
                    <a:pt x="377" y="1479"/>
                  </a:lnTo>
                  <a:lnTo>
                    <a:pt x="381" y="1475"/>
                  </a:lnTo>
                  <a:lnTo>
                    <a:pt x="381" y="1475"/>
                  </a:lnTo>
                  <a:lnTo>
                    <a:pt x="381" y="1475"/>
                  </a:lnTo>
                  <a:lnTo>
                    <a:pt x="381" y="1470"/>
                  </a:lnTo>
                  <a:lnTo>
                    <a:pt x="381" y="1470"/>
                  </a:lnTo>
                  <a:lnTo>
                    <a:pt x="381" y="1466"/>
                  </a:lnTo>
                  <a:lnTo>
                    <a:pt x="381" y="1466"/>
                  </a:lnTo>
                  <a:lnTo>
                    <a:pt x="381" y="1466"/>
                  </a:lnTo>
                  <a:lnTo>
                    <a:pt x="377" y="1461"/>
                  </a:lnTo>
                  <a:lnTo>
                    <a:pt x="377" y="1457"/>
                  </a:lnTo>
                  <a:lnTo>
                    <a:pt x="381" y="1457"/>
                  </a:lnTo>
                  <a:lnTo>
                    <a:pt x="381" y="1457"/>
                  </a:lnTo>
                  <a:lnTo>
                    <a:pt x="385" y="1457"/>
                  </a:lnTo>
                  <a:lnTo>
                    <a:pt x="390" y="1457"/>
                  </a:lnTo>
                  <a:lnTo>
                    <a:pt x="394" y="1457"/>
                  </a:lnTo>
                  <a:lnTo>
                    <a:pt x="403" y="1448"/>
                  </a:lnTo>
                  <a:lnTo>
                    <a:pt x="412" y="1439"/>
                  </a:lnTo>
                  <a:lnTo>
                    <a:pt x="412" y="1439"/>
                  </a:lnTo>
                  <a:lnTo>
                    <a:pt x="412" y="1435"/>
                  </a:lnTo>
                  <a:lnTo>
                    <a:pt x="412" y="1430"/>
                  </a:lnTo>
                  <a:lnTo>
                    <a:pt x="412" y="1426"/>
                  </a:lnTo>
                  <a:lnTo>
                    <a:pt x="412" y="1417"/>
                  </a:lnTo>
                  <a:lnTo>
                    <a:pt x="412" y="1413"/>
                  </a:lnTo>
                  <a:lnTo>
                    <a:pt x="412" y="1413"/>
                  </a:lnTo>
                  <a:lnTo>
                    <a:pt x="412" y="1413"/>
                  </a:lnTo>
                  <a:lnTo>
                    <a:pt x="416" y="1408"/>
                  </a:lnTo>
                  <a:lnTo>
                    <a:pt x="416" y="1404"/>
                  </a:lnTo>
                  <a:lnTo>
                    <a:pt x="416" y="1404"/>
                  </a:lnTo>
                  <a:lnTo>
                    <a:pt x="416" y="1400"/>
                  </a:lnTo>
                  <a:lnTo>
                    <a:pt x="421" y="1400"/>
                  </a:lnTo>
                  <a:lnTo>
                    <a:pt x="416" y="1395"/>
                  </a:lnTo>
                  <a:lnTo>
                    <a:pt x="416" y="1391"/>
                  </a:lnTo>
                  <a:lnTo>
                    <a:pt x="412" y="1377"/>
                  </a:lnTo>
                  <a:lnTo>
                    <a:pt x="408" y="1364"/>
                  </a:lnTo>
                  <a:lnTo>
                    <a:pt x="403" y="1360"/>
                  </a:lnTo>
                  <a:lnTo>
                    <a:pt x="403" y="1355"/>
                  </a:lnTo>
                  <a:lnTo>
                    <a:pt x="403" y="1351"/>
                  </a:lnTo>
                  <a:lnTo>
                    <a:pt x="403" y="1346"/>
                  </a:lnTo>
                  <a:lnTo>
                    <a:pt x="399" y="1342"/>
                  </a:lnTo>
                  <a:lnTo>
                    <a:pt x="399" y="1338"/>
                  </a:lnTo>
                  <a:lnTo>
                    <a:pt x="403" y="1338"/>
                  </a:lnTo>
                  <a:lnTo>
                    <a:pt x="412" y="1333"/>
                  </a:lnTo>
                  <a:lnTo>
                    <a:pt x="416" y="1333"/>
                  </a:lnTo>
                  <a:lnTo>
                    <a:pt x="421" y="1333"/>
                  </a:lnTo>
                  <a:lnTo>
                    <a:pt x="425" y="1333"/>
                  </a:lnTo>
                  <a:lnTo>
                    <a:pt x="425" y="1333"/>
                  </a:lnTo>
                  <a:lnTo>
                    <a:pt x="425" y="1333"/>
                  </a:lnTo>
                  <a:lnTo>
                    <a:pt x="425" y="1324"/>
                  </a:lnTo>
                  <a:lnTo>
                    <a:pt x="425" y="1324"/>
                  </a:lnTo>
                  <a:lnTo>
                    <a:pt x="425" y="1324"/>
                  </a:lnTo>
                  <a:lnTo>
                    <a:pt x="430" y="1315"/>
                  </a:lnTo>
                  <a:lnTo>
                    <a:pt x="430" y="1315"/>
                  </a:lnTo>
                  <a:lnTo>
                    <a:pt x="430" y="1311"/>
                  </a:lnTo>
                  <a:lnTo>
                    <a:pt x="434" y="1302"/>
                  </a:lnTo>
                  <a:lnTo>
                    <a:pt x="434" y="1298"/>
                  </a:lnTo>
                  <a:lnTo>
                    <a:pt x="434" y="1298"/>
                  </a:lnTo>
                  <a:lnTo>
                    <a:pt x="421" y="1280"/>
                  </a:lnTo>
                  <a:lnTo>
                    <a:pt x="416" y="1276"/>
                  </a:lnTo>
                  <a:lnTo>
                    <a:pt x="416" y="1276"/>
                  </a:lnTo>
                  <a:lnTo>
                    <a:pt x="412" y="1276"/>
                  </a:lnTo>
                  <a:lnTo>
                    <a:pt x="412" y="1276"/>
                  </a:lnTo>
                  <a:lnTo>
                    <a:pt x="408" y="1276"/>
                  </a:lnTo>
                  <a:lnTo>
                    <a:pt x="403" y="1271"/>
                  </a:lnTo>
                  <a:lnTo>
                    <a:pt x="403" y="1267"/>
                  </a:lnTo>
                  <a:lnTo>
                    <a:pt x="394" y="1262"/>
                  </a:lnTo>
                  <a:lnTo>
                    <a:pt x="394" y="1258"/>
                  </a:lnTo>
                  <a:lnTo>
                    <a:pt x="399" y="1231"/>
                  </a:lnTo>
                  <a:lnTo>
                    <a:pt x="403" y="1200"/>
                  </a:lnTo>
                  <a:lnTo>
                    <a:pt x="403" y="1196"/>
                  </a:lnTo>
                  <a:lnTo>
                    <a:pt x="403" y="1196"/>
                  </a:lnTo>
                  <a:lnTo>
                    <a:pt x="403" y="1191"/>
                  </a:lnTo>
                  <a:lnTo>
                    <a:pt x="403" y="1191"/>
                  </a:lnTo>
                  <a:lnTo>
                    <a:pt x="390" y="1160"/>
                  </a:lnTo>
                  <a:lnTo>
                    <a:pt x="390" y="1160"/>
                  </a:lnTo>
                  <a:lnTo>
                    <a:pt x="390" y="1156"/>
                  </a:lnTo>
                  <a:lnTo>
                    <a:pt x="394" y="1152"/>
                  </a:lnTo>
                  <a:lnTo>
                    <a:pt x="394" y="1147"/>
                  </a:lnTo>
                  <a:lnTo>
                    <a:pt x="394" y="1147"/>
                  </a:lnTo>
                  <a:lnTo>
                    <a:pt x="390" y="1129"/>
                  </a:lnTo>
                  <a:lnTo>
                    <a:pt x="390" y="1125"/>
                  </a:lnTo>
                  <a:lnTo>
                    <a:pt x="390" y="1125"/>
                  </a:lnTo>
                  <a:lnTo>
                    <a:pt x="399" y="1116"/>
                  </a:lnTo>
                  <a:lnTo>
                    <a:pt x="390" y="1090"/>
                  </a:lnTo>
                  <a:lnTo>
                    <a:pt x="385" y="1081"/>
                  </a:lnTo>
                  <a:lnTo>
                    <a:pt x="399" y="1063"/>
                  </a:lnTo>
                  <a:lnTo>
                    <a:pt x="399" y="1059"/>
                  </a:lnTo>
                  <a:lnTo>
                    <a:pt x="399" y="1054"/>
                  </a:lnTo>
                  <a:lnTo>
                    <a:pt x="394" y="1045"/>
                  </a:lnTo>
                  <a:lnTo>
                    <a:pt x="403" y="1036"/>
                  </a:lnTo>
                  <a:lnTo>
                    <a:pt x="412" y="1019"/>
                  </a:lnTo>
                  <a:lnTo>
                    <a:pt x="421" y="1001"/>
                  </a:lnTo>
                  <a:lnTo>
                    <a:pt x="425" y="997"/>
                  </a:lnTo>
                  <a:lnTo>
                    <a:pt x="439" y="988"/>
                  </a:lnTo>
                  <a:lnTo>
                    <a:pt x="452" y="983"/>
                  </a:lnTo>
                  <a:lnTo>
                    <a:pt x="469" y="992"/>
                  </a:lnTo>
                  <a:lnTo>
                    <a:pt x="487" y="997"/>
                  </a:lnTo>
                  <a:lnTo>
                    <a:pt x="492" y="997"/>
                  </a:lnTo>
                  <a:lnTo>
                    <a:pt x="492" y="992"/>
                  </a:lnTo>
                  <a:lnTo>
                    <a:pt x="500" y="974"/>
                  </a:lnTo>
                  <a:lnTo>
                    <a:pt x="500" y="974"/>
                  </a:lnTo>
                  <a:lnTo>
                    <a:pt x="500" y="970"/>
                  </a:lnTo>
                  <a:lnTo>
                    <a:pt x="496" y="943"/>
                  </a:lnTo>
                  <a:lnTo>
                    <a:pt x="496" y="939"/>
                  </a:lnTo>
                  <a:lnTo>
                    <a:pt x="496" y="939"/>
                  </a:lnTo>
                  <a:lnTo>
                    <a:pt x="492" y="939"/>
                  </a:lnTo>
                  <a:lnTo>
                    <a:pt x="487" y="939"/>
                  </a:lnTo>
                  <a:lnTo>
                    <a:pt x="474" y="926"/>
                  </a:lnTo>
                  <a:lnTo>
                    <a:pt x="487" y="899"/>
                  </a:lnTo>
                  <a:lnTo>
                    <a:pt x="500" y="877"/>
                  </a:lnTo>
                  <a:lnTo>
                    <a:pt x="500" y="877"/>
                  </a:lnTo>
                  <a:lnTo>
                    <a:pt x="509" y="864"/>
                  </a:lnTo>
                  <a:lnTo>
                    <a:pt x="509" y="859"/>
                  </a:lnTo>
                  <a:lnTo>
                    <a:pt x="509" y="859"/>
                  </a:lnTo>
                  <a:lnTo>
                    <a:pt x="509" y="859"/>
                  </a:lnTo>
                  <a:lnTo>
                    <a:pt x="509" y="846"/>
                  </a:lnTo>
                  <a:lnTo>
                    <a:pt x="514" y="846"/>
                  </a:lnTo>
                  <a:lnTo>
                    <a:pt x="514" y="842"/>
                  </a:lnTo>
                  <a:lnTo>
                    <a:pt x="518" y="837"/>
                  </a:lnTo>
                  <a:lnTo>
                    <a:pt x="518" y="833"/>
                  </a:lnTo>
                  <a:lnTo>
                    <a:pt x="518" y="828"/>
                  </a:lnTo>
                  <a:lnTo>
                    <a:pt x="518" y="820"/>
                  </a:lnTo>
                  <a:lnTo>
                    <a:pt x="518" y="815"/>
                  </a:lnTo>
                  <a:lnTo>
                    <a:pt x="523" y="784"/>
                  </a:lnTo>
                  <a:lnTo>
                    <a:pt x="523" y="784"/>
                  </a:lnTo>
                  <a:lnTo>
                    <a:pt x="527" y="775"/>
                  </a:lnTo>
                  <a:lnTo>
                    <a:pt x="527" y="771"/>
                  </a:lnTo>
                  <a:lnTo>
                    <a:pt x="527" y="766"/>
                  </a:lnTo>
                  <a:lnTo>
                    <a:pt x="518" y="731"/>
                  </a:lnTo>
                  <a:lnTo>
                    <a:pt x="536" y="731"/>
                  </a:lnTo>
                  <a:lnTo>
                    <a:pt x="549" y="727"/>
                  </a:lnTo>
                  <a:lnTo>
                    <a:pt x="571" y="713"/>
                  </a:lnTo>
                  <a:lnTo>
                    <a:pt x="571" y="709"/>
                  </a:lnTo>
                  <a:lnTo>
                    <a:pt x="571" y="709"/>
                  </a:lnTo>
                  <a:lnTo>
                    <a:pt x="571" y="704"/>
                  </a:lnTo>
                  <a:lnTo>
                    <a:pt x="571" y="700"/>
                  </a:lnTo>
                  <a:lnTo>
                    <a:pt x="567" y="687"/>
                  </a:lnTo>
                  <a:lnTo>
                    <a:pt x="567" y="682"/>
                  </a:lnTo>
                  <a:lnTo>
                    <a:pt x="580" y="669"/>
                  </a:lnTo>
                  <a:lnTo>
                    <a:pt x="598" y="629"/>
                  </a:lnTo>
                  <a:lnTo>
                    <a:pt x="602" y="625"/>
                  </a:lnTo>
                  <a:lnTo>
                    <a:pt x="616" y="611"/>
                  </a:lnTo>
                  <a:lnTo>
                    <a:pt x="616" y="611"/>
                  </a:lnTo>
                  <a:lnTo>
                    <a:pt x="620" y="611"/>
                  </a:lnTo>
                  <a:lnTo>
                    <a:pt x="620" y="607"/>
                  </a:lnTo>
                  <a:lnTo>
                    <a:pt x="620" y="589"/>
                  </a:lnTo>
                  <a:lnTo>
                    <a:pt x="620" y="589"/>
                  </a:lnTo>
                  <a:lnTo>
                    <a:pt x="602" y="558"/>
                  </a:lnTo>
                  <a:lnTo>
                    <a:pt x="607" y="549"/>
                  </a:lnTo>
                  <a:lnTo>
                    <a:pt x="607" y="545"/>
                  </a:lnTo>
                  <a:lnTo>
                    <a:pt x="616" y="545"/>
                  </a:lnTo>
                  <a:lnTo>
                    <a:pt x="620" y="541"/>
                  </a:lnTo>
                  <a:lnTo>
                    <a:pt x="624" y="541"/>
                  </a:lnTo>
                  <a:lnTo>
                    <a:pt x="629" y="527"/>
                  </a:lnTo>
                  <a:lnTo>
                    <a:pt x="629" y="527"/>
                  </a:lnTo>
                  <a:lnTo>
                    <a:pt x="638" y="496"/>
                  </a:lnTo>
                  <a:lnTo>
                    <a:pt x="638" y="492"/>
                  </a:lnTo>
                  <a:lnTo>
                    <a:pt x="638" y="492"/>
                  </a:lnTo>
                  <a:lnTo>
                    <a:pt x="660" y="470"/>
                  </a:lnTo>
                  <a:lnTo>
                    <a:pt x="664" y="465"/>
                  </a:lnTo>
                  <a:lnTo>
                    <a:pt x="669" y="461"/>
                  </a:lnTo>
                  <a:lnTo>
                    <a:pt x="682" y="470"/>
                  </a:lnTo>
                  <a:lnTo>
                    <a:pt x="695" y="483"/>
                  </a:lnTo>
                  <a:lnTo>
                    <a:pt x="700" y="483"/>
                  </a:lnTo>
                  <a:lnTo>
                    <a:pt x="700" y="479"/>
                  </a:lnTo>
                  <a:lnTo>
                    <a:pt x="700" y="474"/>
                  </a:lnTo>
                  <a:lnTo>
                    <a:pt x="713" y="456"/>
                  </a:lnTo>
                  <a:lnTo>
                    <a:pt x="713" y="448"/>
                  </a:lnTo>
                  <a:lnTo>
                    <a:pt x="708" y="421"/>
                  </a:lnTo>
                  <a:lnTo>
                    <a:pt x="708" y="417"/>
                  </a:lnTo>
                  <a:lnTo>
                    <a:pt x="713" y="403"/>
                  </a:lnTo>
                  <a:lnTo>
                    <a:pt x="713" y="403"/>
                  </a:lnTo>
                  <a:lnTo>
                    <a:pt x="713" y="399"/>
                  </a:lnTo>
                  <a:lnTo>
                    <a:pt x="713" y="399"/>
                  </a:lnTo>
                  <a:lnTo>
                    <a:pt x="726" y="394"/>
                  </a:lnTo>
                  <a:lnTo>
                    <a:pt x="726" y="399"/>
                  </a:lnTo>
                  <a:lnTo>
                    <a:pt x="735" y="408"/>
                  </a:lnTo>
                  <a:lnTo>
                    <a:pt x="739" y="408"/>
                  </a:lnTo>
                  <a:lnTo>
                    <a:pt x="757" y="403"/>
                  </a:lnTo>
                  <a:lnTo>
                    <a:pt x="779" y="417"/>
                  </a:lnTo>
                  <a:lnTo>
                    <a:pt x="806" y="425"/>
                  </a:lnTo>
                  <a:lnTo>
                    <a:pt x="806" y="425"/>
                  </a:lnTo>
                  <a:lnTo>
                    <a:pt x="810" y="425"/>
                  </a:lnTo>
                  <a:lnTo>
                    <a:pt x="819" y="408"/>
                  </a:lnTo>
                  <a:lnTo>
                    <a:pt x="806" y="399"/>
                  </a:lnTo>
                  <a:lnTo>
                    <a:pt x="815" y="390"/>
                  </a:lnTo>
                  <a:lnTo>
                    <a:pt x="819" y="381"/>
                  </a:lnTo>
                  <a:lnTo>
                    <a:pt x="828" y="368"/>
                  </a:lnTo>
                  <a:lnTo>
                    <a:pt x="828" y="363"/>
                  </a:lnTo>
                  <a:lnTo>
                    <a:pt x="828" y="363"/>
                  </a:lnTo>
                  <a:lnTo>
                    <a:pt x="828" y="350"/>
                  </a:lnTo>
                  <a:lnTo>
                    <a:pt x="828" y="346"/>
                  </a:lnTo>
                  <a:lnTo>
                    <a:pt x="815" y="328"/>
                  </a:lnTo>
                  <a:lnTo>
                    <a:pt x="828" y="328"/>
                  </a:lnTo>
                  <a:lnTo>
                    <a:pt x="841" y="328"/>
                  </a:lnTo>
                  <a:lnTo>
                    <a:pt x="846" y="319"/>
                  </a:lnTo>
                  <a:lnTo>
                    <a:pt x="846" y="319"/>
                  </a:lnTo>
                  <a:lnTo>
                    <a:pt x="863" y="328"/>
                  </a:lnTo>
                  <a:lnTo>
                    <a:pt x="863" y="328"/>
                  </a:lnTo>
                  <a:lnTo>
                    <a:pt x="868" y="328"/>
                  </a:lnTo>
                  <a:lnTo>
                    <a:pt x="868" y="319"/>
                  </a:lnTo>
                  <a:lnTo>
                    <a:pt x="863" y="306"/>
                  </a:lnTo>
                  <a:lnTo>
                    <a:pt x="863" y="302"/>
                  </a:lnTo>
                  <a:lnTo>
                    <a:pt x="863" y="302"/>
                  </a:lnTo>
                  <a:lnTo>
                    <a:pt x="868" y="297"/>
                  </a:lnTo>
                  <a:lnTo>
                    <a:pt x="877" y="288"/>
                  </a:lnTo>
                  <a:lnTo>
                    <a:pt x="894" y="293"/>
                  </a:lnTo>
                  <a:lnTo>
                    <a:pt x="894" y="293"/>
                  </a:lnTo>
                  <a:lnTo>
                    <a:pt x="912" y="324"/>
                  </a:lnTo>
                  <a:lnTo>
                    <a:pt x="917" y="333"/>
                  </a:lnTo>
                  <a:lnTo>
                    <a:pt x="921" y="341"/>
                  </a:lnTo>
                  <a:lnTo>
                    <a:pt x="921" y="341"/>
                  </a:lnTo>
                  <a:lnTo>
                    <a:pt x="925" y="346"/>
                  </a:lnTo>
                  <a:lnTo>
                    <a:pt x="925" y="346"/>
                  </a:lnTo>
                  <a:lnTo>
                    <a:pt x="930" y="355"/>
                  </a:lnTo>
                  <a:lnTo>
                    <a:pt x="934" y="359"/>
                  </a:lnTo>
                  <a:lnTo>
                    <a:pt x="934" y="359"/>
                  </a:lnTo>
                  <a:lnTo>
                    <a:pt x="934" y="372"/>
                  </a:lnTo>
                  <a:lnTo>
                    <a:pt x="934" y="377"/>
                  </a:lnTo>
                  <a:lnTo>
                    <a:pt x="934" y="377"/>
                  </a:lnTo>
                  <a:lnTo>
                    <a:pt x="943" y="372"/>
                  </a:lnTo>
                  <a:lnTo>
                    <a:pt x="943" y="372"/>
                  </a:lnTo>
                  <a:lnTo>
                    <a:pt x="943" y="372"/>
                  </a:lnTo>
                  <a:lnTo>
                    <a:pt x="956" y="381"/>
                  </a:lnTo>
                  <a:lnTo>
                    <a:pt x="965" y="381"/>
                  </a:lnTo>
                  <a:lnTo>
                    <a:pt x="970" y="381"/>
                  </a:lnTo>
                  <a:lnTo>
                    <a:pt x="970" y="381"/>
                  </a:lnTo>
                  <a:lnTo>
                    <a:pt x="974" y="390"/>
                  </a:lnTo>
                  <a:lnTo>
                    <a:pt x="978" y="390"/>
                  </a:lnTo>
                  <a:lnTo>
                    <a:pt x="992" y="381"/>
                  </a:lnTo>
                  <a:lnTo>
                    <a:pt x="1001" y="377"/>
                  </a:lnTo>
                  <a:lnTo>
                    <a:pt x="1005" y="377"/>
                  </a:lnTo>
                  <a:lnTo>
                    <a:pt x="1005" y="368"/>
                  </a:lnTo>
                  <a:lnTo>
                    <a:pt x="1009" y="363"/>
                  </a:lnTo>
                  <a:lnTo>
                    <a:pt x="1009" y="359"/>
                  </a:lnTo>
                  <a:lnTo>
                    <a:pt x="1014" y="359"/>
                  </a:lnTo>
                  <a:lnTo>
                    <a:pt x="1027" y="368"/>
                  </a:lnTo>
                  <a:lnTo>
                    <a:pt x="1027" y="368"/>
                  </a:lnTo>
                  <a:lnTo>
                    <a:pt x="1027" y="372"/>
                  </a:lnTo>
                  <a:lnTo>
                    <a:pt x="1036" y="377"/>
                  </a:lnTo>
                  <a:lnTo>
                    <a:pt x="1045" y="377"/>
                  </a:lnTo>
                  <a:lnTo>
                    <a:pt x="1054" y="381"/>
                  </a:lnTo>
                  <a:lnTo>
                    <a:pt x="1058" y="386"/>
                  </a:lnTo>
                  <a:lnTo>
                    <a:pt x="1063" y="394"/>
                  </a:lnTo>
                  <a:lnTo>
                    <a:pt x="1063" y="399"/>
                  </a:lnTo>
                  <a:lnTo>
                    <a:pt x="1067" y="399"/>
                  </a:lnTo>
                  <a:lnTo>
                    <a:pt x="1067" y="399"/>
                  </a:lnTo>
                  <a:lnTo>
                    <a:pt x="1067" y="394"/>
                  </a:lnTo>
                  <a:lnTo>
                    <a:pt x="1067" y="394"/>
                  </a:lnTo>
                  <a:lnTo>
                    <a:pt x="1067" y="390"/>
                  </a:lnTo>
                  <a:lnTo>
                    <a:pt x="1071" y="390"/>
                  </a:lnTo>
                  <a:lnTo>
                    <a:pt x="1071" y="390"/>
                  </a:lnTo>
                  <a:lnTo>
                    <a:pt x="1076" y="386"/>
                  </a:lnTo>
                  <a:lnTo>
                    <a:pt x="1076" y="386"/>
                  </a:lnTo>
                  <a:lnTo>
                    <a:pt x="1076" y="386"/>
                  </a:lnTo>
                  <a:lnTo>
                    <a:pt x="1080" y="386"/>
                  </a:lnTo>
                  <a:lnTo>
                    <a:pt x="1080" y="381"/>
                  </a:lnTo>
                  <a:lnTo>
                    <a:pt x="1080" y="381"/>
                  </a:lnTo>
                  <a:lnTo>
                    <a:pt x="1080" y="381"/>
                  </a:lnTo>
                  <a:lnTo>
                    <a:pt x="1080" y="377"/>
                  </a:lnTo>
                  <a:lnTo>
                    <a:pt x="1080" y="377"/>
                  </a:lnTo>
                  <a:lnTo>
                    <a:pt x="1080" y="372"/>
                  </a:lnTo>
                  <a:lnTo>
                    <a:pt x="1080" y="368"/>
                  </a:lnTo>
                  <a:lnTo>
                    <a:pt x="1080" y="363"/>
                  </a:lnTo>
                  <a:lnTo>
                    <a:pt x="1080" y="359"/>
                  </a:lnTo>
                  <a:lnTo>
                    <a:pt x="1094" y="350"/>
                  </a:lnTo>
                  <a:lnTo>
                    <a:pt x="1094" y="350"/>
                  </a:lnTo>
                  <a:lnTo>
                    <a:pt x="1098" y="350"/>
                  </a:lnTo>
                  <a:lnTo>
                    <a:pt x="1102" y="350"/>
                  </a:lnTo>
                  <a:lnTo>
                    <a:pt x="1107" y="350"/>
                  </a:lnTo>
                  <a:lnTo>
                    <a:pt x="1107" y="350"/>
                  </a:lnTo>
                  <a:lnTo>
                    <a:pt x="1107" y="350"/>
                  </a:lnTo>
                  <a:lnTo>
                    <a:pt x="1107" y="346"/>
                  </a:lnTo>
                  <a:lnTo>
                    <a:pt x="1107" y="346"/>
                  </a:lnTo>
                  <a:lnTo>
                    <a:pt x="1111" y="341"/>
                  </a:lnTo>
                  <a:lnTo>
                    <a:pt x="1111" y="341"/>
                  </a:lnTo>
                  <a:lnTo>
                    <a:pt x="1111" y="337"/>
                  </a:lnTo>
                  <a:lnTo>
                    <a:pt x="1111" y="337"/>
                  </a:lnTo>
                  <a:lnTo>
                    <a:pt x="1116" y="333"/>
                  </a:lnTo>
                  <a:lnTo>
                    <a:pt x="1116" y="333"/>
                  </a:lnTo>
                  <a:lnTo>
                    <a:pt x="1116" y="333"/>
                  </a:lnTo>
                  <a:lnTo>
                    <a:pt x="1116" y="333"/>
                  </a:lnTo>
                  <a:lnTo>
                    <a:pt x="1111" y="328"/>
                  </a:lnTo>
                  <a:lnTo>
                    <a:pt x="1111" y="328"/>
                  </a:lnTo>
                  <a:lnTo>
                    <a:pt x="1111" y="328"/>
                  </a:lnTo>
                  <a:lnTo>
                    <a:pt x="1111" y="328"/>
                  </a:lnTo>
                  <a:lnTo>
                    <a:pt x="1111" y="328"/>
                  </a:lnTo>
                  <a:lnTo>
                    <a:pt x="1111" y="324"/>
                  </a:lnTo>
                  <a:lnTo>
                    <a:pt x="1111" y="324"/>
                  </a:lnTo>
                  <a:lnTo>
                    <a:pt x="1111" y="324"/>
                  </a:lnTo>
                  <a:lnTo>
                    <a:pt x="1111" y="319"/>
                  </a:lnTo>
                  <a:lnTo>
                    <a:pt x="1111" y="315"/>
                  </a:lnTo>
                  <a:lnTo>
                    <a:pt x="1111" y="315"/>
                  </a:lnTo>
                  <a:lnTo>
                    <a:pt x="1111" y="315"/>
                  </a:lnTo>
                  <a:lnTo>
                    <a:pt x="1111" y="315"/>
                  </a:lnTo>
                  <a:lnTo>
                    <a:pt x="1111" y="315"/>
                  </a:lnTo>
                  <a:lnTo>
                    <a:pt x="1111" y="310"/>
                  </a:lnTo>
                  <a:lnTo>
                    <a:pt x="1111" y="310"/>
                  </a:lnTo>
                  <a:lnTo>
                    <a:pt x="1111" y="310"/>
                  </a:lnTo>
                  <a:lnTo>
                    <a:pt x="1111" y="306"/>
                  </a:lnTo>
                  <a:lnTo>
                    <a:pt x="1111" y="302"/>
                  </a:lnTo>
                  <a:lnTo>
                    <a:pt x="1111" y="288"/>
                  </a:lnTo>
                  <a:lnTo>
                    <a:pt x="1111" y="288"/>
                  </a:lnTo>
                  <a:lnTo>
                    <a:pt x="1120" y="279"/>
                  </a:lnTo>
                  <a:lnTo>
                    <a:pt x="1116" y="279"/>
                  </a:lnTo>
                  <a:lnTo>
                    <a:pt x="1116" y="271"/>
                  </a:lnTo>
                  <a:lnTo>
                    <a:pt x="1116" y="266"/>
                  </a:lnTo>
                  <a:lnTo>
                    <a:pt x="1120" y="266"/>
                  </a:lnTo>
                  <a:lnTo>
                    <a:pt x="1120" y="266"/>
                  </a:lnTo>
                  <a:lnTo>
                    <a:pt x="1120" y="262"/>
                  </a:lnTo>
                  <a:lnTo>
                    <a:pt x="1120" y="262"/>
                  </a:lnTo>
                  <a:lnTo>
                    <a:pt x="1120" y="257"/>
                  </a:lnTo>
                  <a:lnTo>
                    <a:pt x="1120" y="257"/>
                  </a:lnTo>
                  <a:lnTo>
                    <a:pt x="1120" y="257"/>
                  </a:lnTo>
                  <a:lnTo>
                    <a:pt x="1120" y="257"/>
                  </a:lnTo>
                  <a:lnTo>
                    <a:pt x="1120" y="253"/>
                  </a:lnTo>
                  <a:lnTo>
                    <a:pt x="1120" y="253"/>
                  </a:lnTo>
                  <a:lnTo>
                    <a:pt x="1125" y="248"/>
                  </a:lnTo>
                  <a:lnTo>
                    <a:pt x="1125" y="244"/>
                  </a:lnTo>
                  <a:lnTo>
                    <a:pt x="1125" y="244"/>
                  </a:lnTo>
                  <a:lnTo>
                    <a:pt x="1125" y="240"/>
                  </a:lnTo>
                  <a:lnTo>
                    <a:pt x="1125" y="240"/>
                  </a:lnTo>
                  <a:lnTo>
                    <a:pt x="1125" y="235"/>
                  </a:lnTo>
                  <a:lnTo>
                    <a:pt x="1125" y="235"/>
                  </a:lnTo>
                  <a:lnTo>
                    <a:pt x="1125" y="231"/>
                  </a:lnTo>
                  <a:lnTo>
                    <a:pt x="1125" y="231"/>
                  </a:lnTo>
                  <a:lnTo>
                    <a:pt x="1125" y="231"/>
                  </a:lnTo>
                  <a:lnTo>
                    <a:pt x="1133" y="226"/>
                  </a:lnTo>
                  <a:lnTo>
                    <a:pt x="1133" y="226"/>
                  </a:lnTo>
                  <a:lnTo>
                    <a:pt x="1133" y="226"/>
                  </a:lnTo>
                  <a:lnTo>
                    <a:pt x="1138" y="226"/>
                  </a:lnTo>
                  <a:lnTo>
                    <a:pt x="1138" y="222"/>
                  </a:lnTo>
                  <a:lnTo>
                    <a:pt x="1142" y="213"/>
                  </a:lnTo>
                  <a:lnTo>
                    <a:pt x="1147" y="209"/>
                  </a:lnTo>
                  <a:lnTo>
                    <a:pt x="1147" y="204"/>
                  </a:lnTo>
                  <a:lnTo>
                    <a:pt x="1147" y="204"/>
                  </a:lnTo>
                  <a:lnTo>
                    <a:pt x="1147" y="200"/>
                  </a:lnTo>
                  <a:lnTo>
                    <a:pt x="1151" y="200"/>
                  </a:lnTo>
                  <a:lnTo>
                    <a:pt x="1151" y="195"/>
                  </a:lnTo>
                  <a:lnTo>
                    <a:pt x="1151" y="195"/>
                  </a:lnTo>
                  <a:lnTo>
                    <a:pt x="1160" y="191"/>
                  </a:lnTo>
                  <a:lnTo>
                    <a:pt x="1164" y="195"/>
                  </a:lnTo>
                  <a:lnTo>
                    <a:pt x="1169" y="191"/>
                  </a:lnTo>
                  <a:lnTo>
                    <a:pt x="1173" y="195"/>
                  </a:lnTo>
                  <a:lnTo>
                    <a:pt x="1173" y="195"/>
                  </a:lnTo>
                  <a:lnTo>
                    <a:pt x="1178" y="195"/>
                  </a:lnTo>
                  <a:lnTo>
                    <a:pt x="1178" y="195"/>
                  </a:lnTo>
                  <a:lnTo>
                    <a:pt x="1182" y="200"/>
                  </a:lnTo>
                  <a:lnTo>
                    <a:pt x="1182" y="200"/>
                  </a:lnTo>
                  <a:lnTo>
                    <a:pt x="1195" y="195"/>
                  </a:lnTo>
                  <a:lnTo>
                    <a:pt x="1195" y="191"/>
                  </a:lnTo>
                  <a:lnTo>
                    <a:pt x="1195" y="191"/>
                  </a:lnTo>
                  <a:lnTo>
                    <a:pt x="1195" y="191"/>
                  </a:lnTo>
                  <a:lnTo>
                    <a:pt x="1195" y="191"/>
                  </a:lnTo>
                  <a:lnTo>
                    <a:pt x="1195" y="186"/>
                  </a:lnTo>
                  <a:lnTo>
                    <a:pt x="1195" y="186"/>
                  </a:lnTo>
                  <a:lnTo>
                    <a:pt x="1195" y="186"/>
                  </a:lnTo>
                  <a:lnTo>
                    <a:pt x="1195" y="186"/>
                  </a:lnTo>
                  <a:lnTo>
                    <a:pt x="1200" y="182"/>
                  </a:lnTo>
                  <a:lnTo>
                    <a:pt x="1209" y="178"/>
                  </a:lnTo>
                  <a:lnTo>
                    <a:pt x="1209" y="178"/>
                  </a:lnTo>
                  <a:lnTo>
                    <a:pt x="1209" y="173"/>
                  </a:lnTo>
                  <a:lnTo>
                    <a:pt x="1213" y="173"/>
                  </a:lnTo>
                  <a:lnTo>
                    <a:pt x="1218" y="173"/>
                  </a:lnTo>
                  <a:lnTo>
                    <a:pt x="1222" y="173"/>
                  </a:lnTo>
                  <a:lnTo>
                    <a:pt x="1226" y="173"/>
                  </a:lnTo>
                  <a:lnTo>
                    <a:pt x="1226" y="173"/>
                  </a:lnTo>
                  <a:lnTo>
                    <a:pt x="1231" y="182"/>
                  </a:lnTo>
                  <a:lnTo>
                    <a:pt x="1240" y="200"/>
                  </a:lnTo>
                  <a:lnTo>
                    <a:pt x="1240" y="200"/>
                  </a:lnTo>
                  <a:lnTo>
                    <a:pt x="1248" y="204"/>
                  </a:lnTo>
                  <a:lnTo>
                    <a:pt x="1248" y="209"/>
                  </a:lnTo>
                  <a:lnTo>
                    <a:pt x="1253" y="213"/>
                  </a:lnTo>
                  <a:lnTo>
                    <a:pt x="1253" y="213"/>
                  </a:lnTo>
                  <a:lnTo>
                    <a:pt x="1257" y="217"/>
                  </a:lnTo>
                  <a:lnTo>
                    <a:pt x="1271" y="226"/>
                  </a:lnTo>
                  <a:lnTo>
                    <a:pt x="1288" y="231"/>
                  </a:lnTo>
                  <a:lnTo>
                    <a:pt x="1288" y="235"/>
                  </a:lnTo>
                  <a:lnTo>
                    <a:pt x="1293" y="244"/>
                  </a:lnTo>
                  <a:lnTo>
                    <a:pt x="1302" y="266"/>
                  </a:lnTo>
                  <a:lnTo>
                    <a:pt x="1293" y="279"/>
                  </a:lnTo>
                  <a:lnTo>
                    <a:pt x="1275" y="302"/>
                  </a:lnTo>
                  <a:lnTo>
                    <a:pt x="1275" y="302"/>
                  </a:lnTo>
                  <a:lnTo>
                    <a:pt x="1275" y="306"/>
                  </a:lnTo>
                  <a:lnTo>
                    <a:pt x="1275" y="319"/>
                  </a:lnTo>
                  <a:lnTo>
                    <a:pt x="1275" y="319"/>
                  </a:lnTo>
                  <a:lnTo>
                    <a:pt x="1275" y="324"/>
                  </a:lnTo>
                  <a:lnTo>
                    <a:pt x="1279" y="328"/>
                  </a:lnTo>
                  <a:lnTo>
                    <a:pt x="1279" y="328"/>
                  </a:lnTo>
                  <a:lnTo>
                    <a:pt x="1284" y="328"/>
                  </a:lnTo>
                  <a:lnTo>
                    <a:pt x="1284" y="328"/>
                  </a:lnTo>
                  <a:lnTo>
                    <a:pt x="1288" y="328"/>
                  </a:lnTo>
                  <a:lnTo>
                    <a:pt x="1293" y="324"/>
                  </a:lnTo>
                  <a:lnTo>
                    <a:pt x="1293" y="319"/>
                  </a:lnTo>
                  <a:lnTo>
                    <a:pt x="1297" y="315"/>
                  </a:lnTo>
                  <a:lnTo>
                    <a:pt x="1297" y="315"/>
                  </a:lnTo>
                  <a:lnTo>
                    <a:pt x="1297" y="310"/>
                  </a:lnTo>
                  <a:lnTo>
                    <a:pt x="1297" y="306"/>
                  </a:lnTo>
                  <a:lnTo>
                    <a:pt x="1297" y="306"/>
                  </a:lnTo>
                  <a:lnTo>
                    <a:pt x="1297" y="306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297"/>
                  </a:lnTo>
                  <a:lnTo>
                    <a:pt x="1302" y="293"/>
                  </a:lnTo>
                  <a:lnTo>
                    <a:pt x="1302" y="293"/>
                  </a:lnTo>
                  <a:lnTo>
                    <a:pt x="1302" y="288"/>
                  </a:lnTo>
                  <a:lnTo>
                    <a:pt x="1306" y="288"/>
                  </a:lnTo>
                  <a:lnTo>
                    <a:pt x="1315" y="288"/>
                  </a:lnTo>
                  <a:lnTo>
                    <a:pt x="1319" y="284"/>
                  </a:lnTo>
                  <a:lnTo>
                    <a:pt x="1319" y="279"/>
                  </a:lnTo>
                  <a:lnTo>
                    <a:pt x="1324" y="279"/>
                  </a:lnTo>
                  <a:lnTo>
                    <a:pt x="1328" y="279"/>
                  </a:lnTo>
                  <a:lnTo>
                    <a:pt x="1333" y="279"/>
                  </a:lnTo>
                  <a:lnTo>
                    <a:pt x="1333" y="279"/>
                  </a:lnTo>
                  <a:lnTo>
                    <a:pt x="1337" y="275"/>
                  </a:lnTo>
                  <a:lnTo>
                    <a:pt x="1341" y="266"/>
                  </a:lnTo>
                  <a:lnTo>
                    <a:pt x="1341" y="266"/>
                  </a:lnTo>
                  <a:lnTo>
                    <a:pt x="1341" y="266"/>
                  </a:lnTo>
                  <a:lnTo>
                    <a:pt x="1341" y="262"/>
                  </a:lnTo>
                  <a:lnTo>
                    <a:pt x="1341" y="262"/>
                  </a:lnTo>
                  <a:lnTo>
                    <a:pt x="1341" y="257"/>
                  </a:lnTo>
                  <a:lnTo>
                    <a:pt x="1346" y="257"/>
                  </a:lnTo>
                  <a:lnTo>
                    <a:pt x="1346" y="257"/>
                  </a:lnTo>
                  <a:lnTo>
                    <a:pt x="1346" y="253"/>
                  </a:lnTo>
                  <a:lnTo>
                    <a:pt x="1346" y="253"/>
                  </a:lnTo>
                  <a:lnTo>
                    <a:pt x="1346" y="248"/>
                  </a:lnTo>
                  <a:lnTo>
                    <a:pt x="1346" y="248"/>
                  </a:lnTo>
                  <a:lnTo>
                    <a:pt x="1346" y="244"/>
                  </a:lnTo>
                  <a:lnTo>
                    <a:pt x="1346" y="244"/>
                  </a:lnTo>
                  <a:lnTo>
                    <a:pt x="1341" y="240"/>
                  </a:lnTo>
                  <a:lnTo>
                    <a:pt x="1341" y="240"/>
                  </a:lnTo>
                  <a:lnTo>
                    <a:pt x="1341" y="240"/>
                  </a:lnTo>
                  <a:lnTo>
                    <a:pt x="1341" y="240"/>
                  </a:lnTo>
                  <a:lnTo>
                    <a:pt x="1346" y="240"/>
                  </a:lnTo>
                  <a:lnTo>
                    <a:pt x="1346" y="240"/>
                  </a:lnTo>
                  <a:lnTo>
                    <a:pt x="1350" y="240"/>
                  </a:lnTo>
                  <a:lnTo>
                    <a:pt x="1359" y="253"/>
                  </a:lnTo>
                  <a:lnTo>
                    <a:pt x="1364" y="253"/>
                  </a:lnTo>
                  <a:lnTo>
                    <a:pt x="1377" y="257"/>
                  </a:lnTo>
                  <a:lnTo>
                    <a:pt x="1381" y="253"/>
                  </a:lnTo>
                  <a:lnTo>
                    <a:pt x="1381" y="253"/>
                  </a:lnTo>
                  <a:lnTo>
                    <a:pt x="1386" y="248"/>
                  </a:lnTo>
                  <a:lnTo>
                    <a:pt x="1386" y="244"/>
                  </a:lnTo>
                  <a:lnTo>
                    <a:pt x="1386" y="235"/>
                  </a:lnTo>
                  <a:lnTo>
                    <a:pt x="1381" y="231"/>
                  </a:lnTo>
                  <a:lnTo>
                    <a:pt x="1381" y="231"/>
                  </a:lnTo>
                  <a:lnTo>
                    <a:pt x="1381" y="226"/>
                  </a:lnTo>
                  <a:lnTo>
                    <a:pt x="1381" y="226"/>
                  </a:lnTo>
                  <a:lnTo>
                    <a:pt x="1381" y="222"/>
                  </a:lnTo>
                  <a:lnTo>
                    <a:pt x="1381" y="222"/>
                  </a:lnTo>
                  <a:lnTo>
                    <a:pt x="1381" y="217"/>
                  </a:lnTo>
                  <a:lnTo>
                    <a:pt x="1381" y="213"/>
                  </a:lnTo>
                  <a:lnTo>
                    <a:pt x="1377" y="213"/>
                  </a:lnTo>
                  <a:lnTo>
                    <a:pt x="1377" y="213"/>
                  </a:lnTo>
                  <a:lnTo>
                    <a:pt x="1377" y="217"/>
                  </a:lnTo>
                  <a:lnTo>
                    <a:pt x="1372" y="217"/>
                  </a:lnTo>
                  <a:lnTo>
                    <a:pt x="1372" y="217"/>
                  </a:lnTo>
                  <a:lnTo>
                    <a:pt x="1372" y="217"/>
                  </a:lnTo>
                  <a:lnTo>
                    <a:pt x="1372" y="217"/>
                  </a:lnTo>
                  <a:lnTo>
                    <a:pt x="1372" y="213"/>
                  </a:lnTo>
                  <a:lnTo>
                    <a:pt x="1372" y="213"/>
                  </a:lnTo>
                  <a:lnTo>
                    <a:pt x="1372" y="213"/>
                  </a:lnTo>
                  <a:lnTo>
                    <a:pt x="1359" y="213"/>
                  </a:lnTo>
                  <a:lnTo>
                    <a:pt x="1359" y="213"/>
                  </a:lnTo>
                  <a:lnTo>
                    <a:pt x="1359" y="213"/>
                  </a:lnTo>
                  <a:lnTo>
                    <a:pt x="1359" y="217"/>
                  </a:lnTo>
                  <a:lnTo>
                    <a:pt x="1359" y="217"/>
                  </a:lnTo>
                  <a:lnTo>
                    <a:pt x="1359" y="217"/>
                  </a:lnTo>
                  <a:lnTo>
                    <a:pt x="1359" y="222"/>
                  </a:lnTo>
                  <a:lnTo>
                    <a:pt x="1359" y="222"/>
                  </a:lnTo>
                  <a:lnTo>
                    <a:pt x="1359" y="222"/>
                  </a:lnTo>
                  <a:lnTo>
                    <a:pt x="1359" y="222"/>
                  </a:lnTo>
                  <a:lnTo>
                    <a:pt x="1359" y="222"/>
                  </a:lnTo>
                  <a:lnTo>
                    <a:pt x="1359" y="226"/>
                  </a:lnTo>
                  <a:lnTo>
                    <a:pt x="1359" y="226"/>
                  </a:lnTo>
                  <a:lnTo>
                    <a:pt x="1359" y="231"/>
                  </a:lnTo>
                  <a:lnTo>
                    <a:pt x="1359" y="231"/>
                  </a:lnTo>
                  <a:lnTo>
                    <a:pt x="1359" y="231"/>
                  </a:lnTo>
                  <a:lnTo>
                    <a:pt x="1355" y="235"/>
                  </a:lnTo>
                  <a:lnTo>
                    <a:pt x="1355" y="231"/>
                  </a:lnTo>
                  <a:lnTo>
                    <a:pt x="1355" y="231"/>
                  </a:lnTo>
                  <a:lnTo>
                    <a:pt x="1355" y="231"/>
                  </a:lnTo>
                  <a:lnTo>
                    <a:pt x="1359" y="222"/>
                  </a:lnTo>
                  <a:lnTo>
                    <a:pt x="1359" y="217"/>
                  </a:lnTo>
                  <a:lnTo>
                    <a:pt x="1359" y="217"/>
                  </a:lnTo>
                  <a:lnTo>
                    <a:pt x="1355" y="213"/>
                  </a:lnTo>
                  <a:lnTo>
                    <a:pt x="1355" y="213"/>
                  </a:lnTo>
                  <a:lnTo>
                    <a:pt x="1355" y="209"/>
                  </a:lnTo>
                  <a:lnTo>
                    <a:pt x="1355" y="209"/>
                  </a:lnTo>
                  <a:lnTo>
                    <a:pt x="1355" y="209"/>
                  </a:lnTo>
                  <a:lnTo>
                    <a:pt x="1355" y="209"/>
                  </a:lnTo>
                  <a:lnTo>
                    <a:pt x="1350" y="209"/>
                  </a:lnTo>
                  <a:lnTo>
                    <a:pt x="1350" y="209"/>
                  </a:lnTo>
                  <a:lnTo>
                    <a:pt x="1350" y="204"/>
                  </a:lnTo>
                  <a:lnTo>
                    <a:pt x="1350" y="204"/>
                  </a:lnTo>
                  <a:lnTo>
                    <a:pt x="1350" y="200"/>
                  </a:lnTo>
                  <a:lnTo>
                    <a:pt x="1350" y="200"/>
                  </a:lnTo>
                  <a:lnTo>
                    <a:pt x="1346" y="200"/>
                  </a:lnTo>
                  <a:lnTo>
                    <a:pt x="1346" y="200"/>
                  </a:lnTo>
                  <a:lnTo>
                    <a:pt x="1346" y="204"/>
                  </a:lnTo>
                  <a:lnTo>
                    <a:pt x="1346" y="209"/>
                  </a:lnTo>
                  <a:lnTo>
                    <a:pt x="1346" y="209"/>
                  </a:lnTo>
                  <a:lnTo>
                    <a:pt x="1346" y="213"/>
                  </a:lnTo>
                  <a:lnTo>
                    <a:pt x="1346" y="213"/>
                  </a:lnTo>
                  <a:lnTo>
                    <a:pt x="1346" y="213"/>
                  </a:lnTo>
                  <a:lnTo>
                    <a:pt x="1346" y="217"/>
                  </a:lnTo>
                  <a:lnTo>
                    <a:pt x="1346" y="217"/>
                  </a:lnTo>
                  <a:lnTo>
                    <a:pt x="1346" y="217"/>
                  </a:lnTo>
                  <a:lnTo>
                    <a:pt x="1341" y="222"/>
                  </a:lnTo>
                  <a:lnTo>
                    <a:pt x="1341" y="222"/>
                  </a:lnTo>
                  <a:lnTo>
                    <a:pt x="1341" y="222"/>
                  </a:lnTo>
                  <a:lnTo>
                    <a:pt x="1346" y="226"/>
                  </a:lnTo>
                  <a:lnTo>
                    <a:pt x="1346" y="231"/>
                  </a:lnTo>
                  <a:lnTo>
                    <a:pt x="1346" y="231"/>
                  </a:lnTo>
                  <a:lnTo>
                    <a:pt x="1346" y="231"/>
                  </a:lnTo>
                  <a:lnTo>
                    <a:pt x="1346" y="231"/>
                  </a:lnTo>
                  <a:lnTo>
                    <a:pt x="1341" y="226"/>
                  </a:lnTo>
                  <a:lnTo>
                    <a:pt x="1341" y="226"/>
                  </a:lnTo>
                  <a:lnTo>
                    <a:pt x="1341" y="222"/>
                  </a:lnTo>
                  <a:lnTo>
                    <a:pt x="1337" y="222"/>
                  </a:lnTo>
                  <a:lnTo>
                    <a:pt x="1337" y="226"/>
                  </a:lnTo>
                  <a:lnTo>
                    <a:pt x="1333" y="226"/>
                  </a:lnTo>
                  <a:lnTo>
                    <a:pt x="1333" y="226"/>
                  </a:lnTo>
                  <a:lnTo>
                    <a:pt x="1333" y="231"/>
                  </a:lnTo>
                  <a:lnTo>
                    <a:pt x="1333" y="226"/>
                  </a:lnTo>
                  <a:lnTo>
                    <a:pt x="1333" y="226"/>
                  </a:lnTo>
                  <a:lnTo>
                    <a:pt x="1337" y="226"/>
                  </a:lnTo>
                  <a:lnTo>
                    <a:pt x="1337" y="222"/>
                  </a:lnTo>
                  <a:lnTo>
                    <a:pt x="1337" y="217"/>
                  </a:lnTo>
                  <a:lnTo>
                    <a:pt x="1337" y="217"/>
                  </a:lnTo>
                  <a:lnTo>
                    <a:pt x="1337" y="217"/>
                  </a:lnTo>
                  <a:lnTo>
                    <a:pt x="1337" y="217"/>
                  </a:lnTo>
                  <a:lnTo>
                    <a:pt x="1333" y="222"/>
                  </a:lnTo>
                  <a:lnTo>
                    <a:pt x="1328" y="222"/>
                  </a:lnTo>
                  <a:lnTo>
                    <a:pt x="1324" y="222"/>
                  </a:lnTo>
                  <a:lnTo>
                    <a:pt x="1319" y="222"/>
                  </a:lnTo>
                  <a:lnTo>
                    <a:pt x="1319" y="222"/>
                  </a:lnTo>
                  <a:lnTo>
                    <a:pt x="1310" y="231"/>
                  </a:lnTo>
                  <a:lnTo>
                    <a:pt x="1310" y="231"/>
                  </a:lnTo>
                  <a:lnTo>
                    <a:pt x="1310" y="235"/>
                  </a:lnTo>
                  <a:lnTo>
                    <a:pt x="1310" y="235"/>
                  </a:lnTo>
                  <a:lnTo>
                    <a:pt x="1310" y="231"/>
                  </a:lnTo>
                  <a:lnTo>
                    <a:pt x="1310" y="231"/>
                  </a:lnTo>
                  <a:lnTo>
                    <a:pt x="1310" y="226"/>
                  </a:lnTo>
                  <a:lnTo>
                    <a:pt x="1310" y="226"/>
                  </a:lnTo>
                  <a:lnTo>
                    <a:pt x="1310" y="226"/>
                  </a:lnTo>
                  <a:lnTo>
                    <a:pt x="1310" y="226"/>
                  </a:lnTo>
                  <a:lnTo>
                    <a:pt x="1315" y="226"/>
                  </a:lnTo>
                  <a:lnTo>
                    <a:pt x="1315" y="222"/>
                  </a:lnTo>
                  <a:lnTo>
                    <a:pt x="1315" y="222"/>
                  </a:lnTo>
                  <a:lnTo>
                    <a:pt x="1315" y="222"/>
                  </a:lnTo>
                  <a:lnTo>
                    <a:pt x="1315" y="222"/>
                  </a:lnTo>
                  <a:lnTo>
                    <a:pt x="1315" y="217"/>
                  </a:lnTo>
                  <a:lnTo>
                    <a:pt x="1315" y="217"/>
                  </a:lnTo>
                  <a:lnTo>
                    <a:pt x="1319" y="213"/>
                  </a:lnTo>
                  <a:lnTo>
                    <a:pt x="1319" y="213"/>
                  </a:lnTo>
                  <a:lnTo>
                    <a:pt x="1324" y="209"/>
                  </a:lnTo>
                  <a:lnTo>
                    <a:pt x="1324" y="209"/>
                  </a:lnTo>
                  <a:lnTo>
                    <a:pt x="1324" y="204"/>
                  </a:lnTo>
                  <a:lnTo>
                    <a:pt x="1324" y="200"/>
                  </a:lnTo>
                  <a:lnTo>
                    <a:pt x="1319" y="200"/>
                  </a:lnTo>
                  <a:lnTo>
                    <a:pt x="1319" y="200"/>
                  </a:lnTo>
                  <a:lnTo>
                    <a:pt x="1324" y="195"/>
                  </a:lnTo>
                  <a:lnTo>
                    <a:pt x="1319" y="195"/>
                  </a:lnTo>
                  <a:lnTo>
                    <a:pt x="1319" y="200"/>
                  </a:lnTo>
                  <a:lnTo>
                    <a:pt x="1315" y="195"/>
                  </a:lnTo>
                  <a:lnTo>
                    <a:pt x="1315" y="200"/>
                  </a:lnTo>
                  <a:lnTo>
                    <a:pt x="1315" y="200"/>
                  </a:lnTo>
                  <a:lnTo>
                    <a:pt x="1315" y="195"/>
                  </a:lnTo>
                  <a:lnTo>
                    <a:pt x="1310" y="195"/>
                  </a:lnTo>
                  <a:lnTo>
                    <a:pt x="1310" y="195"/>
                  </a:lnTo>
                  <a:lnTo>
                    <a:pt x="1310" y="195"/>
                  </a:lnTo>
                  <a:lnTo>
                    <a:pt x="1310" y="195"/>
                  </a:lnTo>
                  <a:lnTo>
                    <a:pt x="1306" y="200"/>
                  </a:lnTo>
                  <a:lnTo>
                    <a:pt x="1306" y="204"/>
                  </a:lnTo>
                  <a:lnTo>
                    <a:pt x="1306" y="204"/>
                  </a:lnTo>
                  <a:lnTo>
                    <a:pt x="1302" y="204"/>
                  </a:lnTo>
                  <a:lnTo>
                    <a:pt x="1302" y="204"/>
                  </a:lnTo>
                  <a:lnTo>
                    <a:pt x="1302" y="204"/>
                  </a:lnTo>
                  <a:lnTo>
                    <a:pt x="1306" y="204"/>
                  </a:lnTo>
                  <a:lnTo>
                    <a:pt x="1306" y="200"/>
                  </a:lnTo>
                  <a:lnTo>
                    <a:pt x="1306" y="200"/>
                  </a:lnTo>
                  <a:lnTo>
                    <a:pt x="1306" y="200"/>
                  </a:lnTo>
                  <a:lnTo>
                    <a:pt x="1306" y="200"/>
                  </a:lnTo>
                  <a:lnTo>
                    <a:pt x="1306" y="195"/>
                  </a:lnTo>
                  <a:lnTo>
                    <a:pt x="1310" y="195"/>
                  </a:lnTo>
                  <a:lnTo>
                    <a:pt x="1315" y="191"/>
                  </a:lnTo>
                  <a:lnTo>
                    <a:pt x="1319" y="186"/>
                  </a:lnTo>
                  <a:lnTo>
                    <a:pt x="1319" y="186"/>
                  </a:lnTo>
                  <a:lnTo>
                    <a:pt x="1302" y="182"/>
                  </a:lnTo>
                  <a:lnTo>
                    <a:pt x="1302" y="182"/>
                  </a:lnTo>
                  <a:lnTo>
                    <a:pt x="1293" y="182"/>
                  </a:lnTo>
                  <a:lnTo>
                    <a:pt x="1288" y="182"/>
                  </a:lnTo>
                  <a:lnTo>
                    <a:pt x="1293" y="178"/>
                  </a:lnTo>
                  <a:lnTo>
                    <a:pt x="1293" y="178"/>
                  </a:lnTo>
                  <a:lnTo>
                    <a:pt x="1293" y="178"/>
                  </a:lnTo>
                  <a:lnTo>
                    <a:pt x="1293" y="178"/>
                  </a:lnTo>
                  <a:lnTo>
                    <a:pt x="1288" y="178"/>
                  </a:lnTo>
                  <a:lnTo>
                    <a:pt x="1288" y="178"/>
                  </a:lnTo>
                  <a:lnTo>
                    <a:pt x="1288" y="173"/>
                  </a:lnTo>
                  <a:lnTo>
                    <a:pt x="1284" y="173"/>
                  </a:lnTo>
                  <a:lnTo>
                    <a:pt x="1279" y="173"/>
                  </a:lnTo>
                  <a:lnTo>
                    <a:pt x="1271" y="169"/>
                  </a:lnTo>
                  <a:lnTo>
                    <a:pt x="1271" y="169"/>
                  </a:lnTo>
                  <a:lnTo>
                    <a:pt x="1275" y="169"/>
                  </a:lnTo>
                  <a:lnTo>
                    <a:pt x="1275" y="169"/>
                  </a:lnTo>
                  <a:lnTo>
                    <a:pt x="1275" y="169"/>
                  </a:lnTo>
                  <a:lnTo>
                    <a:pt x="1271" y="164"/>
                  </a:lnTo>
                  <a:lnTo>
                    <a:pt x="1271" y="164"/>
                  </a:lnTo>
                  <a:lnTo>
                    <a:pt x="1271" y="169"/>
                  </a:lnTo>
                  <a:lnTo>
                    <a:pt x="1266" y="169"/>
                  </a:lnTo>
                  <a:lnTo>
                    <a:pt x="1262" y="164"/>
                  </a:lnTo>
                  <a:lnTo>
                    <a:pt x="1262" y="164"/>
                  </a:lnTo>
                  <a:lnTo>
                    <a:pt x="1262" y="164"/>
                  </a:lnTo>
                  <a:lnTo>
                    <a:pt x="1266" y="164"/>
                  </a:lnTo>
                  <a:lnTo>
                    <a:pt x="1271" y="160"/>
                  </a:lnTo>
                  <a:lnTo>
                    <a:pt x="1271" y="155"/>
                  </a:lnTo>
                  <a:lnTo>
                    <a:pt x="1262" y="160"/>
                  </a:lnTo>
                  <a:lnTo>
                    <a:pt x="1262" y="155"/>
                  </a:lnTo>
                  <a:lnTo>
                    <a:pt x="1266" y="155"/>
                  </a:lnTo>
                  <a:lnTo>
                    <a:pt x="1279" y="160"/>
                  </a:lnTo>
                  <a:lnTo>
                    <a:pt x="1293" y="164"/>
                  </a:lnTo>
                  <a:lnTo>
                    <a:pt x="1293" y="164"/>
                  </a:lnTo>
                  <a:lnTo>
                    <a:pt x="1319" y="169"/>
                  </a:lnTo>
                  <a:lnTo>
                    <a:pt x="1346" y="173"/>
                  </a:lnTo>
                  <a:lnTo>
                    <a:pt x="1341" y="173"/>
                  </a:lnTo>
                  <a:lnTo>
                    <a:pt x="1341" y="173"/>
                  </a:lnTo>
                  <a:lnTo>
                    <a:pt x="1341" y="169"/>
                  </a:lnTo>
                  <a:lnTo>
                    <a:pt x="1341" y="169"/>
                  </a:lnTo>
                  <a:lnTo>
                    <a:pt x="1350" y="164"/>
                  </a:lnTo>
                  <a:lnTo>
                    <a:pt x="1355" y="164"/>
                  </a:lnTo>
                  <a:lnTo>
                    <a:pt x="1355" y="160"/>
                  </a:lnTo>
                  <a:lnTo>
                    <a:pt x="1355" y="160"/>
                  </a:lnTo>
                  <a:lnTo>
                    <a:pt x="1355" y="155"/>
                  </a:lnTo>
                  <a:lnTo>
                    <a:pt x="1355" y="155"/>
                  </a:lnTo>
                  <a:lnTo>
                    <a:pt x="1355" y="151"/>
                  </a:lnTo>
                  <a:lnTo>
                    <a:pt x="1359" y="151"/>
                  </a:lnTo>
                  <a:lnTo>
                    <a:pt x="1364" y="151"/>
                  </a:lnTo>
                  <a:lnTo>
                    <a:pt x="1364" y="147"/>
                  </a:lnTo>
                  <a:lnTo>
                    <a:pt x="1364" y="147"/>
                  </a:lnTo>
                  <a:lnTo>
                    <a:pt x="1386" y="142"/>
                  </a:lnTo>
                  <a:lnTo>
                    <a:pt x="1390" y="138"/>
                  </a:lnTo>
                  <a:lnTo>
                    <a:pt x="1390" y="138"/>
                  </a:lnTo>
                  <a:lnTo>
                    <a:pt x="1390" y="138"/>
                  </a:lnTo>
                  <a:close/>
                  <a:moveTo>
                    <a:pt x="1089" y="23"/>
                  </a:moveTo>
                  <a:lnTo>
                    <a:pt x="1089" y="23"/>
                  </a:lnTo>
                  <a:lnTo>
                    <a:pt x="1089" y="23"/>
                  </a:lnTo>
                  <a:lnTo>
                    <a:pt x="1094" y="18"/>
                  </a:lnTo>
                  <a:lnTo>
                    <a:pt x="1098" y="23"/>
                  </a:lnTo>
                  <a:lnTo>
                    <a:pt x="1098" y="23"/>
                  </a:lnTo>
                  <a:lnTo>
                    <a:pt x="1102" y="23"/>
                  </a:lnTo>
                  <a:lnTo>
                    <a:pt x="1098" y="23"/>
                  </a:lnTo>
                  <a:lnTo>
                    <a:pt x="1094" y="27"/>
                  </a:lnTo>
                  <a:lnTo>
                    <a:pt x="1094" y="31"/>
                  </a:lnTo>
                  <a:lnTo>
                    <a:pt x="1098" y="31"/>
                  </a:lnTo>
                  <a:lnTo>
                    <a:pt x="1098" y="36"/>
                  </a:lnTo>
                  <a:lnTo>
                    <a:pt x="1098" y="36"/>
                  </a:lnTo>
                  <a:lnTo>
                    <a:pt x="1102" y="36"/>
                  </a:lnTo>
                  <a:lnTo>
                    <a:pt x="1102" y="36"/>
                  </a:lnTo>
                  <a:lnTo>
                    <a:pt x="1107" y="36"/>
                  </a:lnTo>
                  <a:lnTo>
                    <a:pt x="1111" y="36"/>
                  </a:lnTo>
                  <a:lnTo>
                    <a:pt x="1111" y="31"/>
                  </a:lnTo>
                  <a:lnTo>
                    <a:pt x="1111" y="31"/>
                  </a:lnTo>
                  <a:lnTo>
                    <a:pt x="1111" y="31"/>
                  </a:lnTo>
                  <a:lnTo>
                    <a:pt x="1111" y="27"/>
                  </a:lnTo>
                  <a:lnTo>
                    <a:pt x="1111" y="27"/>
                  </a:lnTo>
                  <a:lnTo>
                    <a:pt x="1116" y="31"/>
                  </a:lnTo>
                  <a:lnTo>
                    <a:pt x="1120" y="31"/>
                  </a:lnTo>
                  <a:lnTo>
                    <a:pt x="1120" y="31"/>
                  </a:lnTo>
                  <a:lnTo>
                    <a:pt x="1120" y="27"/>
                  </a:lnTo>
                  <a:lnTo>
                    <a:pt x="1125" y="27"/>
                  </a:lnTo>
                  <a:lnTo>
                    <a:pt x="1129" y="27"/>
                  </a:lnTo>
                  <a:lnTo>
                    <a:pt x="1129" y="27"/>
                  </a:lnTo>
                  <a:lnTo>
                    <a:pt x="1129" y="27"/>
                  </a:lnTo>
                  <a:lnTo>
                    <a:pt x="1129" y="27"/>
                  </a:lnTo>
                  <a:lnTo>
                    <a:pt x="1133" y="23"/>
                  </a:lnTo>
                  <a:lnTo>
                    <a:pt x="1133" y="23"/>
                  </a:lnTo>
                  <a:lnTo>
                    <a:pt x="1138" y="18"/>
                  </a:lnTo>
                  <a:lnTo>
                    <a:pt x="1133" y="18"/>
                  </a:lnTo>
                  <a:lnTo>
                    <a:pt x="1133" y="18"/>
                  </a:lnTo>
                  <a:lnTo>
                    <a:pt x="1133" y="18"/>
                  </a:lnTo>
                  <a:lnTo>
                    <a:pt x="1129" y="18"/>
                  </a:lnTo>
                  <a:lnTo>
                    <a:pt x="1129" y="23"/>
                  </a:lnTo>
                  <a:lnTo>
                    <a:pt x="1129" y="23"/>
                  </a:lnTo>
                  <a:lnTo>
                    <a:pt x="1125" y="27"/>
                  </a:lnTo>
                  <a:lnTo>
                    <a:pt x="1125" y="27"/>
                  </a:lnTo>
                  <a:lnTo>
                    <a:pt x="1120" y="23"/>
                  </a:lnTo>
                  <a:lnTo>
                    <a:pt x="1120" y="23"/>
                  </a:lnTo>
                  <a:lnTo>
                    <a:pt x="1120" y="23"/>
                  </a:lnTo>
                  <a:lnTo>
                    <a:pt x="1125" y="23"/>
                  </a:lnTo>
                  <a:lnTo>
                    <a:pt x="1125" y="18"/>
                  </a:lnTo>
                  <a:lnTo>
                    <a:pt x="1120" y="18"/>
                  </a:lnTo>
                  <a:lnTo>
                    <a:pt x="1120" y="18"/>
                  </a:lnTo>
                  <a:lnTo>
                    <a:pt x="1120" y="18"/>
                  </a:lnTo>
                  <a:lnTo>
                    <a:pt x="1120" y="18"/>
                  </a:lnTo>
                  <a:lnTo>
                    <a:pt x="1120" y="18"/>
                  </a:lnTo>
                  <a:lnTo>
                    <a:pt x="1125" y="14"/>
                  </a:lnTo>
                  <a:lnTo>
                    <a:pt x="1125" y="9"/>
                  </a:lnTo>
                  <a:lnTo>
                    <a:pt x="1125" y="5"/>
                  </a:lnTo>
                  <a:lnTo>
                    <a:pt x="1125" y="5"/>
                  </a:lnTo>
                  <a:lnTo>
                    <a:pt x="1120" y="9"/>
                  </a:lnTo>
                  <a:lnTo>
                    <a:pt x="1120" y="9"/>
                  </a:lnTo>
                  <a:lnTo>
                    <a:pt x="1120" y="9"/>
                  </a:lnTo>
                  <a:lnTo>
                    <a:pt x="1120" y="9"/>
                  </a:lnTo>
                  <a:lnTo>
                    <a:pt x="1120" y="9"/>
                  </a:lnTo>
                  <a:lnTo>
                    <a:pt x="1120" y="5"/>
                  </a:lnTo>
                  <a:lnTo>
                    <a:pt x="1116" y="5"/>
                  </a:lnTo>
                  <a:lnTo>
                    <a:pt x="1116" y="9"/>
                  </a:lnTo>
                  <a:lnTo>
                    <a:pt x="1111" y="9"/>
                  </a:lnTo>
                  <a:lnTo>
                    <a:pt x="1111" y="5"/>
                  </a:lnTo>
                  <a:lnTo>
                    <a:pt x="1116" y="0"/>
                  </a:lnTo>
                  <a:lnTo>
                    <a:pt x="1116" y="0"/>
                  </a:lnTo>
                  <a:lnTo>
                    <a:pt x="1107" y="0"/>
                  </a:lnTo>
                  <a:lnTo>
                    <a:pt x="1107" y="0"/>
                  </a:lnTo>
                  <a:lnTo>
                    <a:pt x="1107" y="0"/>
                  </a:lnTo>
                  <a:lnTo>
                    <a:pt x="1107" y="0"/>
                  </a:lnTo>
                  <a:lnTo>
                    <a:pt x="1107" y="0"/>
                  </a:lnTo>
                  <a:lnTo>
                    <a:pt x="1107" y="0"/>
                  </a:lnTo>
                  <a:lnTo>
                    <a:pt x="1102" y="0"/>
                  </a:lnTo>
                  <a:lnTo>
                    <a:pt x="1102" y="0"/>
                  </a:lnTo>
                  <a:lnTo>
                    <a:pt x="1102" y="0"/>
                  </a:lnTo>
                  <a:lnTo>
                    <a:pt x="1107" y="9"/>
                  </a:lnTo>
                  <a:lnTo>
                    <a:pt x="1107" y="9"/>
                  </a:lnTo>
                  <a:lnTo>
                    <a:pt x="1111" y="14"/>
                  </a:lnTo>
                  <a:lnTo>
                    <a:pt x="1111" y="18"/>
                  </a:lnTo>
                  <a:lnTo>
                    <a:pt x="1107" y="14"/>
                  </a:lnTo>
                  <a:lnTo>
                    <a:pt x="1107" y="14"/>
                  </a:lnTo>
                  <a:lnTo>
                    <a:pt x="1102" y="14"/>
                  </a:lnTo>
                  <a:lnTo>
                    <a:pt x="1102" y="14"/>
                  </a:lnTo>
                  <a:lnTo>
                    <a:pt x="1102" y="9"/>
                  </a:lnTo>
                  <a:lnTo>
                    <a:pt x="1102" y="9"/>
                  </a:lnTo>
                  <a:lnTo>
                    <a:pt x="1098" y="9"/>
                  </a:lnTo>
                  <a:lnTo>
                    <a:pt x="1098" y="9"/>
                  </a:lnTo>
                  <a:lnTo>
                    <a:pt x="1098" y="9"/>
                  </a:lnTo>
                  <a:lnTo>
                    <a:pt x="1098" y="9"/>
                  </a:lnTo>
                  <a:lnTo>
                    <a:pt x="1098" y="9"/>
                  </a:lnTo>
                  <a:lnTo>
                    <a:pt x="1098" y="14"/>
                  </a:lnTo>
                  <a:lnTo>
                    <a:pt x="1098" y="14"/>
                  </a:lnTo>
                  <a:lnTo>
                    <a:pt x="1098" y="14"/>
                  </a:lnTo>
                  <a:lnTo>
                    <a:pt x="1094" y="14"/>
                  </a:lnTo>
                  <a:lnTo>
                    <a:pt x="1094" y="14"/>
                  </a:lnTo>
                  <a:lnTo>
                    <a:pt x="1094" y="9"/>
                  </a:lnTo>
                  <a:lnTo>
                    <a:pt x="1089" y="14"/>
                  </a:lnTo>
                  <a:lnTo>
                    <a:pt x="1089" y="14"/>
                  </a:lnTo>
                  <a:lnTo>
                    <a:pt x="1089" y="14"/>
                  </a:lnTo>
                  <a:lnTo>
                    <a:pt x="1089" y="14"/>
                  </a:lnTo>
                  <a:lnTo>
                    <a:pt x="1089" y="18"/>
                  </a:lnTo>
                  <a:lnTo>
                    <a:pt x="1089" y="18"/>
                  </a:lnTo>
                  <a:lnTo>
                    <a:pt x="1089" y="23"/>
                  </a:lnTo>
                  <a:lnTo>
                    <a:pt x="1089" y="23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78" name="Freeform 9"/>
            <p:cNvSpPr>
              <a:spLocks/>
            </p:cNvSpPr>
            <p:nvPr/>
          </p:nvSpPr>
          <p:spPr bwMode="auto">
            <a:xfrm>
              <a:off x="2987675" y="4906963"/>
              <a:ext cx="379412" cy="239713"/>
            </a:xfrm>
            <a:custGeom>
              <a:avLst/>
              <a:gdLst>
                <a:gd name="T0" fmla="*/ 234 w 239"/>
                <a:gd name="T1" fmla="*/ 80 h 151"/>
                <a:gd name="T2" fmla="*/ 239 w 239"/>
                <a:gd name="T3" fmla="*/ 67 h 151"/>
                <a:gd name="T4" fmla="*/ 230 w 239"/>
                <a:gd name="T5" fmla="*/ 67 h 151"/>
                <a:gd name="T6" fmla="*/ 221 w 239"/>
                <a:gd name="T7" fmla="*/ 71 h 151"/>
                <a:gd name="T8" fmla="*/ 208 w 239"/>
                <a:gd name="T9" fmla="*/ 62 h 151"/>
                <a:gd name="T10" fmla="*/ 186 w 239"/>
                <a:gd name="T11" fmla="*/ 53 h 151"/>
                <a:gd name="T12" fmla="*/ 194 w 239"/>
                <a:gd name="T13" fmla="*/ 36 h 151"/>
                <a:gd name="T14" fmla="*/ 172 w 239"/>
                <a:gd name="T15" fmla="*/ 9 h 151"/>
                <a:gd name="T16" fmla="*/ 155 w 239"/>
                <a:gd name="T17" fmla="*/ 9 h 151"/>
                <a:gd name="T18" fmla="*/ 146 w 239"/>
                <a:gd name="T19" fmla="*/ 5 h 151"/>
                <a:gd name="T20" fmla="*/ 141 w 239"/>
                <a:gd name="T21" fmla="*/ 0 h 151"/>
                <a:gd name="T22" fmla="*/ 132 w 239"/>
                <a:gd name="T23" fmla="*/ 0 h 151"/>
                <a:gd name="T24" fmla="*/ 128 w 239"/>
                <a:gd name="T25" fmla="*/ 9 h 151"/>
                <a:gd name="T26" fmla="*/ 141 w 239"/>
                <a:gd name="T27" fmla="*/ 9 h 151"/>
                <a:gd name="T28" fmla="*/ 141 w 239"/>
                <a:gd name="T29" fmla="*/ 13 h 151"/>
                <a:gd name="T30" fmla="*/ 132 w 239"/>
                <a:gd name="T31" fmla="*/ 13 h 151"/>
                <a:gd name="T32" fmla="*/ 124 w 239"/>
                <a:gd name="T33" fmla="*/ 13 h 151"/>
                <a:gd name="T34" fmla="*/ 115 w 239"/>
                <a:gd name="T35" fmla="*/ 18 h 151"/>
                <a:gd name="T36" fmla="*/ 93 w 239"/>
                <a:gd name="T37" fmla="*/ 18 h 151"/>
                <a:gd name="T38" fmla="*/ 84 w 239"/>
                <a:gd name="T39" fmla="*/ 18 h 151"/>
                <a:gd name="T40" fmla="*/ 79 w 239"/>
                <a:gd name="T41" fmla="*/ 22 h 151"/>
                <a:gd name="T42" fmla="*/ 79 w 239"/>
                <a:gd name="T43" fmla="*/ 22 h 151"/>
                <a:gd name="T44" fmla="*/ 75 w 239"/>
                <a:gd name="T45" fmla="*/ 27 h 151"/>
                <a:gd name="T46" fmla="*/ 66 w 239"/>
                <a:gd name="T47" fmla="*/ 22 h 151"/>
                <a:gd name="T48" fmla="*/ 53 w 239"/>
                <a:gd name="T49" fmla="*/ 22 h 151"/>
                <a:gd name="T50" fmla="*/ 48 w 239"/>
                <a:gd name="T51" fmla="*/ 36 h 151"/>
                <a:gd name="T52" fmla="*/ 53 w 239"/>
                <a:gd name="T53" fmla="*/ 36 h 151"/>
                <a:gd name="T54" fmla="*/ 40 w 239"/>
                <a:gd name="T55" fmla="*/ 53 h 151"/>
                <a:gd name="T56" fmla="*/ 26 w 239"/>
                <a:gd name="T57" fmla="*/ 71 h 151"/>
                <a:gd name="T58" fmla="*/ 26 w 239"/>
                <a:gd name="T59" fmla="*/ 80 h 151"/>
                <a:gd name="T60" fmla="*/ 9 w 239"/>
                <a:gd name="T61" fmla="*/ 102 h 151"/>
                <a:gd name="T62" fmla="*/ 9 w 239"/>
                <a:gd name="T63" fmla="*/ 106 h 151"/>
                <a:gd name="T64" fmla="*/ 9 w 239"/>
                <a:gd name="T65" fmla="*/ 120 h 151"/>
                <a:gd name="T66" fmla="*/ 0 w 239"/>
                <a:gd name="T67" fmla="*/ 124 h 151"/>
                <a:gd name="T68" fmla="*/ 17 w 239"/>
                <a:gd name="T69" fmla="*/ 120 h 151"/>
                <a:gd name="T70" fmla="*/ 22 w 239"/>
                <a:gd name="T71" fmla="*/ 106 h 151"/>
                <a:gd name="T72" fmla="*/ 44 w 239"/>
                <a:gd name="T73" fmla="*/ 111 h 151"/>
                <a:gd name="T74" fmla="*/ 48 w 239"/>
                <a:gd name="T75" fmla="*/ 129 h 151"/>
                <a:gd name="T76" fmla="*/ 48 w 239"/>
                <a:gd name="T77" fmla="*/ 133 h 151"/>
                <a:gd name="T78" fmla="*/ 62 w 239"/>
                <a:gd name="T79" fmla="*/ 146 h 151"/>
                <a:gd name="T80" fmla="*/ 84 w 239"/>
                <a:gd name="T81" fmla="*/ 142 h 151"/>
                <a:gd name="T82" fmla="*/ 97 w 239"/>
                <a:gd name="T83" fmla="*/ 142 h 151"/>
                <a:gd name="T84" fmla="*/ 106 w 239"/>
                <a:gd name="T85" fmla="*/ 137 h 151"/>
                <a:gd name="T86" fmla="*/ 110 w 239"/>
                <a:gd name="T87" fmla="*/ 129 h 151"/>
                <a:gd name="T88" fmla="*/ 119 w 239"/>
                <a:gd name="T89" fmla="*/ 115 h 151"/>
                <a:gd name="T90" fmla="*/ 128 w 239"/>
                <a:gd name="T91" fmla="*/ 102 h 151"/>
                <a:gd name="T92" fmla="*/ 132 w 239"/>
                <a:gd name="T93" fmla="*/ 120 h 151"/>
                <a:gd name="T94" fmla="*/ 146 w 239"/>
                <a:gd name="T95" fmla="*/ 129 h 151"/>
                <a:gd name="T96" fmla="*/ 150 w 239"/>
                <a:gd name="T97" fmla="*/ 137 h 151"/>
                <a:gd name="T98" fmla="*/ 155 w 239"/>
                <a:gd name="T99" fmla="*/ 151 h 151"/>
                <a:gd name="T100" fmla="*/ 159 w 239"/>
                <a:gd name="T101" fmla="*/ 142 h 151"/>
                <a:gd name="T102" fmla="*/ 163 w 239"/>
                <a:gd name="T103" fmla="*/ 133 h 151"/>
                <a:gd name="T104" fmla="*/ 172 w 239"/>
                <a:gd name="T105" fmla="*/ 120 h 151"/>
                <a:gd name="T106" fmla="*/ 172 w 239"/>
                <a:gd name="T107" fmla="*/ 102 h 151"/>
                <a:gd name="T108" fmla="*/ 186 w 239"/>
                <a:gd name="T109" fmla="*/ 98 h 151"/>
                <a:gd name="T110" fmla="*/ 190 w 239"/>
                <a:gd name="T111" fmla="*/ 115 h 151"/>
                <a:gd name="T112" fmla="*/ 208 w 239"/>
                <a:gd name="T113" fmla="*/ 111 h 151"/>
                <a:gd name="T114" fmla="*/ 217 w 239"/>
                <a:gd name="T115" fmla="*/ 120 h 151"/>
                <a:gd name="T116" fmla="*/ 221 w 239"/>
                <a:gd name="T117" fmla="*/ 106 h 151"/>
                <a:gd name="T118" fmla="*/ 217 w 239"/>
                <a:gd name="T119" fmla="*/ 98 h 151"/>
                <a:gd name="T120" fmla="*/ 225 w 239"/>
                <a:gd name="T121" fmla="*/ 93 h 151"/>
                <a:gd name="T122" fmla="*/ 239 w 239"/>
                <a:gd name="T123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9" h="151">
                  <a:moveTo>
                    <a:pt x="239" y="89"/>
                  </a:moveTo>
                  <a:lnTo>
                    <a:pt x="239" y="89"/>
                  </a:lnTo>
                  <a:lnTo>
                    <a:pt x="234" y="89"/>
                  </a:lnTo>
                  <a:lnTo>
                    <a:pt x="234" y="89"/>
                  </a:lnTo>
                  <a:lnTo>
                    <a:pt x="234" y="84"/>
                  </a:lnTo>
                  <a:lnTo>
                    <a:pt x="234" y="84"/>
                  </a:lnTo>
                  <a:lnTo>
                    <a:pt x="234" y="84"/>
                  </a:lnTo>
                  <a:lnTo>
                    <a:pt x="234" y="84"/>
                  </a:lnTo>
                  <a:lnTo>
                    <a:pt x="234" y="84"/>
                  </a:lnTo>
                  <a:lnTo>
                    <a:pt x="234" y="84"/>
                  </a:lnTo>
                  <a:lnTo>
                    <a:pt x="234" y="80"/>
                  </a:lnTo>
                  <a:lnTo>
                    <a:pt x="234" y="80"/>
                  </a:lnTo>
                  <a:lnTo>
                    <a:pt x="239" y="80"/>
                  </a:lnTo>
                  <a:lnTo>
                    <a:pt x="234" y="80"/>
                  </a:lnTo>
                  <a:lnTo>
                    <a:pt x="234" y="80"/>
                  </a:lnTo>
                  <a:lnTo>
                    <a:pt x="234" y="75"/>
                  </a:lnTo>
                  <a:lnTo>
                    <a:pt x="239" y="75"/>
                  </a:lnTo>
                  <a:lnTo>
                    <a:pt x="239" y="75"/>
                  </a:lnTo>
                  <a:lnTo>
                    <a:pt x="239" y="75"/>
                  </a:lnTo>
                  <a:lnTo>
                    <a:pt x="239" y="71"/>
                  </a:lnTo>
                  <a:lnTo>
                    <a:pt x="239" y="71"/>
                  </a:lnTo>
                  <a:lnTo>
                    <a:pt x="239" y="67"/>
                  </a:lnTo>
                  <a:lnTo>
                    <a:pt x="239" y="67"/>
                  </a:lnTo>
                  <a:lnTo>
                    <a:pt x="239" y="67"/>
                  </a:lnTo>
                  <a:lnTo>
                    <a:pt x="234" y="62"/>
                  </a:lnTo>
                  <a:lnTo>
                    <a:pt x="234" y="62"/>
                  </a:lnTo>
                  <a:lnTo>
                    <a:pt x="234" y="62"/>
                  </a:lnTo>
                  <a:lnTo>
                    <a:pt x="234" y="62"/>
                  </a:lnTo>
                  <a:lnTo>
                    <a:pt x="234" y="62"/>
                  </a:lnTo>
                  <a:lnTo>
                    <a:pt x="234" y="62"/>
                  </a:lnTo>
                  <a:lnTo>
                    <a:pt x="234" y="62"/>
                  </a:lnTo>
                  <a:lnTo>
                    <a:pt x="234" y="62"/>
                  </a:lnTo>
                  <a:lnTo>
                    <a:pt x="230" y="62"/>
                  </a:lnTo>
                  <a:lnTo>
                    <a:pt x="230" y="62"/>
                  </a:lnTo>
                  <a:lnTo>
                    <a:pt x="230" y="67"/>
                  </a:lnTo>
                  <a:lnTo>
                    <a:pt x="230" y="67"/>
                  </a:lnTo>
                  <a:lnTo>
                    <a:pt x="230" y="67"/>
                  </a:lnTo>
                  <a:lnTo>
                    <a:pt x="225" y="67"/>
                  </a:lnTo>
                  <a:lnTo>
                    <a:pt x="225" y="67"/>
                  </a:lnTo>
                  <a:lnTo>
                    <a:pt x="225" y="67"/>
                  </a:lnTo>
                  <a:lnTo>
                    <a:pt x="225" y="71"/>
                  </a:lnTo>
                  <a:lnTo>
                    <a:pt x="225" y="71"/>
                  </a:lnTo>
                  <a:lnTo>
                    <a:pt x="225" y="71"/>
                  </a:lnTo>
                  <a:lnTo>
                    <a:pt x="225" y="71"/>
                  </a:lnTo>
                  <a:lnTo>
                    <a:pt x="221" y="71"/>
                  </a:lnTo>
                  <a:lnTo>
                    <a:pt x="221" y="71"/>
                  </a:lnTo>
                  <a:lnTo>
                    <a:pt x="221" y="71"/>
                  </a:lnTo>
                  <a:lnTo>
                    <a:pt x="221" y="71"/>
                  </a:lnTo>
                  <a:lnTo>
                    <a:pt x="217" y="71"/>
                  </a:lnTo>
                  <a:lnTo>
                    <a:pt x="217" y="71"/>
                  </a:lnTo>
                  <a:lnTo>
                    <a:pt x="212" y="71"/>
                  </a:lnTo>
                  <a:lnTo>
                    <a:pt x="208" y="67"/>
                  </a:lnTo>
                  <a:lnTo>
                    <a:pt x="208" y="67"/>
                  </a:lnTo>
                  <a:lnTo>
                    <a:pt x="208" y="67"/>
                  </a:lnTo>
                  <a:lnTo>
                    <a:pt x="208" y="67"/>
                  </a:lnTo>
                  <a:lnTo>
                    <a:pt x="208" y="62"/>
                  </a:lnTo>
                  <a:lnTo>
                    <a:pt x="208" y="62"/>
                  </a:lnTo>
                  <a:lnTo>
                    <a:pt x="208" y="62"/>
                  </a:lnTo>
                  <a:lnTo>
                    <a:pt x="208" y="62"/>
                  </a:lnTo>
                  <a:lnTo>
                    <a:pt x="208" y="62"/>
                  </a:lnTo>
                  <a:lnTo>
                    <a:pt x="208" y="62"/>
                  </a:lnTo>
                  <a:lnTo>
                    <a:pt x="208" y="62"/>
                  </a:lnTo>
                  <a:lnTo>
                    <a:pt x="208" y="58"/>
                  </a:lnTo>
                  <a:lnTo>
                    <a:pt x="194" y="58"/>
                  </a:lnTo>
                  <a:lnTo>
                    <a:pt x="194" y="58"/>
                  </a:lnTo>
                  <a:lnTo>
                    <a:pt x="194" y="58"/>
                  </a:lnTo>
                  <a:lnTo>
                    <a:pt x="190" y="58"/>
                  </a:lnTo>
                  <a:lnTo>
                    <a:pt x="190" y="58"/>
                  </a:lnTo>
                  <a:lnTo>
                    <a:pt x="186" y="58"/>
                  </a:lnTo>
                  <a:lnTo>
                    <a:pt x="186" y="58"/>
                  </a:lnTo>
                  <a:lnTo>
                    <a:pt x="186" y="53"/>
                  </a:lnTo>
                  <a:lnTo>
                    <a:pt x="186" y="53"/>
                  </a:lnTo>
                  <a:lnTo>
                    <a:pt x="186" y="53"/>
                  </a:lnTo>
                  <a:lnTo>
                    <a:pt x="190" y="53"/>
                  </a:lnTo>
                  <a:lnTo>
                    <a:pt x="190" y="53"/>
                  </a:lnTo>
                  <a:lnTo>
                    <a:pt x="186" y="49"/>
                  </a:lnTo>
                  <a:lnTo>
                    <a:pt x="186" y="49"/>
                  </a:lnTo>
                  <a:lnTo>
                    <a:pt x="186" y="49"/>
                  </a:lnTo>
                  <a:lnTo>
                    <a:pt x="186" y="44"/>
                  </a:lnTo>
                  <a:lnTo>
                    <a:pt x="190" y="44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90" y="36"/>
                  </a:lnTo>
                  <a:lnTo>
                    <a:pt x="194" y="36"/>
                  </a:lnTo>
                  <a:lnTo>
                    <a:pt x="194" y="36"/>
                  </a:lnTo>
                  <a:lnTo>
                    <a:pt x="194" y="31"/>
                  </a:lnTo>
                  <a:lnTo>
                    <a:pt x="194" y="31"/>
                  </a:lnTo>
                  <a:lnTo>
                    <a:pt x="194" y="31"/>
                  </a:lnTo>
                  <a:lnTo>
                    <a:pt x="194" y="27"/>
                  </a:lnTo>
                  <a:lnTo>
                    <a:pt x="194" y="27"/>
                  </a:lnTo>
                  <a:lnTo>
                    <a:pt x="190" y="22"/>
                  </a:lnTo>
                  <a:lnTo>
                    <a:pt x="190" y="22"/>
                  </a:lnTo>
                  <a:lnTo>
                    <a:pt x="190" y="22"/>
                  </a:lnTo>
                  <a:lnTo>
                    <a:pt x="190" y="18"/>
                  </a:lnTo>
                  <a:lnTo>
                    <a:pt x="177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68" y="9"/>
                  </a:lnTo>
                  <a:lnTo>
                    <a:pt x="163" y="9"/>
                  </a:lnTo>
                  <a:lnTo>
                    <a:pt x="159" y="9"/>
                  </a:lnTo>
                  <a:lnTo>
                    <a:pt x="159" y="9"/>
                  </a:lnTo>
                  <a:lnTo>
                    <a:pt x="159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9"/>
                  </a:lnTo>
                  <a:lnTo>
                    <a:pt x="146" y="9"/>
                  </a:lnTo>
                  <a:lnTo>
                    <a:pt x="146" y="5"/>
                  </a:lnTo>
                  <a:lnTo>
                    <a:pt x="146" y="5"/>
                  </a:lnTo>
                  <a:lnTo>
                    <a:pt x="146" y="5"/>
                  </a:lnTo>
                  <a:lnTo>
                    <a:pt x="146" y="5"/>
                  </a:lnTo>
                  <a:lnTo>
                    <a:pt x="146" y="5"/>
                  </a:lnTo>
                  <a:lnTo>
                    <a:pt x="146" y="5"/>
                  </a:lnTo>
                  <a:lnTo>
                    <a:pt x="146" y="5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28" y="5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32" y="9"/>
                  </a:lnTo>
                  <a:lnTo>
                    <a:pt x="132" y="13"/>
                  </a:lnTo>
                  <a:lnTo>
                    <a:pt x="132" y="13"/>
                  </a:lnTo>
                  <a:lnTo>
                    <a:pt x="132" y="9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2" y="13"/>
                  </a:lnTo>
                  <a:lnTo>
                    <a:pt x="132" y="13"/>
                  </a:lnTo>
                  <a:lnTo>
                    <a:pt x="132" y="13"/>
                  </a:lnTo>
                  <a:lnTo>
                    <a:pt x="132" y="18"/>
                  </a:lnTo>
                  <a:lnTo>
                    <a:pt x="132" y="18"/>
                  </a:lnTo>
                  <a:lnTo>
                    <a:pt x="132" y="18"/>
                  </a:lnTo>
                  <a:lnTo>
                    <a:pt x="128" y="18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5" y="13"/>
                  </a:lnTo>
                  <a:lnTo>
                    <a:pt x="115" y="13"/>
                  </a:lnTo>
                  <a:lnTo>
                    <a:pt x="115" y="13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0" y="18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97" y="13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93" y="13"/>
                  </a:lnTo>
                  <a:lnTo>
                    <a:pt x="88" y="13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6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3" y="36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4" y="53"/>
                  </a:lnTo>
                  <a:lnTo>
                    <a:pt x="44" y="53"/>
                  </a:lnTo>
                  <a:lnTo>
                    <a:pt x="44" y="53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35" y="62"/>
                  </a:lnTo>
                  <a:lnTo>
                    <a:pt x="31" y="62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80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17" y="84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13" y="98"/>
                  </a:lnTo>
                  <a:lnTo>
                    <a:pt x="9" y="98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6"/>
                  </a:lnTo>
                  <a:lnTo>
                    <a:pt x="9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9" y="106"/>
                  </a:lnTo>
                  <a:lnTo>
                    <a:pt x="9" y="106"/>
                  </a:lnTo>
                  <a:lnTo>
                    <a:pt x="9" y="111"/>
                  </a:lnTo>
                  <a:lnTo>
                    <a:pt x="9" y="111"/>
                  </a:lnTo>
                  <a:lnTo>
                    <a:pt x="9" y="111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0" y="124"/>
                  </a:lnTo>
                  <a:lnTo>
                    <a:pt x="0" y="129"/>
                  </a:lnTo>
                  <a:lnTo>
                    <a:pt x="4" y="129"/>
                  </a:lnTo>
                  <a:lnTo>
                    <a:pt x="4" y="124"/>
                  </a:lnTo>
                  <a:lnTo>
                    <a:pt x="9" y="124"/>
                  </a:lnTo>
                  <a:lnTo>
                    <a:pt x="9" y="129"/>
                  </a:lnTo>
                  <a:lnTo>
                    <a:pt x="9" y="124"/>
                  </a:lnTo>
                  <a:lnTo>
                    <a:pt x="13" y="124"/>
                  </a:lnTo>
                  <a:lnTo>
                    <a:pt x="17" y="120"/>
                  </a:lnTo>
                  <a:lnTo>
                    <a:pt x="17" y="120"/>
                  </a:lnTo>
                  <a:lnTo>
                    <a:pt x="17" y="115"/>
                  </a:lnTo>
                  <a:lnTo>
                    <a:pt x="17" y="115"/>
                  </a:lnTo>
                  <a:lnTo>
                    <a:pt x="17" y="120"/>
                  </a:lnTo>
                  <a:lnTo>
                    <a:pt x="17" y="115"/>
                  </a:lnTo>
                  <a:lnTo>
                    <a:pt x="17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1"/>
                  </a:lnTo>
                  <a:lnTo>
                    <a:pt x="17" y="111"/>
                  </a:lnTo>
                  <a:lnTo>
                    <a:pt x="17" y="111"/>
                  </a:lnTo>
                  <a:lnTo>
                    <a:pt x="17" y="106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6" y="106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5" y="102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11"/>
                  </a:lnTo>
                  <a:lnTo>
                    <a:pt x="44" y="111"/>
                  </a:lnTo>
                  <a:lnTo>
                    <a:pt x="44" y="111"/>
                  </a:lnTo>
                  <a:lnTo>
                    <a:pt x="44" y="111"/>
                  </a:lnTo>
                  <a:lnTo>
                    <a:pt x="44" y="115"/>
                  </a:lnTo>
                  <a:lnTo>
                    <a:pt x="48" y="115"/>
                  </a:lnTo>
                  <a:lnTo>
                    <a:pt x="44" y="120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4" y="129"/>
                  </a:lnTo>
                  <a:lnTo>
                    <a:pt x="48" y="129"/>
                  </a:lnTo>
                  <a:lnTo>
                    <a:pt x="48" y="129"/>
                  </a:lnTo>
                  <a:lnTo>
                    <a:pt x="48" y="129"/>
                  </a:lnTo>
                  <a:lnTo>
                    <a:pt x="48" y="129"/>
                  </a:lnTo>
                  <a:lnTo>
                    <a:pt x="48" y="129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53" y="133"/>
                  </a:lnTo>
                  <a:lnTo>
                    <a:pt x="53" y="137"/>
                  </a:lnTo>
                  <a:lnTo>
                    <a:pt x="57" y="137"/>
                  </a:lnTo>
                  <a:lnTo>
                    <a:pt x="57" y="137"/>
                  </a:lnTo>
                  <a:lnTo>
                    <a:pt x="57" y="142"/>
                  </a:lnTo>
                  <a:lnTo>
                    <a:pt x="57" y="142"/>
                  </a:lnTo>
                  <a:lnTo>
                    <a:pt x="57" y="142"/>
                  </a:lnTo>
                  <a:lnTo>
                    <a:pt x="57" y="142"/>
                  </a:lnTo>
                  <a:lnTo>
                    <a:pt x="57" y="146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6" y="146"/>
                  </a:lnTo>
                  <a:lnTo>
                    <a:pt x="66" y="146"/>
                  </a:lnTo>
                  <a:lnTo>
                    <a:pt x="71" y="146"/>
                  </a:lnTo>
                  <a:lnTo>
                    <a:pt x="71" y="146"/>
                  </a:lnTo>
                  <a:lnTo>
                    <a:pt x="71" y="142"/>
                  </a:lnTo>
                  <a:lnTo>
                    <a:pt x="75" y="146"/>
                  </a:lnTo>
                  <a:lnTo>
                    <a:pt x="75" y="142"/>
                  </a:lnTo>
                  <a:lnTo>
                    <a:pt x="79" y="142"/>
                  </a:lnTo>
                  <a:lnTo>
                    <a:pt x="79" y="142"/>
                  </a:lnTo>
                  <a:lnTo>
                    <a:pt x="84" y="142"/>
                  </a:lnTo>
                  <a:lnTo>
                    <a:pt x="84" y="142"/>
                  </a:lnTo>
                  <a:lnTo>
                    <a:pt x="84" y="137"/>
                  </a:lnTo>
                  <a:lnTo>
                    <a:pt x="84" y="137"/>
                  </a:lnTo>
                  <a:lnTo>
                    <a:pt x="88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7" y="142"/>
                  </a:lnTo>
                  <a:lnTo>
                    <a:pt x="97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37"/>
                  </a:lnTo>
                  <a:lnTo>
                    <a:pt x="106" y="137"/>
                  </a:lnTo>
                  <a:lnTo>
                    <a:pt x="106" y="137"/>
                  </a:lnTo>
                  <a:lnTo>
                    <a:pt x="106" y="137"/>
                  </a:lnTo>
                  <a:lnTo>
                    <a:pt x="110" y="137"/>
                  </a:lnTo>
                  <a:lnTo>
                    <a:pt x="110" y="137"/>
                  </a:lnTo>
                  <a:lnTo>
                    <a:pt x="110" y="137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29"/>
                  </a:lnTo>
                  <a:lnTo>
                    <a:pt x="110" y="129"/>
                  </a:lnTo>
                  <a:lnTo>
                    <a:pt x="110" y="129"/>
                  </a:lnTo>
                  <a:lnTo>
                    <a:pt x="110" y="129"/>
                  </a:lnTo>
                  <a:lnTo>
                    <a:pt x="115" y="129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15" y="120"/>
                  </a:lnTo>
                  <a:lnTo>
                    <a:pt x="115" y="120"/>
                  </a:lnTo>
                  <a:lnTo>
                    <a:pt x="110" y="120"/>
                  </a:lnTo>
                  <a:lnTo>
                    <a:pt x="115" y="120"/>
                  </a:lnTo>
                  <a:lnTo>
                    <a:pt x="115" y="115"/>
                  </a:lnTo>
                  <a:lnTo>
                    <a:pt x="115" y="115"/>
                  </a:lnTo>
                  <a:lnTo>
                    <a:pt x="115" y="115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9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8" y="102"/>
                  </a:lnTo>
                  <a:lnTo>
                    <a:pt x="128" y="102"/>
                  </a:lnTo>
                  <a:lnTo>
                    <a:pt x="128" y="102"/>
                  </a:lnTo>
                  <a:lnTo>
                    <a:pt x="132" y="102"/>
                  </a:lnTo>
                  <a:lnTo>
                    <a:pt x="132" y="106"/>
                  </a:lnTo>
                  <a:lnTo>
                    <a:pt x="132" y="106"/>
                  </a:lnTo>
                  <a:lnTo>
                    <a:pt x="132" y="106"/>
                  </a:lnTo>
                  <a:lnTo>
                    <a:pt x="132" y="111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2" y="120"/>
                  </a:lnTo>
                  <a:lnTo>
                    <a:pt x="132" y="120"/>
                  </a:lnTo>
                  <a:lnTo>
                    <a:pt x="132" y="120"/>
                  </a:lnTo>
                  <a:lnTo>
                    <a:pt x="132" y="120"/>
                  </a:lnTo>
                  <a:lnTo>
                    <a:pt x="137" y="120"/>
                  </a:lnTo>
                  <a:lnTo>
                    <a:pt x="137" y="124"/>
                  </a:lnTo>
                  <a:lnTo>
                    <a:pt x="141" y="129"/>
                  </a:lnTo>
                  <a:lnTo>
                    <a:pt x="141" y="129"/>
                  </a:lnTo>
                  <a:lnTo>
                    <a:pt x="141" y="129"/>
                  </a:lnTo>
                  <a:lnTo>
                    <a:pt x="146" y="129"/>
                  </a:lnTo>
                  <a:lnTo>
                    <a:pt x="146" y="129"/>
                  </a:lnTo>
                  <a:lnTo>
                    <a:pt x="146" y="129"/>
                  </a:lnTo>
                  <a:lnTo>
                    <a:pt x="146" y="129"/>
                  </a:lnTo>
                  <a:lnTo>
                    <a:pt x="146" y="129"/>
                  </a:lnTo>
                  <a:lnTo>
                    <a:pt x="146" y="129"/>
                  </a:lnTo>
                  <a:lnTo>
                    <a:pt x="146" y="129"/>
                  </a:lnTo>
                  <a:lnTo>
                    <a:pt x="146" y="129"/>
                  </a:lnTo>
                  <a:lnTo>
                    <a:pt x="146" y="129"/>
                  </a:lnTo>
                  <a:lnTo>
                    <a:pt x="150" y="129"/>
                  </a:lnTo>
                  <a:lnTo>
                    <a:pt x="150" y="129"/>
                  </a:lnTo>
                  <a:lnTo>
                    <a:pt x="150" y="129"/>
                  </a:lnTo>
                  <a:lnTo>
                    <a:pt x="155" y="133"/>
                  </a:lnTo>
                  <a:lnTo>
                    <a:pt x="150" y="133"/>
                  </a:lnTo>
                  <a:lnTo>
                    <a:pt x="150" y="137"/>
                  </a:lnTo>
                  <a:lnTo>
                    <a:pt x="150" y="137"/>
                  </a:lnTo>
                  <a:lnTo>
                    <a:pt x="150" y="137"/>
                  </a:lnTo>
                  <a:lnTo>
                    <a:pt x="150" y="137"/>
                  </a:lnTo>
                  <a:lnTo>
                    <a:pt x="150" y="137"/>
                  </a:lnTo>
                  <a:lnTo>
                    <a:pt x="150" y="137"/>
                  </a:lnTo>
                  <a:lnTo>
                    <a:pt x="155" y="142"/>
                  </a:lnTo>
                  <a:lnTo>
                    <a:pt x="155" y="142"/>
                  </a:lnTo>
                  <a:lnTo>
                    <a:pt x="155" y="142"/>
                  </a:lnTo>
                  <a:lnTo>
                    <a:pt x="155" y="142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51"/>
                  </a:lnTo>
                  <a:lnTo>
                    <a:pt x="155" y="151"/>
                  </a:lnTo>
                  <a:lnTo>
                    <a:pt x="155" y="151"/>
                  </a:lnTo>
                  <a:lnTo>
                    <a:pt x="159" y="151"/>
                  </a:lnTo>
                  <a:lnTo>
                    <a:pt x="159" y="151"/>
                  </a:lnTo>
                  <a:lnTo>
                    <a:pt x="163" y="151"/>
                  </a:lnTo>
                  <a:lnTo>
                    <a:pt x="163" y="151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63" y="142"/>
                  </a:lnTo>
                  <a:lnTo>
                    <a:pt x="163" y="142"/>
                  </a:lnTo>
                  <a:lnTo>
                    <a:pt x="163" y="142"/>
                  </a:lnTo>
                  <a:lnTo>
                    <a:pt x="163" y="142"/>
                  </a:lnTo>
                  <a:lnTo>
                    <a:pt x="163" y="142"/>
                  </a:lnTo>
                  <a:lnTo>
                    <a:pt x="159" y="142"/>
                  </a:lnTo>
                  <a:lnTo>
                    <a:pt x="159" y="142"/>
                  </a:lnTo>
                  <a:lnTo>
                    <a:pt x="159" y="142"/>
                  </a:lnTo>
                  <a:lnTo>
                    <a:pt x="159" y="142"/>
                  </a:lnTo>
                  <a:lnTo>
                    <a:pt x="159" y="142"/>
                  </a:lnTo>
                  <a:lnTo>
                    <a:pt x="159" y="137"/>
                  </a:lnTo>
                  <a:lnTo>
                    <a:pt x="163" y="137"/>
                  </a:lnTo>
                  <a:lnTo>
                    <a:pt x="159" y="137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29"/>
                  </a:lnTo>
                  <a:lnTo>
                    <a:pt x="163" y="129"/>
                  </a:lnTo>
                  <a:lnTo>
                    <a:pt x="168" y="129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72" y="124"/>
                  </a:lnTo>
                  <a:lnTo>
                    <a:pt x="172" y="124"/>
                  </a:lnTo>
                  <a:lnTo>
                    <a:pt x="172" y="124"/>
                  </a:lnTo>
                  <a:lnTo>
                    <a:pt x="172" y="120"/>
                  </a:lnTo>
                  <a:lnTo>
                    <a:pt x="172" y="120"/>
                  </a:lnTo>
                  <a:lnTo>
                    <a:pt x="172" y="120"/>
                  </a:lnTo>
                  <a:lnTo>
                    <a:pt x="172" y="120"/>
                  </a:lnTo>
                  <a:lnTo>
                    <a:pt x="172" y="115"/>
                  </a:lnTo>
                  <a:lnTo>
                    <a:pt x="177" y="115"/>
                  </a:lnTo>
                  <a:lnTo>
                    <a:pt x="177" y="111"/>
                  </a:lnTo>
                  <a:lnTo>
                    <a:pt x="177" y="111"/>
                  </a:lnTo>
                  <a:lnTo>
                    <a:pt x="177" y="106"/>
                  </a:lnTo>
                  <a:lnTo>
                    <a:pt x="177" y="106"/>
                  </a:lnTo>
                  <a:lnTo>
                    <a:pt x="177" y="106"/>
                  </a:lnTo>
                  <a:lnTo>
                    <a:pt x="177" y="106"/>
                  </a:lnTo>
                  <a:lnTo>
                    <a:pt x="172" y="106"/>
                  </a:lnTo>
                  <a:lnTo>
                    <a:pt x="172" y="106"/>
                  </a:lnTo>
                  <a:lnTo>
                    <a:pt x="172" y="102"/>
                  </a:lnTo>
                  <a:lnTo>
                    <a:pt x="177" y="102"/>
                  </a:lnTo>
                  <a:lnTo>
                    <a:pt x="177" y="98"/>
                  </a:lnTo>
                  <a:lnTo>
                    <a:pt x="177" y="98"/>
                  </a:lnTo>
                  <a:lnTo>
                    <a:pt x="181" y="98"/>
                  </a:lnTo>
                  <a:lnTo>
                    <a:pt x="181" y="102"/>
                  </a:lnTo>
                  <a:lnTo>
                    <a:pt x="181" y="102"/>
                  </a:lnTo>
                  <a:lnTo>
                    <a:pt x="181" y="102"/>
                  </a:lnTo>
                  <a:lnTo>
                    <a:pt x="181" y="102"/>
                  </a:lnTo>
                  <a:lnTo>
                    <a:pt x="181" y="102"/>
                  </a:lnTo>
                  <a:lnTo>
                    <a:pt x="181" y="102"/>
                  </a:lnTo>
                  <a:lnTo>
                    <a:pt x="181" y="102"/>
                  </a:lnTo>
                  <a:lnTo>
                    <a:pt x="186" y="98"/>
                  </a:lnTo>
                  <a:lnTo>
                    <a:pt x="186" y="98"/>
                  </a:lnTo>
                  <a:lnTo>
                    <a:pt x="186" y="102"/>
                  </a:lnTo>
                  <a:lnTo>
                    <a:pt x="186" y="106"/>
                  </a:lnTo>
                  <a:lnTo>
                    <a:pt x="186" y="106"/>
                  </a:lnTo>
                  <a:lnTo>
                    <a:pt x="186" y="111"/>
                  </a:lnTo>
                  <a:lnTo>
                    <a:pt x="186" y="111"/>
                  </a:lnTo>
                  <a:lnTo>
                    <a:pt x="186" y="111"/>
                  </a:lnTo>
                  <a:lnTo>
                    <a:pt x="186" y="111"/>
                  </a:lnTo>
                  <a:lnTo>
                    <a:pt x="186" y="115"/>
                  </a:lnTo>
                  <a:lnTo>
                    <a:pt x="190" y="115"/>
                  </a:lnTo>
                  <a:lnTo>
                    <a:pt x="190" y="115"/>
                  </a:lnTo>
                  <a:lnTo>
                    <a:pt x="190" y="115"/>
                  </a:lnTo>
                  <a:lnTo>
                    <a:pt x="199" y="115"/>
                  </a:lnTo>
                  <a:lnTo>
                    <a:pt x="199" y="115"/>
                  </a:lnTo>
                  <a:lnTo>
                    <a:pt x="199" y="115"/>
                  </a:lnTo>
                  <a:lnTo>
                    <a:pt x="199" y="115"/>
                  </a:lnTo>
                  <a:lnTo>
                    <a:pt x="199" y="111"/>
                  </a:lnTo>
                  <a:lnTo>
                    <a:pt x="199" y="111"/>
                  </a:lnTo>
                  <a:lnTo>
                    <a:pt x="199" y="111"/>
                  </a:lnTo>
                  <a:lnTo>
                    <a:pt x="199" y="111"/>
                  </a:lnTo>
                  <a:lnTo>
                    <a:pt x="199" y="111"/>
                  </a:lnTo>
                  <a:lnTo>
                    <a:pt x="203" y="111"/>
                  </a:lnTo>
                  <a:lnTo>
                    <a:pt x="203" y="111"/>
                  </a:lnTo>
                  <a:lnTo>
                    <a:pt x="208" y="111"/>
                  </a:lnTo>
                  <a:lnTo>
                    <a:pt x="208" y="111"/>
                  </a:lnTo>
                  <a:lnTo>
                    <a:pt x="208" y="111"/>
                  </a:lnTo>
                  <a:lnTo>
                    <a:pt x="212" y="111"/>
                  </a:lnTo>
                  <a:lnTo>
                    <a:pt x="212" y="111"/>
                  </a:lnTo>
                  <a:lnTo>
                    <a:pt x="212" y="111"/>
                  </a:lnTo>
                  <a:lnTo>
                    <a:pt x="212" y="115"/>
                  </a:lnTo>
                  <a:lnTo>
                    <a:pt x="212" y="115"/>
                  </a:lnTo>
                  <a:lnTo>
                    <a:pt x="212" y="115"/>
                  </a:lnTo>
                  <a:lnTo>
                    <a:pt x="217" y="120"/>
                  </a:lnTo>
                  <a:lnTo>
                    <a:pt x="217" y="120"/>
                  </a:lnTo>
                  <a:lnTo>
                    <a:pt x="217" y="120"/>
                  </a:lnTo>
                  <a:lnTo>
                    <a:pt x="217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1" y="111"/>
                  </a:lnTo>
                  <a:lnTo>
                    <a:pt x="221" y="111"/>
                  </a:lnTo>
                  <a:lnTo>
                    <a:pt x="221" y="111"/>
                  </a:lnTo>
                  <a:lnTo>
                    <a:pt x="221" y="111"/>
                  </a:lnTo>
                  <a:lnTo>
                    <a:pt x="221" y="111"/>
                  </a:lnTo>
                  <a:lnTo>
                    <a:pt x="221" y="106"/>
                  </a:lnTo>
                  <a:lnTo>
                    <a:pt x="221" y="106"/>
                  </a:lnTo>
                  <a:lnTo>
                    <a:pt x="221" y="106"/>
                  </a:lnTo>
                  <a:lnTo>
                    <a:pt x="221" y="106"/>
                  </a:lnTo>
                  <a:lnTo>
                    <a:pt x="217" y="106"/>
                  </a:lnTo>
                  <a:lnTo>
                    <a:pt x="217" y="106"/>
                  </a:lnTo>
                  <a:lnTo>
                    <a:pt x="217" y="102"/>
                  </a:lnTo>
                  <a:lnTo>
                    <a:pt x="217" y="102"/>
                  </a:lnTo>
                  <a:lnTo>
                    <a:pt x="217" y="102"/>
                  </a:lnTo>
                  <a:lnTo>
                    <a:pt x="217" y="102"/>
                  </a:lnTo>
                  <a:lnTo>
                    <a:pt x="217" y="102"/>
                  </a:lnTo>
                  <a:lnTo>
                    <a:pt x="217" y="102"/>
                  </a:lnTo>
                  <a:lnTo>
                    <a:pt x="217" y="98"/>
                  </a:lnTo>
                  <a:lnTo>
                    <a:pt x="217" y="98"/>
                  </a:lnTo>
                  <a:lnTo>
                    <a:pt x="217" y="98"/>
                  </a:lnTo>
                  <a:lnTo>
                    <a:pt x="217" y="98"/>
                  </a:lnTo>
                  <a:lnTo>
                    <a:pt x="217" y="93"/>
                  </a:lnTo>
                  <a:lnTo>
                    <a:pt x="217" y="93"/>
                  </a:lnTo>
                  <a:lnTo>
                    <a:pt x="217" y="93"/>
                  </a:lnTo>
                  <a:lnTo>
                    <a:pt x="217" y="93"/>
                  </a:lnTo>
                  <a:lnTo>
                    <a:pt x="221" y="93"/>
                  </a:lnTo>
                  <a:lnTo>
                    <a:pt x="225" y="89"/>
                  </a:lnTo>
                  <a:lnTo>
                    <a:pt x="225" y="89"/>
                  </a:lnTo>
                  <a:lnTo>
                    <a:pt x="225" y="89"/>
                  </a:lnTo>
                  <a:lnTo>
                    <a:pt x="225" y="93"/>
                  </a:lnTo>
                  <a:lnTo>
                    <a:pt x="225" y="93"/>
                  </a:lnTo>
                  <a:lnTo>
                    <a:pt x="225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34" y="98"/>
                  </a:lnTo>
                  <a:lnTo>
                    <a:pt x="234" y="98"/>
                  </a:lnTo>
                  <a:lnTo>
                    <a:pt x="239" y="98"/>
                  </a:lnTo>
                  <a:lnTo>
                    <a:pt x="239" y="98"/>
                  </a:lnTo>
                  <a:lnTo>
                    <a:pt x="239" y="93"/>
                  </a:lnTo>
                  <a:lnTo>
                    <a:pt x="239" y="93"/>
                  </a:lnTo>
                  <a:lnTo>
                    <a:pt x="239" y="93"/>
                  </a:lnTo>
                  <a:lnTo>
                    <a:pt x="239" y="89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79" name="Freeform 10"/>
            <p:cNvSpPr>
              <a:spLocks noEditPoints="1"/>
            </p:cNvSpPr>
            <p:nvPr/>
          </p:nvSpPr>
          <p:spPr bwMode="auto">
            <a:xfrm>
              <a:off x="3422650" y="1385888"/>
              <a:ext cx="1089025" cy="2501900"/>
            </a:xfrm>
            <a:custGeom>
              <a:avLst/>
              <a:gdLst>
                <a:gd name="T0" fmla="*/ 279 w 686"/>
                <a:gd name="T1" fmla="*/ 1492 h 1576"/>
                <a:gd name="T2" fmla="*/ 314 w 686"/>
                <a:gd name="T3" fmla="*/ 1399 h 1576"/>
                <a:gd name="T4" fmla="*/ 372 w 686"/>
                <a:gd name="T5" fmla="*/ 1381 h 1576"/>
                <a:gd name="T6" fmla="*/ 398 w 686"/>
                <a:gd name="T7" fmla="*/ 1390 h 1576"/>
                <a:gd name="T8" fmla="*/ 425 w 686"/>
                <a:gd name="T9" fmla="*/ 1324 h 1576"/>
                <a:gd name="T10" fmla="*/ 22 w 686"/>
                <a:gd name="T11" fmla="*/ 1328 h 1576"/>
                <a:gd name="T12" fmla="*/ 297 w 686"/>
                <a:gd name="T13" fmla="*/ 1288 h 1576"/>
                <a:gd name="T14" fmla="*/ 367 w 686"/>
                <a:gd name="T15" fmla="*/ 1222 h 1576"/>
                <a:gd name="T16" fmla="*/ 345 w 686"/>
                <a:gd name="T17" fmla="*/ 1226 h 1576"/>
                <a:gd name="T18" fmla="*/ 390 w 686"/>
                <a:gd name="T19" fmla="*/ 1195 h 1576"/>
                <a:gd name="T20" fmla="*/ 398 w 686"/>
                <a:gd name="T21" fmla="*/ 1164 h 1576"/>
                <a:gd name="T22" fmla="*/ 407 w 686"/>
                <a:gd name="T23" fmla="*/ 1160 h 1576"/>
                <a:gd name="T24" fmla="*/ 403 w 686"/>
                <a:gd name="T25" fmla="*/ 1094 h 1576"/>
                <a:gd name="T26" fmla="*/ 367 w 686"/>
                <a:gd name="T27" fmla="*/ 819 h 1576"/>
                <a:gd name="T28" fmla="*/ 580 w 686"/>
                <a:gd name="T29" fmla="*/ 487 h 1576"/>
                <a:gd name="T30" fmla="*/ 602 w 686"/>
                <a:gd name="T31" fmla="*/ 474 h 1576"/>
                <a:gd name="T32" fmla="*/ 660 w 686"/>
                <a:gd name="T33" fmla="*/ 363 h 1576"/>
                <a:gd name="T34" fmla="*/ 651 w 686"/>
                <a:gd name="T35" fmla="*/ 226 h 1576"/>
                <a:gd name="T36" fmla="*/ 593 w 686"/>
                <a:gd name="T37" fmla="*/ 84 h 1576"/>
                <a:gd name="T38" fmla="*/ 367 w 686"/>
                <a:gd name="T39" fmla="*/ 89 h 1576"/>
                <a:gd name="T40" fmla="*/ 155 w 686"/>
                <a:gd name="T41" fmla="*/ 615 h 1576"/>
                <a:gd name="T42" fmla="*/ 71 w 686"/>
                <a:gd name="T43" fmla="*/ 1049 h 1576"/>
                <a:gd name="T44" fmla="*/ 5 w 686"/>
                <a:gd name="T45" fmla="*/ 1213 h 1576"/>
                <a:gd name="T46" fmla="*/ 5 w 686"/>
                <a:gd name="T47" fmla="*/ 1284 h 1576"/>
                <a:gd name="T48" fmla="*/ 22 w 686"/>
                <a:gd name="T49" fmla="*/ 1297 h 1576"/>
                <a:gd name="T50" fmla="*/ 31 w 686"/>
                <a:gd name="T51" fmla="*/ 1350 h 1576"/>
                <a:gd name="T52" fmla="*/ 53 w 686"/>
                <a:gd name="T53" fmla="*/ 1386 h 1576"/>
                <a:gd name="T54" fmla="*/ 80 w 686"/>
                <a:gd name="T55" fmla="*/ 1448 h 1576"/>
                <a:gd name="T56" fmla="*/ 93 w 686"/>
                <a:gd name="T57" fmla="*/ 1536 h 1576"/>
                <a:gd name="T58" fmla="*/ 146 w 686"/>
                <a:gd name="T59" fmla="*/ 1567 h 1576"/>
                <a:gd name="T60" fmla="*/ 190 w 686"/>
                <a:gd name="T61" fmla="*/ 1510 h 1576"/>
                <a:gd name="T62" fmla="*/ 235 w 686"/>
                <a:gd name="T63" fmla="*/ 1501 h 1576"/>
                <a:gd name="T64" fmla="*/ 279 w 686"/>
                <a:gd name="T65" fmla="*/ 1439 h 1576"/>
                <a:gd name="T66" fmla="*/ 288 w 686"/>
                <a:gd name="T67" fmla="*/ 1377 h 1576"/>
                <a:gd name="T68" fmla="*/ 279 w 686"/>
                <a:gd name="T69" fmla="*/ 1333 h 1576"/>
                <a:gd name="T70" fmla="*/ 292 w 686"/>
                <a:gd name="T71" fmla="*/ 1324 h 1576"/>
                <a:gd name="T72" fmla="*/ 297 w 686"/>
                <a:gd name="T73" fmla="*/ 1284 h 1576"/>
                <a:gd name="T74" fmla="*/ 275 w 686"/>
                <a:gd name="T75" fmla="*/ 1257 h 1576"/>
                <a:gd name="T76" fmla="*/ 341 w 686"/>
                <a:gd name="T77" fmla="*/ 1235 h 1576"/>
                <a:gd name="T78" fmla="*/ 350 w 686"/>
                <a:gd name="T79" fmla="*/ 1226 h 1576"/>
                <a:gd name="T80" fmla="*/ 381 w 686"/>
                <a:gd name="T81" fmla="*/ 1204 h 1576"/>
                <a:gd name="T82" fmla="*/ 385 w 686"/>
                <a:gd name="T83" fmla="*/ 1187 h 1576"/>
                <a:gd name="T84" fmla="*/ 398 w 686"/>
                <a:gd name="T85" fmla="*/ 1156 h 1576"/>
                <a:gd name="T86" fmla="*/ 403 w 686"/>
                <a:gd name="T87" fmla="*/ 1107 h 1576"/>
                <a:gd name="T88" fmla="*/ 372 w 686"/>
                <a:gd name="T89" fmla="*/ 1080 h 1576"/>
                <a:gd name="T90" fmla="*/ 323 w 686"/>
                <a:gd name="T91" fmla="*/ 1032 h 1576"/>
                <a:gd name="T92" fmla="*/ 319 w 686"/>
                <a:gd name="T93" fmla="*/ 974 h 1576"/>
                <a:gd name="T94" fmla="*/ 319 w 686"/>
                <a:gd name="T95" fmla="*/ 934 h 1576"/>
                <a:gd name="T96" fmla="*/ 332 w 686"/>
                <a:gd name="T97" fmla="*/ 899 h 1576"/>
                <a:gd name="T98" fmla="*/ 341 w 686"/>
                <a:gd name="T99" fmla="*/ 850 h 1576"/>
                <a:gd name="T100" fmla="*/ 354 w 686"/>
                <a:gd name="T101" fmla="*/ 788 h 1576"/>
                <a:gd name="T102" fmla="*/ 376 w 686"/>
                <a:gd name="T103" fmla="*/ 801 h 1576"/>
                <a:gd name="T104" fmla="*/ 390 w 686"/>
                <a:gd name="T105" fmla="*/ 775 h 1576"/>
                <a:gd name="T106" fmla="*/ 421 w 686"/>
                <a:gd name="T107" fmla="*/ 757 h 1576"/>
                <a:gd name="T108" fmla="*/ 456 w 686"/>
                <a:gd name="T109" fmla="*/ 726 h 1576"/>
                <a:gd name="T110" fmla="*/ 500 w 686"/>
                <a:gd name="T111" fmla="*/ 691 h 1576"/>
                <a:gd name="T112" fmla="*/ 549 w 686"/>
                <a:gd name="T113" fmla="*/ 615 h 1576"/>
                <a:gd name="T114" fmla="*/ 531 w 686"/>
                <a:gd name="T115" fmla="*/ 593 h 1576"/>
                <a:gd name="T116" fmla="*/ 540 w 686"/>
                <a:gd name="T117" fmla="*/ 545 h 1576"/>
                <a:gd name="T118" fmla="*/ 545 w 686"/>
                <a:gd name="T119" fmla="*/ 496 h 1576"/>
                <a:gd name="T120" fmla="*/ 571 w 686"/>
                <a:gd name="T121" fmla="*/ 465 h 1576"/>
                <a:gd name="T122" fmla="*/ 589 w 686"/>
                <a:gd name="T123" fmla="*/ 438 h 1576"/>
                <a:gd name="T124" fmla="*/ 646 w 686"/>
                <a:gd name="T125" fmla="*/ 447 h 1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86" h="1576">
                  <a:moveTo>
                    <a:pt x="239" y="1505"/>
                  </a:moveTo>
                  <a:lnTo>
                    <a:pt x="239" y="1505"/>
                  </a:lnTo>
                  <a:lnTo>
                    <a:pt x="239" y="1505"/>
                  </a:lnTo>
                  <a:lnTo>
                    <a:pt x="239" y="1505"/>
                  </a:lnTo>
                  <a:lnTo>
                    <a:pt x="239" y="1505"/>
                  </a:lnTo>
                  <a:lnTo>
                    <a:pt x="239" y="1505"/>
                  </a:lnTo>
                  <a:lnTo>
                    <a:pt x="239" y="1505"/>
                  </a:lnTo>
                  <a:lnTo>
                    <a:pt x="239" y="1505"/>
                  </a:lnTo>
                  <a:lnTo>
                    <a:pt x="239" y="1510"/>
                  </a:lnTo>
                  <a:lnTo>
                    <a:pt x="239" y="1510"/>
                  </a:lnTo>
                  <a:lnTo>
                    <a:pt x="239" y="1510"/>
                  </a:lnTo>
                  <a:lnTo>
                    <a:pt x="239" y="1510"/>
                  </a:lnTo>
                  <a:lnTo>
                    <a:pt x="239" y="1510"/>
                  </a:lnTo>
                  <a:lnTo>
                    <a:pt x="239" y="1505"/>
                  </a:lnTo>
                  <a:lnTo>
                    <a:pt x="239" y="1505"/>
                  </a:lnTo>
                  <a:lnTo>
                    <a:pt x="239" y="1505"/>
                  </a:lnTo>
                  <a:lnTo>
                    <a:pt x="239" y="1505"/>
                  </a:lnTo>
                  <a:lnTo>
                    <a:pt x="244" y="1505"/>
                  </a:lnTo>
                  <a:lnTo>
                    <a:pt x="244" y="1505"/>
                  </a:lnTo>
                  <a:lnTo>
                    <a:pt x="244" y="1505"/>
                  </a:lnTo>
                  <a:lnTo>
                    <a:pt x="239" y="1505"/>
                  </a:lnTo>
                  <a:close/>
                  <a:moveTo>
                    <a:pt x="314" y="1390"/>
                  </a:moveTo>
                  <a:lnTo>
                    <a:pt x="314" y="1386"/>
                  </a:lnTo>
                  <a:lnTo>
                    <a:pt x="314" y="1386"/>
                  </a:lnTo>
                  <a:lnTo>
                    <a:pt x="314" y="1386"/>
                  </a:lnTo>
                  <a:lnTo>
                    <a:pt x="314" y="1386"/>
                  </a:lnTo>
                  <a:lnTo>
                    <a:pt x="314" y="1386"/>
                  </a:lnTo>
                  <a:lnTo>
                    <a:pt x="314" y="1386"/>
                  </a:lnTo>
                  <a:lnTo>
                    <a:pt x="314" y="1386"/>
                  </a:lnTo>
                  <a:lnTo>
                    <a:pt x="314" y="1386"/>
                  </a:lnTo>
                  <a:lnTo>
                    <a:pt x="314" y="1386"/>
                  </a:lnTo>
                  <a:lnTo>
                    <a:pt x="314" y="1386"/>
                  </a:lnTo>
                  <a:lnTo>
                    <a:pt x="314" y="1386"/>
                  </a:lnTo>
                  <a:lnTo>
                    <a:pt x="310" y="1386"/>
                  </a:lnTo>
                  <a:lnTo>
                    <a:pt x="310" y="1386"/>
                  </a:lnTo>
                  <a:lnTo>
                    <a:pt x="310" y="1386"/>
                  </a:lnTo>
                  <a:lnTo>
                    <a:pt x="310" y="1390"/>
                  </a:lnTo>
                  <a:lnTo>
                    <a:pt x="306" y="1390"/>
                  </a:lnTo>
                  <a:lnTo>
                    <a:pt x="306" y="1390"/>
                  </a:lnTo>
                  <a:lnTo>
                    <a:pt x="306" y="1399"/>
                  </a:lnTo>
                  <a:lnTo>
                    <a:pt x="306" y="1399"/>
                  </a:lnTo>
                  <a:lnTo>
                    <a:pt x="306" y="1399"/>
                  </a:lnTo>
                  <a:lnTo>
                    <a:pt x="306" y="1399"/>
                  </a:lnTo>
                  <a:lnTo>
                    <a:pt x="306" y="1399"/>
                  </a:lnTo>
                  <a:lnTo>
                    <a:pt x="306" y="1404"/>
                  </a:lnTo>
                  <a:lnTo>
                    <a:pt x="301" y="1408"/>
                  </a:lnTo>
                  <a:lnTo>
                    <a:pt x="301" y="1412"/>
                  </a:lnTo>
                  <a:lnTo>
                    <a:pt x="297" y="1421"/>
                  </a:lnTo>
                  <a:lnTo>
                    <a:pt x="297" y="1426"/>
                  </a:lnTo>
                  <a:lnTo>
                    <a:pt x="297" y="1430"/>
                  </a:lnTo>
                  <a:lnTo>
                    <a:pt x="292" y="1430"/>
                  </a:lnTo>
                  <a:lnTo>
                    <a:pt x="292" y="1430"/>
                  </a:lnTo>
                  <a:lnTo>
                    <a:pt x="292" y="1430"/>
                  </a:lnTo>
                  <a:lnTo>
                    <a:pt x="288" y="1430"/>
                  </a:lnTo>
                  <a:lnTo>
                    <a:pt x="288" y="1435"/>
                  </a:lnTo>
                  <a:lnTo>
                    <a:pt x="279" y="1457"/>
                  </a:lnTo>
                  <a:lnTo>
                    <a:pt x="279" y="1457"/>
                  </a:lnTo>
                  <a:lnTo>
                    <a:pt x="279" y="1457"/>
                  </a:lnTo>
                  <a:lnTo>
                    <a:pt x="279" y="1461"/>
                  </a:lnTo>
                  <a:lnTo>
                    <a:pt x="279" y="1461"/>
                  </a:lnTo>
                  <a:lnTo>
                    <a:pt x="279" y="1466"/>
                  </a:lnTo>
                  <a:lnTo>
                    <a:pt x="279" y="1470"/>
                  </a:lnTo>
                  <a:lnTo>
                    <a:pt x="279" y="1474"/>
                  </a:lnTo>
                  <a:lnTo>
                    <a:pt x="279" y="1474"/>
                  </a:lnTo>
                  <a:lnTo>
                    <a:pt x="279" y="1479"/>
                  </a:lnTo>
                  <a:lnTo>
                    <a:pt x="279" y="1479"/>
                  </a:lnTo>
                  <a:lnTo>
                    <a:pt x="279" y="1483"/>
                  </a:lnTo>
                  <a:lnTo>
                    <a:pt x="279" y="1483"/>
                  </a:lnTo>
                  <a:lnTo>
                    <a:pt x="279" y="1488"/>
                  </a:lnTo>
                  <a:lnTo>
                    <a:pt x="279" y="1492"/>
                  </a:lnTo>
                  <a:lnTo>
                    <a:pt x="279" y="1492"/>
                  </a:lnTo>
                  <a:lnTo>
                    <a:pt x="279" y="1492"/>
                  </a:lnTo>
                  <a:lnTo>
                    <a:pt x="279" y="1492"/>
                  </a:lnTo>
                  <a:lnTo>
                    <a:pt x="279" y="1497"/>
                  </a:lnTo>
                  <a:lnTo>
                    <a:pt x="279" y="1497"/>
                  </a:lnTo>
                  <a:lnTo>
                    <a:pt x="283" y="1492"/>
                  </a:lnTo>
                  <a:lnTo>
                    <a:pt x="283" y="1492"/>
                  </a:lnTo>
                  <a:lnTo>
                    <a:pt x="283" y="1488"/>
                  </a:lnTo>
                  <a:lnTo>
                    <a:pt x="283" y="1483"/>
                  </a:lnTo>
                  <a:lnTo>
                    <a:pt x="283" y="1483"/>
                  </a:lnTo>
                  <a:lnTo>
                    <a:pt x="288" y="1483"/>
                  </a:lnTo>
                  <a:lnTo>
                    <a:pt x="288" y="1483"/>
                  </a:lnTo>
                  <a:lnTo>
                    <a:pt x="288" y="1479"/>
                  </a:lnTo>
                  <a:lnTo>
                    <a:pt x="288" y="1479"/>
                  </a:lnTo>
                  <a:lnTo>
                    <a:pt x="288" y="1479"/>
                  </a:lnTo>
                  <a:lnTo>
                    <a:pt x="288" y="1474"/>
                  </a:lnTo>
                  <a:lnTo>
                    <a:pt x="288" y="1474"/>
                  </a:lnTo>
                  <a:lnTo>
                    <a:pt x="288" y="1470"/>
                  </a:lnTo>
                  <a:lnTo>
                    <a:pt x="288" y="1470"/>
                  </a:lnTo>
                  <a:lnTo>
                    <a:pt x="288" y="1470"/>
                  </a:lnTo>
                  <a:lnTo>
                    <a:pt x="288" y="1470"/>
                  </a:lnTo>
                  <a:lnTo>
                    <a:pt x="288" y="1466"/>
                  </a:lnTo>
                  <a:lnTo>
                    <a:pt x="288" y="1466"/>
                  </a:lnTo>
                  <a:lnTo>
                    <a:pt x="288" y="1466"/>
                  </a:lnTo>
                  <a:lnTo>
                    <a:pt x="288" y="1466"/>
                  </a:lnTo>
                  <a:lnTo>
                    <a:pt x="288" y="1466"/>
                  </a:lnTo>
                  <a:lnTo>
                    <a:pt x="288" y="1466"/>
                  </a:lnTo>
                  <a:lnTo>
                    <a:pt x="288" y="1461"/>
                  </a:lnTo>
                  <a:lnTo>
                    <a:pt x="292" y="1461"/>
                  </a:lnTo>
                  <a:lnTo>
                    <a:pt x="292" y="1461"/>
                  </a:lnTo>
                  <a:lnTo>
                    <a:pt x="292" y="1461"/>
                  </a:lnTo>
                  <a:lnTo>
                    <a:pt x="292" y="1461"/>
                  </a:lnTo>
                  <a:lnTo>
                    <a:pt x="292" y="1461"/>
                  </a:lnTo>
                  <a:lnTo>
                    <a:pt x="292" y="1457"/>
                  </a:lnTo>
                  <a:lnTo>
                    <a:pt x="292" y="1457"/>
                  </a:lnTo>
                  <a:lnTo>
                    <a:pt x="292" y="1452"/>
                  </a:lnTo>
                  <a:lnTo>
                    <a:pt x="297" y="1443"/>
                  </a:lnTo>
                  <a:lnTo>
                    <a:pt x="297" y="1443"/>
                  </a:lnTo>
                  <a:lnTo>
                    <a:pt x="297" y="1443"/>
                  </a:lnTo>
                  <a:lnTo>
                    <a:pt x="297" y="1439"/>
                  </a:lnTo>
                  <a:lnTo>
                    <a:pt x="297" y="1439"/>
                  </a:lnTo>
                  <a:lnTo>
                    <a:pt x="297" y="1439"/>
                  </a:lnTo>
                  <a:lnTo>
                    <a:pt x="297" y="1439"/>
                  </a:lnTo>
                  <a:lnTo>
                    <a:pt x="301" y="1439"/>
                  </a:lnTo>
                  <a:lnTo>
                    <a:pt x="301" y="1439"/>
                  </a:lnTo>
                  <a:lnTo>
                    <a:pt x="301" y="1435"/>
                  </a:lnTo>
                  <a:lnTo>
                    <a:pt x="301" y="1430"/>
                  </a:lnTo>
                  <a:lnTo>
                    <a:pt x="301" y="1430"/>
                  </a:lnTo>
                  <a:lnTo>
                    <a:pt x="301" y="1430"/>
                  </a:lnTo>
                  <a:lnTo>
                    <a:pt x="301" y="1426"/>
                  </a:lnTo>
                  <a:lnTo>
                    <a:pt x="301" y="1426"/>
                  </a:lnTo>
                  <a:lnTo>
                    <a:pt x="301" y="1421"/>
                  </a:lnTo>
                  <a:lnTo>
                    <a:pt x="306" y="1421"/>
                  </a:lnTo>
                  <a:lnTo>
                    <a:pt x="306" y="1421"/>
                  </a:lnTo>
                  <a:lnTo>
                    <a:pt x="306" y="1417"/>
                  </a:lnTo>
                  <a:lnTo>
                    <a:pt x="306" y="1417"/>
                  </a:lnTo>
                  <a:lnTo>
                    <a:pt x="306" y="1417"/>
                  </a:lnTo>
                  <a:lnTo>
                    <a:pt x="306" y="1417"/>
                  </a:lnTo>
                  <a:lnTo>
                    <a:pt x="306" y="1417"/>
                  </a:lnTo>
                  <a:lnTo>
                    <a:pt x="306" y="1417"/>
                  </a:lnTo>
                  <a:lnTo>
                    <a:pt x="306" y="1417"/>
                  </a:lnTo>
                  <a:lnTo>
                    <a:pt x="306" y="1412"/>
                  </a:lnTo>
                  <a:lnTo>
                    <a:pt x="306" y="1412"/>
                  </a:lnTo>
                  <a:lnTo>
                    <a:pt x="306" y="1408"/>
                  </a:lnTo>
                  <a:lnTo>
                    <a:pt x="310" y="1408"/>
                  </a:lnTo>
                  <a:lnTo>
                    <a:pt x="310" y="1404"/>
                  </a:lnTo>
                  <a:lnTo>
                    <a:pt x="310" y="1404"/>
                  </a:lnTo>
                  <a:lnTo>
                    <a:pt x="310" y="1404"/>
                  </a:lnTo>
                  <a:lnTo>
                    <a:pt x="310" y="1404"/>
                  </a:lnTo>
                  <a:lnTo>
                    <a:pt x="310" y="1404"/>
                  </a:lnTo>
                  <a:lnTo>
                    <a:pt x="310" y="1404"/>
                  </a:lnTo>
                  <a:lnTo>
                    <a:pt x="310" y="1404"/>
                  </a:lnTo>
                  <a:lnTo>
                    <a:pt x="310" y="1399"/>
                  </a:lnTo>
                  <a:lnTo>
                    <a:pt x="314" y="1399"/>
                  </a:lnTo>
                  <a:lnTo>
                    <a:pt x="314" y="1395"/>
                  </a:lnTo>
                  <a:lnTo>
                    <a:pt x="310" y="1395"/>
                  </a:lnTo>
                  <a:lnTo>
                    <a:pt x="314" y="1390"/>
                  </a:lnTo>
                  <a:lnTo>
                    <a:pt x="314" y="1390"/>
                  </a:lnTo>
                  <a:lnTo>
                    <a:pt x="314" y="1390"/>
                  </a:lnTo>
                  <a:lnTo>
                    <a:pt x="314" y="1390"/>
                  </a:lnTo>
                  <a:lnTo>
                    <a:pt x="314" y="1390"/>
                  </a:lnTo>
                  <a:close/>
                  <a:moveTo>
                    <a:pt x="416" y="1337"/>
                  </a:moveTo>
                  <a:lnTo>
                    <a:pt x="416" y="1337"/>
                  </a:lnTo>
                  <a:lnTo>
                    <a:pt x="416" y="1333"/>
                  </a:lnTo>
                  <a:lnTo>
                    <a:pt x="416" y="1333"/>
                  </a:lnTo>
                  <a:lnTo>
                    <a:pt x="416" y="1333"/>
                  </a:lnTo>
                  <a:lnTo>
                    <a:pt x="416" y="1333"/>
                  </a:lnTo>
                  <a:lnTo>
                    <a:pt x="416" y="1333"/>
                  </a:lnTo>
                  <a:lnTo>
                    <a:pt x="416" y="1333"/>
                  </a:lnTo>
                  <a:lnTo>
                    <a:pt x="412" y="1333"/>
                  </a:lnTo>
                  <a:lnTo>
                    <a:pt x="412" y="1333"/>
                  </a:lnTo>
                  <a:lnTo>
                    <a:pt x="412" y="1333"/>
                  </a:lnTo>
                  <a:lnTo>
                    <a:pt x="412" y="1333"/>
                  </a:lnTo>
                  <a:lnTo>
                    <a:pt x="412" y="1333"/>
                  </a:lnTo>
                  <a:lnTo>
                    <a:pt x="407" y="1333"/>
                  </a:lnTo>
                  <a:lnTo>
                    <a:pt x="412" y="1333"/>
                  </a:lnTo>
                  <a:lnTo>
                    <a:pt x="412" y="1328"/>
                  </a:lnTo>
                  <a:lnTo>
                    <a:pt x="407" y="1333"/>
                  </a:lnTo>
                  <a:lnTo>
                    <a:pt x="407" y="1333"/>
                  </a:lnTo>
                  <a:lnTo>
                    <a:pt x="407" y="1333"/>
                  </a:lnTo>
                  <a:lnTo>
                    <a:pt x="407" y="1333"/>
                  </a:lnTo>
                  <a:lnTo>
                    <a:pt x="407" y="1333"/>
                  </a:lnTo>
                  <a:lnTo>
                    <a:pt x="407" y="1333"/>
                  </a:lnTo>
                  <a:lnTo>
                    <a:pt x="407" y="1337"/>
                  </a:lnTo>
                  <a:lnTo>
                    <a:pt x="403" y="1337"/>
                  </a:lnTo>
                  <a:lnTo>
                    <a:pt x="403" y="1342"/>
                  </a:lnTo>
                  <a:lnTo>
                    <a:pt x="403" y="1337"/>
                  </a:lnTo>
                  <a:lnTo>
                    <a:pt x="403" y="1337"/>
                  </a:lnTo>
                  <a:lnTo>
                    <a:pt x="403" y="1337"/>
                  </a:lnTo>
                  <a:lnTo>
                    <a:pt x="403" y="1337"/>
                  </a:lnTo>
                  <a:lnTo>
                    <a:pt x="403" y="1337"/>
                  </a:lnTo>
                  <a:lnTo>
                    <a:pt x="403" y="1337"/>
                  </a:lnTo>
                  <a:lnTo>
                    <a:pt x="403" y="1337"/>
                  </a:lnTo>
                  <a:lnTo>
                    <a:pt x="403" y="1333"/>
                  </a:lnTo>
                  <a:lnTo>
                    <a:pt x="403" y="1333"/>
                  </a:lnTo>
                  <a:lnTo>
                    <a:pt x="403" y="1333"/>
                  </a:lnTo>
                  <a:lnTo>
                    <a:pt x="403" y="1333"/>
                  </a:lnTo>
                  <a:lnTo>
                    <a:pt x="403" y="1333"/>
                  </a:lnTo>
                  <a:lnTo>
                    <a:pt x="403" y="1328"/>
                  </a:lnTo>
                  <a:lnTo>
                    <a:pt x="398" y="1328"/>
                  </a:lnTo>
                  <a:lnTo>
                    <a:pt x="398" y="1328"/>
                  </a:lnTo>
                  <a:lnTo>
                    <a:pt x="398" y="1333"/>
                  </a:lnTo>
                  <a:lnTo>
                    <a:pt x="398" y="1333"/>
                  </a:lnTo>
                  <a:lnTo>
                    <a:pt x="394" y="1333"/>
                  </a:lnTo>
                  <a:lnTo>
                    <a:pt x="394" y="1337"/>
                  </a:lnTo>
                  <a:lnTo>
                    <a:pt x="394" y="1337"/>
                  </a:lnTo>
                  <a:lnTo>
                    <a:pt x="394" y="1337"/>
                  </a:lnTo>
                  <a:lnTo>
                    <a:pt x="394" y="1337"/>
                  </a:lnTo>
                  <a:lnTo>
                    <a:pt x="394" y="1337"/>
                  </a:lnTo>
                  <a:lnTo>
                    <a:pt x="394" y="1337"/>
                  </a:lnTo>
                  <a:lnTo>
                    <a:pt x="390" y="1337"/>
                  </a:lnTo>
                  <a:lnTo>
                    <a:pt x="390" y="1337"/>
                  </a:lnTo>
                  <a:lnTo>
                    <a:pt x="390" y="1342"/>
                  </a:lnTo>
                  <a:lnTo>
                    <a:pt x="385" y="1342"/>
                  </a:lnTo>
                  <a:lnTo>
                    <a:pt x="381" y="1355"/>
                  </a:lnTo>
                  <a:lnTo>
                    <a:pt x="372" y="1364"/>
                  </a:lnTo>
                  <a:lnTo>
                    <a:pt x="367" y="1368"/>
                  </a:lnTo>
                  <a:lnTo>
                    <a:pt x="367" y="1373"/>
                  </a:lnTo>
                  <a:lnTo>
                    <a:pt x="367" y="1373"/>
                  </a:lnTo>
                  <a:lnTo>
                    <a:pt x="367" y="1377"/>
                  </a:lnTo>
                  <a:lnTo>
                    <a:pt x="367" y="1377"/>
                  </a:lnTo>
                  <a:lnTo>
                    <a:pt x="367" y="1377"/>
                  </a:lnTo>
                  <a:lnTo>
                    <a:pt x="367" y="1377"/>
                  </a:lnTo>
                  <a:lnTo>
                    <a:pt x="367" y="1381"/>
                  </a:lnTo>
                  <a:lnTo>
                    <a:pt x="367" y="1381"/>
                  </a:lnTo>
                  <a:lnTo>
                    <a:pt x="372" y="1381"/>
                  </a:lnTo>
                  <a:lnTo>
                    <a:pt x="372" y="1381"/>
                  </a:lnTo>
                  <a:lnTo>
                    <a:pt x="372" y="1381"/>
                  </a:lnTo>
                  <a:lnTo>
                    <a:pt x="372" y="1381"/>
                  </a:lnTo>
                  <a:lnTo>
                    <a:pt x="372" y="1381"/>
                  </a:lnTo>
                  <a:lnTo>
                    <a:pt x="372" y="1386"/>
                  </a:lnTo>
                  <a:lnTo>
                    <a:pt x="372" y="1386"/>
                  </a:lnTo>
                  <a:lnTo>
                    <a:pt x="372" y="1386"/>
                  </a:lnTo>
                  <a:lnTo>
                    <a:pt x="372" y="1390"/>
                  </a:lnTo>
                  <a:lnTo>
                    <a:pt x="367" y="1390"/>
                  </a:lnTo>
                  <a:lnTo>
                    <a:pt x="367" y="1395"/>
                  </a:lnTo>
                  <a:lnTo>
                    <a:pt x="367" y="1395"/>
                  </a:lnTo>
                  <a:lnTo>
                    <a:pt x="372" y="1399"/>
                  </a:lnTo>
                  <a:lnTo>
                    <a:pt x="372" y="1408"/>
                  </a:lnTo>
                  <a:lnTo>
                    <a:pt x="372" y="1408"/>
                  </a:lnTo>
                  <a:lnTo>
                    <a:pt x="372" y="1408"/>
                  </a:lnTo>
                  <a:lnTo>
                    <a:pt x="372" y="1408"/>
                  </a:lnTo>
                  <a:lnTo>
                    <a:pt x="372" y="1408"/>
                  </a:lnTo>
                  <a:lnTo>
                    <a:pt x="372" y="1408"/>
                  </a:lnTo>
                  <a:lnTo>
                    <a:pt x="372" y="1412"/>
                  </a:lnTo>
                  <a:lnTo>
                    <a:pt x="372" y="1412"/>
                  </a:lnTo>
                  <a:lnTo>
                    <a:pt x="372" y="1412"/>
                  </a:lnTo>
                  <a:lnTo>
                    <a:pt x="372" y="1412"/>
                  </a:lnTo>
                  <a:lnTo>
                    <a:pt x="372" y="1412"/>
                  </a:lnTo>
                  <a:lnTo>
                    <a:pt x="376" y="1412"/>
                  </a:lnTo>
                  <a:lnTo>
                    <a:pt x="376" y="1412"/>
                  </a:lnTo>
                  <a:lnTo>
                    <a:pt x="376" y="1412"/>
                  </a:lnTo>
                  <a:lnTo>
                    <a:pt x="376" y="1412"/>
                  </a:lnTo>
                  <a:lnTo>
                    <a:pt x="376" y="1417"/>
                  </a:lnTo>
                  <a:lnTo>
                    <a:pt x="376" y="1417"/>
                  </a:lnTo>
                  <a:lnTo>
                    <a:pt x="376" y="1417"/>
                  </a:lnTo>
                  <a:lnTo>
                    <a:pt x="372" y="1417"/>
                  </a:lnTo>
                  <a:lnTo>
                    <a:pt x="372" y="1417"/>
                  </a:lnTo>
                  <a:lnTo>
                    <a:pt x="372" y="1421"/>
                  </a:lnTo>
                  <a:lnTo>
                    <a:pt x="372" y="1421"/>
                  </a:lnTo>
                  <a:lnTo>
                    <a:pt x="372" y="1421"/>
                  </a:lnTo>
                  <a:lnTo>
                    <a:pt x="367" y="1426"/>
                  </a:lnTo>
                  <a:lnTo>
                    <a:pt x="372" y="1430"/>
                  </a:lnTo>
                  <a:lnTo>
                    <a:pt x="372" y="1430"/>
                  </a:lnTo>
                  <a:lnTo>
                    <a:pt x="376" y="1426"/>
                  </a:lnTo>
                  <a:lnTo>
                    <a:pt x="376" y="1426"/>
                  </a:lnTo>
                  <a:lnTo>
                    <a:pt x="381" y="1421"/>
                  </a:lnTo>
                  <a:lnTo>
                    <a:pt x="381" y="1421"/>
                  </a:lnTo>
                  <a:lnTo>
                    <a:pt x="381" y="1421"/>
                  </a:lnTo>
                  <a:lnTo>
                    <a:pt x="381" y="1421"/>
                  </a:lnTo>
                  <a:lnTo>
                    <a:pt x="381" y="1421"/>
                  </a:lnTo>
                  <a:lnTo>
                    <a:pt x="381" y="1421"/>
                  </a:lnTo>
                  <a:lnTo>
                    <a:pt x="381" y="1417"/>
                  </a:lnTo>
                  <a:lnTo>
                    <a:pt x="381" y="1417"/>
                  </a:lnTo>
                  <a:lnTo>
                    <a:pt x="381" y="1417"/>
                  </a:lnTo>
                  <a:lnTo>
                    <a:pt x="381" y="1412"/>
                  </a:lnTo>
                  <a:lnTo>
                    <a:pt x="381" y="1412"/>
                  </a:lnTo>
                  <a:lnTo>
                    <a:pt x="385" y="1408"/>
                  </a:lnTo>
                  <a:lnTo>
                    <a:pt x="385" y="1408"/>
                  </a:lnTo>
                  <a:lnTo>
                    <a:pt x="381" y="1408"/>
                  </a:lnTo>
                  <a:lnTo>
                    <a:pt x="385" y="1408"/>
                  </a:lnTo>
                  <a:lnTo>
                    <a:pt x="385" y="1404"/>
                  </a:lnTo>
                  <a:lnTo>
                    <a:pt x="390" y="1404"/>
                  </a:lnTo>
                  <a:lnTo>
                    <a:pt x="394" y="1399"/>
                  </a:lnTo>
                  <a:lnTo>
                    <a:pt x="394" y="1399"/>
                  </a:lnTo>
                  <a:lnTo>
                    <a:pt x="390" y="1399"/>
                  </a:lnTo>
                  <a:lnTo>
                    <a:pt x="390" y="1399"/>
                  </a:lnTo>
                  <a:lnTo>
                    <a:pt x="394" y="1399"/>
                  </a:lnTo>
                  <a:lnTo>
                    <a:pt x="398" y="1399"/>
                  </a:lnTo>
                  <a:lnTo>
                    <a:pt x="398" y="1399"/>
                  </a:lnTo>
                  <a:lnTo>
                    <a:pt x="398" y="1395"/>
                  </a:lnTo>
                  <a:lnTo>
                    <a:pt x="398" y="1395"/>
                  </a:lnTo>
                  <a:lnTo>
                    <a:pt x="398" y="1395"/>
                  </a:lnTo>
                  <a:lnTo>
                    <a:pt x="398" y="1395"/>
                  </a:lnTo>
                  <a:lnTo>
                    <a:pt x="398" y="1395"/>
                  </a:lnTo>
                  <a:lnTo>
                    <a:pt x="398" y="1390"/>
                  </a:lnTo>
                  <a:lnTo>
                    <a:pt x="398" y="1390"/>
                  </a:lnTo>
                  <a:lnTo>
                    <a:pt x="398" y="1390"/>
                  </a:lnTo>
                  <a:lnTo>
                    <a:pt x="403" y="1386"/>
                  </a:lnTo>
                  <a:lnTo>
                    <a:pt x="403" y="1386"/>
                  </a:lnTo>
                  <a:lnTo>
                    <a:pt x="403" y="1381"/>
                  </a:lnTo>
                  <a:lnTo>
                    <a:pt x="407" y="1381"/>
                  </a:lnTo>
                  <a:lnTo>
                    <a:pt x="407" y="1381"/>
                  </a:lnTo>
                  <a:lnTo>
                    <a:pt x="407" y="1381"/>
                  </a:lnTo>
                  <a:lnTo>
                    <a:pt x="407" y="1381"/>
                  </a:lnTo>
                  <a:lnTo>
                    <a:pt x="407" y="1381"/>
                  </a:lnTo>
                  <a:lnTo>
                    <a:pt x="407" y="1381"/>
                  </a:lnTo>
                  <a:lnTo>
                    <a:pt x="407" y="1381"/>
                  </a:lnTo>
                  <a:lnTo>
                    <a:pt x="412" y="1381"/>
                  </a:lnTo>
                  <a:lnTo>
                    <a:pt x="412" y="1381"/>
                  </a:lnTo>
                  <a:lnTo>
                    <a:pt x="412" y="1381"/>
                  </a:lnTo>
                  <a:lnTo>
                    <a:pt x="412" y="1381"/>
                  </a:lnTo>
                  <a:lnTo>
                    <a:pt x="412" y="1377"/>
                  </a:lnTo>
                  <a:lnTo>
                    <a:pt x="412" y="1377"/>
                  </a:lnTo>
                  <a:lnTo>
                    <a:pt x="412" y="1377"/>
                  </a:lnTo>
                  <a:lnTo>
                    <a:pt x="407" y="1377"/>
                  </a:lnTo>
                  <a:lnTo>
                    <a:pt x="407" y="1377"/>
                  </a:lnTo>
                  <a:lnTo>
                    <a:pt x="407" y="1377"/>
                  </a:lnTo>
                  <a:lnTo>
                    <a:pt x="407" y="1377"/>
                  </a:lnTo>
                  <a:lnTo>
                    <a:pt x="407" y="1377"/>
                  </a:lnTo>
                  <a:lnTo>
                    <a:pt x="407" y="1377"/>
                  </a:lnTo>
                  <a:lnTo>
                    <a:pt x="403" y="1377"/>
                  </a:lnTo>
                  <a:lnTo>
                    <a:pt x="403" y="1377"/>
                  </a:lnTo>
                  <a:lnTo>
                    <a:pt x="403" y="1373"/>
                  </a:lnTo>
                  <a:lnTo>
                    <a:pt x="403" y="1373"/>
                  </a:lnTo>
                  <a:lnTo>
                    <a:pt x="403" y="1373"/>
                  </a:lnTo>
                  <a:lnTo>
                    <a:pt x="403" y="1373"/>
                  </a:lnTo>
                  <a:lnTo>
                    <a:pt x="403" y="1373"/>
                  </a:lnTo>
                  <a:lnTo>
                    <a:pt x="403" y="1373"/>
                  </a:lnTo>
                  <a:lnTo>
                    <a:pt x="403" y="1368"/>
                  </a:lnTo>
                  <a:lnTo>
                    <a:pt x="403" y="1368"/>
                  </a:lnTo>
                  <a:lnTo>
                    <a:pt x="403" y="1368"/>
                  </a:lnTo>
                  <a:lnTo>
                    <a:pt x="403" y="1364"/>
                  </a:lnTo>
                  <a:lnTo>
                    <a:pt x="403" y="1364"/>
                  </a:lnTo>
                  <a:lnTo>
                    <a:pt x="403" y="1364"/>
                  </a:lnTo>
                  <a:lnTo>
                    <a:pt x="403" y="1359"/>
                  </a:lnTo>
                  <a:lnTo>
                    <a:pt x="403" y="1359"/>
                  </a:lnTo>
                  <a:lnTo>
                    <a:pt x="403" y="1359"/>
                  </a:lnTo>
                  <a:lnTo>
                    <a:pt x="403" y="1359"/>
                  </a:lnTo>
                  <a:lnTo>
                    <a:pt x="403" y="1359"/>
                  </a:lnTo>
                  <a:lnTo>
                    <a:pt x="403" y="1359"/>
                  </a:lnTo>
                  <a:lnTo>
                    <a:pt x="403" y="1355"/>
                  </a:lnTo>
                  <a:lnTo>
                    <a:pt x="403" y="1355"/>
                  </a:lnTo>
                  <a:lnTo>
                    <a:pt x="403" y="1350"/>
                  </a:lnTo>
                  <a:lnTo>
                    <a:pt x="403" y="1350"/>
                  </a:lnTo>
                  <a:lnTo>
                    <a:pt x="403" y="1350"/>
                  </a:lnTo>
                  <a:lnTo>
                    <a:pt x="403" y="1350"/>
                  </a:lnTo>
                  <a:lnTo>
                    <a:pt x="403" y="1346"/>
                  </a:lnTo>
                  <a:lnTo>
                    <a:pt x="407" y="1350"/>
                  </a:lnTo>
                  <a:lnTo>
                    <a:pt x="407" y="1350"/>
                  </a:lnTo>
                  <a:lnTo>
                    <a:pt x="407" y="1350"/>
                  </a:lnTo>
                  <a:lnTo>
                    <a:pt x="407" y="1350"/>
                  </a:lnTo>
                  <a:lnTo>
                    <a:pt x="412" y="1350"/>
                  </a:lnTo>
                  <a:lnTo>
                    <a:pt x="412" y="1346"/>
                  </a:lnTo>
                  <a:lnTo>
                    <a:pt x="412" y="1346"/>
                  </a:lnTo>
                  <a:lnTo>
                    <a:pt x="412" y="1346"/>
                  </a:lnTo>
                  <a:lnTo>
                    <a:pt x="412" y="1346"/>
                  </a:lnTo>
                  <a:lnTo>
                    <a:pt x="412" y="1342"/>
                  </a:lnTo>
                  <a:lnTo>
                    <a:pt x="412" y="1342"/>
                  </a:lnTo>
                  <a:lnTo>
                    <a:pt x="412" y="1346"/>
                  </a:lnTo>
                  <a:lnTo>
                    <a:pt x="412" y="1346"/>
                  </a:lnTo>
                  <a:lnTo>
                    <a:pt x="412" y="1342"/>
                  </a:lnTo>
                  <a:lnTo>
                    <a:pt x="416" y="1342"/>
                  </a:lnTo>
                  <a:lnTo>
                    <a:pt x="421" y="1342"/>
                  </a:lnTo>
                  <a:lnTo>
                    <a:pt x="421" y="1337"/>
                  </a:lnTo>
                  <a:lnTo>
                    <a:pt x="416" y="1337"/>
                  </a:lnTo>
                  <a:close/>
                  <a:moveTo>
                    <a:pt x="429" y="1324"/>
                  </a:moveTo>
                  <a:lnTo>
                    <a:pt x="429" y="1324"/>
                  </a:lnTo>
                  <a:lnTo>
                    <a:pt x="425" y="1324"/>
                  </a:lnTo>
                  <a:lnTo>
                    <a:pt x="425" y="1324"/>
                  </a:lnTo>
                  <a:lnTo>
                    <a:pt x="425" y="1324"/>
                  </a:lnTo>
                  <a:lnTo>
                    <a:pt x="425" y="1324"/>
                  </a:lnTo>
                  <a:lnTo>
                    <a:pt x="425" y="1324"/>
                  </a:lnTo>
                  <a:lnTo>
                    <a:pt x="425" y="1324"/>
                  </a:lnTo>
                  <a:lnTo>
                    <a:pt x="425" y="1324"/>
                  </a:lnTo>
                  <a:lnTo>
                    <a:pt x="421" y="1324"/>
                  </a:lnTo>
                  <a:lnTo>
                    <a:pt x="421" y="1324"/>
                  </a:lnTo>
                  <a:lnTo>
                    <a:pt x="421" y="1324"/>
                  </a:lnTo>
                  <a:lnTo>
                    <a:pt x="421" y="1324"/>
                  </a:lnTo>
                  <a:lnTo>
                    <a:pt x="421" y="1328"/>
                  </a:lnTo>
                  <a:lnTo>
                    <a:pt x="416" y="1328"/>
                  </a:lnTo>
                  <a:lnTo>
                    <a:pt x="416" y="1328"/>
                  </a:lnTo>
                  <a:lnTo>
                    <a:pt x="416" y="1328"/>
                  </a:lnTo>
                  <a:lnTo>
                    <a:pt x="416" y="1328"/>
                  </a:lnTo>
                  <a:lnTo>
                    <a:pt x="416" y="1333"/>
                  </a:lnTo>
                  <a:lnTo>
                    <a:pt x="416" y="1337"/>
                  </a:lnTo>
                  <a:lnTo>
                    <a:pt x="421" y="1337"/>
                  </a:lnTo>
                  <a:lnTo>
                    <a:pt x="421" y="1337"/>
                  </a:lnTo>
                  <a:lnTo>
                    <a:pt x="421" y="1337"/>
                  </a:lnTo>
                  <a:lnTo>
                    <a:pt x="421" y="1337"/>
                  </a:lnTo>
                  <a:lnTo>
                    <a:pt x="421" y="1337"/>
                  </a:lnTo>
                  <a:lnTo>
                    <a:pt x="425" y="1333"/>
                  </a:lnTo>
                  <a:lnTo>
                    <a:pt x="425" y="1333"/>
                  </a:lnTo>
                  <a:lnTo>
                    <a:pt x="425" y="1333"/>
                  </a:lnTo>
                  <a:lnTo>
                    <a:pt x="421" y="1333"/>
                  </a:lnTo>
                  <a:lnTo>
                    <a:pt x="421" y="1333"/>
                  </a:lnTo>
                  <a:lnTo>
                    <a:pt x="425" y="1328"/>
                  </a:lnTo>
                  <a:lnTo>
                    <a:pt x="425" y="1328"/>
                  </a:lnTo>
                  <a:lnTo>
                    <a:pt x="425" y="1328"/>
                  </a:lnTo>
                  <a:lnTo>
                    <a:pt x="429" y="1328"/>
                  </a:lnTo>
                  <a:lnTo>
                    <a:pt x="429" y="1328"/>
                  </a:lnTo>
                  <a:lnTo>
                    <a:pt x="429" y="1328"/>
                  </a:lnTo>
                  <a:lnTo>
                    <a:pt x="429" y="1328"/>
                  </a:lnTo>
                  <a:lnTo>
                    <a:pt x="429" y="1328"/>
                  </a:lnTo>
                  <a:lnTo>
                    <a:pt x="434" y="1328"/>
                  </a:lnTo>
                  <a:lnTo>
                    <a:pt x="434" y="1324"/>
                  </a:lnTo>
                  <a:lnTo>
                    <a:pt x="429" y="1324"/>
                  </a:lnTo>
                  <a:lnTo>
                    <a:pt x="429" y="1324"/>
                  </a:lnTo>
                  <a:close/>
                  <a:moveTo>
                    <a:pt x="27" y="1324"/>
                  </a:moveTo>
                  <a:lnTo>
                    <a:pt x="27" y="1319"/>
                  </a:lnTo>
                  <a:lnTo>
                    <a:pt x="31" y="1319"/>
                  </a:lnTo>
                  <a:lnTo>
                    <a:pt x="31" y="1319"/>
                  </a:lnTo>
                  <a:lnTo>
                    <a:pt x="31" y="1324"/>
                  </a:lnTo>
                  <a:lnTo>
                    <a:pt x="31" y="1324"/>
                  </a:lnTo>
                  <a:lnTo>
                    <a:pt x="31" y="1324"/>
                  </a:lnTo>
                  <a:lnTo>
                    <a:pt x="31" y="1324"/>
                  </a:lnTo>
                  <a:lnTo>
                    <a:pt x="31" y="1324"/>
                  </a:lnTo>
                  <a:lnTo>
                    <a:pt x="31" y="1319"/>
                  </a:lnTo>
                  <a:lnTo>
                    <a:pt x="31" y="1319"/>
                  </a:lnTo>
                  <a:lnTo>
                    <a:pt x="31" y="1319"/>
                  </a:lnTo>
                  <a:lnTo>
                    <a:pt x="31" y="1315"/>
                  </a:lnTo>
                  <a:lnTo>
                    <a:pt x="31" y="1315"/>
                  </a:lnTo>
                  <a:lnTo>
                    <a:pt x="31" y="1315"/>
                  </a:lnTo>
                  <a:lnTo>
                    <a:pt x="27" y="1315"/>
                  </a:lnTo>
                  <a:lnTo>
                    <a:pt x="27" y="1319"/>
                  </a:lnTo>
                  <a:lnTo>
                    <a:pt x="22" y="1319"/>
                  </a:lnTo>
                  <a:lnTo>
                    <a:pt x="22" y="1315"/>
                  </a:lnTo>
                  <a:lnTo>
                    <a:pt x="18" y="1319"/>
                  </a:lnTo>
                  <a:lnTo>
                    <a:pt x="18" y="1319"/>
                  </a:lnTo>
                  <a:lnTo>
                    <a:pt x="18" y="1319"/>
                  </a:lnTo>
                  <a:lnTo>
                    <a:pt x="22" y="1319"/>
                  </a:lnTo>
                  <a:lnTo>
                    <a:pt x="22" y="1319"/>
                  </a:lnTo>
                  <a:lnTo>
                    <a:pt x="22" y="1324"/>
                  </a:lnTo>
                  <a:lnTo>
                    <a:pt x="22" y="1324"/>
                  </a:lnTo>
                  <a:lnTo>
                    <a:pt x="22" y="1324"/>
                  </a:lnTo>
                  <a:lnTo>
                    <a:pt x="18" y="1324"/>
                  </a:lnTo>
                  <a:lnTo>
                    <a:pt x="18" y="1324"/>
                  </a:lnTo>
                  <a:lnTo>
                    <a:pt x="18" y="1324"/>
                  </a:lnTo>
                  <a:lnTo>
                    <a:pt x="22" y="1324"/>
                  </a:lnTo>
                  <a:lnTo>
                    <a:pt x="22" y="1324"/>
                  </a:lnTo>
                  <a:lnTo>
                    <a:pt x="22" y="1328"/>
                  </a:lnTo>
                  <a:lnTo>
                    <a:pt x="22" y="1328"/>
                  </a:lnTo>
                  <a:lnTo>
                    <a:pt x="22" y="1328"/>
                  </a:lnTo>
                  <a:lnTo>
                    <a:pt x="22" y="1328"/>
                  </a:lnTo>
                  <a:lnTo>
                    <a:pt x="22" y="1328"/>
                  </a:lnTo>
                  <a:lnTo>
                    <a:pt x="22" y="1328"/>
                  </a:lnTo>
                  <a:lnTo>
                    <a:pt x="22" y="1328"/>
                  </a:lnTo>
                  <a:lnTo>
                    <a:pt x="27" y="1328"/>
                  </a:lnTo>
                  <a:lnTo>
                    <a:pt x="27" y="1328"/>
                  </a:lnTo>
                  <a:lnTo>
                    <a:pt x="27" y="1328"/>
                  </a:lnTo>
                  <a:lnTo>
                    <a:pt x="27" y="1328"/>
                  </a:lnTo>
                  <a:lnTo>
                    <a:pt x="27" y="1328"/>
                  </a:lnTo>
                  <a:lnTo>
                    <a:pt x="27" y="1324"/>
                  </a:lnTo>
                  <a:lnTo>
                    <a:pt x="27" y="1324"/>
                  </a:lnTo>
                  <a:close/>
                  <a:moveTo>
                    <a:pt x="18" y="1315"/>
                  </a:moveTo>
                  <a:lnTo>
                    <a:pt x="22" y="1315"/>
                  </a:lnTo>
                  <a:lnTo>
                    <a:pt x="22" y="1311"/>
                  </a:lnTo>
                  <a:lnTo>
                    <a:pt x="22" y="1311"/>
                  </a:lnTo>
                  <a:lnTo>
                    <a:pt x="22" y="1311"/>
                  </a:lnTo>
                  <a:lnTo>
                    <a:pt x="22" y="1311"/>
                  </a:lnTo>
                  <a:lnTo>
                    <a:pt x="27" y="1311"/>
                  </a:lnTo>
                  <a:lnTo>
                    <a:pt x="27" y="1311"/>
                  </a:lnTo>
                  <a:lnTo>
                    <a:pt x="27" y="1311"/>
                  </a:lnTo>
                  <a:lnTo>
                    <a:pt x="31" y="1311"/>
                  </a:lnTo>
                  <a:lnTo>
                    <a:pt x="31" y="1311"/>
                  </a:lnTo>
                  <a:lnTo>
                    <a:pt x="36" y="1311"/>
                  </a:lnTo>
                  <a:lnTo>
                    <a:pt x="36" y="1311"/>
                  </a:lnTo>
                  <a:lnTo>
                    <a:pt x="36" y="1306"/>
                  </a:lnTo>
                  <a:lnTo>
                    <a:pt x="36" y="1302"/>
                  </a:lnTo>
                  <a:lnTo>
                    <a:pt x="36" y="1302"/>
                  </a:lnTo>
                  <a:lnTo>
                    <a:pt x="36" y="1297"/>
                  </a:lnTo>
                  <a:lnTo>
                    <a:pt x="36" y="1297"/>
                  </a:lnTo>
                  <a:lnTo>
                    <a:pt x="31" y="1297"/>
                  </a:lnTo>
                  <a:lnTo>
                    <a:pt x="31" y="1297"/>
                  </a:lnTo>
                  <a:lnTo>
                    <a:pt x="31" y="1293"/>
                  </a:lnTo>
                  <a:lnTo>
                    <a:pt x="31" y="1293"/>
                  </a:lnTo>
                  <a:lnTo>
                    <a:pt x="27" y="1293"/>
                  </a:lnTo>
                  <a:lnTo>
                    <a:pt x="27" y="1293"/>
                  </a:lnTo>
                  <a:lnTo>
                    <a:pt x="27" y="1293"/>
                  </a:lnTo>
                  <a:lnTo>
                    <a:pt x="27" y="1297"/>
                  </a:lnTo>
                  <a:lnTo>
                    <a:pt x="27" y="1297"/>
                  </a:lnTo>
                  <a:lnTo>
                    <a:pt x="27" y="1297"/>
                  </a:lnTo>
                  <a:lnTo>
                    <a:pt x="27" y="1297"/>
                  </a:lnTo>
                  <a:lnTo>
                    <a:pt x="27" y="1297"/>
                  </a:lnTo>
                  <a:lnTo>
                    <a:pt x="27" y="1297"/>
                  </a:lnTo>
                  <a:lnTo>
                    <a:pt x="27" y="1297"/>
                  </a:lnTo>
                  <a:lnTo>
                    <a:pt x="22" y="1297"/>
                  </a:lnTo>
                  <a:lnTo>
                    <a:pt x="22" y="1297"/>
                  </a:lnTo>
                  <a:lnTo>
                    <a:pt x="22" y="1302"/>
                  </a:lnTo>
                  <a:lnTo>
                    <a:pt x="22" y="1302"/>
                  </a:lnTo>
                  <a:lnTo>
                    <a:pt x="13" y="1306"/>
                  </a:lnTo>
                  <a:lnTo>
                    <a:pt x="13" y="1306"/>
                  </a:lnTo>
                  <a:lnTo>
                    <a:pt x="13" y="1311"/>
                  </a:lnTo>
                  <a:lnTo>
                    <a:pt x="13" y="1311"/>
                  </a:lnTo>
                  <a:lnTo>
                    <a:pt x="18" y="1311"/>
                  </a:lnTo>
                  <a:lnTo>
                    <a:pt x="18" y="1311"/>
                  </a:lnTo>
                  <a:lnTo>
                    <a:pt x="18" y="1315"/>
                  </a:lnTo>
                  <a:lnTo>
                    <a:pt x="18" y="1315"/>
                  </a:lnTo>
                  <a:lnTo>
                    <a:pt x="18" y="1311"/>
                  </a:lnTo>
                  <a:lnTo>
                    <a:pt x="18" y="1315"/>
                  </a:lnTo>
                  <a:lnTo>
                    <a:pt x="18" y="1315"/>
                  </a:lnTo>
                  <a:lnTo>
                    <a:pt x="18" y="1315"/>
                  </a:lnTo>
                  <a:close/>
                  <a:moveTo>
                    <a:pt x="301" y="1293"/>
                  </a:moveTo>
                  <a:lnTo>
                    <a:pt x="301" y="1293"/>
                  </a:lnTo>
                  <a:lnTo>
                    <a:pt x="301" y="1293"/>
                  </a:lnTo>
                  <a:lnTo>
                    <a:pt x="301" y="1293"/>
                  </a:lnTo>
                  <a:lnTo>
                    <a:pt x="301" y="1293"/>
                  </a:lnTo>
                  <a:lnTo>
                    <a:pt x="301" y="1293"/>
                  </a:lnTo>
                  <a:lnTo>
                    <a:pt x="301" y="1293"/>
                  </a:lnTo>
                  <a:lnTo>
                    <a:pt x="301" y="1293"/>
                  </a:lnTo>
                  <a:lnTo>
                    <a:pt x="301" y="1293"/>
                  </a:lnTo>
                  <a:lnTo>
                    <a:pt x="301" y="1293"/>
                  </a:lnTo>
                  <a:lnTo>
                    <a:pt x="301" y="1293"/>
                  </a:lnTo>
                  <a:close/>
                  <a:moveTo>
                    <a:pt x="297" y="1288"/>
                  </a:moveTo>
                  <a:lnTo>
                    <a:pt x="301" y="1288"/>
                  </a:lnTo>
                  <a:lnTo>
                    <a:pt x="301" y="1288"/>
                  </a:lnTo>
                  <a:lnTo>
                    <a:pt x="301" y="1288"/>
                  </a:lnTo>
                  <a:lnTo>
                    <a:pt x="301" y="1288"/>
                  </a:lnTo>
                  <a:lnTo>
                    <a:pt x="301" y="1288"/>
                  </a:lnTo>
                  <a:lnTo>
                    <a:pt x="301" y="1288"/>
                  </a:lnTo>
                  <a:lnTo>
                    <a:pt x="306" y="1288"/>
                  </a:lnTo>
                  <a:lnTo>
                    <a:pt x="306" y="1288"/>
                  </a:lnTo>
                  <a:lnTo>
                    <a:pt x="306" y="1288"/>
                  </a:lnTo>
                  <a:lnTo>
                    <a:pt x="306" y="1288"/>
                  </a:lnTo>
                  <a:lnTo>
                    <a:pt x="306" y="1288"/>
                  </a:lnTo>
                  <a:lnTo>
                    <a:pt x="306" y="1288"/>
                  </a:lnTo>
                  <a:lnTo>
                    <a:pt x="306" y="1288"/>
                  </a:lnTo>
                  <a:lnTo>
                    <a:pt x="301" y="1288"/>
                  </a:lnTo>
                  <a:lnTo>
                    <a:pt x="301" y="1288"/>
                  </a:lnTo>
                  <a:lnTo>
                    <a:pt x="301" y="1288"/>
                  </a:lnTo>
                  <a:lnTo>
                    <a:pt x="301" y="1288"/>
                  </a:lnTo>
                  <a:lnTo>
                    <a:pt x="301" y="1284"/>
                  </a:lnTo>
                  <a:lnTo>
                    <a:pt x="301" y="1284"/>
                  </a:lnTo>
                  <a:lnTo>
                    <a:pt x="301" y="1284"/>
                  </a:lnTo>
                  <a:lnTo>
                    <a:pt x="301" y="1284"/>
                  </a:lnTo>
                  <a:lnTo>
                    <a:pt x="301" y="1284"/>
                  </a:lnTo>
                  <a:lnTo>
                    <a:pt x="301" y="1284"/>
                  </a:lnTo>
                  <a:lnTo>
                    <a:pt x="301" y="1284"/>
                  </a:lnTo>
                  <a:lnTo>
                    <a:pt x="301" y="1284"/>
                  </a:lnTo>
                  <a:lnTo>
                    <a:pt x="301" y="1284"/>
                  </a:lnTo>
                  <a:lnTo>
                    <a:pt x="301" y="1284"/>
                  </a:lnTo>
                  <a:lnTo>
                    <a:pt x="301" y="1284"/>
                  </a:lnTo>
                  <a:lnTo>
                    <a:pt x="301" y="1284"/>
                  </a:lnTo>
                  <a:lnTo>
                    <a:pt x="301" y="1284"/>
                  </a:lnTo>
                  <a:lnTo>
                    <a:pt x="301" y="1284"/>
                  </a:lnTo>
                  <a:lnTo>
                    <a:pt x="301" y="1284"/>
                  </a:lnTo>
                  <a:lnTo>
                    <a:pt x="297" y="1284"/>
                  </a:lnTo>
                  <a:lnTo>
                    <a:pt x="297" y="1284"/>
                  </a:lnTo>
                  <a:lnTo>
                    <a:pt x="297" y="1284"/>
                  </a:lnTo>
                  <a:lnTo>
                    <a:pt x="297" y="1284"/>
                  </a:lnTo>
                  <a:lnTo>
                    <a:pt x="297" y="1284"/>
                  </a:lnTo>
                  <a:lnTo>
                    <a:pt x="297" y="1288"/>
                  </a:lnTo>
                  <a:lnTo>
                    <a:pt x="297" y="1288"/>
                  </a:lnTo>
                  <a:close/>
                  <a:moveTo>
                    <a:pt x="376" y="1226"/>
                  </a:moveTo>
                  <a:lnTo>
                    <a:pt x="376" y="1226"/>
                  </a:lnTo>
                  <a:lnTo>
                    <a:pt x="376" y="1226"/>
                  </a:lnTo>
                  <a:lnTo>
                    <a:pt x="376" y="1226"/>
                  </a:lnTo>
                  <a:lnTo>
                    <a:pt x="376" y="1226"/>
                  </a:lnTo>
                  <a:lnTo>
                    <a:pt x="372" y="1226"/>
                  </a:lnTo>
                  <a:lnTo>
                    <a:pt x="372" y="1226"/>
                  </a:lnTo>
                  <a:lnTo>
                    <a:pt x="372" y="1231"/>
                  </a:lnTo>
                  <a:lnTo>
                    <a:pt x="372" y="1231"/>
                  </a:lnTo>
                  <a:lnTo>
                    <a:pt x="372" y="1231"/>
                  </a:lnTo>
                  <a:lnTo>
                    <a:pt x="372" y="1231"/>
                  </a:lnTo>
                  <a:lnTo>
                    <a:pt x="372" y="1231"/>
                  </a:lnTo>
                  <a:lnTo>
                    <a:pt x="376" y="1231"/>
                  </a:lnTo>
                  <a:lnTo>
                    <a:pt x="376" y="1231"/>
                  </a:lnTo>
                  <a:lnTo>
                    <a:pt x="376" y="1231"/>
                  </a:lnTo>
                  <a:lnTo>
                    <a:pt x="376" y="1231"/>
                  </a:lnTo>
                  <a:lnTo>
                    <a:pt x="376" y="1226"/>
                  </a:lnTo>
                  <a:lnTo>
                    <a:pt x="376" y="1226"/>
                  </a:lnTo>
                  <a:lnTo>
                    <a:pt x="376" y="1226"/>
                  </a:lnTo>
                  <a:lnTo>
                    <a:pt x="376" y="1226"/>
                  </a:lnTo>
                  <a:lnTo>
                    <a:pt x="376" y="1226"/>
                  </a:lnTo>
                  <a:lnTo>
                    <a:pt x="376" y="1226"/>
                  </a:lnTo>
                  <a:lnTo>
                    <a:pt x="376" y="1226"/>
                  </a:lnTo>
                  <a:lnTo>
                    <a:pt x="381" y="1226"/>
                  </a:lnTo>
                  <a:lnTo>
                    <a:pt x="381" y="1226"/>
                  </a:lnTo>
                  <a:lnTo>
                    <a:pt x="381" y="1222"/>
                  </a:lnTo>
                  <a:lnTo>
                    <a:pt x="381" y="1222"/>
                  </a:lnTo>
                  <a:lnTo>
                    <a:pt x="381" y="1226"/>
                  </a:lnTo>
                  <a:lnTo>
                    <a:pt x="376" y="1226"/>
                  </a:lnTo>
                  <a:close/>
                  <a:moveTo>
                    <a:pt x="367" y="1226"/>
                  </a:moveTo>
                  <a:lnTo>
                    <a:pt x="367" y="1226"/>
                  </a:lnTo>
                  <a:lnTo>
                    <a:pt x="367" y="1222"/>
                  </a:lnTo>
                  <a:lnTo>
                    <a:pt x="367" y="1222"/>
                  </a:lnTo>
                  <a:lnTo>
                    <a:pt x="367" y="1222"/>
                  </a:lnTo>
                  <a:lnTo>
                    <a:pt x="367" y="1222"/>
                  </a:lnTo>
                  <a:lnTo>
                    <a:pt x="367" y="1222"/>
                  </a:lnTo>
                  <a:lnTo>
                    <a:pt x="372" y="1222"/>
                  </a:lnTo>
                  <a:lnTo>
                    <a:pt x="372" y="1222"/>
                  </a:lnTo>
                  <a:lnTo>
                    <a:pt x="372" y="1222"/>
                  </a:lnTo>
                  <a:lnTo>
                    <a:pt x="372" y="1222"/>
                  </a:lnTo>
                  <a:lnTo>
                    <a:pt x="372" y="1222"/>
                  </a:lnTo>
                  <a:lnTo>
                    <a:pt x="372" y="1222"/>
                  </a:lnTo>
                  <a:lnTo>
                    <a:pt x="372" y="1222"/>
                  </a:lnTo>
                  <a:lnTo>
                    <a:pt x="372" y="1222"/>
                  </a:lnTo>
                  <a:lnTo>
                    <a:pt x="372" y="1222"/>
                  </a:lnTo>
                  <a:lnTo>
                    <a:pt x="372" y="1222"/>
                  </a:lnTo>
                  <a:lnTo>
                    <a:pt x="372" y="1222"/>
                  </a:lnTo>
                  <a:lnTo>
                    <a:pt x="372" y="1218"/>
                  </a:lnTo>
                  <a:lnTo>
                    <a:pt x="372" y="1218"/>
                  </a:lnTo>
                  <a:lnTo>
                    <a:pt x="372" y="1218"/>
                  </a:lnTo>
                  <a:lnTo>
                    <a:pt x="367" y="1218"/>
                  </a:lnTo>
                  <a:lnTo>
                    <a:pt x="367" y="1218"/>
                  </a:lnTo>
                  <a:lnTo>
                    <a:pt x="367" y="1218"/>
                  </a:lnTo>
                  <a:lnTo>
                    <a:pt x="367" y="1218"/>
                  </a:lnTo>
                  <a:lnTo>
                    <a:pt x="367" y="1222"/>
                  </a:lnTo>
                  <a:lnTo>
                    <a:pt x="367" y="1222"/>
                  </a:lnTo>
                  <a:lnTo>
                    <a:pt x="367" y="1222"/>
                  </a:lnTo>
                  <a:lnTo>
                    <a:pt x="367" y="1222"/>
                  </a:lnTo>
                  <a:lnTo>
                    <a:pt x="363" y="1222"/>
                  </a:lnTo>
                  <a:lnTo>
                    <a:pt x="363" y="1222"/>
                  </a:lnTo>
                  <a:lnTo>
                    <a:pt x="363" y="1226"/>
                  </a:lnTo>
                  <a:lnTo>
                    <a:pt x="363" y="1226"/>
                  </a:lnTo>
                  <a:lnTo>
                    <a:pt x="363" y="1226"/>
                  </a:lnTo>
                  <a:lnTo>
                    <a:pt x="363" y="1226"/>
                  </a:lnTo>
                  <a:lnTo>
                    <a:pt x="367" y="1226"/>
                  </a:lnTo>
                  <a:lnTo>
                    <a:pt x="367" y="1222"/>
                  </a:lnTo>
                  <a:lnTo>
                    <a:pt x="367" y="1222"/>
                  </a:lnTo>
                  <a:lnTo>
                    <a:pt x="367" y="1222"/>
                  </a:lnTo>
                  <a:lnTo>
                    <a:pt x="367" y="1226"/>
                  </a:lnTo>
                  <a:lnTo>
                    <a:pt x="367" y="1226"/>
                  </a:lnTo>
                  <a:close/>
                  <a:moveTo>
                    <a:pt x="345" y="1222"/>
                  </a:moveTo>
                  <a:lnTo>
                    <a:pt x="345" y="1222"/>
                  </a:lnTo>
                  <a:lnTo>
                    <a:pt x="345" y="1218"/>
                  </a:lnTo>
                  <a:lnTo>
                    <a:pt x="345" y="1218"/>
                  </a:lnTo>
                  <a:lnTo>
                    <a:pt x="345" y="1218"/>
                  </a:lnTo>
                  <a:lnTo>
                    <a:pt x="345" y="1218"/>
                  </a:lnTo>
                  <a:lnTo>
                    <a:pt x="345" y="1218"/>
                  </a:lnTo>
                  <a:lnTo>
                    <a:pt x="345" y="1218"/>
                  </a:lnTo>
                  <a:lnTo>
                    <a:pt x="345" y="1213"/>
                  </a:lnTo>
                  <a:lnTo>
                    <a:pt x="345" y="1213"/>
                  </a:lnTo>
                  <a:lnTo>
                    <a:pt x="345" y="1213"/>
                  </a:lnTo>
                  <a:lnTo>
                    <a:pt x="341" y="1213"/>
                  </a:lnTo>
                  <a:lnTo>
                    <a:pt x="341" y="1218"/>
                  </a:lnTo>
                  <a:lnTo>
                    <a:pt x="341" y="1218"/>
                  </a:lnTo>
                  <a:lnTo>
                    <a:pt x="345" y="1218"/>
                  </a:lnTo>
                  <a:lnTo>
                    <a:pt x="341" y="1222"/>
                  </a:lnTo>
                  <a:lnTo>
                    <a:pt x="341" y="1222"/>
                  </a:lnTo>
                  <a:lnTo>
                    <a:pt x="341" y="1222"/>
                  </a:lnTo>
                  <a:lnTo>
                    <a:pt x="341" y="1226"/>
                  </a:lnTo>
                  <a:lnTo>
                    <a:pt x="341" y="1226"/>
                  </a:lnTo>
                  <a:lnTo>
                    <a:pt x="341" y="1226"/>
                  </a:lnTo>
                  <a:lnTo>
                    <a:pt x="341" y="1226"/>
                  </a:lnTo>
                  <a:lnTo>
                    <a:pt x="341" y="1226"/>
                  </a:lnTo>
                  <a:lnTo>
                    <a:pt x="345" y="1231"/>
                  </a:lnTo>
                  <a:lnTo>
                    <a:pt x="345" y="1231"/>
                  </a:lnTo>
                  <a:lnTo>
                    <a:pt x="345" y="1231"/>
                  </a:lnTo>
                  <a:lnTo>
                    <a:pt x="345" y="1231"/>
                  </a:lnTo>
                  <a:lnTo>
                    <a:pt x="345" y="1231"/>
                  </a:lnTo>
                  <a:lnTo>
                    <a:pt x="345" y="1231"/>
                  </a:lnTo>
                  <a:lnTo>
                    <a:pt x="345" y="1231"/>
                  </a:lnTo>
                  <a:lnTo>
                    <a:pt x="345" y="1231"/>
                  </a:lnTo>
                  <a:lnTo>
                    <a:pt x="345" y="1231"/>
                  </a:lnTo>
                  <a:lnTo>
                    <a:pt x="345" y="1226"/>
                  </a:lnTo>
                  <a:lnTo>
                    <a:pt x="345" y="1226"/>
                  </a:lnTo>
                  <a:lnTo>
                    <a:pt x="345" y="1226"/>
                  </a:lnTo>
                  <a:lnTo>
                    <a:pt x="345" y="1226"/>
                  </a:lnTo>
                  <a:lnTo>
                    <a:pt x="345" y="1222"/>
                  </a:lnTo>
                  <a:lnTo>
                    <a:pt x="345" y="1222"/>
                  </a:lnTo>
                  <a:lnTo>
                    <a:pt x="345" y="1222"/>
                  </a:lnTo>
                  <a:close/>
                  <a:moveTo>
                    <a:pt x="381" y="1218"/>
                  </a:moveTo>
                  <a:lnTo>
                    <a:pt x="381" y="1218"/>
                  </a:lnTo>
                  <a:lnTo>
                    <a:pt x="381" y="1218"/>
                  </a:lnTo>
                  <a:lnTo>
                    <a:pt x="381" y="1222"/>
                  </a:lnTo>
                  <a:lnTo>
                    <a:pt x="381" y="1222"/>
                  </a:lnTo>
                  <a:lnTo>
                    <a:pt x="381" y="1222"/>
                  </a:lnTo>
                  <a:lnTo>
                    <a:pt x="381" y="1222"/>
                  </a:lnTo>
                  <a:lnTo>
                    <a:pt x="381" y="1222"/>
                  </a:lnTo>
                  <a:lnTo>
                    <a:pt x="381" y="1222"/>
                  </a:lnTo>
                  <a:lnTo>
                    <a:pt x="385" y="1222"/>
                  </a:lnTo>
                  <a:lnTo>
                    <a:pt x="385" y="1222"/>
                  </a:lnTo>
                  <a:lnTo>
                    <a:pt x="385" y="1218"/>
                  </a:lnTo>
                  <a:lnTo>
                    <a:pt x="385" y="1218"/>
                  </a:lnTo>
                  <a:lnTo>
                    <a:pt x="385" y="1218"/>
                  </a:lnTo>
                  <a:lnTo>
                    <a:pt x="385" y="1218"/>
                  </a:lnTo>
                  <a:lnTo>
                    <a:pt x="385" y="1218"/>
                  </a:lnTo>
                  <a:lnTo>
                    <a:pt x="385" y="1218"/>
                  </a:lnTo>
                  <a:lnTo>
                    <a:pt x="385" y="1218"/>
                  </a:lnTo>
                  <a:lnTo>
                    <a:pt x="385" y="1218"/>
                  </a:lnTo>
                  <a:lnTo>
                    <a:pt x="385" y="1213"/>
                  </a:lnTo>
                  <a:lnTo>
                    <a:pt x="385" y="1213"/>
                  </a:lnTo>
                  <a:lnTo>
                    <a:pt x="390" y="1213"/>
                  </a:lnTo>
                  <a:lnTo>
                    <a:pt x="390" y="1213"/>
                  </a:lnTo>
                  <a:lnTo>
                    <a:pt x="385" y="1213"/>
                  </a:lnTo>
                  <a:lnTo>
                    <a:pt x="385" y="1209"/>
                  </a:lnTo>
                  <a:lnTo>
                    <a:pt x="385" y="1209"/>
                  </a:lnTo>
                  <a:lnTo>
                    <a:pt x="385" y="1209"/>
                  </a:lnTo>
                  <a:lnTo>
                    <a:pt x="385" y="1209"/>
                  </a:lnTo>
                  <a:lnTo>
                    <a:pt x="385" y="1209"/>
                  </a:lnTo>
                  <a:lnTo>
                    <a:pt x="385" y="1213"/>
                  </a:lnTo>
                  <a:lnTo>
                    <a:pt x="381" y="1213"/>
                  </a:lnTo>
                  <a:lnTo>
                    <a:pt x="381" y="1213"/>
                  </a:lnTo>
                  <a:lnTo>
                    <a:pt x="381" y="1213"/>
                  </a:lnTo>
                  <a:lnTo>
                    <a:pt x="381" y="1213"/>
                  </a:lnTo>
                  <a:lnTo>
                    <a:pt x="381" y="1218"/>
                  </a:lnTo>
                  <a:lnTo>
                    <a:pt x="381" y="1218"/>
                  </a:lnTo>
                  <a:lnTo>
                    <a:pt x="381" y="1218"/>
                  </a:lnTo>
                  <a:lnTo>
                    <a:pt x="381" y="1218"/>
                  </a:lnTo>
                  <a:lnTo>
                    <a:pt x="381" y="1218"/>
                  </a:lnTo>
                  <a:lnTo>
                    <a:pt x="381" y="1218"/>
                  </a:lnTo>
                  <a:lnTo>
                    <a:pt x="381" y="1218"/>
                  </a:lnTo>
                  <a:lnTo>
                    <a:pt x="381" y="1218"/>
                  </a:lnTo>
                  <a:close/>
                  <a:moveTo>
                    <a:pt x="398" y="1200"/>
                  </a:moveTo>
                  <a:lnTo>
                    <a:pt x="398" y="1200"/>
                  </a:lnTo>
                  <a:lnTo>
                    <a:pt x="398" y="1200"/>
                  </a:lnTo>
                  <a:lnTo>
                    <a:pt x="398" y="1204"/>
                  </a:lnTo>
                  <a:lnTo>
                    <a:pt x="398" y="1204"/>
                  </a:lnTo>
                  <a:lnTo>
                    <a:pt x="398" y="1204"/>
                  </a:lnTo>
                  <a:lnTo>
                    <a:pt x="398" y="1200"/>
                  </a:lnTo>
                  <a:lnTo>
                    <a:pt x="403" y="1200"/>
                  </a:lnTo>
                  <a:lnTo>
                    <a:pt x="403" y="1200"/>
                  </a:lnTo>
                  <a:lnTo>
                    <a:pt x="398" y="1200"/>
                  </a:lnTo>
                  <a:lnTo>
                    <a:pt x="398" y="1200"/>
                  </a:lnTo>
                  <a:close/>
                  <a:moveTo>
                    <a:pt x="390" y="1195"/>
                  </a:moveTo>
                  <a:lnTo>
                    <a:pt x="394" y="1195"/>
                  </a:lnTo>
                  <a:lnTo>
                    <a:pt x="390" y="1191"/>
                  </a:lnTo>
                  <a:lnTo>
                    <a:pt x="385" y="1191"/>
                  </a:lnTo>
                  <a:lnTo>
                    <a:pt x="381" y="1191"/>
                  </a:lnTo>
                  <a:lnTo>
                    <a:pt x="381" y="1191"/>
                  </a:lnTo>
                  <a:lnTo>
                    <a:pt x="385" y="1191"/>
                  </a:lnTo>
                  <a:lnTo>
                    <a:pt x="385" y="1195"/>
                  </a:lnTo>
                  <a:lnTo>
                    <a:pt x="385" y="1195"/>
                  </a:lnTo>
                  <a:lnTo>
                    <a:pt x="385" y="1195"/>
                  </a:lnTo>
                  <a:lnTo>
                    <a:pt x="385" y="1195"/>
                  </a:lnTo>
                  <a:lnTo>
                    <a:pt x="390" y="1200"/>
                  </a:lnTo>
                  <a:lnTo>
                    <a:pt x="390" y="1200"/>
                  </a:lnTo>
                  <a:lnTo>
                    <a:pt x="394" y="1195"/>
                  </a:lnTo>
                  <a:lnTo>
                    <a:pt x="390" y="1195"/>
                  </a:lnTo>
                  <a:lnTo>
                    <a:pt x="390" y="1195"/>
                  </a:lnTo>
                  <a:lnTo>
                    <a:pt x="390" y="1195"/>
                  </a:lnTo>
                  <a:lnTo>
                    <a:pt x="390" y="1195"/>
                  </a:lnTo>
                  <a:lnTo>
                    <a:pt x="390" y="1195"/>
                  </a:lnTo>
                  <a:close/>
                  <a:moveTo>
                    <a:pt x="394" y="1187"/>
                  </a:moveTo>
                  <a:lnTo>
                    <a:pt x="398" y="1187"/>
                  </a:lnTo>
                  <a:lnTo>
                    <a:pt x="398" y="1187"/>
                  </a:lnTo>
                  <a:lnTo>
                    <a:pt x="398" y="1187"/>
                  </a:lnTo>
                  <a:lnTo>
                    <a:pt x="398" y="1187"/>
                  </a:lnTo>
                  <a:lnTo>
                    <a:pt x="398" y="1191"/>
                  </a:lnTo>
                  <a:lnTo>
                    <a:pt x="398" y="1191"/>
                  </a:lnTo>
                  <a:lnTo>
                    <a:pt x="398" y="1191"/>
                  </a:lnTo>
                  <a:lnTo>
                    <a:pt x="398" y="1191"/>
                  </a:lnTo>
                  <a:lnTo>
                    <a:pt x="398" y="1191"/>
                  </a:lnTo>
                  <a:lnTo>
                    <a:pt x="398" y="1191"/>
                  </a:lnTo>
                  <a:lnTo>
                    <a:pt x="398" y="1191"/>
                  </a:lnTo>
                  <a:lnTo>
                    <a:pt x="403" y="1187"/>
                  </a:lnTo>
                  <a:lnTo>
                    <a:pt x="403" y="1187"/>
                  </a:lnTo>
                  <a:lnTo>
                    <a:pt x="403" y="1187"/>
                  </a:lnTo>
                  <a:lnTo>
                    <a:pt x="403" y="1187"/>
                  </a:lnTo>
                  <a:lnTo>
                    <a:pt x="398" y="1187"/>
                  </a:lnTo>
                  <a:lnTo>
                    <a:pt x="398" y="1187"/>
                  </a:lnTo>
                  <a:lnTo>
                    <a:pt x="398" y="1182"/>
                  </a:lnTo>
                  <a:lnTo>
                    <a:pt x="398" y="1182"/>
                  </a:lnTo>
                  <a:lnTo>
                    <a:pt x="398" y="1182"/>
                  </a:lnTo>
                  <a:lnTo>
                    <a:pt x="398" y="1182"/>
                  </a:lnTo>
                  <a:lnTo>
                    <a:pt x="398" y="1182"/>
                  </a:lnTo>
                  <a:lnTo>
                    <a:pt x="394" y="1182"/>
                  </a:lnTo>
                  <a:lnTo>
                    <a:pt x="394" y="1182"/>
                  </a:lnTo>
                  <a:lnTo>
                    <a:pt x="394" y="1187"/>
                  </a:lnTo>
                  <a:lnTo>
                    <a:pt x="394" y="1187"/>
                  </a:lnTo>
                  <a:close/>
                  <a:moveTo>
                    <a:pt x="372" y="1182"/>
                  </a:moveTo>
                  <a:lnTo>
                    <a:pt x="376" y="1182"/>
                  </a:lnTo>
                  <a:lnTo>
                    <a:pt x="376" y="1182"/>
                  </a:lnTo>
                  <a:lnTo>
                    <a:pt x="367" y="1182"/>
                  </a:lnTo>
                  <a:lnTo>
                    <a:pt x="367" y="1182"/>
                  </a:lnTo>
                  <a:lnTo>
                    <a:pt x="367" y="1182"/>
                  </a:lnTo>
                  <a:lnTo>
                    <a:pt x="367" y="1182"/>
                  </a:lnTo>
                  <a:lnTo>
                    <a:pt x="367" y="1182"/>
                  </a:lnTo>
                  <a:lnTo>
                    <a:pt x="367" y="1187"/>
                  </a:lnTo>
                  <a:lnTo>
                    <a:pt x="367" y="1187"/>
                  </a:lnTo>
                  <a:lnTo>
                    <a:pt x="372" y="1187"/>
                  </a:lnTo>
                  <a:lnTo>
                    <a:pt x="372" y="1187"/>
                  </a:lnTo>
                  <a:lnTo>
                    <a:pt x="372" y="1187"/>
                  </a:lnTo>
                  <a:lnTo>
                    <a:pt x="372" y="1187"/>
                  </a:lnTo>
                  <a:lnTo>
                    <a:pt x="372" y="1182"/>
                  </a:lnTo>
                  <a:lnTo>
                    <a:pt x="372" y="1182"/>
                  </a:lnTo>
                  <a:lnTo>
                    <a:pt x="372" y="1182"/>
                  </a:lnTo>
                  <a:lnTo>
                    <a:pt x="372" y="1182"/>
                  </a:lnTo>
                  <a:close/>
                  <a:moveTo>
                    <a:pt x="407" y="1178"/>
                  </a:moveTo>
                  <a:lnTo>
                    <a:pt x="412" y="1178"/>
                  </a:lnTo>
                  <a:lnTo>
                    <a:pt x="412" y="1178"/>
                  </a:lnTo>
                  <a:lnTo>
                    <a:pt x="412" y="1178"/>
                  </a:lnTo>
                  <a:lnTo>
                    <a:pt x="412" y="1178"/>
                  </a:lnTo>
                  <a:lnTo>
                    <a:pt x="412" y="1173"/>
                  </a:lnTo>
                  <a:lnTo>
                    <a:pt x="407" y="1178"/>
                  </a:lnTo>
                  <a:lnTo>
                    <a:pt x="407" y="1178"/>
                  </a:lnTo>
                  <a:lnTo>
                    <a:pt x="407" y="1178"/>
                  </a:lnTo>
                  <a:lnTo>
                    <a:pt x="407" y="1178"/>
                  </a:lnTo>
                  <a:lnTo>
                    <a:pt x="407" y="1178"/>
                  </a:lnTo>
                  <a:close/>
                  <a:moveTo>
                    <a:pt x="394" y="1173"/>
                  </a:moveTo>
                  <a:lnTo>
                    <a:pt x="394" y="1169"/>
                  </a:lnTo>
                  <a:lnTo>
                    <a:pt x="394" y="1169"/>
                  </a:lnTo>
                  <a:lnTo>
                    <a:pt x="394" y="1169"/>
                  </a:lnTo>
                  <a:lnTo>
                    <a:pt x="398" y="1169"/>
                  </a:lnTo>
                  <a:lnTo>
                    <a:pt x="398" y="1169"/>
                  </a:lnTo>
                  <a:lnTo>
                    <a:pt x="398" y="1164"/>
                  </a:lnTo>
                  <a:lnTo>
                    <a:pt x="398" y="1164"/>
                  </a:lnTo>
                  <a:lnTo>
                    <a:pt x="398" y="1164"/>
                  </a:lnTo>
                  <a:lnTo>
                    <a:pt x="398" y="1164"/>
                  </a:lnTo>
                  <a:lnTo>
                    <a:pt x="398" y="1164"/>
                  </a:lnTo>
                  <a:lnTo>
                    <a:pt x="398" y="1164"/>
                  </a:lnTo>
                  <a:lnTo>
                    <a:pt x="398" y="1164"/>
                  </a:lnTo>
                  <a:lnTo>
                    <a:pt x="394" y="1164"/>
                  </a:lnTo>
                  <a:lnTo>
                    <a:pt x="394" y="1164"/>
                  </a:lnTo>
                  <a:lnTo>
                    <a:pt x="394" y="1164"/>
                  </a:lnTo>
                  <a:lnTo>
                    <a:pt x="394" y="1164"/>
                  </a:lnTo>
                  <a:lnTo>
                    <a:pt x="394" y="1169"/>
                  </a:lnTo>
                  <a:lnTo>
                    <a:pt x="390" y="1169"/>
                  </a:lnTo>
                  <a:lnTo>
                    <a:pt x="390" y="1169"/>
                  </a:lnTo>
                  <a:lnTo>
                    <a:pt x="390" y="1169"/>
                  </a:lnTo>
                  <a:lnTo>
                    <a:pt x="390" y="1169"/>
                  </a:lnTo>
                  <a:lnTo>
                    <a:pt x="390" y="1169"/>
                  </a:lnTo>
                  <a:lnTo>
                    <a:pt x="390" y="1169"/>
                  </a:lnTo>
                  <a:lnTo>
                    <a:pt x="390" y="1169"/>
                  </a:lnTo>
                  <a:lnTo>
                    <a:pt x="390" y="1169"/>
                  </a:lnTo>
                  <a:lnTo>
                    <a:pt x="394" y="1169"/>
                  </a:lnTo>
                  <a:lnTo>
                    <a:pt x="394" y="1169"/>
                  </a:lnTo>
                  <a:lnTo>
                    <a:pt x="390" y="1169"/>
                  </a:lnTo>
                  <a:lnTo>
                    <a:pt x="390" y="1169"/>
                  </a:lnTo>
                  <a:lnTo>
                    <a:pt x="390" y="1169"/>
                  </a:lnTo>
                  <a:lnTo>
                    <a:pt x="390" y="1173"/>
                  </a:lnTo>
                  <a:lnTo>
                    <a:pt x="390" y="1173"/>
                  </a:lnTo>
                  <a:lnTo>
                    <a:pt x="390" y="1173"/>
                  </a:lnTo>
                  <a:lnTo>
                    <a:pt x="390" y="1169"/>
                  </a:lnTo>
                  <a:lnTo>
                    <a:pt x="390" y="1169"/>
                  </a:lnTo>
                  <a:lnTo>
                    <a:pt x="390" y="1169"/>
                  </a:lnTo>
                  <a:lnTo>
                    <a:pt x="390" y="1169"/>
                  </a:lnTo>
                  <a:lnTo>
                    <a:pt x="390" y="1173"/>
                  </a:lnTo>
                  <a:lnTo>
                    <a:pt x="390" y="1173"/>
                  </a:lnTo>
                  <a:lnTo>
                    <a:pt x="390" y="1173"/>
                  </a:lnTo>
                  <a:lnTo>
                    <a:pt x="390" y="1173"/>
                  </a:lnTo>
                  <a:lnTo>
                    <a:pt x="390" y="1173"/>
                  </a:lnTo>
                  <a:lnTo>
                    <a:pt x="390" y="1173"/>
                  </a:lnTo>
                  <a:lnTo>
                    <a:pt x="390" y="1178"/>
                  </a:lnTo>
                  <a:lnTo>
                    <a:pt x="390" y="1178"/>
                  </a:lnTo>
                  <a:lnTo>
                    <a:pt x="390" y="1178"/>
                  </a:lnTo>
                  <a:lnTo>
                    <a:pt x="390" y="1178"/>
                  </a:lnTo>
                  <a:lnTo>
                    <a:pt x="390" y="1178"/>
                  </a:lnTo>
                  <a:lnTo>
                    <a:pt x="394" y="1178"/>
                  </a:lnTo>
                  <a:lnTo>
                    <a:pt x="394" y="1178"/>
                  </a:lnTo>
                  <a:lnTo>
                    <a:pt x="394" y="1173"/>
                  </a:lnTo>
                  <a:lnTo>
                    <a:pt x="394" y="1173"/>
                  </a:lnTo>
                  <a:lnTo>
                    <a:pt x="394" y="1173"/>
                  </a:lnTo>
                  <a:lnTo>
                    <a:pt x="394" y="1173"/>
                  </a:lnTo>
                  <a:lnTo>
                    <a:pt x="394" y="1173"/>
                  </a:lnTo>
                  <a:lnTo>
                    <a:pt x="394" y="1173"/>
                  </a:lnTo>
                  <a:lnTo>
                    <a:pt x="394" y="1173"/>
                  </a:lnTo>
                  <a:lnTo>
                    <a:pt x="394" y="1173"/>
                  </a:lnTo>
                  <a:lnTo>
                    <a:pt x="394" y="1169"/>
                  </a:lnTo>
                  <a:lnTo>
                    <a:pt x="394" y="1169"/>
                  </a:lnTo>
                  <a:lnTo>
                    <a:pt x="394" y="1173"/>
                  </a:lnTo>
                  <a:close/>
                  <a:moveTo>
                    <a:pt x="412" y="1156"/>
                  </a:moveTo>
                  <a:lnTo>
                    <a:pt x="412" y="1156"/>
                  </a:lnTo>
                  <a:lnTo>
                    <a:pt x="412" y="1156"/>
                  </a:lnTo>
                  <a:lnTo>
                    <a:pt x="412" y="1156"/>
                  </a:lnTo>
                  <a:lnTo>
                    <a:pt x="412" y="1156"/>
                  </a:lnTo>
                  <a:lnTo>
                    <a:pt x="412" y="1156"/>
                  </a:lnTo>
                  <a:lnTo>
                    <a:pt x="412" y="1156"/>
                  </a:lnTo>
                  <a:lnTo>
                    <a:pt x="412" y="1156"/>
                  </a:lnTo>
                  <a:lnTo>
                    <a:pt x="412" y="1156"/>
                  </a:lnTo>
                  <a:lnTo>
                    <a:pt x="412" y="1156"/>
                  </a:lnTo>
                  <a:lnTo>
                    <a:pt x="407" y="1160"/>
                  </a:lnTo>
                  <a:lnTo>
                    <a:pt x="407" y="1160"/>
                  </a:lnTo>
                  <a:lnTo>
                    <a:pt x="407" y="1160"/>
                  </a:lnTo>
                  <a:lnTo>
                    <a:pt x="407" y="1160"/>
                  </a:lnTo>
                  <a:lnTo>
                    <a:pt x="407" y="1160"/>
                  </a:lnTo>
                  <a:lnTo>
                    <a:pt x="407" y="1160"/>
                  </a:lnTo>
                  <a:lnTo>
                    <a:pt x="412" y="1160"/>
                  </a:lnTo>
                  <a:lnTo>
                    <a:pt x="412" y="1156"/>
                  </a:lnTo>
                  <a:lnTo>
                    <a:pt x="412" y="1156"/>
                  </a:lnTo>
                  <a:lnTo>
                    <a:pt x="412" y="1156"/>
                  </a:lnTo>
                  <a:lnTo>
                    <a:pt x="412" y="1156"/>
                  </a:lnTo>
                  <a:close/>
                  <a:moveTo>
                    <a:pt x="407" y="1160"/>
                  </a:moveTo>
                  <a:lnTo>
                    <a:pt x="403" y="1160"/>
                  </a:lnTo>
                  <a:lnTo>
                    <a:pt x="403" y="1160"/>
                  </a:lnTo>
                  <a:lnTo>
                    <a:pt x="403" y="1160"/>
                  </a:lnTo>
                  <a:lnTo>
                    <a:pt x="403" y="1160"/>
                  </a:lnTo>
                  <a:lnTo>
                    <a:pt x="403" y="1164"/>
                  </a:lnTo>
                  <a:lnTo>
                    <a:pt x="403" y="1164"/>
                  </a:lnTo>
                  <a:lnTo>
                    <a:pt x="403" y="1160"/>
                  </a:lnTo>
                  <a:lnTo>
                    <a:pt x="403" y="1160"/>
                  </a:lnTo>
                  <a:lnTo>
                    <a:pt x="403" y="1160"/>
                  </a:lnTo>
                  <a:lnTo>
                    <a:pt x="407" y="1160"/>
                  </a:lnTo>
                  <a:lnTo>
                    <a:pt x="407" y="1160"/>
                  </a:lnTo>
                  <a:lnTo>
                    <a:pt x="407" y="1160"/>
                  </a:lnTo>
                  <a:lnTo>
                    <a:pt x="407" y="1160"/>
                  </a:lnTo>
                  <a:lnTo>
                    <a:pt x="407" y="1160"/>
                  </a:lnTo>
                  <a:lnTo>
                    <a:pt x="407" y="1160"/>
                  </a:lnTo>
                  <a:lnTo>
                    <a:pt x="407" y="1156"/>
                  </a:lnTo>
                  <a:lnTo>
                    <a:pt x="412" y="1156"/>
                  </a:lnTo>
                  <a:lnTo>
                    <a:pt x="412" y="1156"/>
                  </a:lnTo>
                  <a:lnTo>
                    <a:pt x="407" y="1156"/>
                  </a:lnTo>
                  <a:lnTo>
                    <a:pt x="407" y="1160"/>
                  </a:lnTo>
                  <a:close/>
                  <a:moveTo>
                    <a:pt x="416" y="1138"/>
                  </a:moveTo>
                  <a:lnTo>
                    <a:pt x="416" y="1133"/>
                  </a:lnTo>
                  <a:lnTo>
                    <a:pt x="412" y="1133"/>
                  </a:lnTo>
                  <a:lnTo>
                    <a:pt x="412" y="1133"/>
                  </a:lnTo>
                  <a:lnTo>
                    <a:pt x="412" y="1133"/>
                  </a:lnTo>
                  <a:lnTo>
                    <a:pt x="412" y="1133"/>
                  </a:lnTo>
                  <a:lnTo>
                    <a:pt x="412" y="1133"/>
                  </a:lnTo>
                  <a:lnTo>
                    <a:pt x="412" y="1133"/>
                  </a:lnTo>
                  <a:lnTo>
                    <a:pt x="407" y="1138"/>
                  </a:lnTo>
                  <a:lnTo>
                    <a:pt x="407" y="1138"/>
                  </a:lnTo>
                  <a:lnTo>
                    <a:pt x="407" y="1142"/>
                  </a:lnTo>
                  <a:lnTo>
                    <a:pt x="412" y="1138"/>
                  </a:lnTo>
                  <a:lnTo>
                    <a:pt x="412" y="1138"/>
                  </a:lnTo>
                  <a:lnTo>
                    <a:pt x="412" y="1138"/>
                  </a:lnTo>
                  <a:lnTo>
                    <a:pt x="412" y="1138"/>
                  </a:lnTo>
                  <a:lnTo>
                    <a:pt x="412" y="1138"/>
                  </a:lnTo>
                  <a:lnTo>
                    <a:pt x="412" y="1138"/>
                  </a:lnTo>
                  <a:lnTo>
                    <a:pt x="412" y="1138"/>
                  </a:lnTo>
                  <a:lnTo>
                    <a:pt x="412" y="1138"/>
                  </a:lnTo>
                  <a:lnTo>
                    <a:pt x="416" y="1138"/>
                  </a:lnTo>
                  <a:lnTo>
                    <a:pt x="416" y="1138"/>
                  </a:lnTo>
                  <a:lnTo>
                    <a:pt x="416" y="1138"/>
                  </a:lnTo>
                  <a:lnTo>
                    <a:pt x="416" y="1138"/>
                  </a:lnTo>
                  <a:lnTo>
                    <a:pt x="416" y="1138"/>
                  </a:lnTo>
                  <a:lnTo>
                    <a:pt x="416" y="1138"/>
                  </a:lnTo>
                  <a:lnTo>
                    <a:pt x="416" y="1138"/>
                  </a:lnTo>
                  <a:lnTo>
                    <a:pt x="416" y="1138"/>
                  </a:lnTo>
                  <a:lnTo>
                    <a:pt x="416" y="1138"/>
                  </a:lnTo>
                  <a:close/>
                  <a:moveTo>
                    <a:pt x="398" y="1098"/>
                  </a:moveTo>
                  <a:lnTo>
                    <a:pt x="398" y="1098"/>
                  </a:lnTo>
                  <a:lnTo>
                    <a:pt x="398" y="1098"/>
                  </a:lnTo>
                  <a:lnTo>
                    <a:pt x="398" y="1098"/>
                  </a:lnTo>
                  <a:lnTo>
                    <a:pt x="398" y="1098"/>
                  </a:lnTo>
                  <a:lnTo>
                    <a:pt x="398" y="1102"/>
                  </a:lnTo>
                  <a:lnTo>
                    <a:pt x="398" y="1102"/>
                  </a:lnTo>
                  <a:lnTo>
                    <a:pt x="398" y="1102"/>
                  </a:lnTo>
                  <a:lnTo>
                    <a:pt x="403" y="1102"/>
                  </a:lnTo>
                  <a:lnTo>
                    <a:pt x="403" y="1102"/>
                  </a:lnTo>
                  <a:lnTo>
                    <a:pt x="403" y="1102"/>
                  </a:lnTo>
                  <a:lnTo>
                    <a:pt x="403" y="1098"/>
                  </a:lnTo>
                  <a:lnTo>
                    <a:pt x="403" y="1098"/>
                  </a:lnTo>
                  <a:lnTo>
                    <a:pt x="403" y="1098"/>
                  </a:lnTo>
                  <a:lnTo>
                    <a:pt x="403" y="1098"/>
                  </a:lnTo>
                  <a:lnTo>
                    <a:pt x="403" y="1098"/>
                  </a:lnTo>
                  <a:lnTo>
                    <a:pt x="403" y="1098"/>
                  </a:lnTo>
                  <a:lnTo>
                    <a:pt x="403" y="1098"/>
                  </a:lnTo>
                  <a:lnTo>
                    <a:pt x="403" y="1098"/>
                  </a:lnTo>
                  <a:lnTo>
                    <a:pt x="403" y="1098"/>
                  </a:lnTo>
                  <a:lnTo>
                    <a:pt x="403" y="1098"/>
                  </a:lnTo>
                  <a:lnTo>
                    <a:pt x="403" y="1098"/>
                  </a:lnTo>
                  <a:lnTo>
                    <a:pt x="403" y="1098"/>
                  </a:lnTo>
                  <a:lnTo>
                    <a:pt x="403" y="1094"/>
                  </a:lnTo>
                  <a:lnTo>
                    <a:pt x="398" y="1094"/>
                  </a:lnTo>
                  <a:lnTo>
                    <a:pt x="398" y="1094"/>
                  </a:lnTo>
                  <a:lnTo>
                    <a:pt x="398" y="1094"/>
                  </a:lnTo>
                  <a:lnTo>
                    <a:pt x="398" y="1098"/>
                  </a:lnTo>
                  <a:lnTo>
                    <a:pt x="398" y="1098"/>
                  </a:lnTo>
                  <a:lnTo>
                    <a:pt x="398" y="1098"/>
                  </a:lnTo>
                  <a:close/>
                  <a:moveTo>
                    <a:pt x="381" y="1076"/>
                  </a:moveTo>
                  <a:lnTo>
                    <a:pt x="381" y="1080"/>
                  </a:lnTo>
                  <a:lnTo>
                    <a:pt x="385" y="1080"/>
                  </a:lnTo>
                  <a:lnTo>
                    <a:pt x="390" y="1085"/>
                  </a:lnTo>
                  <a:lnTo>
                    <a:pt x="390" y="1085"/>
                  </a:lnTo>
                  <a:lnTo>
                    <a:pt x="390" y="1085"/>
                  </a:lnTo>
                  <a:lnTo>
                    <a:pt x="390" y="1085"/>
                  </a:lnTo>
                  <a:lnTo>
                    <a:pt x="390" y="1085"/>
                  </a:lnTo>
                  <a:lnTo>
                    <a:pt x="390" y="1085"/>
                  </a:lnTo>
                  <a:lnTo>
                    <a:pt x="390" y="1085"/>
                  </a:lnTo>
                  <a:lnTo>
                    <a:pt x="390" y="1085"/>
                  </a:lnTo>
                  <a:lnTo>
                    <a:pt x="390" y="1080"/>
                  </a:lnTo>
                  <a:lnTo>
                    <a:pt x="390" y="1080"/>
                  </a:lnTo>
                  <a:lnTo>
                    <a:pt x="390" y="1080"/>
                  </a:lnTo>
                  <a:lnTo>
                    <a:pt x="390" y="1080"/>
                  </a:lnTo>
                  <a:lnTo>
                    <a:pt x="390" y="1080"/>
                  </a:lnTo>
                  <a:lnTo>
                    <a:pt x="385" y="1080"/>
                  </a:lnTo>
                  <a:lnTo>
                    <a:pt x="385" y="1076"/>
                  </a:lnTo>
                  <a:lnTo>
                    <a:pt x="385" y="1072"/>
                  </a:lnTo>
                  <a:lnTo>
                    <a:pt x="385" y="1072"/>
                  </a:lnTo>
                  <a:lnTo>
                    <a:pt x="385" y="1072"/>
                  </a:lnTo>
                  <a:lnTo>
                    <a:pt x="385" y="1072"/>
                  </a:lnTo>
                  <a:lnTo>
                    <a:pt x="385" y="1072"/>
                  </a:lnTo>
                  <a:lnTo>
                    <a:pt x="385" y="1072"/>
                  </a:lnTo>
                  <a:lnTo>
                    <a:pt x="385" y="1072"/>
                  </a:lnTo>
                  <a:lnTo>
                    <a:pt x="385" y="1067"/>
                  </a:lnTo>
                  <a:lnTo>
                    <a:pt x="385" y="1067"/>
                  </a:lnTo>
                  <a:lnTo>
                    <a:pt x="385" y="1067"/>
                  </a:lnTo>
                  <a:lnTo>
                    <a:pt x="385" y="1067"/>
                  </a:lnTo>
                  <a:lnTo>
                    <a:pt x="385" y="1067"/>
                  </a:lnTo>
                  <a:lnTo>
                    <a:pt x="385" y="1067"/>
                  </a:lnTo>
                  <a:lnTo>
                    <a:pt x="385" y="1063"/>
                  </a:lnTo>
                  <a:lnTo>
                    <a:pt x="385" y="1063"/>
                  </a:lnTo>
                  <a:lnTo>
                    <a:pt x="381" y="1063"/>
                  </a:lnTo>
                  <a:lnTo>
                    <a:pt x="381" y="1063"/>
                  </a:lnTo>
                  <a:lnTo>
                    <a:pt x="381" y="1063"/>
                  </a:lnTo>
                  <a:lnTo>
                    <a:pt x="381" y="1067"/>
                  </a:lnTo>
                  <a:lnTo>
                    <a:pt x="381" y="1067"/>
                  </a:lnTo>
                  <a:lnTo>
                    <a:pt x="381" y="1072"/>
                  </a:lnTo>
                  <a:lnTo>
                    <a:pt x="381" y="1076"/>
                  </a:lnTo>
                  <a:close/>
                  <a:moveTo>
                    <a:pt x="367" y="819"/>
                  </a:moveTo>
                  <a:lnTo>
                    <a:pt x="367" y="819"/>
                  </a:lnTo>
                  <a:lnTo>
                    <a:pt x="367" y="819"/>
                  </a:lnTo>
                  <a:lnTo>
                    <a:pt x="367" y="819"/>
                  </a:lnTo>
                  <a:lnTo>
                    <a:pt x="372" y="819"/>
                  </a:lnTo>
                  <a:lnTo>
                    <a:pt x="372" y="815"/>
                  </a:lnTo>
                  <a:lnTo>
                    <a:pt x="372" y="815"/>
                  </a:lnTo>
                  <a:lnTo>
                    <a:pt x="367" y="815"/>
                  </a:lnTo>
                  <a:lnTo>
                    <a:pt x="367" y="815"/>
                  </a:lnTo>
                  <a:lnTo>
                    <a:pt x="367" y="815"/>
                  </a:lnTo>
                  <a:lnTo>
                    <a:pt x="367" y="815"/>
                  </a:lnTo>
                  <a:lnTo>
                    <a:pt x="367" y="815"/>
                  </a:lnTo>
                  <a:lnTo>
                    <a:pt x="363" y="815"/>
                  </a:lnTo>
                  <a:lnTo>
                    <a:pt x="363" y="815"/>
                  </a:lnTo>
                  <a:lnTo>
                    <a:pt x="363" y="815"/>
                  </a:lnTo>
                  <a:lnTo>
                    <a:pt x="363" y="819"/>
                  </a:lnTo>
                  <a:lnTo>
                    <a:pt x="363" y="819"/>
                  </a:lnTo>
                  <a:lnTo>
                    <a:pt x="363" y="819"/>
                  </a:lnTo>
                  <a:lnTo>
                    <a:pt x="363" y="824"/>
                  </a:lnTo>
                  <a:lnTo>
                    <a:pt x="367" y="824"/>
                  </a:lnTo>
                  <a:lnTo>
                    <a:pt x="367" y="824"/>
                  </a:lnTo>
                  <a:lnTo>
                    <a:pt x="367" y="824"/>
                  </a:lnTo>
                  <a:lnTo>
                    <a:pt x="367" y="819"/>
                  </a:lnTo>
                  <a:lnTo>
                    <a:pt x="367" y="819"/>
                  </a:lnTo>
                  <a:lnTo>
                    <a:pt x="367" y="819"/>
                  </a:lnTo>
                  <a:lnTo>
                    <a:pt x="367" y="819"/>
                  </a:lnTo>
                  <a:close/>
                  <a:moveTo>
                    <a:pt x="514" y="708"/>
                  </a:moveTo>
                  <a:lnTo>
                    <a:pt x="509" y="708"/>
                  </a:lnTo>
                  <a:lnTo>
                    <a:pt x="509" y="713"/>
                  </a:lnTo>
                  <a:lnTo>
                    <a:pt x="514" y="713"/>
                  </a:lnTo>
                  <a:lnTo>
                    <a:pt x="514" y="708"/>
                  </a:lnTo>
                  <a:lnTo>
                    <a:pt x="514" y="708"/>
                  </a:lnTo>
                  <a:lnTo>
                    <a:pt x="514" y="708"/>
                  </a:lnTo>
                  <a:lnTo>
                    <a:pt x="514" y="708"/>
                  </a:lnTo>
                  <a:lnTo>
                    <a:pt x="514" y="708"/>
                  </a:lnTo>
                  <a:close/>
                  <a:moveTo>
                    <a:pt x="514" y="695"/>
                  </a:moveTo>
                  <a:lnTo>
                    <a:pt x="514" y="700"/>
                  </a:lnTo>
                  <a:lnTo>
                    <a:pt x="514" y="700"/>
                  </a:lnTo>
                  <a:lnTo>
                    <a:pt x="514" y="700"/>
                  </a:lnTo>
                  <a:lnTo>
                    <a:pt x="514" y="700"/>
                  </a:lnTo>
                  <a:lnTo>
                    <a:pt x="514" y="704"/>
                  </a:lnTo>
                  <a:lnTo>
                    <a:pt x="514" y="708"/>
                  </a:lnTo>
                  <a:lnTo>
                    <a:pt x="514" y="704"/>
                  </a:lnTo>
                  <a:lnTo>
                    <a:pt x="514" y="704"/>
                  </a:lnTo>
                  <a:lnTo>
                    <a:pt x="514" y="704"/>
                  </a:lnTo>
                  <a:lnTo>
                    <a:pt x="514" y="704"/>
                  </a:lnTo>
                  <a:lnTo>
                    <a:pt x="518" y="704"/>
                  </a:lnTo>
                  <a:lnTo>
                    <a:pt x="518" y="704"/>
                  </a:lnTo>
                  <a:lnTo>
                    <a:pt x="518" y="700"/>
                  </a:lnTo>
                  <a:lnTo>
                    <a:pt x="518" y="700"/>
                  </a:lnTo>
                  <a:lnTo>
                    <a:pt x="518" y="700"/>
                  </a:lnTo>
                  <a:lnTo>
                    <a:pt x="518" y="700"/>
                  </a:lnTo>
                  <a:lnTo>
                    <a:pt x="518" y="700"/>
                  </a:lnTo>
                  <a:lnTo>
                    <a:pt x="518" y="695"/>
                  </a:lnTo>
                  <a:lnTo>
                    <a:pt x="518" y="695"/>
                  </a:lnTo>
                  <a:lnTo>
                    <a:pt x="518" y="695"/>
                  </a:lnTo>
                  <a:lnTo>
                    <a:pt x="518" y="695"/>
                  </a:lnTo>
                  <a:lnTo>
                    <a:pt x="518" y="695"/>
                  </a:lnTo>
                  <a:lnTo>
                    <a:pt x="518" y="695"/>
                  </a:lnTo>
                  <a:lnTo>
                    <a:pt x="514" y="695"/>
                  </a:lnTo>
                  <a:close/>
                  <a:moveTo>
                    <a:pt x="514" y="695"/>
                  </a:moveTo>
                  <a:lnTo>
                    <a:pt x="514" y="695"/>
                  </a:lnTo>
                  <a:lnTo>
                    <a:pt x="514" y="691"/>
                  </a:lnTo>
                  <a:lnTo>
                    <a:pt x="514" y="695"/>
                  </a:lnTo>
                  <a:lnTo>
                    <a:pt x="514" y="695"/>
                  </a:lnTo>
                  <a:lnTo>
                    <a:pt x="514" y="695"/>
                  </a:lnTo>
                  <a:lnTo>
                    <a:pt x="514" y="695"/>
                  </a:lnTo>
                  <a:lnTo>
                    <a:pt x="514" y="695"/>
                  </a:lnTo>
                  <a:lnTo>
                    <a:pt x="514" y="700"/>
                  </a:lnTo>
                  <a:lnTo>
                    <a:pt x="514" y="695"/>
                  </a:lnTo>
                  <a:close/>
                  <a:moveTo>
                    <a:pt x="593" y="487"/>
                  </a:moveTo>
                  <a:lnTo>
                    <a:pt x="593" y="487"/>
                  </a:lnTo>
                  <a:lnTo>
                    <a:pt x="593" y="492"/>
                  </a:lnTo>
                  <a:lnTo>
                    <a:pt x="589" y="492"/>
                  </a:lnTo>
                  <a:lnTo>
                    <a:pt x="589" y="492"/>
                  </a:lnTo>
                  <a:lnTo>
                    <a:pt x="589" y="487"/>
                  </a:lnTo>
                  <a:lnTo>
                    <a:pt x="589" y="487"/>
                  </a:lnTo>
                  <a:lnTo>
                    <a:pt x="589" y="487"/>
                  </a:lnTo>
                  <a:lnTo>
                    <a:pt x="589" y="492"/>
                  </a:lnTo>
                  <a:lnTo>
                    <a:pt x="589" y="492"/>
                  </a:lnTo>
                  <a:lnTo>
                    <a:pt x="589" y="492"/>
                  </a:lnTo>
                  <a:lnTo>
                    <a:pt x="593" y="492"/>
                  </a:lnTo>
                  <a:lnTo>
                    <a:pt x="593" y="492"/>
                  </a:lnTo>
                  <a:lnTo>
                    <a:pt x="593" y="492"/>
                  </a:lnTo>
                  <a:lnTo>
                    <a:pt x="593" y="492"/>
                  </a:lnTo>
                  <a:lnTo>
                    <a:pt x="593" y="487"/>
                  </a:lnTo>
                  <a:lnTo>
                    <a:pt x="593" y="487"/>
                  </a:lnTo>
                  <a:close/>
                  <a:moveTo>
                    <a:pt x="584" y="492"/>
                  </a:moveTo>
                  <a:lnTo>
                    <a:pt x="584" y="492"/>
                  </a:lnTo>
                  <a:lnTo>
                    <a:pt x="584" y="492"/>
                  </a:lnTo>
                  <a:lnTo>
                    <a:pt x="584" y="487"/>
                  </a:lnTo>
                  <a:lnTo>
                    <a:pt x="584" y="487"/>
                  </a:lnTo>
                  <a:lnTo>
                    <a:pt x="584" y="487"/>
                  </a:lnTo>
                  <a:lnTo>
                    <a:pt x="580" y="487"/>
                  </a:lnTo>
                  <a:lnTo>
                    <a:pt x="580" y="487"/>
                  </a:lnTo>
                  <a:lnTo>
                    <a:pt x="580" y="487"/>
                  </a:lnTo>
                  <a:lnTo>
                    <a:pt x="580" y="487"/>
                  </a:lnTo>
                  <a:lnTo>
                    <a:pt x="580" y="487"/>
                  </a:lnTo>
                  <a:lnTo>
                    <a:pt x="580" y="492"/>
                  </a:lnTo>
                  <a:lnTo>
                    <a:pt x="580" y="492"/>
                  </a:lnTo>
                  <a:lnTo>
                    <a:pt x="580" y="492"/>
                  </a:lnTo>
                  <a:lnTo>
                    <a:pt x="584" y="492"/>
                  </a:lnTo>
                  <a:lnTo>
                    <a:pt x="584" y="492"/>
                  </a:lnTo>
                  <a:lnTo>
                    <a:pt x="584" y="492"/>
                  </a:lnTo>
                  <a:lnTo>
                    <a:pt x="584" y="492"/>
                  </a:lnTo>
                  <a:lnTo>
                    <a:pt x="584" y="492"/>
                  </a:lnTo>
                  <a:lnTo>
                    <a:pt x="584" y="492"/>
                  </a:lnTo>
                  <a:lnTo>
                    <a:pt x="584" y="492"/>
                  </a:lnTo>
                  <a:close/>
                  <a:moveTo>
                    <a:pt x="602" y="478"/>
                  </a:moveTo>
                  <a:lnTo>
                    <a:pt x="602" y="478"/>
                  </a:lnTo>
                  <a:lnTo>
                    <a:pt x="602" y="478"/>
                  </a:lnTo>
                  <a:lnTo>
                    <a:pt x="602" y="478"/>
                  </a:lnTo>
                  <a:lnTo>
                    <a:pt x="602" y="478"/>
                  </a:lnTo>
                  <a:lnTo>
                    <a:pt x="602" y="483"/>
                  </a:lnTo>
                  <a:lnTo>
                    <a:pt x="602" y="483"/>
                  </a:lnTo>
                  <a:lnTo>
                    <a:pt x="607" y="483"/>
                  </a:lnTo>
                  <a:lnTo>
                    <a:pt x="607" y="483"/>
                  </a:lnTo>
                  <a:lnTo>
                    <a:pt x="607" y="483"/>
                  </a:lnTo>
                  <a:lnTo>
                    <a:pt x="607" y="478"/>
                  </a:lnTo>
                  <a:lnTo>
                    <a:pt x="602" y="478"/>
                  </a:lnTo>
                  <a:close/>
                  <a:moveTo>
                    <a:pt x="589" y="487"/>
                  </a:moveTo>
                  <a:lnTo>
                    <a:pt x="589" y="483"/>
                  </a:lnTo>
                  <a:lnTo>
                    <a:pt x="589" y="483"/>
                  </a:lnTo>
                  <a:lnTo>
                    <a:pt x="589" y="483"/>
                  </a:lnTo>
                  <a:lnTo>
                    <a:pt x="589" y="483"/>
                  </a:lnTo>
                  <a:lnTo>
                    <a:pt x="589" y="483"/>
                  </a:lnTo>
                  <a:lnTo>
                    <a:pt x="589" y="483"/>
                  </a:lnTo>
                  <a:lnTo>
                    <a:pt x="589" y="483"/>
                  </a:lnTo>
                  <a:lnTo>
                    <a:pt x="589" y="483"/>
                  </a:lnTo>
                  <a:lnTo>
                    <a:pt x="589" y="483"/>
                  </a:lnTo>
                  <a:lnTo>
                    <a:pt x="589" y="483"/>
                  </a:lnTo>
                  <a:lnTo>
                    <a:pt x="589" y="483"/>
                  </a:lnTo>
                  <a:lnTo>
                    <a:pt x="593" y="483"/>
                  </a:lnTo>
                  <a:lnTo>
                    <a:pt x="593" y="483"/>
                  </a:lnTo>
                  <a:lnTo>
                    <a:pt x="589" y="483"/>
                  </a:lnTo>
                  <a:lnTo>
                    <a:pt x="589" y="483"/>
                  </a:lnTo>
                  <a:lnTo>
                    <a:pt x="589" y="478"/>
                  </a:lnTo>
                  <a:lnTo>
                    <a:pt x="589" y="478"/>
                  </a:lnTo>
                  <a:lnTo>
                    <a:pt x="589" y="478"/>
                  </a:lnTo>
                  <a:lnTo>
                    <a:pt x="584" y="478"/>
                  </a:lnTo>
                  <a:lnTo>
                    <a:pt x="584" y="478"/>
                  </a:lnTo>
                  <a:lnTo>
                    <a:pt x="584" y="478"/>
                  </a:lnTo>
                  <a:lnTo>
                    <a:pt x="584" y="478"/>
                  </a:lnTo>
                  <a:lnTo>
                    <a:pt x="584" y="478"/>
                  </a:lnTo>
                  <a:lnTo>
                    <a:pt x="584" y="483"/>
                  </a:lnTo>
                  <a:lnTo>
                    <a:pt x="584" y="487"/>
                  </a:lnTo>
                  <a:lnTo>
                    <a:pt x="589" y="487"/>
                  </a:lnTo>
                  <a:lnTo>
                    <a:pt x="589" y="487"/>
                  </a:lnTo>
                  <a:lnTo>
                    <a:pt x="589" y="487"/>
                  </a:lnTo>
                  <a:close/>
                  <a:moveTo>
                    <a:pt x="602" y="474"/>
                  </a:moveTo>
                  <a:lnTo>
                    <a:pt x="602" y="474"/>
                  </a:lnTo>
                  <a:lnTo>
                    <a:pt x="602" y="474"/>
                  </a:lnTo>
                  <a:lnTo>
                    <a:pt x="602" y="474"/>
                  </a:lnTo>
                  <a:lnTo>
                    <a:pt x="602" y="474"/>
                  </a:lnTo>
                  <a:lnTo>
                    <a:pt x="602" y="474"/>
                  </a:lnTo>
                  <a:lnTo>
                    <a:pt x="602" y="474"/>
                  </a:lnTo>
                  <a:lnTo>
                    <a:pt x="602" y="478"/>
                  </a:lnTo>
                  <a:lnTo>
                    <a:pt x="602" y="478"/>
                  </a:lnTo>
                  <a:lnTo>
                    <a:pt x="602" y="474"/>
                  </a:lnTo>
                  <a:lnTo>
                    <a:pt x="602" y="474"/>
                  </a:lnTo>
                  <a:lnTo>
                    <a:pt x="602" y="478"/>
                  </a:lnTo>
                  <a:lnTo>
                    <a:pt x="602" y="478"/>
                  </a:lnTo>
                  <a:lnTo>
                    <a:pt x="607" y="474"/>
                  </a:lnTo>
                  <a:lnTo>
                    <a:pt x="607" y="474"/>
                  </a:lnTo>
                  <a:lnTo>
                    <a:pt x="607" y="474"/>
                  </a:lnTo>
                  <a:lnTo>
                    <a:pt x="607" y="474"/>
                  </a:lnTo>
                  <a:lnTo>
                    <a:pt x="607" y="474"/>
                  </a:lnTo>
                  <a:lnTo>
                    <a:pt x="607" y="474"/>
                  </a:lnTo>
                  <a:lnTo>
                    <a:pt x="607" y="469"/>
                  </a:lnTo>
                  <a:lnTo>
                    <a:pt x="602" y="474"/>
                  </a:lnTo>
                  <a:close/>
                  <a:moveTo>
                    <a:pt x="602" y="469"/>
                  </a:moveTo>
                  <a:lnTo>
                    <a:pt x="607" y="469"/>
                  </a:lnTo>
                  <a:lnTo>
                    <a:pt x="602" y="469"/>
                  </a:lnTo>
                  <a:lnTo>
                    <a:pt x="602" y="469"/>
                  </a:lnTo>
                  <a:lnTo>
                    <a:pt x="602" y="469"/>
                  </a:lnTo>
                  <a:lnTo>
                    <a:pt x="602" y="469"/>
                  </a:lnTo>
                  <a:lnTo>
                    <a:pt x="602" y="469"/>
                  </a:lnTo>
                  <a:lnTo>
                    <a:pt x="602" y="469"/>
                  </a:lnTo>
                  <a:close/>
                  <a:moveTo>
                    <a:pt x="624" y="456"/>
                  </a:moveTo>
                  <a:lnTo>
                    <a:pt x="624" y="456"/>
                  </a:lnTo>
                  <a:lnTo>
                    <a:pt x="624" y="456"/>
                  </a:lnTo>
                  <a:lnTo>
                    <a:pt x="624" y="456"/>
                  </a:lnTo>
                  <a:lnTo>
                    <a:pt x="624" y="452"/>
                  </a:lnTo>
                  <a:lnTo>
                    <a:pt x="620" y="452"/>
                  </a:lnTo>
                  <a:lnTo>
                    <a:pt x="620" y="452"/>
                  </a:lnTo>
                  <a:lnTo>
                    <a:pt x="620" y="452"/>
                  </a:lnTo>
                  <a:lnTo>
                    <a:pt x="620" y="456"/>
                  </a:lnTo>
                  <a:lnTo>
                    <a:pt x="620" y="456"/>
                  </a:lnTo>
                  <a:lnTo>
                    <a:pt x="620" y="461"/>
                  </a:lnTo>
                  <a:lnTo>
                    <a:pt x="624" y="461"/>
                  </a:lnTo>
                  <a:lnTo>
                    <a:pt x="624" y="461"/>
                  </a:lnTo>
                  <a:lnTo>
                    <a:pt x="624" y="461"/>
                  </a:lnTo>
                  <a:lnTo>
                    <a:pt x="624" y="461"/>
                  </a:lnTo>
                  <a:lnTo>
                    <a:pt x="624" y="456"/>
                  </a:lnTo>
                  <a:lnTo>
                    <a:pt x="624" y="456"/>
                  </a:lnTo>
                  <a:lnTo>
                    <a:pt x="624" y="461"/>
                  </a:lnTo>
                  <a:lnTo>
                    <a:pt x="624" y="456"/>
                  </a:lnTo>
                  <a:lnTo>
                    <a:pt x="624" y="456"/>
                  </a:lnTo>
                  <a:lnTo>
                    <a:pt x="624" y="456"/>
                  </a:lnTo>
                  <a:close/>
                  <a:moveTo>
                    <a:pt x="615" y="452"/>
                  </a:moveTo>
                  <a:lnTo>
                    <a:pt x="611" y="447"/>
                  </a:lnTo>
                  <a:lnTo>
                    <a:pt x="611" y="447"/>
                  </a:lnTo>
                  <a:lnTo>
                    <a:pt x="611" y="452"/>
                  </a:lnTo>
                  <a:lnTo>
                    <a:pt x="611" y="452"/>
                  </a:lnTo>
                  <a:lnTo>
                    <a:pt x="611" y="452"/>
                  </a:lnTo>
                  <a:lnTo>
                    <a:pt x="611" y="456"/>
                  </a:lnTo>
                  <a:lnTo>
                    <a:pt x="611" y="456"/>
                  </a:lnTo>
                  <a:lnTo>
                    <a:pt x="611" y="456"/>
                  </a:lnTo>
                  <a:lnTo>
                    <a:pt x="611" y="456"/>
                  </a:lnTo>
                  <a:lnTo>
                    <a:pt x="615" y="456"/>
                  </a:lnTo>
                  <a:lnTo>
                    <a:pt x="615" y="456"/>
                  </a:lnTo>
                  <a:lnTo>
                    <a:pt x="615" y="452"/>
                  </a:lnTo>
                  <a:lnTo>
                    <a:pt x="615" y="452"/>
                  </a:lnTo>
                  <a:close/>
                  <a:moveTo>
                    <a:pt x="686" y="434"/>
                  </a:moveTo>
                  <a:lnTo>
                    <a:pt x="682" y="430"/>
                  </a:lnTo>
                  <a:lnTo>
                    <a:pt x="682" y="430"/>
                  </a:lnTo>
                  <a:lnTo>
                    <a:pt x="682" y="425"/>
                  </a:lnTo>
                  <a:lnTo>
                    <a:pt x="682" y="425"/>
                  </a:lnTo>
                  <a:lnTo>
                    <a:pt x="682" y="421"/>
                  </a:lnTo>
                  <a:lnTo>
                    <a:pt x="682" y="416"/>
                  </a:lnTo>
                  <a:lnTo>
                    <a:pt x="677" y="412"/>
                  </a:lnTo>
                  <a:lnTo>
                    <a:pt x="677" y="412"/>
                  </a:lnTo>
                  <a:lnTo>
                    <a:pt x="677" y="412"/>
                  </a:lnTo>
                  <a:lnTo>
                    <a:pt x="677" y="407"/>
                  </a:lnTo>
                  <a:lnTo>
                    <a:pt x="677" y="407"/>
                  </a:lnTo>
                  <a:lnTo>
                    <a:pt x="673" y="399"/>
                  </a:lnTo>
                  <a:lnTo>
                    <a:pt x="673" y="399"/>
                  </a:lnTo>
                  <a:lnTo>
                    <a:pt x="668" y="394"/>
                  </a:lnTo>
                  <a:lnTo>
                    <a:pt x="664" y="394"/>
                  </a:lnTo>
                  <a:lnTo>
                    <a:pt x="664" y="394"/>
                  </a:lnTo>
                  <a:lnTo>
                    <a:pt x="660" y="385"/>
                  </a:lnTo>
                  <a:lnTo>
                    <a:pt x="660" y="381"/>
                  </a:lnTo>
                  <a:lnTo>
                    <a:pt x="660" y="381"/>
                  </a:lnTo>
                  <a:lnTo>
                    <a:pt x="660" y="376"/>
                  </a:lnTo>
                  <a:lnTo>
                    <a:pt x="660" y="376"/>
                  </a:lnTo>
                  <a:lnTo>
                    <a:pt x="660" y="376"/>
                  </a:lnTo>
                  <a:lnTo>
                    <a:pt x="660" y="372"/>
                  </a:lnTo>
                  <a:lnTo>
                    <a:pt x="660" y="372"/>
                  </a:lnTo>
                  <a:lnTo>
                    <a:pt x="660" y="368"/>
                  </a:lnTo>
                  <a:lnTo>
                    <a:pt x="660" y="368"/>
                  </a:lnTo>
                  <a:lnTo>
                    <a:pt x="660" y="368"/>
                  </a:lnTo>
                  <a:lnTo>
                    <a:pt x="660" y="363"/>
                  </a:lnTo>
                  <a:lnTo>
                    <a:pt x="660" y="363"/>
                  </a:lnTo>
                  <a:lnTo>
                    <a:pt x="660" y="359"/>
                  </a:lnTo>
                  <a:lnTo>
                    <a:pt x="660" y="359"/>
                  </a:lnTo>
                  <a:lnTo>
                    <a:pt x="664" y="354"/>
                  </a:lnTo>
                  <a:lnTo>
                    <a:pt x="664" y="354"/>
                  </a:lnTo>
                  <a:lnTo>
                    <a:pt x="664" y="354"/>
                  </a:lnTo>
                  <a:lnTo>
                    <a:pt x="664" y="354"/>
                  </a:lnTo>
                  <a:lnTo>
                    <a:pt x="668" y="350"/>
                  </a:lnTo>
                  <a:lnTo>
                    <a:pt x="668" y="350"/>
                  </a:lnTo>
                  <a:lnTo>
                    <a:pt x="668" y="350"/>
                  </a:lnTo>
                  <a:lnTo>
                    <a:pt x="668" y="345"/>
                  </a:lnTo>
                  <a:lnTo>
                    <a:pt x="673" y="345"/>
                  </a:lnTo>
                  <a:lnTo>
                    <a:pt x="673" y="341"/>
                  </a:lnTo>
                  <a:lnTo>
                    <a:pt x="673" y="341"/>
                  </a:lnTo>
                  <a:lnTo>
                    <a:pt x="673" y="337"/>
                  </a:lnTo>
                  <a:lnTo>
                    <a:pt x="673" y="337"/>
                  </a:lnTo>
                  <a:lnTo>
                    <a:pt x="673" y="332"/>
                  </a:lnTo>
                  <a:lnTo>
                    <a:pt x="673" y="332"/>
                  </a:lnTo>
                  <a:lnTo>
                    <a:pt x="673" y="328"/>
                  </a:lnTo>
                  <a:lnTo>
                    <a:pt x="673" y="328"/>
                  </a:lnTo>
                  <a:lnTo>
                    <a:pt x="673" y="323"/>
                  </a:lnTo>
                  <a:lnTo>
                    <a:pt x="673" y="319"/>
                  </a:lnTo>
                  <a:lnTo>
                    <a:pt x="673" y="319"/>
                  </a:lnTo>
                  <a:lnTo>
                    <a:pt x="673" y="314"/>
                  </a:lnTo>
                  <a:lnTo>
                    <a:pt x="677" y="314"/>
                  </a:lnTo>
                  <a:lnTo>
                    <a:pt x="677" y="314"/>
                  </a:lnTo>
                  <a:lnTo>
                    <a:pt x="677" y="314"/>
                  </a:lnTo>
                  <a:lnTo>
                    <a:pt x="677" y="314"/>
                  </a:lnTo>
                  <a:lnTo>
                    <a:pt x="677" y="310"/>
                  </a:lnTo>
                  <a:lnTo>
                    <a:pt x="677" y="306"/>
                  </a:lnTo>
                  <a:lnTo>
                    <a:pt x="673" y="301"/>
                  </a:lnTo>
                  <a:lnTo>
                    <a:pt x="673" y="301"/>
                  </a:lnTo>
                  <a:lnTo>
                    <a:pt x="673" y="297"/>
                  </a:lnTo>
                  <a:lnTo>
                    <a:pt x="668" y="292"/>
                  </a:lnTo>
                  <a:lnTo>
                    <a:pt x="668" y="288"/>
                  </a:lnTo>
                  <a:lnTo>
                    <a:pt x="664" y="288"/>
                  </a:lnTo>
                  <a:lnTo>
                    <a:pt x="664" y="288"/>
                  </a:lnTo>
                  <a:lnTo>
                    <a:pt x="664" y="283"/>
                  </a:lnTo>
                  <a:lnTo>
                    <a:pt x="660" y="279"/>
                  </a:lnTo>
                  <a:lnTo>
                    <a:pt x="660" y="279"/>
                  </a:lnTo>
                  <a:lnTo>
                    <a:pt x="660" y="279"/>
                  </a:lnTo>
                  <a:lnTo>
                    <a:pt x="660" y="279"/>
                  </a:lnTo>
                  <a:lnTo>
                    <a:pt x="660" y="275"/>
                  </a:lnTo>
                  <a:lnTo>
                    <a:pt x="660" y="275"/>
                  </a:lnTo>
                  <a:lnTo>
                    <a:pt x="660" y="275"/>
                  </a:lnTo>
                  <a:lnTo>
                    <a:pt x="660" y="270"/>
                  </a:lnTo>
                  <a:lnTo>
                    <a:pt x="660" y="270"/>
                  </a:lnTo>
                  <a:lnTo>
                    <a:pt x="655" y="270"/>
                  </a:lnTo>
                  <a:lnTo>
                    <a:pt x="655" y="266"/>
                  </a:lnTo>
                  <a:lnTo>
                    <a:pt x="655" y="261"/>
                  </a:lnTo>
                  <a:lnTo>
                    <a:pt x="655" y="261"/>
                  </a:lnTo>
                  <a:lnTo>
                    <a:pt x="655" y="261"/>
                  </a:lnTo>
                  <a:lnTo>
                    <a:pt x="655" y="261"/>
                  </a:lnTo>
                  <a:lnTo>
                    <a:pt x="660" y="257"/>
                  </a:lnTo>
                  <a:lnTo>
                    <a:pt x="655" y="257"/>
                  </a:lnTo>
                  <a:lnTo>
                    <a:pt x="655" y="257"/>
                  </a:lnTo>
                  <a:lnTo>
                    <a:pt x="655" y="252"/>
                  </a:lnTo>
                  <a:lnTo>
                    <a:pt x="655" y="252"/>
                  </a:lnTo>
                  <a:lnTo>
                    <a:pt x="660" y="252"/>
                  </a:lnTo>
                  <a:lnTo>
                    <a:pt x="664" y="248"/>
                  </a:lnTo>
                  <a:lnTo>
                    <a:pt x="664" y="244"/>
                  </a:lnTo>
                  <a:lnTo>
                    <a:pt x="668" y="239"/>
                  </a:lnTo>
                  <a:lnTo>
                    <a:pt x="664" y="239"/>
                  </a:lnTo>
                  <a:lnTo>
                    <a:pt x="664" y="235"/>
                  </a:lnTo>
                  <a:lnTo>
                    <a:pt x="664" y="235"/>
                  </a:lnTo>
                  <a:lnTo>
                    <a:pt x="664" y="230"/>
                  </a:lnTo>
                  <a:lnTo>
                    <a:pt x="664" y="230"/>
                  </a:lnTo>
                  <a:lnTo>
                    <a:pt x="664" y="230"/>
                  </a:lnTo>
                  <a:lnTo>
                    <a:pt x="660" y="226"/>
                  </a:lnTo>
                  <a:lnTo>
                    <a:pt x="655" y="226"/>
                  </a:lnTo>
                  <a:lnTo>
                    <a:pt x="655" y="226"/>
                  </a:lnTo>
                  <a:lnTo>
                    <a:pt x="651" y="226"/>
                  </a:lnTo>
                  <a:lnTo>
                    <a:pt x="651" y="226"/>
                  </a:lnTo>
                  <a:lnTo>
                    <a:pt x="651" y="226"/>
                  </a:lnTo>
                  <a:lnTo>
                    <a:pt x="646" y="221"/>
                  </a:lnTo>
                  <a:lnTo>
                    <a:pt x="651" y="217"/>
                  </a:lnTo>
                  <a:lnTo>
                    <a:pt x="651" y="217"/>
                  </a:lnTo>
                  <a:lnTo>
                    <a:pt x="651" y="213"/>
                  </a:lnTo>
                  <a:lnTo>
                    <a:pt x="651" y="213"/>
                  </a:lnTo>
                  <a:lnTo>
                    <a:pt x="651" y="208"/>
                  </a:lnTo>
                  <a:lnTo>
                    <a:pt x="655" y="208"/>
                  </a:lnTo>
                  <a:lnTo>
                    <a:pt x="655" y="208"/>
                  </a:lnTo>
                  <a:lnTo>
                    <a:pt x="655" y="204"/>
                  </a:lnTo>
                  <a:lnTo>
                    <a:pt x="655" y="199"/>
                  </a:lnTo>
                  <a:lnTo>
                    <a:pt x="651" y="199"/>
                  </a:lnTo>
                  <a:lnTo>
                    <a:pt x="651" y="195"/>
                  </a:lnTo>
                  <a:lnTo>
                    <a:pt x="651" y="190"/>
                  </a:lnTo>
                  <a:lnTo>
                    <a:pt x="651" y="186"/>
                  </a:lnTo>
                  <a:lnTo>
                    <a:pt x="651" y="186"/>
                  </a:lnTo>
                  <a:lnTo>
                    <a:pt x="651" y="177"/>
                  </a:lnTo>
                  <a:lnTo>
                    <a:pt x="651" y="173"/>
                  </a:lnTo>
                  <a:lnTo>
                    <a:pt x="651" y="173"/>
                  </a:lnTo>
                  <a:lnTo>
                    <a:pt x="651" y="168"/>
                  </a:lnTo>
                  <a:lnTo>
                    <a:pt x="651" y="164"/>
                  </a:lnTo>
                  <a:lnTo>
                    <a:pt x="655" y="164"/>
                  </a:lnTo>
                  <a:lnTo>
                    <a:pt x="655" y="164"/>
                  </a:lnTo>
                  <a:lnTo>
                    <a:pt x="660" y="159"/>
                  </a:lnTo>
                  <a:lnTo>
                    <a:pt x="660" y="159"/>
                  </a:lnTo>
                  <a:lnTo>
                    <a:pt x="660" y="155"/>
                  </a:lnTo>
                  <a:lnTo>
                    <a:pt x="660" y="155"/>
                  </a:lnTo>
                  <a:lnTo>
                    <a:pt x="655" y="155"/>
                  </a:lnTo>
                  <a:lnTo>
                    <a:pt x="651" y="146"/>
                  </a:lnTo>
                  <a:lnTo>
                    <a:pt x="651" y="146"/>
                  </a:lnTo>
                  <a:lnTo>
                    <a:pt x="646" y="142"/>
                  </a:lnTo>
                  <a:lnTo>
                    <a:pt x="646" y="142"/>
                  </a:lnTo>
                  <a:lnTo>
                    <a:pt x="646" y="142"/>
                  </a:lnTo>
                  <a:lnTo>
                    <a:pt x="642" y="133"/>
                  </a:lnTo>
                  <a:lnTo>
                    <a:pt x="642" y="128"/>
                  </a:lnTo>
                  <a:lnTo>
                    <a:pt x="642" y="128"/>
                  </a:lnTo>
                  <a:lnTo>
                    <a:pt x="637" y="128"/>
                  </a:lnTo>
                  <a:lnTo>
                    <a:pt x="633" y="133"/>
                  </a:lnTo>
                  <a:lnTo>
                    <a:pt x="633" y="133"/>
                  </a:lnTo>
                  <a:lnTo>
                    <a:pt x="633" y="133"/>
                  </a:lnTo>
                  <a:lnTo>
                    <a:pt x="633" y="133"/>
                  </a:lnTo>
                  <a:lnTo>
                    <a:pt x="633" y="133"/>
                  </a:lnTo>
                  <a:lnTo>
                    <a:pt x="633" y="128"/>
                  </a:lnTo>
                  <a:lnTo>
                    <a:pt x="633" y="128"/>
                  </a:lnTo>
                  <a:lnTo>
                    <a:pt x="633" y="128"/>
                  </a:lnTo>
                  <a:lnTo>
                    <a:pt x="633" y="124"/>
                  </a:lnTo>
                  <a:lnTo>
                    <a:pt x="633" y="124"/>
                  </a:lnTo>
                  <a:lnTo>
                    <a:pt x="633" y="124"/>
                  </a:lnTo>
                  <a:lnTo>
                    <a:pt x="633" y="120"/>
                  </a:lnTo>
                  <a:lnTo>
                    <a:pt x="633" y="115"/>
                  </a:lnTo>
                  <a:lnTo>
                    <a:pt x="629" y="115"/>
                  </a:lnTo>
                  <a:lnTo>
                    <a:pt x="629" y="111"/>
                  </a:lnTo>
                  <a:lnTo>
                    <a:pt x="629" y="111"/>
                  </a:lnTo>
                  <a:lnTo>
                    <a:pt x="629" y="111"/>
                  </a:lnTo>
                  <a:lnTo>
                    <a:pt x="629" y="106"/>
                  </a:lnTo>
                  <a:lnTo>
                    <a:pt x="629" y="106"/>
                  </a:lnTo>
                  <a:lnTo>
                    <a:pt x="620" y="102"/>
                  </a:lnTo>
                  <a:lnTo>
                    <a:pt x="620" y="97"/>
                  </a:lnTo>
                  <a:lnTo>
                    <a:pt x="615" y="93"/>
                  </a:lnTo>
                  <a:lnTo>
                    <a:pt x="615" y="93"/>
                  </a:lnTo>
                  <a:lnTo>
                    <a:pt x="611" y="93"/>
                  </a:lnTo>
                  <a:lnTo>
                    <a:pt x="611" y="93"/>
                  </a:lnTo>
                  <a:lnTo>
                    <a:pt x="611" y="89"/>
                  </a:lnTo>
                  <a:lnTo>
                    <a:pt x="607" y="89"/>
                  </a:lnTo>
                  <a:lnTo>
                    <a:pt x="607" y="89"/>
                  </a:lnTo>
                  <a:lnTo>
                    <a:pt x="607" y="89"/>
                  </a:lnTo>
                  <a:lnTo>
                    <a:pt x="607" y="89"/>
                  </a:lnTo>
                  <a:lnTo>
                    <a:pt x="602" y="89"/>
                  </a:lnTo>
                  <a:lnTo>
                    <a:pt x="602" y="89"/>
                  </a:lnTo>
                  <a:lnTo>
                    <a:pt x="598" y="84"/>
                  </a:lnTo>
                  <a:lnTo>
                    <a:pt x="593" y="84"/>
                  </a:lnTo>
                  <a:lnTo>
                    <a:pt x="593" y="84"/>
                  </a:lnTo>
                  <a:lnTo>
                    <a:pt x="593" y="84"/>
                  </a:lnTo>
                  <a:lnTo>
                    <a:pt x="593" y="84"/>
                  </a:lnTo>
                  <a:lnTo>
                    <a:pt x="589" y="80"/>
                  </a:lnTo>
                  <a:lnTo>
                    <a:pt x="576" y="80"/>
                  </a:lnTo>
                  <a:lnTo>
                    <a:pt x="576" y="80"/>
                  </a:lnTo>
                  <a:lnTo>
                    <a:pt x="576" y="80"/>
                  </a:lnTo>
                  <a:lnTo>
                    <a:pt x="576" y="80"/>
                  </a:lnTo>
                  <a:lnTo>
                    <a:pt x="576" y="75"/>
                  </a:lnTo>
                  <a:lnTo>
                    <a:pt x="576" y="75"/>
                  </a:lnTo>
                  <a:lnTo>
                    <a:pt x="576" y="75"/>
                  </a:lnTo>
                  <a:lnTo>
                    <a:pt x="571" y="75"/>
                  </a:lnTo>
                  <a:lnTo>
                    <a:pt x="571" y="75"/>
                  </a:lnTo>
                  <a:lnTo>
                    <a:pt x="571" y="71"/>
                  </a:lnTo>
                  <a:lnTo>
                    <a:pt x="571" y="71"/>
                  </a:lnTo>
                  <a:lnTo>
                    <a:pt x="567" y="66"/>
                  </a:lnTo>
                  <a:lnTo>
                    <a:pt x="558" y="66"/>
                  </a:lnTo>
                  <a:lnTo>
                    <a:pt x="558" y="62"/>
                  </a:lnTo>
                  <a:lnTo>
                    <a:pt x="553" y="58"/>
                  </a:lnTo>
                  <a:lnTo>
                    <a:pt x="549" y="53"/>
                  </a:lnTo>
                  <a:lnTo>
                    <a:pt x="545" y="53"/>
                  </a:lnTo>
                  <a:lnTo>
                    <a:pt x="545" y="53"/>
                  </a:lnTo>
                  <a:lnTo>
                    <a:pt x="545" y="49"/>
                  </a:lnTo>
                  <a:lnTo>
                    <a:pt x="540" y="44"/>
                  </a:lnTo>
                  <a:lnTo>
                    <a:pt x="540" y="44"/>
                  </a:lnTo>
                  <a:lnTo>
                    <a:pt x="540" y="44"/>
                  </a:lnTo>
                  <a:lnTo>
                    <a:pt x="540" y="40"/>
                  </a:lnTo>
                  <a:lnTo>
                    <a:pt x="536" y="40"/>
                  </a:lnTo>
                  <a:lnTo>
                    <a:pt x="536" y="40"/>
                  </a:lnTo>
                  <a:lnTo>
                    <a:pt x="536" y="40"/>
                  </a:lnTo>
                  <a:lnTo>
                    <a:pt x="536" y="40"/>
                  </a:lnTo>
                  <a:lnTo>
                    <a:pt x="536" y="40"/>
                  </a:lnTo>
                  <a:lnTo>
                    <a:pt x="536" y="40"/>
                  </a:lnTo>
                  <a:lnTo>
                    <a:pt x="531" y="31"/>
                  </a:lnTo>
                  <a:lnTo>
                    <a:pt x="527" y="27"/>
                  </a:lnTo>
                  <a:lnTo>
                    <a:pt x="522" y="27"/>
                  </a:lnTo>
                  <a:lnTo>
                    <a:pt x="514" y="22"/>
                  </a:lnTo>
                  <a:lnTo>
                    <a:pt x="514" y="18"/>
                  </a:lnTo>
                  <a:lnTo>
                    <a:pt x="514" y="18"/>
                  </a:lnTo>
                  <a:lnTo>
                    <a:pt x="514" y="13"/>
                  </a:lnTo>
                  <a:lnTo>
                    <a:pt x="518" y="13"/>
                  </a:lnTo>
                  <a:lnTo>
                    <a:pt x="518" y="9"/>
                  </a:lnTo>
                  <a:lnTo>
                    <a:pt x="514" y="9"/>
                  </a:lnTo>
                  <a:lnTo>
                    <a:pt x="514" y="9"/>
                  </a:lnTo>
                  <a:lnTo>
                    <a:pt x="509" y="5"/>
                  </a:lnTo>
                  <a:lnTo>
                    <a:pt x="505" y="5"/>
                  </a:lnTo>
                  <a:lnTo>
                    <a:pt x="500" y="0"/>
                  </a:lnTo>
                  <a:lnTo>
                    <a:pt x="487" y="0"/>
                  </a:lnTo>
                  <a:lnTo>
                    <a:pt x="474" y="0"/>
                  </a:lnTo>
                  <a:lnTo>
                    <a:pt x="487" y="18"/>
                  </a:lnTo>
                  <a:lnTo>
                    <a:pt x="487" y="22"/>
                  </a:lnTo>
                  <a:lnTo>
                    <a:pt x="487" y="35"/>
                  </a:lnTo>
                  <a:lnTo>
                    <a:pt x="487" y="35"/>
                  </a:lnTo>
                  <a:lnTo>
                    <a:pt x="487" y="40"/>
                  </a:lnTo>
                  <a:lnTo>
                    <a:pt x="478" y="53"/>
                  </a:lnTo>
                  <a:lnTo>
                    <a:pt x="474" y="62"/>
                  </a:lnTo>
                  <a:lnTo>
                    <a:pt x="465" y="71"/>
                  </a:lnTo>
                  <a:lnTo>
                    <a:pt x="478" y="80"/>
                  </a:lnTo>
                  <a:lnTo>
                    <a:pt x="469" y="97"/>
                  </a:lnTo>
                  <a:lnTo>
                    <a:pt x="465" y="97"/>
                  </a:lnTo>
                  <a:lnTo>
                    <a:pt x="465" y="97"/>
                  </a:lnTo>
                  <a:lnTo>
                    <a:pt x="438" y="89"/>
                  </a:lnTo>
                  <a:lnTo>
                    <a:pt x="416" y="75"/>
                  </a:lnTo>
                  <a:lnTo>
                    <a:pt x="398" y="80"/>
                  </a:lnTo>
                  <a:lnTo>
                    <a:pt x="394" y="80"/>
                  </a:lnTo>
                  <a:lnTo>
                    <a:pt x="385" y="71"/>
                  </a:lnTo>
                  <a:lnTo>
                    <a:pt x="385" y="66"/>
                  </a:lnTo>
                  <a:lnTo>
                    <a:pt x="372" y="71"/>
                  </a:lnTo>
                  <a:lnTo>
                    <a:pt x="372" y="71"/>
                  </a:lnTo>
                  <a:lnTo>
                    <a:pt x="372" y="75"/>
                  </a:lnTo>
                  <a:lnTo>
                    <a:pt x="372" y="75"/>
                  </a:lnTo>
                  <a:lnTo>
                    <a:pt x="367" y="89"/>
                  </a:lnTo>
                  <a:lnTo>
                    <a:pt x="367" y="93"/>
                  </a:lnTo>
                  <a:lnTo>
                    <a:pt x="372" y="120"/>
                  </a:lnTo>
                  <a:lnTo>
                    <a:pt x="372" y="128"/>
                  </a:lnTo>
                  <a:lnTo>
                    <a:pt x="359" y="146"/>
                  </a:lnTo>
                  <a:lnTo>
                    <a:pt x="359" y="151"/>
                  </a:lnTo>
                  <a:lnTo>
                    <a:pt x="359" y="155"/>
                  </a:lnTo>
                  <a:lnTo>
                    <a:pt x="354" y="155"/>
                  </a:lnTo>
                  <a:lnTo>
                    <a:pt x="341" y="142"/>
                  </a:lnTo>
                  <a:lnTo>
                    <a:pt x="328" y="133"/>
                  </a:lnTo>
                  <a:lnTo>
                    <a:pt x="323" y="137"/>
                  </a:lnTo>
                  <a:lnTo>
                    <a:pt x="319" y="142"/>
                  </a:lnTo>
                  <a:lnTo>
                    <a:pt x="310" y="151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8"/>
                  </a:lnTo>
                  <a:lnTo>
                    <a:pt x="288" y="199"/>
                  </a:lnTo>
                  <a:lnTo>
                    <a:pt x="288" y="199"/>
                  </a:lnTo>
                  <a:lnTo>
                    <a:pt x="283" y="213"/>
                  </a:lnTo>
                  <a:lnTo>
                    <a:pt x="279" y="213"/>
                  </a:lnTo>
                  <a:lnTo>
                    <a:pt x="275" y="217"/>
                  </a:lnTo>
                  <a:lnTo>
                    <a:pt x="266" y="217"/>
                  </a:lnTo>
                  <a:lnTo>
                    <a:pt x="266" y="221"/>
                  </a:lnTo>
                  <a:lnTo>
                    <a:pt x="261" y="230"/>
                  </a:lnTo>
                  <a:lnTo>
                    <a:pt x="270" y="244"/>
                  </a:lnTo>
                  <a:lnTo>
                    <a:pt x="279" y="261"/>
                  </a:lnTo>
                  <a:lnTo>
                    <a:pt x="279" y="261"/>
                  </a:lnTo>
                  <a:lnTo>
                    <a:pt x="279" y="279"/>
                  </a:lnTo>
                  <a:lnTo>
                    <a:pt x="279" y="283"/>
                  </a:lnTo>
                  <a:lnTo>
                    <a:pt x="275" y="283"/>
                  </a:lnTo>
                  <a:lnTo>
                    <a:pt x="275" y="283"/>
                  </a:lnTo>
                  <a:lnTo>
                    <a:pt x="261" y="297"/>
                  </a:lnTo>
                  <a:lnTo>
                    <a:pt x="257" y="301"/>
                  </a:lnTo>
                  <a:lnTo>
                    <a:pt x="248" y="328"/>
                  </a:lnTo>
                  <a:lnTo>
                    <a:pt x="239" y="341"/>
                  </a:lnTo>
                  <a:lnTo>
                    <a:pt x="226" y="354"/>
                  </a:lnTo>
                  <a:lnTo>
                    <a:pt x="226" y="359"/>
                  </a:lnTo>
                  <a:lnTo>
                    <a:pt x="230" y="372"/>
                  </a:lnTo>
                  <a:lnTo>
                    <a:pt x="230" y="376"/>
                  </a:lnTo>
                  <a:lnTo>
                    <a:pt x="230" y="381"/>
                  </a:lnTo>
                  <a:lnTo>
                    <a:pt x="230" y="381"/>
                  </a:lnTo>
                  <a:lnTo>
                    <a:pt x="230" y="385"/>
                  </a:lnTo>
                  <a:lnTo>
                    <a:pt x="217" y="390"/>
                  </a:lnTo>
                  <a:lnTo>
                    <a:pt x="208" y="399"/>
                  </a:lnTo>
                  <a:lnTo>
                    <a:pt x="195" y="403"/>
                  </a:lnTo>
                  <a:lnTo>
                    <a:pt x="177" y="403"/>
                  </a:lnTo>
                  <a:lnTo>
                    <a:pt x="186" y="438"/>
                  </a:lnTo>
                  <a:lnTo>
                    <a:pt x="186" y="443"/>
                  </a:lnTo>
                  <a:lnTo>
                    <a:pt x="186" y="447"/>
                  </a:lnTo>
                  <a:lnTo>
                    <a:pt x="182" y="456"/>
                  </a:lnTo>
                  <a:lnTo>
                    <a:pt x="182" y="456"/>
                  </a:lnTo>
                  <a:lnTo>
                    <a:pt x="177" y="487"/>
                  </a:lnTo>
                  <a:lnTo>
                    <a:pt x="177" y="492"/>
                  </a:lnTo>
                  <a:lnTo>
                    <a:pt x="177" y="500"/>
                  </a:lnTo>
                  <a:lnTo>
                    <a:pt x="177" y="505"/>
                  </a:lnTo>
                  <a:lnTo>
                    <a:pt x="177" y="509"/>
                  </a:lnTo>
                  <a:lnTo>
                    <a:pt x="173" y="514"/>
                  </a:lnTo>
                  <a:lnTo>
                    <a:pt x="173" y="518"/>
                  </a:lnTo>
                  <a:lnTo>
                    <a:pt x="168" y="518"/>
                  </a:lnTo>
                  <a:lnTo>
                    <a:pt x="168" y="531"/>
                  </a:lnTo>
                  <a:lnTo>
                    <a:pt x="168" y="531"/>
                  </a:lnTo>
                  <a:lnTo>
                    <a:pt x="168" y="531"/>
                  </a:lnTo>
                  <a:lnTo>
                    <a:pt x="168" y="536"/>
                  </a:lnTo>
                  <a:lnTo>
                    <a:pt x="159" y="549"/>
                  </a:lnTo>
                  <a:lnTo>
                    <a:pt x="159" y="549"/>
                  </a:lnTo>
                  <a:lnTo>
                    <a:pt x="151" y="562"/>
                  </a:lnTo>
                  <a:lnTo>
                    <a:pt x="146" y="571"/>
                  </a:lnTo>
                  <a:lnTo>
                    <a:pt x="133" y="598"/>
                  </a:lnTo>
                  <a:lnTo>
                    <a:pt x="146" y="611"/>
                  </a:lnTo>
                  <a:lnTo>
                    <a:pt x="151" y="611"/>
                  </a:lnTo>
                  <a:lnTo>
                    <a:pt x="155" y="611"/>
                  </a:lnTo>
                  <a:lnTo>
                    <a:pt x="155" y="611"/>
                  </a:lnTo>
                  <a:lnTo>
                    <a:pt x="155" y="615"/>
                  </a:lnTo>
                  <a:lnTo>
                    <a:pt x="159" y="642"/>
                  </a:lnTo>
                  <a:lnTo>
                    <a:pt x="159" y="646"/>
                  </a:lnTo>
                  <a:lnTo>
                    <a:pt x="159" y="646"/>
                  </a:lnTo>
                  <a:lnTo>
                    <a:pt x="151" y="664"/>
                  </a:lnTo>
                  <a:lnTo>
                    <a:pt x="151" y="669"/>
                  </a:lnTo>
                  <a:lnTo>
                    <a:pt x="146" y="669"/>
                  </a:lnTo>
                  <a:lnTo>
                    <a:pt x="142" y="664"/>
                  </a:lnTo>
                  <a:lnTo>
                    <a:pt x="128" y="664"/>
                  </a:lnTo>
                  <a:lnTo>
                    <a:pt x="111" y="655"/>
                  </a:lnTo>
                  <a:lnTo>
                    <a:pt x="98" y="660"/>
                  </a:lnTo>
                  <a:lnTo>
                    <a:pt x="84" y="669"/>
                  </a:lnTo>
                  <a:lnTo>
                    <a:pt x="80" y="673"/>
                  </a:lnTo>
                  <a:lnTo>
                    <a:pt x="71" y="691"/>
                  </a:lnTo>
                  <a:lnTo>
                    <a:pt x="62" y="708"/>
                  </a:lnTo>
                  <a:lnTo>
                    <a:pt x="53" y="717"/>
                  </a:lnTo>
                  <a:lnTo>
                    <a:pt x="58" y="726"/>
                  </a:lnTo>
                  <a:lnTo>
                    <a:pt x="58" y="731"/>
                  </a:lnTo>
                  <a:lnTo>
                    <a:pt x="58" y="735"/>
                  </a:lnTo>
                  <a:lnTo>
                    <a:pt x="44" y="753"/>
                  </a:lnTo>
                  <a:lnTo>
                    <a:pt x="49" y="762"/>
                  </a:lnTo>
                  <a:lnTo>
                    <a:pt x="53" y="779"/>
                  </a:lnTo>
                  <a:lnTo>
                    <a:pt x="58" y="788"/>
                  </a:lnTo>
                  <a:lnTo>
                    <a:pt x="49" y="797"/>
                  </a:lnTo>
                  <a:lnTo>
                    <a:pt x="49" y="797"/>
                  </a:lnTo>
                  <a:lnTo>
                    <a:pt x="49" y="801"/>
                  </a:lnTo>
                  <a:lnTo>
                    <a:pt x="53" y="819"/>
                  </a:lnTo>
                  <a:lnTo>
                    <a:pt x="53" y="819"/>
                  </a:lnTo>
                  <a:lnTo>
                    <a:pt x="53" y="824"/>
                  </a:lnTo>
                  <a:lnTo>
                    <a:pt x="49" y="828"/>
                  </a:lnTo>
                  <a:lnTo>
                    <a:pt x="49" y="832"/>
                  </a:lnTo>
                  <a:lnTo>
                    <a:pt x="49" y="832"/>
                  </a:lnTo>
                  <a:lnTo>
                    <a:pt x="62" y="863"/>
                  </a:lnTo>
                  <a:lnTo>
                    <a:pt x="62" y="863"/>
                  </a:lnTo>
                  <a:lnTo>
                    <a:pt x="62" y="868"/>
                  </a:lnTo>
                  <a:lnTo>
                    <a:pt x="62" y="868"/>
                  </a:lnTo>
                  <a:lnTo>
                    <a:pt x="62" y="872"/>
                  </a:lnTo>
                  <a:lnTo>
                    <a:pt x="58" y="903"/>
                  </a:lnTo>
                  <a:lnTo>
                    <a:pt x="53" y="930"/>
                  </a:lnTo>
                  <a:lnTo>
                    <a:pt x="53" y="934"/>
                  </a:lnTo>
                  <a:lnTo>
                    <a:pt x="62" y="939"/>
                  </a:lnTo>
                  <a:lnTo>
                    <a:pt x="62" y="943"/>
                  </a:lnTo>
                  <a:lnTo>
                    <a:pt x="67" y="948"/>
                  </a:lnTo>
                  <a:lnTo>
                    <a:pt x="71" y="948"/>
                  </a:lnTo>
                  <a:lnTo>
                    <a:pt x="71" y="948"/>
                  </a:lnTo>
                  <a:lnTo>
                    <a:pt x="75" y="948"/>
                  </a:lnTo>
                  <a:lnTo>
                    <a:pt x="75" y="948"/>
                  </a:lnTo>
                  <a:lnTo>
                    <a:pt x="80" y="952"/>
                  </a:lnTo>
                  <a:lnTo>
                    <a:pt x="93" y="970"/>
                  </a:lnTo>
                  <a:lnTo>
                    <a:pt x="93" y="970"/>
                  </a:lnTo>
                  <a:lnTo>
                    <a:pt x="93" y="974"/>
                  </a:lnTo>
                  <a:lnTo>
                    <a:pt x="89" y="983"/>
                  </a:lnTo>
                  <a:lnTo>
                    <a:pt x="89" y="987"/>
                  </a:lnTo>
                  <a:lnTo>
                    <a:pt x="89" y="987"/>
                  </a:lnTo>
                  <a:lnTo>
                    <a:pt x="84" y="996"/>
                  </a:lnTo>
                  <a:lnTo>
                    <a:pt x="84" y="996"/>
                  </a:lnTo>
                  <a:lnTo>
                    <a:pt x="84" y="996"/>
                  </a:lnTo>
                  <a:lnTo>
                    <a:pt x="84" y="1005"/>
                  </a:lnTo>
                  <a:lnTo>
                    <a:pt x="84" y="1005"/>
                  </a:lnTo>
                  <a:lnTo>
                    <a:pt x="84" y="1005"/>
                  </a:lnTo>
                  <a:lnTo>
                    <a:pt x="80" y="1005"/>
                  </a:lnTo>
                  <a:lnTo>
                    <a:pt x="75" y="1005"/>
                  </a:lnTo>
                  <a:lnTo>
                    <a:pt x="71" y="1005"/>
                  </a:lnTo>
                  <a:lnTo>
                    <a:pt x="62" y="1010"/>
                  </a:lnTo>
                  <a:lnTo>
                    <a:pt x="58" y="1010"/>
                  </a:lnTo>
                  <a:lnTo>
                    <a:pt x="58" y="1014"/>
                  </a:lnTo>
                  <a:lnTo>
                    <a:pt x="62" y="1018"/>
                  </a:lnTo>
                  <a:lnTo>
                    <a:pt x="62" y="1023"/>
                  </a:lnTo>
                  <a:lnTo>
                    <a:pt x="62" y="1027"/>
                  </a:lnTo>
                  <a:lnTo>
                    <a:pt x="62" y="1032"/>
                  </a:lnTo>
                  <a:lnTo>
                    <a:pt x="67" y="1036"/>
                  </a:lnTo>
                  <a:lnTo>
                    <a:pt x="67" y="1041"/>
                  </a:lnTo>
                  <a:lnTo>
                    <a:pt x="71" y="1049"/>
                  </a:lnTo>
                  <a:lnTo>
                    <a:pt x="75" y="1058"/>
                  </a:lnTo>
                  <a:lnTo>
                    <a:pt x="75" y="1063"/>
                  </a:lnTo>
                  <a:lnTo>
                    <a:pt x="75" y="1067"/>
                  </a:lnTo>
                  <a:lnTo>
                    <a:pt x="80" y="1072"/>
                  </a:lnTo>
                  <a:lnTo>
                    <a:pt x="75" y="1072"/>
                  </a:lnTo>
                  <a:lnTo>
                    <a:pt x="75" y="1076"/>
                  </a:lnTo>
                  <a:lnTo>
                    <a:pt x="75" y="1076"/>
                  </a:lnTo>
                  <a:lnTo>
                    <a:pt x="75" y="1080"/>
                  </a:lnTo>
                  <a:lnTo>
                    <a:pt x="71" y="1085"/>
                  </a:lnTo>
                  <a:lnTo>
                    <a:pt x="71" y="1085"/>
                  </a:lnTo>
                  <a:lnTo>
                    <a:pt x="71" y="1085"/>
                  </a:lnTo>
                  <a:lnTo>
                    <a:pt x="71" y="1089"/>
                  </a:lnTo>
                  <a:lnTo>
                    <a:pt x="71" y="1098"/>
                  </a:lnTo>
                  <a:lnTo>
                    <a:pt x="71" y="1102"/>
                  </a:lnTo>
                  <a:lnTo>
                    <a:pt x="71" y="1107"/>
                  </a:lnTo>
                  <a:lnTo>
                    <a:pt x="71" y="1111"/>
                  </a:lnTo>
                  <a:lnTo>
                    <a:pt x="71" y="1111"/>
                  </a:lnTo>
                  <a:lnTo>
                    <a:pt x="62" y="1120"/>
                  </a:lnTo>
                  <a:lnTo>
                    <a:pt x="53" y="1129"/>
                  </a:lnTo>
                  <a:lnTo>
                    <a:pt x="49" y="1129"/>
                  </a:lnTo>
                  <a:lnTo>
                    <a:pt x="44" y="1129"/>
                  </a:lnTo>
                  <a:lnTo>
                    <a:pt x="40" y="1129"/>
                  </a:lnTo>
                  <a:lnTo>
                    <a:pt x="40" y="1129"/>
                  </a:lnTo>
                  <a:lnTo>
                    <a:pt x="36" y="1129"/>
                  </a:lnTo>
                  <a:lnTo>
                    <a:pt x="36" y="1133"/>
                  </a:lnTo>
                  <a:lnTo>
                    <a:pt x="40" y="1138"/>
                  </a:lnTo>
                  <a:lnTo>
                    <a:pt x="40" y="1138"/>
                  </a:lnTo>
                  <a:lnTo>
                    <a:pt x="40" y="1138"/>
                  </a:lnTo>
                  <a:lnTo>
                    <a:pt x="40" y="1142"/>
                  </a:lnTo>
                  <a:lnTo>
                    <a:pt x="40" y="1142"/>
                  </a:lnTo>
                  <a:lnTo>
                    <a:pt x="40" y="1147"/>
                  </a:lnTo>
                  <a:lnTo>
                    <a:pt x="40" y="1147"/>
                  </a:lnTo>
                  <a:lnTo>
                    <a:pt x="40" y="1147"/>
                  </a:lnTo>
                  <a:lnTo>
                    <a:pt x="36" y="1151"/>
                  </a:lnTo>
                  <a:lnTo>
                    <a:pt x="36" y="1151"/>
                  </a:lnTo>
                  <a:lnTo>
                    <a:pt x="31" y="1156"/>
                  </a:lnTo>
                  <a:lnTo>
                    <a:pt x="27" y="1160"/>
                  </a:lnTo>
                  <a:lnTo>
                    <a:pt x="27" y="1160"/>
                  </a:lnTo>
                  <a:lnTo>
                    <a:pt x="27" y="1164"/>
                  </a:lnTo>
                  <a:lnTo>
                    <a:pt x="31" y="1178"/>
                  </a:lnTo>
                  <a:lnTo>
                    <a:pt x="36" y="1182"/>
                  </a:lnTo>
                  <a:lnTo>
                    <a:pt x="36" y="1191"/>
                  </a:lnTo>
                  <a:lnTo>
                    <a:pt x="36" y="1195"/>
                  </a:lnTo>
                  <a:lnTo>
                    <a:pt x="36" y="1195"/>
                  </a:lnTo>
                  <a:lnTo>
                    <a:pt x="36" y="1195"/>
                  </a:lnTo>
                  <a:lnTo>
                    <a:pt x="36" y="1195"/>
                  </a:lnTo>
                  <a:lnTo>
                    <a:pt x="36" y="1200"/>
                  </a:lnTo>
                  <a:lnTo>
                    <a:pt x="36" y="1200"/>
                  </a:lnTo>
                  <a:lnTo>
                    <a:pt x="31" y="1209"/>
                  </a:lnTo>
                  <a:lnTo>
                    <a:pt x="31" y="1213"/>
                  </a:lnTo>
                  <a:lnTo>
                    <a:pt x="31" y="1213"/>
                  </a:lnTo>
                  <a:lnTo>
                    <a:pt x="31" y="1218"/>
                  </a:lnTo>
                  <a:lnTo>
                    <a:pt x="31" y="1222"/>
                  </a:lnTo>
                  <a:lnTo>
                    <a:pt x="31" y="1222"/>
                  </a:lnTo>
                  <a:lnTo>
                    <a:pt x="27" y="1231"/>
                  </a:lnTo>
                  <a:lnTo>
                    <a:pt x="27" y="1231"/>
                  </a:lnTo>
                  <a:lnTo>
                    <a:pt x="22" y="1235"/>
                  </a:lnTo>
                  <a:lnTo>
                    <a:pt x="18" y="1231"/>
                  </a:lnTo>
                  <a:lnTo>
                    <a:pt x="18" y="1231"/>
                  </a:lnTo>
                  <a:lnTo>
                    <a:pt x="18" y="1226"/>
                  </a:lnTo>
                  <a:lnTo>
                    <a:pt x="18" y="1222"/>
                  </a:lnTo>
                  <a:lnTo>
                    <a:pt x="18" y="1222"/>
                  </a:lnTo>
                  <a:lnTo>
                    <a:pt x="18" y="1222"/>
                  </a:lnTo>
                  <a:lnTo>
                    <a:pt x="18" y="1222"/>
                  </a:lnTo>
                  <a:lnTo>
                    <a:pt x="13" y="1222"/>
                  </a:lnTo>
                  <a:lnTo>
                    <a:pt x="13" y="1222"/>
                  </a:lnTo>
                  <a:lnTo>
                    <a:pt x="13" y="1218"/>
                  </a:lnTo>
                  <a:lnTo>
                    <a:pt x="13" y="1218"/>
                  </a:lnTo>
                  <a:lnTo>
                    <a:pt x="13" y="1213"/>
                  </a:lnTo>
                  <a:lnTo>
                    <a:pt x="13" y="1213"/>
                  </a:lnTo>
                  <a:lnTo>
                    <a:pt x="9" y="1213"/>
                  </a:lnTo>
                  <a:lnTo>
                    <a:pt x="5" y="1213"/>
                  </a:lnTo>
                  <a:lnTo>
                    <a:pt x="5" y="1213"/>
                  </a:lnTo>
                  <a:lnTo>
                    <a:pt x="0" y="1218"/>
                  </a:lnTo>
                  <a:lnTo>
                    <a:pt x="0" y="1218"/>
                  </a:lnTo>
                  <a:lnTo>
                    <a:pt x="0" y="1222"/>
                  </a:lnTo>
                  <a:lnTo>
                    <a:pt x="0" y="1222"/>
                  </a:lnTo>
                  <a:lnTo>
                    <a:pt x="0" y="1222"/>
                  </a:lnTo>
                  <a:lnTo>
                    <a:pt x="5" y="1222"/>
                  </a:lnTo>
                  <a:lnTo>
                    <a:pt x="0" y="1222"/>
                  </a:lnTo>
                  <a:lnTo>
                    <a:pt x="0" y="1226"/>
                  </a:lnTo>
                  <a:lnTo>
                    <a:pt x="0" y="1226"/>
                  </a:lnTo>
                  <a:lnTo>
                    <a:pt x="0" y="1226"/>
                  </a:lnTo>
                  <a:lnTo>
                    <a:pt x="0" y="1226"/>
                  </a:lnTo>
                  <a:lnTo>
                    <a:pt x="5" y="1231"/>
                  </a:lnTo>
                  <a:lnTo>
                    <a:pt x="5" y="1231"/>
                  </a:lnTo>
                  <a:lnTo>
                    <a:pt x="5" y="1231"/>
                  </a:lnTo>
                  <a:lnTo>
                    <a:pt x="5" y="1231"/>
                  </a:lnTo>
                  <a:lnTo>
                    <a:pt x="5" y="1231"/>
                  </a:lnTo>
                  <a:lnTo>
                    <a:pt x="5" y="1231"/>
                  </a:lnTo>
                  <a:lnTo>
                    <a:pt x="5" y="1235"/>
                  </a:lnTo>
                  <a:lnTo>
                    <a:pt x="5" y="1235"/>
                  </a:lnTo>
                  <a:lnTo>
                    <a:pt x="5" y="1235"/>
                  </a:lnTo>
                  <a:lnTo>
                    <a:pt x="5" y="1235"/>
                  </a:lnTo>
                  <a:lnTo>
                    <a:pt x="5" y="1235"/>
                  </a:lnTo>
                  <a:lnTo>
                    <a:pt x="5" y="1240"/>
                  </a:lnTo>
                  <a:lnTo>
                    <a:pt x="5" y="1240"/>
                  </a:lnTo>
                  <a:lnTo>
                    <a:pt x="5" y="1244"/>
                  </a:lnTo>
                  <a:lnTo>
                    <a:pt x="5" y="1244"/>
                  </a:lnTo>
                  <a:lnTo>
                    <a:pt x="5" y="1244"/>
                  </a:lnTo>
                  <a:lnTo>
                    <a:pt x="5" y="1244"/>
                  </a:lnTo>
                  <a:lnTo>
                    <a:pt x="5" y="1249"/>
                  </a:lnTo>
                  <a:lnTo>
                    <a:pt x="0" y="1249"/>
                  </a:lnTo>
                  <a:lnTo>
                    <a:pt x="0" y="1249"/>
                  </a:lnTo>
                  <a:lnTo>
                    <a:pt x="5" y="1253"/>
                  </a:lnTo>
                  <a:lnTo>
                    <a:pt x="5" y="1253"/>
                  </a:lnTo>
                  <a:lnTo>
                    <a:pt x="5" y="1253"/>
                  </a:lnTo>
                  <a:lnTo>
                    <a:pt x="5" y="1253"/>
                  </a:lnTo>
                  <a:lnTo>
                    <a:pt x="5" y="1253"/>
                  </a:lnTo>
                  <a:lnTo>
                    <a:pt x="5" y="1257"/>
                  </a:lnTo>
                  <a:lnTo>
                    <a:pt x="5" y="1257"/>
                  </a:lnTo>
                  <a:lnTo>
                    <a:pt x="5" y="1257"/>
                  </a:lnTo>
                  <a:lnTo>
                    <a:pt x="5" y="1262"/>
                  </a:lnTo>
                  <a:lnTo>
                    <a:pt x="5" y="1262"/>
                  </a:lnTo>
                  <a:lnTo>
                    <a:pt x="5" y="1262"/>
                  </a:lnTo>
                  <a:lnTo>
                    <a:pt x="5" y="1262"/>
                  </a:lnTo>
                  <a:lnTo>
                    <a:pt x="9" y="1262"/>
                  </a:lnTo>
                  <a:lnTo>
                    <a:pt x="5" y="1266"/>
                  </a:lnTo>
                  <a:lnTo>
                    <a:pt x="9" y="1266"/>
                  </a:lnTo>
                  <a:lnTo>
                    <a:pt x="9" y="1266"/>
                  </a:lnTo>
                  <a:lnTo>
                    <a:pt x="9" y="1266"/>
                  </a:lnTo>
                  <a:lnTo>
                    <a:pt x="5" y="1266"/>
                  </a:lnTo>
                  <a:lnTo>
                    <a:pt x="5" y="1266"/>
                  </a:lnTo>
                  <a:lnTo>
                    <a:pt x="5" y="1266"/>
                  </a:lnTo>
                  <a:lnTo>
                    <a:pt x="5" y="1271"/>
                  </a:lnTo>
                  <a:lnTo>
                    <a:pt x="5" y="1271"/>
                  </a:lnTo>
                  <a:lnTo>
                    <a:pt x="5" y="1271"/>
                  </a:lnTo>
                  <a:lnTo>
                    <a:pt x="5" y="1271"/>
                  </a:lnTo>
                  <a:lnTo>
                    <a:pt x="5" y="1271"/>
                  </a:lnTo>
                  <a:lnTo>
                    <a:pt x="5" y="1271"/>
                  </a:lnTo>
                  <a:lnTo>
                    <a:pt x="5" y="1271"/>
                  </a:lnTo>
                  <a:lnTo>
                    <a:pt x="5" y="1275"/>
                  </a:lnTo>
                  <a:lnTo>
                    <a:pt x="5" y="1275"/>
                  </a:lnTo>
                  <a:lnTo>
                    <a:pt x="9" y="1275"/>
                  </a:lnTo>
                  <a:lnTo>
                    <a:pt x="9" y="1275"/>
                  </a:lnTo>
                  <a:lnTo>
                    <a:pt x="5" y="1275"/>
                  </a:lnTo>
                  <a:lnTo>
                    <a:pt x="5" y="1280"/>
                  </a:lnTo>
                  <a:lnTo>
                    <a:pt x="5" y="1280"/>
                  </a:lnTo>
                  <a:lnTo>
                    <a:pt x="5" y="1280"/>
                  </a:lnTo>
                  <a:lnTo>
                    <a:pt x="5" y="1280"/>
                  </a:lnTo>
                  <a:lnTo>
                    <a:pt x="5" y="1284"/>
                  </a:lnTo>
                  <a:lnTo>
                    <a:pt x="5" y="1284"/>
                  </a:lnTo>
                  <a:lnTo>
                    <a:pt x="5" y="1284"/>
                  </a:lnTo>
                  <a:lnTo>
                    <a:pt x="5" y="1284"/>
                  </a:lnTo>
                  <a:lnTo>
                    <a:pt x="5" y="1288"/>
                  </a:lnTo>
                  <a:lnTo>
                    <a:pt x="5" y="1288"/>
                  </a:lnTo>
                  <a:lnTo>
                    <a:pt x="5" y="1288"/>
                  </a:lnTo>
                  <a:lnTo>
                    <a:pt x="5" y="1284"/>
                  </a:lnTo>
                  <a:lnTo>
                    <a:pt x="9" y="1284"/>
                  </a:lnTo>
                  <a:lnTo>
                    <a:pt x="9" y="1288"/>
                  </a:lnTo>
                  <a:lnTo>
                    <a:pt x="9" y="1284"/>
                  </a:lnTo>
                  <a:lnTo>
                    <a:pt x="9" y="1284"/>
                  </a:lnTo>
                  <a:lnTo>
                    <a:pt x="9" y="1284"/>
                  </a:lnTo>
                  <a:lnTo>
                    <a:pt x="9" y="1284"/>
                  </a:lnTo>
                  <a:lnTo>
                    <a:pt x="13" y="1284"/>
                  </a:lnTo>
                  <a:lnTo>
                    <a:pt x="13" y="1284"/>
                  </a:lnTo>
                  <a:lnTo>
                    <a:pt x="13" y="1280"/>
                  </a:lnTo>
                  <a:lnTo>
                    <a:pt x="13" y="1280"/>
                  </a:lnTo>
                  <a:lnTo>
                    <a:pt x="13" y="1280"/>
                  </a:lnTo>
                  <a:lnTo>
                    <a:pt x="13" y="1280"/>
                  </a:lnTo>
                  <a:lnTo>
                    <a:pt x="13" y="1284"/>
                  </a:lnTo>
                  <a:lnTo>
                    <a:pt x="13" y="1288"/>
                  </a:lnTo>
                  <a:lnTo>
                    <a:pt x="9" y="1288"/>
                  </a:lnTo>
                  <a:lnTo>
                    <a:pt x="13" y="1288"/>
                  </a:lnTo>
                  <a:lnTo>
                    <a:pt x="13" y="1288"/>
                  </a:lnTo>
                  <a:lnTo>
                    <a:pt x="13" y="1288"/>
                  </a:lnTo>
                  <a:lnTo>
                    <a:pt x="13" y="1284"/>
                  </a:lnTo>
                  <a:lnTo>
                    <a:pt x="13" y="1284"/>
                  </a:lnTo>
                  <a:lnTo>
                    <a:pt x="13" y="1284"/>
                  </a:lnTo>
                  <a:lnTo>
                    <a:pt x="13" y="1284"/>
                  </a:lnTo>
                  <a:lnTo>
                    <a:pt x="13" y="1284"/>
                  </a:lnTo>
                  <a:lnTo>
                    <a:pt x="18" y="1288"/>
                  </a:lnTo>
                  <a:lnTo>
                    <a:pt x="18" y="1288"/>
                  </a:lnTo>
                  <a:lnTo>
                    <a:pt x="13" y="1288"/>
                  </a:lnTo>
                  <a:lnTo>
                    <a:pt x="13" y="1288"/>
                  </a:lnTo>
                  <a:lnTo>
                    <a:pt x="13" y="1288"/>
                  </a:lnTo>
                  <a:lnTo>
                    <a:pt x="13" y="1288"/>
                  </a:lnTo>
                  <a:lnTo>
                    <a:pt x="13" y="1293"/>
                  </a:lnTo>
                  <a:lnTo>
                    <a:pt x="13" y="1293"/>
                  </a:lnTo>
                  <a:lnTo>
                    <a:pt x="13" y="1293"/>
                  </a:lnTo>
                  <a:lnTo>
                    <a:pt x="18" y="1293"/>
                  </a:lnTo>
                  <a:lnTo>
                    <a:pt x="18" y="1293"/>
                  </a:lnTo>
                  <a:lnTo>
                    <a:pt x="13" y="1293"/>
                  </a:lnTo>
                  <a:lnTo>
                    <a:pt x="13" y="1293"/>
                  </a:lnTo>
                  <a:lnTo>
                    <a:pt x="13" y="1293"/>
                  </a:lnTo>
                  <a:lnTo>
                    <a:pt x="13" y="1297"/>
                  </a:lnTo>
                  <a:lnTo>
                    <a:pt x="18" y="1293"/>
                  </a:lnTo>
                  <a:lnTo>
                    <a:pt x="18" y="1293"/>
                  </a:lnTo>
                  <a:lnTo>
                    <a:pt x="22" y="1288"/>
                  </a:lnTo>
                  <a:lnTo>
                    <a:pt x="22" y="1284"/>
                  </a:lnTo>
                  <a:lnTo>
                    <a:pt x="22" y="1284"/>
                  </a:lnTo>
                  <a:lnTo>
                    <a:pt x="22" y="1280"/>
                  </a:lnTo>
                  <a:lnTo>
                    <a:pt x="22" y="1275"/>
                  </a:lnTo>
                  <a:lnTo>
                    <a:pt x="22" y="1275"/>
                  </a:lnTo>
                  <a:lnTo>
                    <a:pt x="22" y="1280"/>
                  </a:lnTo>
                  <a:lnTo>
                    <a:pt x="22" y="1280"/>
                  </a:lnTo>
                  <a:lnTo>
                    <a:pt x="22" y="1284"/>
                  </a:lnTo>
                  <a:lnTo>
                    <a:pt x="27" y="1280"/>
                  </a:lnTo>
                  <a:lnTo>
                    <a:pt x="27" y="1280"/>
                  </a:lnTo>
                  <a:lnTo>
                    <a:pt x="27" y="1280"/>
                  </a:lnTo>
                  <a:lnTo>
                    <a:pt x="27" y="1280"/>
                  </a:lnTo>
                  <a:lnTo>
                    <a:pt x="27" y="1280"/>
                  </a:lnTo>
                  <a:lnTo>
                    <a:pt x="27" y="1280"/>
                  </a:lnTo>
                  <a:lnTo>
                    <a:pt x="27" y="1284"/>
                  </a:lnTo>
                  <a:lnTo>
                    <a:pt x="27" y="1284"/>
                  </a:lnTo>
                  <a:lnTo>
                    <a:pt x="22" y="1288"/>
                  </a:lnTo>
                  <a:lnTo>
                    <a:pt x="22" y="1288"/>
                  </a:lnTo>
                  <a:lnTo>
                    <a:pt x="22" y="1293"/>
                  </a:lnTo>
                  <a:lnTo>
                    <a:pt x="18" y="1293"/>
                  </a:lnTo>
                  <a:lnTo>
                    <a:pt x="18" y="1297"/>
                  </a:lnTo>
                  <a:lnTo>
                    <a:pt x="18" y="1297"/>
                  </a:lnTo>
                  <a:lnTo>
                    <a:pt x="22" y="1297"/>
                  </a:lnTo>
                  <a:lnTo>
                    <a:pt x="22" y="1297"/>
                  </a:lnTo>
                  <a:lnTo>
                    <a:pt x="22" y="1297"/>
                  </a:lnTo>
                  <a:lnTo>
                    <a:pt x="22" y="1297"/>
                  </a:lnTo>
                  <a:lnTo>
                    <a:pt x="22" y="1297"/>
                  </a:lnTo>
                  <a:lnTo>
                    <a:pt x="22" y="1297"/>
                  </a:lnTo>
                  <a:lnTo>
                    <a:pt x="22" y="1297"/>
                  </a:lnTo>
                  <a:lnTo>
                    <a:pt x="22" y="1297"/>
                  </a:lnTo>
                  <a:lnTo>
                    <a:pt x="27" y="1293"/>
                  </a:lnTo>
                  <a:lnTo>
                    <a:pt x="27" y="1293"/>
                  </a:lnTo>
                  <a:lnTo>
                    <a:pt x="27" y="1293"/>
                  </a:lnTo>
                  <a:lnTo>
                    <a:pt x="27" y="1293"/>
                  </a:lnTo>
                  <a:lnTo>
                    <a:pt x="31" y="1293"/>
                  </a:lnTo>
                  <a:lnTo>
                    <a:pt x="31" y="1293"/>
                  </a:lnTo>
                  <a:lnTo>
                    <a:pt x="31" y="1288"/>
                  </a:lnTo>
                  <a:lnTo>
                    <a:pt x="31" y="1288"/>
                  </a:lnTo>
                  <a:lnTo>
                    <a:pt x="36" y="1288"/>
                  </a:lnTo>
                  <a:lnTo>
                    <a:pt x="36" y="1288"/>
                  </a:lnTo>
                  <a:lnTo>
                    <a:pt x="40" y="1288"/>
                  </a:lnTo>
                  <a:lnTo>
                    <a:pt x="40" y="1288"/>
                  </a:lnTo>
                  <a:lnTo>
                    <a:pt x="36" y="1288"/>
                  </a:lnTo>
                  <a:lnTo>
                    <a:pt x="36" y="1293"/>
                  </a:lnTo>
                  <a:lnTo>
                    <a:pt x="36" y="1293"/>
                  </a:lnTo>
                  <a:lnTo>
                    <a:pt x="36" y="1297"/>
                  </a:lnTo>
                  <a:lnTo>
                    <a:pt x="36" y="1297"/>
                  </a:lnTo>
                  <a:lnTo>
                    <a:pt x="36" y="1297"/>
                  </a:lnTo>
                  <a:lnTo>
                    <a:pt x="36" y="1302"/>
                  </a:lnTo>
                  <a:lnTo>
                    <a:pt x="40" y="1302"/>
                  </a:lnTo>
                  <a:lnTo>
                    <a:pt x="40" y="1302"/>
                  </a:lnTo>
                  <a:lnTo>
                    <a:pt x="40" y="1302"/>
                  </a:lnTo>
                  <a:lnTo>
                    <a:pt x="40" y="1302"/>
                  </a:lnTo>
                  <a:lnTo>
                    <a:pt x="40" y="1302"/>
                  </a:lnTo>
                  <a:lnTo>
                    <a:pt x="40" y="1302"/>
                  </a:lnTo>
                  <a:lnTo>
                    <a:pt x="36" y="1302"/>
                  </a:lnTo>
                  <a:lnTo>
                    <a:pt x="36" y="1302"/>
                  </a:lnTo>
                  <a:lnTo>
                    <a:pt x="36" y="1302"/>
                  </a:lnTo>
                  <a:lnTo>
                    <a:pt x="36" y="1311"/>
                  </a:lnTo>
                  <a:lnTo>
                    <a:pt x="36" y="1311"/>
                  </a:lnTo>
                  <a:lnTo>
                    <a:pt x="36" y="1311"/>
                  </a:lnTo>
                  <a:lnTo>
                    <a:pt x="36" y="1315"/>
                  </a:lnTo>
                  <a:lnTo>
                    <a:pt x="36" y="1315"/>
                  </a:lnTo>
                  <a:lnTo>
                    <a:pt x="36" y="1315"/>
                  </a:lnTo>
                  <a:lnTo>
                    <a:pt x="36" y="1315"/>
                  </a:lnTo>
                  <a:lnTo>
                    <a:pt x="36" y="1315"/>
                  </a:lnTo>
                  <a:lnTo>
                    <a:pt x="36" y="1315"/>
                  </a:lnTo>
                  <a:lnTo>
                    <a:pt x="36" y="1319"/>
                  </a:lnTo>
                  <a:lnTo>
                    <a:pt x="36" y="1319"/>
                  </a:lnTo>
                  <a:lnTo>
                    <a:pt x="36" y="1319"/>
                  </a:lnTo>
                  <a:lnTo>
                    <a:pt x="36" y="1324"/>
                  </a:lnTo>
                  <a:lnTo>
                    <a:pt x="31" y="1328"/>
                  </a:lnTo>
                  <a:lnTo>
                    <a:pt x="31" y="1328"/>
                  </a:lnTo>
                  <a:lnTo>
                    <a:pt x="31" y="1328"/>
                  </a:lnTo>
                  <a:lnTo>
                    <a:pt x="31" y="1328"/>
                  </a:lnTo>
                  <a:lnTo>
                    <a:pt x="31" y="1328"/>
                  </a:lnTo>
                  <a:lnTo>
                    <a:pt x="31" y="1333"/>
                  </a:lnTo>
                  <a:lnTo>
                    <a:pt x="31" y="1333"/>
                  </a:lnTo>
                  <a:lnTo>
                    <a:pt x="31" y="1333"/>
                  </a:lnTo>
                  <a:lnTo>
                    <a:pt x="31" y="1333"/>
                  </a:lnTo>
                  <a:lnTo>
                    <a:pt x="31" y="1333"/>
                  </a:lnTo>
                  <a:lnTo>
                    <a:pt x="31" y="1333"/>
                  </a:lnTo>
                  <a:lnTo>
                    <a:pt x="31" y="1337"/>
                  </a:lnTo>
                  <a:lnTo>
                    <a:pt x="31" y="1337"/>
                  </a:lnTo>
                  <a:lnTo>
                    <a:pt x="27" y="1337"/>
                  </a:lnTo>
                  <a:lnTo>
                    <a:pt x="27" y="1337"/>
                  </a:lnTo>
                  <a:lnTo>
                    <a:pt x="27" y="1337"/>
                  </a:lnTo>
                  <a:lnTo>
                    <a:pt x="31" y="1342"/>
                  </a:lnTo>
                  <a:lnTo>
                    <a:pt x="31" y="1342"/>
                  </a:lnTo>
                  <a:lnTo>
                    <a:pt x="31" y="1342"/>
                  </a:lnTo>
                  <a:lnTo>
                    <a:pt x="31" y="1342"/>
                  </a:lnTo>
                  <a:lnTo>
                    <a:pt x="36" y="1342"/>
                  </a:lnTo>
                  <a:lnTo>
                    <a:pt x="36" y="1342"/>
                  </a:lnTo>
                  <a:lnTo>
                    <a:pt x="36" y="1346"/>
                  </a:lnTo>
                  <a:lnTo>
                    <a:pt x="36" y="1346"/>
                  </a:lnTo>
                  <a:lnTo>
                    <a:pt x="31" y="1350"/>
                  </a:lnTo>
                  <a:lnTo>
                    <a:pt x="31" y="1350"/>
                  </a:lnTo>
                  <a:lnTo>
                    <a:pt x="31" y="1350"/>
                  </a:lnTo>
                  <a:lnTo>
                    <a:pt x="31" y="1350"/>
                  </a:lnTo>
                  <a:lnTo>
                    <a:pt x="31" y="1350"/>
                  </a:lnTo>
                  <a:lnTo>
                    <a:pt x="31" y="1350"/>
                  </a:lnTo>
                  <a:lnTo>
                    <a:pt x="31" y="1350"/>
                  </a:lnTo>
                  <a:lnTo>
                    <a:pt x="31" y="1350"/>
                  </a:lnTo>
                  <a:lnTo>
                    <a:pt x="36" y="1350"/>
                  </a:lnTo>
                  <a:lnTo>
                    <a:pt x="36" y="1350"/>
                  </a:lnTo>
                  <a:lnTo>
                    <a:pt x="40" y="1350"/>
                  </a:lnTo>
                  <a:lnTo>
                    <a:pt x="40" y="1350"/>
                  </a:lnTo>
                  <a:lnTo>
                    <a:pt x="40" y="1350"/>
                  </a:lnTo>
                  <a:lnTo>
                    <a:pt x="40" y="1355"/>
                  </a:lnTo>
                  <a:lnTo>
                    <a:pt x="36" y="1355"/>
                  </a:lnTo>
                  <a:lnTo>
                    <a:pt x="36" y="1355"/>
                  </a:lnTo>
                  <a:lnTo>
                    <a:pt x="36" y="1355"/>
                  </a:lnTo>
                  <a:lnTo>
                    <a:pt x="36" y="1359"/>
                  </a:lnTo>
                  <a:lnTo>
                    <a:pt x="40" y="1359"/>
                  </a:lnTo>
                  <a:lnTo>
                    <a:pt x="40" y="1359"/>
                  </a:lnTo>
                  <a:lnTo>
                    <a:pt x="40" y="1359"/>
                  </a:lnTo>
                  <a:lnTo>
                    <a:pt x="40" y="1359"/>
                  </a:lnTo>
                  <a:lnTo>
                    <a:pt x="40" y="1359"/>
                  </a:lnTo>
                  <a:lnTo>
                    <a:pt x="40" y="1359"/>
                  </a:lnTo>
                  <a:lnTo>
                    <a:pt x="40" y="1359"/>
                  </a:lnTo>
                  <a:lnTo>
                    <a:pt x="40" y="1359"/>
                  </a:lnTo>
                  <a:lnTo>
                    <a:pt x="40" y="1359"/>
                  </a:lnTo>
                  <a:lnTo>
                    <a:pt x="40" y="1364"/>
                  </a:lnTo>
                  <a:lnTo>
                    <a:pt x="40" y="1368"/>
                  </a:lnTo>
                  <a:lnTo>
                    <a:pt x="40" y="1368"/>
                  </a:lnTo>
                  <a:lnTo>
                    <a:pt x="40" y="1368"/>
                  </a:lnTo>
                  <a:lnTo>
                    <a:pt x="40" y="1373"/>
                  </a:lnTo>
                  <a:lnTo>
                    <a:pt x="40" y="1373"/>
                  </a:lnTo>
                  <a:lnTo>
                    <a:pt x="40" y="1373"/>
                  </a:lnTo>
                  <a:lnTo>
                    <a:pt x="40" y="1373"/>
                  </a:lnTo>
                  <a:lnTo>
                    <a:pt x="44" y="1373"/>
                  </a:lnTo>
                  <a:lnTo>
                    <a:pt x="40" y="1373"/>
                  </a:lnTo>
                  <a:lnTo>
                    <a:pt x="40" y="1373"/>
                  </a:lnTo>
                  <a:lnTo>
                    <a:pt x="40" y="1377"/>
                  </a:lnTo>
                  <a:lnTo>
                    <a:pt x="40" y="1377"/>
                  </a:lnTo>
                  <a:lnTo>
                    <a:pt x="40" y="1377"/>
                  </a:lnTo>
                  <a:lnTo>
                    <a:pt x="40" y="1381"/>
                  </a:lnTo>
                  <a:lnTo>
                    <a:pt x="40" y="1381"/>
                  </a:lnTo>
                  <a:lnTo>
                    <a:pt x="40" y="1381"/>
                  </a:lnTo>
                  <a:lnTo>
                    <a:pt x="40" y="1381"/>
                  </a:lnTo>
                  <a:lnTo>
                    <a:pt x="40" y="1381"/>
                  </a:lnTo>
                  <a:lnTo>
                    <a:pt x="40" y="1381"/>
                  </a:lnTo>
                  <a:lnTo>
                    <a:pt x="44" y="1381"/>
                  </a:lnTo>
                  <a:lnTo>
                    <a:pt x="40" y="1386"/>
                  </a:lnTo>
                  <a:lnTo>
                    <a:pt x="44" y="1386"/>
                  </a:lnTo>
                  <a:lnTo>
                    <a:pt x="44" y="1386"/>
                  </a:lnTo>
                  <a:lnTo>
                    <a:pt x="44" y="1386"/>
                  </a:lnTo>
                  <a:lnTo>
                    <a:pt x="44" y="1386"/>
                  </a:lnTo>
                  <a:lnTo>
                    <a:pt x="44" y="1377"/>
                  </a:lnTo>
                  <a:lnTo>
                    <a:pt x="49" y="1377"/>
                  </a:lnTo>
                  <a:lnTo>
                    <a:pt x="49" y="1377"/>
                  </a:lnTo>
                  <a:lnTo>
                    <a:pt x="49" y="1377"/>
                  </a:lnTo>
                  <a:lnTo>
                    <a:pt x="49" y="1377"/>
                  </a:lnTo>
                  <a:lnTo>
                    <a:pt x="49" y="1377"/>
                  </a:lnTo>
                  <a:lnTo>
                    <a:pt x="49" y="1377"/>
                  </a:lnTo>
                  <a:lnTo>
                    <a:pt x="49" y="1377"/>
                  </a:lnTo>
                  <a:lnTo>
                    <a:pt x="49" y="1381"/>
                  </a:lnTo>
                  <a:lnTo>
                    <a:pt x="49" y="1381"/>
                  </a:lnTo>
                  <a:lnTo>
                    <a:pt x="49" y="1381"/>
                  </a:lnTo>
                  <a:lnTo>
                    <a:pt x="53" y="1381"/>
                  </a:lnTo>
                  <a:lnTo>
                    <a:pt x="49" y="1381"/>
                  </a:lnTo>
                  <a:lnTo>
                    <a:pt x="49" y="1386"/>
                  </a:lnTo>
                  <a:lnTo>
                    <a:pt x="49" y="1386"/>
                  </a:lnTo>
                  <a:lnTo>
                    <a:pt x="49" y="1386"/>
                  </a:lnTo>
                  <a:lnTo>
                    <a:pt x="49" y="1386"/>
                  </a:lnTo>
                  <a:lnTo>
                    <a:pt x="49" y="1386"/>
                  </a:lnTo>
                  <a:lnTo>
                    <a:pt x="49" y="1386"/>
                  </a:lnTo>
                  <a:lnTo>
                    <a:pt x="49" y="1386"/>
                  </a:lnTo>
                  <a:lnTo>
                    <a:pt x="53" y="1386"/>
                  </a:lnTo>
                  <a:lnTo>
                    <a:pt x="53" y="1386"/>
                  </a:lnTo>
                  <a:lnTo>
                    <a:pt x="53" y="1386"/>
                  </a:lnTo>
                  <a:lnTo>
                    <a:pt x="53" y="1390"/>
                  </a:lnTo>
                  <a:lnTo>
                    <a:pt x="53" y="1390"/>
                  </a:lnTo>
                  <a:lnTo>
                    <a:pt x="53" y="1390"/>
                  </a:lnTo>
                  <a:lnTo>
                    <a:pt x="53" y="1390"/>
                  </a:lnTo>
                  <a:lnTo>
                    <a:pt x="53" y="1390"/>
                  </a:lnTo>
                  <a:lnTo>
                    <a:pt x="53" y="1390"/>
                  </a:lnTo>
                  <a:lnTo>
                    <a:pt x="53" y="1395"/>
                  </a:lnTo>
                  <a:lnTo>
                    <a:pt x="53" y="1395"/>
                  </a:lnTo>
                  <a:lnTo>
                    <a:pt x="53" y="1395"/>
                  </a:lnTo>
                  <a:lnTo>
                    <a:pt x="49" y="1395"/>
                  </a:lnTo>
                  <a:lnTo>
                    <a:pt x="49" y="1395"/>
                  </a:lnTo>
                  <a:lnTo>
                    <a:pt x="49" y="1395"/>
                  </a:lnTo>
                  <a:lnTo>
                    <a:pt x="53" y="1395"/>
                  </a:lnTo>
                  <a:lnTo>
                    <a:pt x="53" y="1395"/>
                  </a:lnTo>
                  <a:lnTo>
                    <a:pt x="53" y="1395"/>
                  </a:lnTo>
                  <a:lnTo>
                    <a:pt x="53" y="1399"/>
                  </a:lnTo>
                  <a:lnTo>
                    <a:pt x="53" y="1399"/>
                  </a:lnTo>
                  <a:lnTo>
                    <a:pt x="49" y="1399"/>
                  </a:lnTo>
                  <a:lnTo>
                    <a:pt x="53" y="1399"/>
                  </a:lnTo>
                  <a:lnTo>
                    <a:pt x="53" y="1399"/>
                  </a:lnTo>
                  <a:lnTo>
                    <a:pt x="53" y="1399"/>
                  </a:lnTo>
                  <a:lnTo>
                    <a:pt x="53" y="1399"/>
                  </a:lnTo>
                  <a:lnTo>
                    <a:pt x="58" y="1399"/>
                  </a:lnTo>
                  <a:lnTo>
                    <a:pt x="53" y="1399"/>
                  </a:lnTo>
                  <a:lnTo>
                    <a:pt x="53" y="1404"/>
                  </a:lnTo>
                  <a:lnTo>
                    <a:pt x="53" y="1404"/>
                  </a:lnTo>
                  <a:lnTo>
                    <a:pt x="58" y="1404"/>
                  </a:lnTo>
                  <a:lnTo>
                    <a:pt x="58" y="1404"/>
                  </a:lnTo>
                  <a:lnTo>
                    <a:pt x="58" y="1404"/>
                  </a:lnTo>
                  <a:lnTo>
                    <a:pt x="58" y="1404"/>
                  </a:lnTo>
                  <a:lnTo>
                    <a:pt x="58" y="1408"/>
                  </a:lnTo>
                  <a:lnTo>
                    <a:pt x="58" y="1408"/>
                  </a:lnTo>
                  <a:lnTo>
                    <a:pt x="58" y="1408"/>
                  </a:lnTo>
                  <a:lnTo>
                    <a:pt x="58" y="1412"/>
                  </a:lnTo>
                  <a:lnTo>
                    <a:pt x="58" y="1412"/>
                  </a:lnTo>
                  <a:lnTo>
                    <a:pt x="58" y="1412"/>
                  </a:lnTo>
                  <a:lnTo>
                    <a:pt x="58" y="1412"/>
                  </a:lnTo>
                  <a:lnTo>
                    <a:pt x="58" y="1417"/>
                  </a:lnTo>
                  <a:lnTo>
                    <a:pt x="62" y="1417"/>
                  </a:lnTo>
                  <a:lnTo>
                    <a:pt x="62" y="1417"/>
                  </a:lnTo>
                  <a:lnTo>
                    <a:pt x="62" y="1417"/>
                  </a:lnTo>
                  <a:lnTo>
                    <a:pt x="62" y="1421"/>
                  </a:lnTo>
                  <a:lnTo>
                    <a:pt x="62" y="1421"/>
                  </a:lnTo>
                  <a:lnTo>
                    <a:pt x="62" y="1421"/>
                  </a:lnTo>
                  <a:lnTo>
                    <a:pt x="62" y="1421"/>
                  </a:lnTo>
                  <a:lnTo>
                    <a:pt x="62" y="1421"/>
                  </a:lnTo>
                  <a:lnTo>
                    <a:pt x="62" y="1421"/>
                  </a:lnTo>
                  <a:lnTo>
                    <a:pt x="62" y="1421"/>
                  </a:lnTo>
                  <a:lnTo>
                    <a:pt x="62" y="1426"/>
                  </a:lnTo>
                  <a:lnTo>
                    <a:pt x="62" y="1426"/>
                  </a:lnTo>
                  <a:lnTo>
                    <a:pt x="62" y="1426"/>
                  </a:lnTo>
                  <a:lnTo>
                    <a:pt x="67" y="1430"/>
                  </a:lnTo>
                  <a:lnTo>
                    <a:pt x="67" y="1430"/>
                  </a:lnTo>
                  <a:lnTo>
                    <a:pt x="67" y="1430"/>
                  </a:lnTo>
                  <a:lnTo>
                    <a:pt x="71" y="1430"/>
                  </a:lnTo>
                  <a:lnTo>
                    <a:pt x="71" y="1430"/>
                  </a:lnTo>
                  <a:lnTo>
                    <a:pt x="71" y="1435"/>
                  </a:lnTo>
                  <a:lnTo>
                    <a:pt x="71" y="1435"/>
                  </a:lnTo>
                  <a:lnTo>
                    <a:pt x="71" y="1435"/>
                  </a:lnTo>
                  <a:lnTo>
                    <a:pt x="75" y="1435"/>
                  </a:lnTo>
                  <a:lnTo>
                    <a:pt x="75" y="1435"/>
                  </a:lnTo>
                  <a:lnTo>
                    <a:pt x="75" y="1435"/>
                  </a:lnTo>
                  <a:lnTo>
                    <a:pt x="75" y="1435"/>
                  </a:lnTo>
                  <a:lnTo>
                    <a:pt x="75" y="1435"/>
                  </a:lnTo>
                  <a:lnTo>
                    <a:pt x="75" y="1439"/>
                  </a:lnTo>
                  <a:lnTo>
                    <a:pt x="75" y="1439"/>
                  </a:lnTo>
                  <a:lnTo>
                    <a:pt x="75" y="1439"/>
                  </a:lnTo>
                  <a:lnTo>
                    <a:pt x="80" y="1443"/>
                  </a:lnTo>
                  <a:lnTo>
                    <a:pt x="80" y="1448"/>
                  </a:lnTo>
                  <a:lnTo>
                    <a:pt x="80" y="1448"/>
                  </a:lnTo>
                  <a:lnTo>
                    <a:pt x="80" y="1448"/>
                  </a:lnTo>
                  <a:lnTo>
                    <a:pt x="80" y="1448"/>
                  </a:lnTo>
                  <a:lnTo>
                    <a:pt x="80" y="1452"/>
                  </a:lnTo>
                  <a:lnTo>
                    <a:pt x="84" y="1452"/>
                  </a:lnTo>
                  <a:lnTo>
                    <a:pt x="84" y="1452"/>
                  </a:lnTo>
                  <a:lnTo>
                    <a:pt x="84" y="1452"/>
                  </a:lnTo>
                  <a:lnTo>
                    <a:pt x="84" y="1452"/>
                  </a:lnTo>
                  <a:lnTo>
                    <a:pt x="89" y="1452"/>
                  </a:lnTo>
                  <a:lnTo>
                    <a:pt x="89" y="1452"/>
                  </a:lnTo>
                  <a:lnTo>
                    <a:pt x="93" y="1452"/>
                  </a:lnTo>
                  <a:lnTo>
                    <a:pt x="93" y="1457"/>
                  </a:lnTo>
                  <a:lnTo>
                    <a:pt x="93" y="1461"/>
                  </a:lnTo>
                  <a:lnTo>
                    <a:pt x="93" y="1466"/>
                  </a:lnTo>
                  <a:lnTo>
                    <a:pt x="93" y="1466"/>
                  </a:lnTo>
                  <a:lnTo>
                    <a:pt x="93" y="1466"/>
                  </a:lnTo>
                  <a:lnTo>
                    <a:pt x="93" y="1470"/>
                  </a:lnTo>
                  <a:lnTo>
                    <a:pt x="93" y="1470"/>
                  </a:lnTo>
                  <a:lnTo>
                    <a:pt x="93" y="1474"/>
                  </a:lnTo>
                  <a:lnTo>
                    <a:pt x="89" y="1474"/>
                  </a:lnTo>
                  <a:lnTo>
                    <a:pt x="84" y="1470"/>
                  </a:lnTo>
                  <a:lnTo>
                    <a:pt x="80" y="1474"/>
                  </a:lnTo>
                  <a:lnTo>
                    <a:pt x="80" y="1474"/>
                  </a:lnTo>
                  <a:lnTo>
                    <a:pt x="80" y="1479"/>
                  </a:lnTo>
                  <a:lnTo>
                    <a:pt x="84" y="1483"/>
                  </a:lnTo>
                  <a:lnTo>
                    <a:pt x="84" y="1488"/>
                  </a:lnTo>
                  <a:lnTo>
                    <a:pt x="89" y="1488"/>
                  </a:lnTo>
                  <a:lnTo>
                    <a:pt x="89" y="1488"/>
                  </a:lnTo>
                  <a:lnTo>
                    <a:pt x="89" y="1492"/>
                  </a:lnTo>
                  <a:lnTo>
                    <a:pt x="89" y="1492"/>
                  </a:lnTo>
                  <a:lnTo>
                    <a:pt x="89" y="1492"/>
                  </a:lnTo>
                  <a:lnTo>
                    <a:pt x="89" y="1492"/>
                  </a:lnTo>
                  <a:lnTo>
                    <a:pt x="84" y="1492"/>
                  </a:lnTo>
                  <a:lnTo>
                    <a:pt x="84" y="1492"/>
                  </a:lnTo>
                  <a:lnTo>
                    <a:pt x="84" y="1492"/>
                  </a:lnTo>
                  <a:lnTo>
                    <a:pt x="84" y="1497"/>
                  </a:lnTo>
                  <a:lnTo>
                    <a:pt x="84" y="1497"/>
                  </a:lnTo>
                  <a:lnTo>
                    <a:pt x="84" y="1492"/>
                  </a:lnTo>
                  <a:lnTo>
                    <a:pt x="80" y="1492"/>
                  </a:lnTo>
                  <a:lnTo>
                    <a:pt x="80" y="1492"/>
                  </a:lnTo>
                  <a:lnTo>
                    <a:pt x="80" y="1492"/>
                  </a:lnTo>
                  <a:lnTo>
                    <a:pt x="80" y="1492"/>
                  </a:lnTo>
                  <a:lnTo>
                    <a:pt x="80" y="1492"/>
                  </a:lnTo>
                  <a:lnTo>
                    <a:pt x="71" y="1488"/>
                  </a:lnTo>
                  <a:lnTo>
                    <a:pt x="71" y="1488"/>
                  </a:lnTo>
                  <a:lnTo>
                    <a:pt x="71" y="1488"/>
                  </a:lnTo>
                  <a:lnTo>
                    <a:pt x="71" y="1492"/>
                  </a:lnTo>
                  <a:lnTo>
                    <a:pt x="75" y="1497"/>
                  </a:lnTo>
                  <a:lnTo>
                    <a:pt x="75" y="1497"/>
                  </a:lnTo>
                  <a:lnTo>
                    <a:pt x="75" y="1497"/>
                  </a:lnTo>
                  <a:lnTo>
                    <a:pt x="75" y="1501"/>
                  </a:lnTo>
                  <a:lnTo>
                    <a:pt x="75" y="1505"/>
                  </a:lnTo>
                  <a:lnTo>
                    <a:pt x="75" y="1505"/>
                  </a:lnTo>
                  <a:lnTo>
                    <a:pt x="84" y="1510"/>
                  </a:lnTo>
                  <a:lnTo>
                    <a:pt x="84" y="1510"/>
                  </a:lnTo>
                  <a:lnTo>
                    <a:pt x="84" y="1514"/>
                  </a:lnTo>
                  <a:lnTo>
                    <a:pt x="84" y="1514"/>
                  </a:lnTo>
                  <a:lnTo>
                    <a:pt x="84" y="1514"/>
                  </a:lnTo>
                  <a:lnTo>
                    <a:pt x="84" y="1514"/>
                  </a:lnTo>
                  <a:lnTo>
                    <a:pt x="84" y="1519"/>
                  </a:lnTo>
                  <a:lnTo>
                    <a:pt x="84" y="1519"/>
                  </a:lnTo>
                  <a:lnTo>
                    <a:pt x="84" y="1519"/>
                  </a:lnTo>
                  <a:lnTo>
                    <a:pt x="89" y="1523"/>
                  </a:lnTo>
                  <a:lnTo>
                    <a:pt x="89" y="1523"/>
                  </a:lnTo>
                  <a:lnTo>
                    <a:pt x="89" y="1523"/>
                  </a:lnTo>
                  <a:lnTo>
                    <a:pt x="89" y="1523"/>
                  </a:lnTo>
                  <a:lnTo>
                    <a:pt x="89" y="1523"/>
                  </a:lnTo>
                  <a:lnTo>
                    <a:pt x="89" y="1523"/>
                  </a:lnTo>
                  <a:lnTo>
                    <a:pt x="89" y="1523"/>
                  </a:lnTo>
                  <a:lnTo>
                    <a:pt x="89" y="1528"/>
                  </a:lnTo>
                  <a:lnTo>
                    <a:pt x="89" y="1528"/>
                  </a:lnTo>
                  <a:lnTo>
                    <a:pt x="93" y="1528"/>
                  </a:lnTo>
                  <a:lnTo>
                    <a:pt x="93" y="1532"/>
                  </a:lnTo>
                  <a:lnTo>
                    <a:pt x="93" y="1536"/>
                  </a:lnTo>
                  <a:lnTo>
                    <a:pt x="93" y="1536"/>
                  </a:lnTo>
                  <a:lnTo>
                    <a:pt x="93" y="1536"/>
                  </a:lnTo>
                  <a:lnTo>
                    <a:pt x="93" y="1536"/>
                  </a:lnTo>
                  <a:lnTo>
                    <a:pt x="93" y="1536"/>
                  </a:lnTo>
                  <a:lnTo>
                    <a:pt x="93" y="1541"/>
                  </a:lnTo>
                  <a:lnTo>
                    <a:pt x="93" y="1541"/>
                  </a:lnTo>
                  <a:lnTo>
                    <a:pt x="98" y="1541"/>
                  </a:lnTo>
                  <a:lnTo>
                    <a:pt x="98" y="1541"/>
                  </a:lnTo>
                  <a:lnTo>
                    <a:pt x="98" y="1541"/>
                  </a:lnTo>
                  <a:lnTo>
                    <a:pt x="98" y="1541"/>
                  </a:lnTo>
                  <a:lnTo>
                    <a:pt x="98" y="1541"/>
                  </a:lnTo>
                  <a:lnTo>
                    <a:pt x="102" y="1545"/>
                  </a:lnTo>
                  <a:lnTo>
                    <a:pt x="102" y="1545"/>
                  </a:lnTo>
                  <a:lnTo>
                    <a:pt x="102" y="1545"/>
                  </a:lnTo>
                  <a:lnTo>
                    <a:pt x="102" y="1545"/>
                  </a:lnTo>
                  <a:lnTo>
                    <a:pt x="102" y="1550"/>
                  </a:lnTo>
                  <a:lnTo>
                    <a:pt x="102" y="1550"/>
                  </a:lnTo>
                  <a:lnTo>
                    <a:pt x="98" y="1550"/>
                  </a:lnTo>
                  <a:lnTo>
                    <a:pt x="98" y="1554"/>
                  </a:lnTo>
                  <a:lnTo>
                    <a:pt x="93" y="1554"/>
                  </a:lnTo>
                  <a:lnTo>
                    <a:pt x="93" y="1559"/>
                  </a:lnTo>
                  <a:lnTo>
                    <a:pt x="93" y="1559"/>
                  </a:lnTo>
                  <a:lnTo>
                    <a:pt x="98" y="1563"/>
                  </a:lnTo>
                  <a:lnTo>
                    <a:pt x="98" y="1567"/>
                  </a:lnTo>
                  <a:lnTo>
                    <a:pt x="98" y="1567"/>
                  </a:lnTo>
                  <a:lnTo>
                    <a:pt x="98" y="1567"/>
                  </a:lnTo>
                  <a:lnTo>
                    <a:pt x="98" y="1567"/>
                  </a:lnTo>
                  <a:lnTo>
                    <a:pt x="98" y="1567"/>
                  </a:lnTo>
                  <a:lnTo>
                    <a:pt x="98" y="1567"/>
                  </a:lnTo>
                  <a:lnTo>
                    <a:pt x="93" y="1572"/>
                  </a:lnTo>
                  <a:lnTo>
                    <a:pt x="93" y="1572"/>
                  </a:lnTo>
                  <a:lnTo>
                    <a:pt x="93" y="1567"/>
                  </a:lnTo>
                  <a:lnTo>
                    <a:pt x="93" y="1567"/>
                  </a:lnTo>
                  <a:lnTo>
                    <a:pt x="93" y="1567"/>
                  </a:lnTo>
                  <a:lnTo>
                    <a:pt x="93" y="1567"/>
                  </a:lnTo>
                  <a:lnTo>
                    <a:pt x="89" y="1567"/>
                  </a:lnTo>
                  <a:lnTo>
                    <a:pt x="89" y="1572"/>
                  </a:lnTo>
                  <a:lnTo>
                    <a:pt x="89" y="1572"/>
                  </a:lnTo>
                  <a:lnTo>
                    <a:pt x="89" y="1572"/>
                  </a:lnTo>
                  <a:lnTo>
                    <a:pt x="93" y="1572"/>
                  </a:lnTo>
                  <a:lnTo>
                    <a:pt x="93" y="1572"/>
                  </a:lnTo>
                  <a:lnTo>
                    <a:pt x="93" y="1572"/>
                  </a:lnTo>
                  <a:lnTo>
                    <a:pt x="93" y="1572"/>
                  </a:lnTo>
                  <a:lnTo>
                    <a:pt x="93" y="1572"/>
                  </a:lnTo>
                  <a:lnTo>
                    <a:pt x="93" y="1572"/>
                  </a:lnTo>
                  <a:lnTo>
                    <a:pt x="98" y="1572"/>
                  </a:lnTo>
                  <a:lnTo>
                    <a:pt x="98" y="1572"/>
                  </a:lnTo>
                  <a:lnTo>
                    <a:pt x="98" y="1572"/>
                  </a:lnTo>
                  <a:lnTo>
                    <a:pt x="98" y="1572"/>
                  </a:lnTo>
                  <a:lnTo>
                    <a:pt x="98" y="1572"/>
                  </a:lnTo>
                  <a:lnTo>
                    <a:pt x="98" y="1572"/>
                  </a:lnTo>
                  <a:lnTo>
                    <a:pt x="102" y="1572"/>
                  </a:lnTo>
                  <a:lnTo>
                    <a:pt x="102" y="1572"/>
                  </a:lnTo>
                  <a:lnTo>
                    <a:pt x="102" y="1572"/>
                  </a:lnTo>
                  <a:lnTo>
                    <a:pt x="106" y="1572"/>
                  </a:lnTo>
                  <a:lnTo>
                    <a:pt x="111" y="1576"/>
                  </a:lnTo>
                  <a:lnTo>
                    <a:pt x="115" y="1576"/>
                  </a:lnTo>
                  <a:lnTo>
                    <a:pt x="120" y="1576"/>
                  </a:lnTo>
                  <a:lnTo>
                    <a:pt x="120" y="1576"/>
                  </a:lnTo>
                  <a:lnTo>
                    <a:pt x="124" y="1572"/>
                  </a:lnTo>
                  <a:lnTo>
                    <a:pt x="128" y="1572"/>
                  </a:lnTo>
                  <a:lnTo>
                    <a:pt x="128" y="1572"/>
                  </a:lnTo>
                  <a:lnTo>
                    <a:pt x="128" y="1572"/>
                  </a:lnTo>
                  <a:lnTo>
                    <a:pt x="128" y="1572"/>
                  </a:lnTo>
                  <a:lnTo>
                    <a:pt x="133" y="1572"/>
                  </a:lnTo>
                  <a:lnTo>
                    <a:pt x="133" y="1572"/>
                  </a:lnTo>
                  <a:lnTo>
                    <a:pt x="133" y="1567"/>
                  </a:lnTo>
                  <a:lnTo>
                    <a:pt x="137" y="1567"/>
                  </a:lnTo>
                  <a:lnTo>
                    <a:pt x="142" y="1567"/>
                  </a:lnTo>
                  <a:lnTo>
                    <a:pt x="142" y="1567"/>
                  </a:lnTo>
                  <a:lnTo>
                    <a:pt x="142" y="1567"/>
                  </a:lnTo>
                  <a:lnTo>
                    <a:pt x="146" y="1567"/>
                  </a:lnTo>
                  <a:lnTo>
                    <a:pt x="146" y="1567"/>
                  </a:lnTo>
                  <a:lnTo>
                    <a:pt x="146" y="1567"/>
                  </a:lnTo>
                  <a:lnTo>
                    <a:pt x="151" y="1567"/>
                  </a:lnTo>
                  <a:lnTo>
                    <a:pt x="151" y="1572"/>
                  </a:lnTo>
                  <a:lnTo>
                    <a:pt x="155" y="1572"/>
                  </a:lnTo>
                  <a:lnTo>
                    <a:pt x="155" y="1572"/>
                  </a:lnTo>
                  <a:lnTo>
                    <a:pt x="159" y="1572"/>
                  </a:lnTo>
                  <a:lnTo>
                    <a:pt x="159" y="1572"/>
                  </a:lnTo>
                  <a:lnTo>
                    <a:pt x="159" y="1572"/>
                  </a:lnTo>
                  <a:lnTo>
                    <a:pt x="164" y="1572"/>
                  </a:lnTo>
                  <a:lnTo>
                    <a:pt x="164" y="1567"/>
                  </a:lnTo>
                  <a:lnTo>
                    <a:pt x="164" y="1567"/>
                  </a:lnTo>
                  <a:lnTo>
                    <a:pt x="168" y="1563"/>
                  </a:lnTo>
                  <a:lnTo>
                    <a:pt x="168" y="1563"/>
                  </a:lnTo>
                  <a:lnTo>
                    <a:pt x="168" y="1559"/>
                  </a:lnTo>
                  <a:lnTo>
                    <a:pt x="168" y="1559"/>
                  </a:lnTo>
                  <a:lnTo>
                    <a:pt x="168" y="1559"/>
                  </a:lnTo>
                  <a:lnTo>
                    <a:pt x="168" y="1554"/>
                  </a:lnTo>
                  <a:lnTo>
                    <a:pt x="168" y="1550"/>
                  </a:lnTo>
                  <a:lnTo>
                    <a:pt x="164" y="1550"/>
                  </a:lnTo>
                  <a:lnTo>
                    <a:pt x="164" y="1550"/>
                  </a:lnTo>
                  <a:lnTo>
                    <a:pt x="164" y="1550"/>
                  </a:lnTo>
                  <a:lnTo>
                    <a:pt x="164" y="1550"/>
                  </a:lnTo>
                  <a:lnTo>
                    <a:pt x="164" y="1545"/>
                  </a:lnTo>
                  <a:lnTo>
                    <a:pt x="164" y="1545"/>
                  </a:lnTo>
                  <a:lnTo>
                    <a:pt x="164" y="1545"/>
                  </a:lnTo>
                  <a:lnTo>
                    <a:pt x="164" y="1541"/>
                  </a:lnTo>
                  <a:lnTo>
                    <a:pt x="159" y="1541"/>
                  </a:lnTo>
                  <a:lnTo>
                    <a:pt x="159" y="1541"/>
                  </a:lnTo>
                  <a:lnTo>
                    <a:pt x="159" y="1536"/>
                  </a:lnTo>
                  <a:lnTo>
                    <a:pt x="164" y="1532"/>
                  </a:lnTo>
                  <a:lnTo>
                    <a:pt x="164" y="1528"/>
                  </a:lnTo>
                  <a:lnTo>
                    <a:pt x="164" y="1528"/>
                  </a:lnTo>
                  <a:lnTo>
                    <a:pt x="168" y="1523"/>
                  </a:lnTo>
                  <a:lnTo>
                    <a:pt x="168" y="1523"/>
                  </a:lnTo>
                  <a:lnTo>
                    <a:pt x="168" y="1523"/>
                  </a:lnTo>
                  <a:lnTo>
                    <a:pt x="168" y="1519"/>
                  </a:lnTo>
                  <a:lnTo>
                    <a:pt x="168" y="1519"/>
                  </a:lnTo>
                  <a:lnTo>
                    <a:pt x="173" y="1519"/>
                  </a:lnTo>
                  <a:lnTo>
                    <a:pt x="173" y="1519"/>
                  </a:lnTo>
                  <a:lnTo>
                    <a:pt x="173" y="1514"/>
                  </a:lnTo>
                  <a:lnTo>
                    <a:pt x="177" y="1514"/>
                  </a:lnTo>
                  <a:lnTo>
                    <a:pt x="177" y="1510"/>
                  </a:lnTo>
                  <a:lnTo>
                    <a:pt x="177" y="1510"/>
                  </a:lnTo>
                  <a:lnTo>
                    <a:pt x="177" y="1510"/>
                  </a:lnTo>
                  <a:lnTo>
                    <a:pt x="182" y="1510"/>
                  </a:lnTo>
                  <a:lnTo>
                    <a:pt x="182" y="1510"/>
                  </a:lnTo>
                  <a:lnTo>
                    <a:pt x="182" y="1510"/>
                  </a:lnTo>
                  <a:lnTo>
                    <a:pt x="182" y="1510"/>
                  </a:lnTo>
                  <a:lnTo>
                    <a:pt x="182" y="1510"/>
                  </a:lnTo>
                  <a:lnTo>
                    <a:pt x="182" y="1510"/>
                  </a:lnTo>
                  <a:lnTo>
                    <a:pt x="182" y="1510"/>
                  </a:lnTo>
                  <a:lnTo>
                    <a:pt x="182" y="1510"/>
                  </a:lnTo>
                  <a:lnTo>
                    <a:pt x="182" y="1514"/>
                  </a:lnTo>
                  <a:lnTo>
                    <a:pt x="182" y="1514"/>
                  </a:lnTo>
                  <a:lnTo>
                    <a:pt x="182" y="1514"/>
                  </a:lnTo>
                  <a:lnTo>
                    <a:pt x="182" y="1514"/>
                  </a:lnTo>
                  <a:lnTo>
                    <a:pt x="182" y="1514"/>
                  </a:lnTo>
                  <a:lnTo>
                    <a:pt x="186" y="1514"/>
                  </a:lnTo>
                  <a:lnTo>
                    <a:pt x="186" y="1514"/>
                  </a:lnTo>
                  <a:lnTo>
                    <a:pt x="186" y="1514"/>
                  </a:lnTo>
                  <a:lnTo>
                    <a:pt x="186" y="1514"/>
                  </a:lnTo>
                  <a:lnTo>
                    <a:pt x="186" y="1514"/>
                  </a:lnTo>
                  <a:lnTo>
                    <a:pt x="186" y="1514"/>
                  </a:lnTo>
                  <a:lnTo>
                    <a:pt x="186" y="1514"/>
                  </a:lnTo>
                  <a:lnTo>
                    <a:pt x="190" y="1514"/>
                  </a:lnTo>
                  <a:lnTo>
                    <a:pt x="190" y="1514"/>
                  </a:lnTo>
                  <a:lnTo>
                    <a:pt x="190" y="1514"/>
                  </a:lnTo>
                  <a:lnTo>
                    <a:pt x="190" y="1514"/>
                  </a:lnTo>
                  <a:lnTo>
                    <a:pt x="190" y="1514"/>
                  </a:lnTo>
                  <a:lnTo>
                    <a:pt x="190" y="1514"/>
                  </a:lnTo>
                  <a:lnTo>
                    <a:pt x="190" y="1514"/>
                  </a:lnTo>
                  <a:lnTo>
                    <a:pt x="190" y="1510"/>
                  </a:lnTo>
                  <a:lnTo>
                    <a:pt x="190" y="1510"/>
                  </a:lnTo>
                  <a:lnTo>
                    <a:pt x="190" y="1505"/>
                  </a:lnTo>
                  <a:lnTo>
                    <a:pt x="190" y="1505"/>
                  </a:lnTo>
                  <a:lnTo>
                    <a:pt x="190" y="1505"/>
                  </a:lnTo>
                  <a:lnTo>
                    <a:pt x="186" y="1505"/>
                  </a:lnTo>
                  <a:lnTo>
                    <a:pt x="186" y="1505"/>
                  </a:lnTo>
                  <a:lnTo>
                    <a:pt x="186" y="1505"/>
                  </a:lnTo>
                  <a:lnTo>
                    <a:pt x="186" y="1505"/>
                  </a:lnTo>
                  <a:lnTo>
                    <a:pt x="186" y="1501"/>
                  </a:lnTo>
                  <a:lnTo>
                    <a:pt x="186" y="1501"/>
                  </a:lnTo>
                  <a:lnTo>
                    <a:pt x="186" y="1501"/>
                  </a:lnTo>
                  <a:lnTo>
                    <a:pt x="190" y="1501"/>
                  </a:lnTo>
                  <a:lnTo>
                    <a:pt x="190" y="1501"/>
                  </a:lnTo>
                  <a:lnTo>
                    <a:pt x="195" y="1501"/>
                  </a:lnTo>
                  <a:lnTo>
                    <a:pt x="195" y="1501"/>
                  </a:lnTo>
                  <a:lnTo>
                    <a:pt x="195" y="1501"/>
                  </a:lnTo>
                  <a:lnTo>
                    <a:pt x="195" y="1501"/>
                  </a:lnTo>
                  <a:lnTo>
                    <a:pt x="195" y="1501"/>
                  </a:lnTo>
                  <a:lnTo>
                    <a:pt x="195" y="1501"/>
                  </a:lnTo>
                  <a:lnTo>
                    <a:pt x="199" y="1501"/>
                  </a:lnTo>
                  <a:lnTo>
                    <a:pt x="199" y="1501"/>
                  </a:lnTo>
                  <a:lnTo>
                    <a:pt x="199" y="1501"/>
                  </a:lnTo>
                  <a:lnTo>
                    <a:pt x="204" y="1501"/>
                  </a:lnTo>
                  <a:lnTo>
                    <a:pt x="208" y="1501"/>
                  </a:lnTo>
                  <a:lnTo>
                    <a:pt x="208" y="1501"/>
                  </a:lnTo>
                  <a:lnTo>
                    <a:pt x="204" y="1501"/>
                  </a:lnTo>
                  <a:lnTo>
                    <a:pt x="204" y="1497"/>
                  </a:lnTo>
                  <a:lnTo>
                    <a:pt x="204" y="1497"/>
                  </a:lnTo>
                  <a:lnTo>
                    <a:pt x="208" y="1497"/>
                  </a:lnTo>
                  <a:lnTo>
                    <a:pt x="208" y="1497"/>
                  </a:lnTo>
                  <a:lnTo>
                    <a:pt x="208" y="1497"/>
                  </a:lnTo>
                  <a:lnTo>
                    <a:pt x="208" y="1501"/>
                  </a:lnTo>
                  <a:lnTo>
                    <a:pt x="208" y="1501"/>
                  </a:lnTo>
                  <a:lnTo>
                    <a:pt x="213" y="1501"/>
                  </a:lnTo>
                  <a:lnTo>
                    <a:pt x="213" y="1501"/>
                  </a:lnTo>
                  <a:lnTo>
                    <a:pt x="213" y="1501"/>
                  </a:lnTo>
                  <a:lnTo>
                    <a:pt x="213" y="1501"/>
                  </a:lnTo>
                  <a:lnTo>
                    <a:pt x="213" y="1501"/>
                  </a:lnTo>
                  <a:lnTo>
                    <a:pt x="213" y="1501"/>
                  </a:lnTo>
                  <a:lnTo>
                    <a:pt x="217" y="1501"/>
                  </a:lnTo>
                  <a:lnTo>
                    <a:pt x="217" y="1501"/>
                  </a:lnTo>
                  <a:lnTo>
                    <a:pt x="217" y="1497"/>
                  </a:lnTo>
                  <a:lnTo>
                    <a:pt x="221" y="1501"/>
                  </a:lnTo>
                  <a:lnTo>
                    <a:pt x="221" y="1501"/>
                  </a:lnTo>
                  <a:lnTo>
                    <a:pt x="221" y="1501"/>
                  </a:lnTo>
                  <a:lnTo>
                    <a:pt x="217" y="1501"/>
                  </a:lnTo>
                  <a:lnTo>
                    <a:pt x="221" y="1501"/>
                  </a:lnTo>
                  <a:lnTo>
                    <a:pt x="221" y="1501"/>
                  </a:lnTo>
                  <a:lnTo>
                    <a:pt x="221" y="1501"/>
                  </a:lnTo>
                  <a:lnTo>
                    <a:pt x="221" y="1501"/>
                  </a:lnTo>
                  <a:lnTo>
                    <a:pt x="221" y="1501"/>
                  </a:lnTo>
                  <a:lnTo>
                    <a:pt x="221" y="1501"/>
                  </a:lnTo>
                  <a:lnTo>
                    <a:pt x="226" y="1501"/>
                  </a:lnTo>
                  <a:lnTo>
                    <a:pt x="226" y="1497"/>
                  </a:lnTo>
                  <a:lnTo>
                    <a:pt x="226" y="1497"/>
                  </a:lnTo>
                  <a:lnTo>
                    <a:pt x="226" y="1497"/>
                  </a:lnTo>
                  <a:lnTo>
                    <a:pt x="226" y="1501"/>
                  </a:lnTo>
                  <a:lnTo>
                    <a:pt x="226" y="1501"/>
                  </a:lnTo>
                  <a:lnTo>
                    <a:pt x="226" y="1501"/>
                  </a:lnTo>
                  <a:lnTo>
                    <a:pt x="230" y="1501"/>
                  </a:lnTo>
                  <a:lnTo>
                    <a:pt x="230" y="1501"/>
                  </a:lnTo>
                  <a:lnTo>
                    <a:pt x="230" y="1501"/>
                  </a:lnTo>
                  <a:lnTo>
                    <a:pt x="230" y="1501"/>
                  </a:lnTo>
                  <a:lnTo>
                    <a:pt x="230" y="1497"/>
                  </a:lnTo>
                  <a:lnTo>
                    <a:pt x="235" y="1497"/>
                  </a:lnTo>
                  <a:lnTo>
                    <a:pt x="235" y="1497"/>
                  </a:lnTo>
                  <a:lnTo>
                    <a:pt x="235" y="1497"/>
                  </a:lnTo>
                  <a:lnTo>
                    <a:pt x="235" y="1497"/>
                  </a:lnTo>
                  <a:lnTo>
                    <a:pt x="235" y="1497"/>
                  </a:lnTo>
                  <a:lnTo>
                    <a:pt x="235" y="1501"/>
                  </a:lnTo>
                  <a:lnTo>
                    <a:pt x="235" y="1501"/>
                  </a:lnTo>
                  <a:lnTo>
                    <a:pt x="235" y="1501"/>
                  </a:lnTo>
                  <a:lnTo>
                    <a:pt x="235" y="1497"/>
                  </a:lnTo>
                  <a:lnTo>
                    <a:pt x="239" y="1497"/>
                  </a:lnTo>
                  <a:lnTo>
                    <a:pt x="239" y="1497"/>
                  </a:lnTo>
                  <a:lnTo>
                    <a:pt x="239" y="1497"/>
                  </a:lnTo>
                  <a:lnTo>
                    <a:pt x="239" y="1497"/>
                  </a:lnTo>
                  <a:lnTo>
                    <a:pt x="239" y="1497"/>
                  </a:lnTo>
                  <a:lnTo>
                    <a:pt x="239" y="1501"/>
                  </a:lnTo>
                  <a:lnTo>
                    <a:pt x="239" y="1501"/>
                  </a:lnTo>
                  <a:lnTo>
                    <a:pt x="239" y="1501"/>
                  </a:lnTo>
                  <a:lnTo>
                    <a:pt x="244" y="1501"/>
                  </a:lnTo>
                  <a:lnTo>
                    <a:pt x="244" y="1501"/>
                  </a:lnTo>
                  <a:lnTo>
                    <a:pt x="248" y="1501"/>
                  </a:lnTo>
                  <a:lnTo>
                    <a:pt x="248" y="1501"/>
                  </a:lnTo>
                  <a:lnTo>
                    <a:pt x="248" y="1501"/>
                  </a:lnTo>
                  <a:lnTo>
                    <a:pt x="244" y="1505"/>
                  </a:lnTo>
                  <a:lnTo>
                    <a:pt x="248" y="1505"/>
                  </a:lnTo>
                  <a:lnTo>
                    <a:pt x="248" y="1505"/>
                  </a:lnTo>
                  <a:lnTo>
                    <a:pt x="248" y="1505"/>
                  </a:lnTo>
                  <a:lnTo>
                    <a:pt x="248" y="1505"/>
                  </a:lnTo>
                  <a:lnTo>
                    <a:pt x="252" y="1501"/>
                  </a:lnTo>
                  <a:lnTo>
                    <a:pt x="252" y="1497"/>
                  </a:lnTo>
                  <a:lnTo>
                    <a:pt x="257" y="1497"/>
                  </a:lnTo>
                  <a:lnTo>
                    <a:pt x="257" y="1497"/>
                  </a:lnTo>
                  <a:lnTo>
                    <a:pt x="257" y="1492"/>
                  </a:lnTo>
                  <a:lnTo>
                    <a:pt x="257" y="1492"/>
                  </a:lnTo>
                  <a:lnTo>
                    <a:pt x="257" y="1492"/>
                  </a:lnTo>
                  <a:lnTo>
                    <a:pt x="257" y="1492"/>
                  </a:lnTo>
                  <a:lnTo>
                    <a:pt x="257" y="1492"/>
                  </a:lnTo>
                  <a:lnTo>
                    <a:pt x="261" y="1483"/>
                  </a:lnTo>
                  <a:lnTo>
                    <a:pt x="261" y="1474"/>
                  </a:lnTo>
                  <a:lnTo>
                    <a:pt x="261" y="1474"/>
                  </a:lnTo>
                  <a:lnTo>
                    <a:pt x="266" y="1466"/>
                  </a:lnTo>
                  <a:lnTo>
                    <a:pt x="266" y="1466"/>
                  </a:lnTo>
                  <a:lnTo>
                    <a:pt x="266" y="1466"/>
                  </a:lnTo>
                  <a:lnTo>
                    <a:pt x="266" y="1466"/>
                  </a:lnTo>
                  <a:lnTo>
                    <a:pt x="266" y="1466"/>
                  </a:lnTo>
                  <a:lnTo>
                    <a:pt x="266" y="1461"/>
                  </a:lnTo>
                  <a:lnTo>
                    <a:pt x="266" y="1461"/>
                  </a:lnTo>
                  <a:lnTo>
                    <a:pt x="270" y="1457"/>
                  </a:lnTo>
                  <a:lnTo>
                    <a:pt x="270" y="1457"/>
                  </a:lnTo>
                  <a:lnTo>
                    <a:pt x="270" y="1457"/>
                  </a:lnTo>
                  <a:lnTo>
                    <a:pt x="270" y="1457"/>
                  </a:lnTo>
                  <a:lnTo>
                    <a:pt x="270" y="1452"/>
                  </a:lnTo>
                  <a:lnTo>
                    <a:pt x="270" y="1452"/>
                  </a:lnTo>
                  <a:lnTo>
                    <a:pt x="270" y="1452"/>
                  </a:lnTo>
                  <a:lnTo>
                    <a:pt x="270" y="1452"/>
                  </a:lnTo>
                  <a:lnTo>
                    <a:pt x="270" y="1452"/>
                  </a:lnTo>
                  <a:lnTo>
                    <a:pt x="275" y="1452"/>
                  </a:lnTo>
                  <a:lnTo>
                    <a:pt x="275" y="1452"/>
                  </a:lnTo>
                  <a:lnTo>
                    <a:pt x="275" y="1452"/>
                  </a:lnTo>
                  <a:lnTo>
                    <a:pt x="275" y="1452"/>
                  </a:lnTo>
                  <a:lnTo>
                    <a:pt x="275" y="1452"/>
                  </a:lnTo>
                  <a:lnTo>
                    <a:pt x="275" y="1448"/>
                  </a:lnTo>
                  <a:lnTo>
                    <a:pt x="275" y="1448"/>
                  </a:lnTo>
                  <a:lnTo>
                    <a:pt x="275" y="1443"/>
                  </a:lnTo>
                  <a:lnTo>
                    <a:pt x="275" y="1443"/>
                  </a:lnTo>
                  <a:lnTo>
                    <a:pt x="275" y="1443"/>
                  </a:lnTo>
                  <a:lnTo>
                    <a:pt x="275" y="1443"/>
                  </a:lnTo>
                  <a:lnTo>
                    <a:pt x="279" y="1443"/>
                  </a:lnTo>
                  <a:lnTo>
                    <a:pt x="279" y="1443"/>
                  </a:lnTo>
                  <a:lnTo>
                    <a:pt x="279" y="1443"/>
                  </a:lnTo>
                  <a:lnTo>
                    <a:pt x="279" y="1443"/>
                  </a:lnTo>
                  <a:lnTo>
                    <a:pt x="279" y="1443"/>
                  </a:lnTo>
                  <a:lnTo>
                    <a:pt x="279" y="1443"/>
                  </a:lnTo>
                  <a:lnTo>
                    <a:pt x="283" y="1439"/>
                  </a:lnTo>
                  <a:lnTo>
                    <a:pt x="279" y="1439"/>
                  </a:lnTo>
                  <a:lnTo>
                    <a:pt x="279" y="1439"/>
                  </a:lnTo>
                  <a:lnTo>
                    <a:pt x="279" y="1439"/>
                  </a:lnTo>
                  <a:lnTo>
                    <a:pt x="279" y="1439"/>
                  </a:lnTo>
                  <a:lnTo>
                    <a:pt x="279" y="1439"/>
                  </a:lnTo>
                  <a:lnTo>
                    <a:pt x="279" y="1439"/>
                  </a:lnTo>
                  <a:lnTo>
                    <a:pt x="279" y="1439"/>
                  </a:lnTo>
                  <a:lnTo>
                    <a:pt x="279" y="1439"/>
                  </a:lnTo>
                  <a:lnTo>
                    <a:pt x="279" y="1435"/>
                  </a:lnTo>
                  <a:lnTo>
                    <a:pt x="279" y="1435"/>
                  </a:lnTo>
                  <a:lnTo>
                    <a:pt x="279" y="1430"/>
                  </a:lnTo>
                  <a:lnTo>
                    <a:pt x="279" y="1430"/>
                  </a:lnTo>
                  <a:lnTo>
                    <a:pt x="279" y="1430"/>
                  </a:lnTo>
                  <a:lnTo>
                    <a:pt x="279" y="1426"/>
                  </a:lnTo>
                  <a:lnTo>
                    <a:pt x="279" y="1426"/>
                  </a:lnTo>
                  <a:lnTo>
                    <a:pt x="279" y="1426"/>
                  </a:lnTo>
                  <a:lnTo>
                    <a:pt x="279" y="1426"/>
                  </a:lnTo>
                  <a:lnTo>
                    <a:pt x="279" y="1421"/>
                  </a:lnTo>
                  <a:lnTo>
                    <a:pt x="279" y="1421"/>
                  </a:lnTo>
                  <a:lnTo>
                    <a:pt x="279" y="1417"/>
                  </a:lnTo>
                  <a:lnTo>
                    <a:pt x="279" y="1417"/>
                  </a:lnTo>
                  <a:lnTo>
                    <a:pt x="283" y="1417"/>
                  </a:lnTo>
                  <a:lnTo>
                    <a:pt x="283" y="1417"/>
                  </a:lnTo>
                  <a:lnTo>
                    <a:pt x="279" y="1417"/>
                  </a:lnTo>
                  <a:lnTo>
                    <a:pt x="279" y="1417"/>
                  </a:lnTo>
                  <a:lnTo>
                    <a:pt x="279" y="1417"/>
                  </a:lnTo>
                  <a:lnTo>
                    <a:pt x="279" y="1417"/>
                  </a:lnTo>
                  <a:lnTo>
                    <a:pt x="279" y="1417"/>
                  </a:lnTo>
                  <a:lnTo>
                    <a:pt x="283" y="1417"/>
                  </a:lnTo>
                  <a:lnTo>
                    <a:pt x="283" y="1417"/>
                  </a:lnTo>
                  <a:lnTo>
                    <a:pt x="283" y="1417"/>
                  </a:lnTo>
                  <a:lnTo>
                    <a:pt x="283" y="1417"/>
                  </a:lnTo>
                  <a:lnTo>
                    <a:pt x="283" y="1417"/>
                  </a:lnTo>
                  <a:lnTo>
                    <a:pt x="283" y="1417"/>
                  </a:lnTo>
                  <a:lnTo>
                    <a:pt x="283" y="1417"/>
                  </a:lnTo>
                  <a:lnTo>
                    <a:pt x="283" y="1417"/>
                  </a:lnTo>
                  <a:lnTo>
                    <a:pt x="283" y="1412"/>
                  </a:lnTo>
                  <a:lnTo>
                    <a:pt x="283" y="1412"/>
                  </a:lnTo>
                  <a:lnTo>
                    <a:pt x="283" y="1412"/>
                  </a:lnTo>
                  <a:lnTo>
                    <a:pt x="283" y="1412"/>
                  </a:lnTo>
                  <a:lnTo>
                    <a:pt x="283" y="1412"/>
                  </a:lnTo>
                  <a:lnTo>
                    <a:pt x="283" y="1412"/>
                  </a:lnTo>
                  <a:lnTo>
                    <a:pt x="283" y="1412"/>
                  </a:lnTo>
                  <a:lnTo>
                    <a:pt x="283" y="1417"/>
                  </a:lnTo>
                  <a:lnTo>
                    <a:pt x="283" y="1417"/>
                  </a:lnTo>
                  <a:lnTo>
                    <a:pt x="288" y="1417"/>
                  </a:lnTo>
                  <a:lnTo>
                    <a:pt x="288" y="1417"/>
                  </a:lnTo>
                  <a:lnTo>
                    <a:pt x="288" y="1417"/>
                  </a:lnTo>
                  <a:lnTo>
                    <a:pt x="288" y="1412"/>
                  </a:lnTo>
                  <a:lnTo>
                    <a:pt x="283" y="1412"/>
                  </a:lnTo>
                  <a:lnTo>
                    <a:pt x="288" y="1412"/>
                  </a:lnTo>
                  <a:lnTo>
                    <a:pt x="283" y="1408"/>
                  </a:lnTo>
                  <a:lnTo>
                    <a:pt x="283" y="1408"/>
                  </a:lnTo>
                  <a:lnTo>
                    <a:pt x="283" y="1408"/>
                  </a:lnTo>
                  <a:lnTo>
                    <a:pt x="283" y="1408"/>
                  </a:lnTo>
                  <a:lnTo>
                    <a:pt x="283" y="1408"/>
                  </a:lnTo>
                  <a:lnTo>
                    <a:pt x="283" y="1408"/>
                  </a:lnTo>
                  <a:lnTo>
                    <a:pt x="283" y="1404"/>
                  </a:lnTo>
                  <a:lnTo>
                    <a:pt x="279" y="1404"/>
                  </a:lnTo>
                  <a:lnTo>
                    <a:pt x="279" y="1399"/>
                  </a:lnTo>
                  <a:lnTo>
                    <a:pt x="279" y="1399"/>
                  </a:lnTo>
                  <a:lnTo>
                    <a:pt x="283" y="1395"/>
                  </a:lnTo>
                  <a:lnTo>
                    <a:pt x="279" y="1395"/>
                  </a:lnTo>
                  <a:lnTo>
                    <a:pt x="283" y="1390"/>
                  </a:lnTo>
                  <a:lnTo>
                    <a:pt x="288" y="1390"/>
                  </a:lnTo>
                  <a:lnTo>
                    <a:pt x="283" y="1390"/>
                  </a:lnTo>
                  <a:lnTo>
                    <a:pt x="283" y="1386"/>
                  </a:lnTo>
                  <a:lnTo>
                    <a:pt x="288" y="1386"/>
                  </a:lnTo>
                  <a:lnTo>
                    <a:pt x="288" y="1386"/>
                  </a:lnTo>
                  <a:lnTo>
                    <a:pt x="283" y="1386"/>
                  </a:lnTo>
                  <a:lnTo>
                    <a:pt x="283" y="1381"/>
                  </a:lnTo>
                  <a:lnTo>
                    <a:pt x="288" y="1381"/>
                  </a:lnTo>
                  <a:lnTo>
                    <a:pt x="288" y="1381"/>
                  </a:lnTo>
                  <a:lnTo>
                    <a:pt x="288" y="1381"/>
                  </a:lnTo>
                  <a:lnTo>
                    <a:pt x="288" y="1381"/>
                  </a:lnTo>
                  <a:lnTo>
                    <a:pt x="292" y="1381"/>
                  </a:lnTo>
                  <a:lnTo>
                    <a:pt x="292" y="1381"/>
                  </a:lnTo>
                  <a:lnTo>
                    <a:pt x="292" y="1381"/>
                  </a:lnTo>
                  <a:lnTo>
                    <a:pt x="288" y="1377"/>
                  </a:lnTo>
                  <a:lnTo>
                    <a:pt x="288" y="1377"/>
                  </a:lnTo>
                  <a:lnTo>
                    <a:pt x="288" y="1377"/>
                  </a:lnTo>
                  <a:lnTo>
                    <a:pt x="292" y="1377"/>
                  </a:lnTo>
                  <a:lnTo>
                    <a:pt x="292" y="1377"/>
                  </a:lnTo>
                  <a:lnTo>
                    <a:pt x="292" y="1377"/>
                  </a:lnTo>
                  <a:lnTo>
                    <a:pt x="292" y="1373"/>
                  </a:lnTo>
                  <a:lnTo>
                    <a:pt x="292" y="1373"/>
                  </a:lnTo>
                  <a:lnTo>
                    <a:pt x="292" y="1373"/>
                  </a:lnTo>
                  <a:lnTo>
                    <a:pt x="292" y="1368"/>
                  </a:lnTo>
                  <a:lnTo>
                    <a:pt x="288" y="1368"/>
                  </a:lnTo>
                  <a:lnTo>
                    <a:pt x="288" y="1364"/>
                  </a:lnTo>
                  <a:lnTo>
                    <a:pt x="283" y="1364"/>
                  </a:lnTo>
                  <a:lnTo>
                    <a:pt x="283" y="1364"/>
                  </a:lnTo>
                  <a:lnTo>
                    <a:pt x="283" y="1364"/>
                  </a:lnTo>
                  <a:lnTo>
                    <a:pt x="283" y="1364"/>
                  </a:lnTo>
                  <a:lnTo>
                    <a:pt x="283" y="1364"/>
                  </a:lnTo>
                  <a:lnTo>
                    <a:pt x="283" y="1364"/>
                  </a:lnTo>
                  <a:lnTo>
                    <a:pt x="283" y="1364"/>
                  </a:lnTo>
                  <a:lnTo>
                    <a:pt x="283" y="1359"/>
                  </a:lnTo>
                  <a:lnTo>
                    <a:pt x="283" y="1359"/>
                  </a:lnTo>
                  <a:lnTo>
                    <a:pt x="283" y="1359"/>
                  </a:lnTo>
                  <a:lnTo>
                    <a:pt x="283" y="1359"/>
                  </a:lnTo>
                  <a:lnTo>
                    <a:pt x="283" y="1359"/>
                  </a:lnTo>
                  <a:lnTo>
                    <a:pt x="283" y="1359"/>
                  </a:lnTo>
                  <a:lnTo>
                    <a:pt x="283" y="1359"/>
                  </a:lnTo>
                  <a:lnTo>
                    <a:pt x="283" y="1359"/>
                  </a:lnTo>
                  <a:lnTo>
                    <a:pt x="283" y="1359"/>
                  </a:lnTo>
                  <a:lnTo>
                    <a:pt x="283" y="1359"/>
                  </a:lnTo>
                  <a:lnTo>
                    <a:pt x="288" y="1364"/>
                  </a:lnTo>
                  <a:lnTo>
                    <a:pt x="288" y="1364"/>
                  </a:lnTo>
                  <a:lnTo>
                    <a:pt x="288" y="1364"/>
                  </a:lnTo>
                  <a:lnTo>
                    <a:pt x="288" y="1359"/>
                  </a:lnTo>
                  <a:lnTo>
                    <a:pt x="288" y="1359"/>
                  </a:lnTo>
                  <a:lnTo>
                    <a:pt x="288" y="1359"/>
                  </a:lnTo>
                  <a:lnTo>
                    <a:pt x="288" y="1359"/>
                  </a:lnTo>
                  <a:lnTo>
                    <a:pt x="288" y="1359"/>
                  </a:lnTo>
                  <a:lnTo>
                    <a:pt x="288" y="1359"/>
                  </a:lnTo>
                  <a:lnTo>
                    <a:pt x="288" y="1355"/>
                  </a:lnTo>
                  <a:lnTo>
                    <a:pt x="288" y="1355"/>
                  </a:lnTo>
                  <a:lnTo>
                    <a:pt x="288" y="1355"/>
                  </a:lnTo>
                  <a:lnTo>
                    <a:pt x="288" y="1355"/>
                  </a:lnTo>
                  <a:lnTo>
                    <a:pt x="288" y="1355"/>
                  </a:lnTo>
                  <a:lnTo>
                    <a:pt x="288" y="1355"/>
                  </a:lnTo>
                  <a:lnTo>
                    <a:pt x="288" y="1355"/>
                  </a:lnTo>
                  <a:lnTo>
                    <a:pt x="288" y="1355"/>
                  </a:lnTo>
                  <a:lnTo>
                    <a:pt x="288" y="1355"/>
                  </a:lnTo>
                  <a:lnTo>
                    <a:pt x="288" y="1350"/>
                  </a:lnTo>
                  <a:lnTo>
                    <a:pt x="288" y="1350"/>
                  </a:lnTo>
                  <a:lnTo>
                    <a:pt x="288" y="1350"/>
                  </a:lnTo>
                  <a:lnTo>
                    <a:pt x="288" y="1350"/>
                  </a:lnTo>
                  <a:lnTo>
                    <a:pt x="292" y="1355"/>
                  </a:lnTo>
                  <a:lnTo>
                    <a:pt x="292" y="1350"/>
                  </a:lnTo>
                  <a:lnTo>
                    <a:pt x="292" y="1350"/>
                  </a:lnTo>
                  <a:lnTo>
                    <a:pt x="292" y="1350"/>
                  </a:lnTo>
                  <a:lnTo>
                    <a:pt x="292" y="1350"/>
                  </a:lnTo>
                  <a:lnTo>
                    <a:pt x="292" y="1350"/>
                  </a:lnTo>
                  <a:lnTo>
                    <a:pt x="292" y="1350"/>
                  </a:lnTo>
                  <a:lnTo>
                    <a:pt x="292" y="1350"/>
                  </a:lnTo>
                  <a:lnTo>
                    <a:pt x="292" y="1350"/>
                  </a:lnTo>
                  <a:lnTo>
                    <a:pt x="292" y="1346"/>
                  </a:lnTo>
                  <a:lnTo>
                    <a:pt x="292" y="1346"/>
                  </a:lnTo>
                  <a:lnTo>
                    <a:pt x="288" y="1346"/>
                  </a:lnTo>
                  <a:lnTo>
                    <a:pt x="288" y="1346"/>
                  </a:lnTo>
                  <a:lnTo>
                    <a:pt x="288" y="1346"/>
                  </a:lnTo>
                  <a:lnTo>
                    <a:pt x="288" y="1346"/>
                  </a:lnTo>
                  <a:lnTo>
                    <a:pt x="288" y="1342"/>
                  </a:lnTo>
                  <a:lnTo>
                    <a:pt x="288" y="1342"/>
                  </a:lnTo>
                  <a:lnTo>
                    <a:pt x="283" y="1342"/>
                  </a:lnTo>
                  <a:lnTo>
                    <a:pt x="283" y="1337"/>
                  </a:lnTo>
                  <a:lnTo>
                    <a:pt x="279" y="1337"/>
                  </a:lnTo>
                  <a:lnTo>
                    <a:pt x="279" y="1333"/>
                  </a:lnTo>
                  <a:lnTo>
                    <a:pt x="279" y="1333"/>
                  </a:lnTo>
                  <a:lnTo>
                    <a:pt x="283" y="1337"/>
                  </a:lnTo>
                  <a:lnTo>
                    <a:pt x="288" y="1346"/>
                  </a:lnTo>
                  <a:lnTo>
                    <a:pt x="288" y="1346"/>
                  </a:lnTo>
                  <a:lnTo>
                    <a:pt x="292" y="1346"/>
                  </a:lnTo>
                  <a:lnTo>
                    <a:pt x="292" y="1346"/>
                  </a:lnTo>
                  <a:lnTo>
                    <a:pt x="292" y="1346"/>
                  </a:lnTo>
                  <a:lnTo>
                    <a:pt x="292" y="1346"/>
                  </a:lnTo>
                  <a:lnTo>
                    <a:pt x="279" y="1333"/>
                  </a:lnTo>
                  <a:lnTo>
                    <a:pt x="279" y="1333"/>
                  </a:lnTo>
                  <a:lnTo>
                    <a:pt x="283" y="1333"/>
                  </a:lnTo>
                  <a:lnTo>
                    <a:pt x="283" y="1333"/>
                  </a:lnTo>
                  <a:lnTo>
                    <a:pt x="283" y="1333"/>
                  </a:lnTo>
                  <a:lnTo>
                    <a:pt x="283" y="1333"/>
                  </a:lnTo>
                  <a:lnTo>
                    <a:pt x="283" y="1333"/>
                  </a:lnTo>
                  <a:lnTo>
                    <a:pt x="283" y="1333"/>
                  </a:lnTo>
                  <a:lnTo>
                    <a:pt x="288" y="1333"/>
                  </a:lnTo>
                  <a:lnTo>
                    <a:pt x="288" y="1333"/>
                  </a:lnTo>
                  <a:lnTo>
                    <a:pt x="288" y="1333"/>
                  </a:lnTo>
                  <a:lnTo>
                    <a:pt x="288" y="1333"/>
                  </a:lnTo>
                  <a:lnTo>
                    <a:pt x="288" y="1328"/>
                  </a:lnTo>
                  <a:lnTo>
                    <a:pt x="288" y="1328"/>
                  </a:lnTo>
                  <a:lnTo>
                    <a:pt x="288" y="1328"/>
                  </a:lnTo>
                  <a:lnTo>
                    <a:pt x="288" y="1328"/>
                  </a:lnTo>
                  <a:lnTo>
                    <a:pt x="283" y="1328"/>
                  </a:lnTo>
                  <a:lnTo>
                    <a:pt x="283" y="1324"/>
                  </a:lnTo>
                  <a:lnTo>
                    <a:pt x="283" y="1324"/>
                  </a:lnTo>
                  <a:lnTo>
                    <a:pt x="283" y="1324"/>
                  </a:lnTo>
                  <a:lnTo>
                    <a:pt x="283" y="1324"/>
                  </a:lnTo>
                  <a:lnTo>
                    <a:pt x="283" y="1324"/>
                  </a:lnTo>
                  <a:lnTo>
                    <a:pt x="283" y="1324"/>
                  </a:lnTo>
                  <a:lnTo>
                    <a:pt x="292" y="1328"/>
                  </a:lnTo>
                  <a:lnTo>
                    <a:pt x="288" y="1328"/>
                  </a:lnTo>
                  <a:lnTo>
                    <a:pt x="288" y="1328"/>
                  </a:lnTo>
                  <a:lnTo>
                    <a:pt x="288" y="1328"/>
                  </a:lnTo>
                  <a:lnTo>
                    <a:pt x="288" y="1328"/>
                  </a:lnTo>
                  <a:lnTo>
                    <a:pt x="288" y="1328"/>
                  </a:lnTo>
                  <a:lnTo>
                    <a:pt x="288" y="1333"/>
                  </a:lnTo>
                  <a:lnTo>
                    <a:pt x="288" y="1333"/>
                  </a:lnTo>
                  <a:lnTo>
                    <a:pt x="288" y="1333"/>
                  </a:lnTo>
                  <a:lnTo>
                    <a:pt x="292" y="1333"/>
                  </a:lnTo>
                  <a:lnTo>
                    <a:pt x="292" y="1333"/>
                  </a:lnTo>
                  <a:lnTo>
                    <a:pt x="292" y="1333"/>
                  </a:lnTo>
                  <a:lnTo>
                    <a:pt x="292" y="1328"/>
                  </a:lnTo>
                  <a:lnTo>
                    <a:pt x="292" y="1328"/>
                  </a:lnTo>
                  <a:lnTo>
                    <a:pt x="292" y="1333"/>
                  </a:lnTo>
                  <a:lnTo>
                    <a:pt x="292" y="1333"/>
                  </a:lnTo>
                  <a:lnTo>
                    <a:pt x="297" y="1333"/>
                  </a:lnTo>
                  <a:lnTo>
                    <a:pt x="297" y="1333"/>
                  </a:lnTo>
                  <a:lnTo>
                    <a:pt x="297" y="1333"/>
                  </a:lnTo>
                  <a:lnTo>
                    <a:pt x="297" y="1333"/>
                  </a:lnTo>
                  <a:lnTo>
                    <a:pt x="297" y="1333"/>
                  </a:lnTo>
                  <a:lnTo>
                    <a:pt x="297" y="1328"/>
                  </a:lnTo>
                  <a:lnTo>
                    <a:pt x="297" y="1333"/>
                  </a:lnTo>
                  <a:lnTo>
                    <a:pt x="297" y="1333"/>
                  </a:lnTo>
                  <a:lnTo>
                    <a:pt x="297" y="1328"/>
                  </a:lnTo>
                  <a:lnTo>
                    <a:pt x="297" y="1328"/>
                  </a:lnTo>
                  <a:lnTo>
                    <a:pt x="297" y="1328"/>
                  </a:lnTo>
                  <a:lnTo>
                    <a:pt x="297" y="1324"/>
                  </a:lnTo>
                  <a:lnTo>
                    <a:pt x="297" y="1324"/>
                  </a:lnTo>
                  <a:lnTo>
                    <a:pt x="297" y="1324"/>
                  </a:lnTo>
                  <a:lnTo>
                    <a:pt x="292" y="1324"/>
                  </a:lnTo>
                  <a:lnTo>
                    <a:pt x="292" y="1324"/>
                  </a:lnTo>
                  <a:lnTo>
                    <a:pt x="292" y="1324"/>
                  </a:lnTo>
                  <a:lnTo>
                    <a:pt x="292" y="1324"/>
                  </a:lnTo>
                  <a:lnTo>
                    <a:pt x="292" y="1324"/>
                  </a:lnTo>
                  <a:lnTo>
                    <a:pt x="292" y="1324"/>
                  </a:lnTo>
                  <a:lnTo>
                    <a:pt x="292" y="1324"/>
                  </a:lnTo>
                  <a:lnTo>
                    <a:pt x="288" y="1319"/>
                  </a:lnTo>
                  <a:lnTo>
                    <a:pt x="288" y="1319"/>
                  </a:lnTo>
                  <a:lnTo>
                    <a:pt x="292" y="1319"/>
                  </a:lnTo>
                  <a:lnTo>
                    <a:pt x="292" y="1319"/>
                  </a:lnTo>
                  <a:lnTo>
                    <a:pt x="292" y="1324"/>
                  </a:lnTo>
                  <a:lnTo>
                    <a:pt x="292" y="1324"/>
                  </a:lnTo>
                  <a:lnTo>
                    <a:pt x="292" y="1319"/>
                  </a:lnTo>
                  <a:lnTo>
                    <a:pt x="292" y="1319"/>
                  </a:lnTo>
                  <a:lnTo>
                    <a:pt x="292" y="1319"/>
                  </a:lnTo>
                  <a:lnTo>
                    <a:pt x="297" y="1319"/>
                  </a:lnTo>
                  <a:lnTo>
                    <a:pt x="297" y="1319"/>
                  </a:lnTo>
                  <a:lnTo>
                    <a:pt x="297" y="1319"/>
                  </a:lnTo>
                  <a:lnTo>
                    <a:pt x="297" y="1319"/>
                  </a:lnTo>
                  <a:lnTo>
                    <a:pt x="297" y="1319"/>
                  </a:lnTo>
                  <a:lnTo>
                    <a:pt x="297" y="1319"/>
                  </a:lnTo>
                  <a:lnTo>
                    <a:pt x="292" y="1319"/>
                  </a:lnTo>
                  <a:lnTo>
                    <a:pt x="292" y="1315"/>
                  </a:lnTo>
                  <a:lnTo>
                    <a:pt x="292" y="1315"/>
                  </a:lnTo>
                  <a:lnTo>
                    <a:pt x="292" y="1315"/>
                  </a:lnTo>
                  <a:lnTo>
                    <a:pt x="292" y="1315"/>
                  </a:lnTo>
                  <a:lnTo>
                    <a:pt x="292" y="1315"/>
                  </a:lnTo>
                  <a:lnTo>
                    <a:pt x="297" y="1315"/>
                  </a:lnTo>
                  <a:lnTo>
                    <a:pt x="292" y="1311"/>
                  </a:lnTo>
                  <a:lnTo>
                    <a:pt x="292" y="1311"/>
                  </a:lnTo>
                  <a:lnTo>
                    <a:pt x="292" y="1306"/>
                  </a:lnTo>
                  <a:lnTo>
                    <a:pt x="292" y="1306"/>
                  </a:lnTo>
                  <a:lnTo>
                    <a:pt x="292" y="1306"/>
                  </a:lnTo>
                  <a:lnTo>
                    <a:pt x="292" y="1306"/>
                  </a:lnTo>
                  <a:lnTo>
                    <a:pt x="292" y="1306"/>
                  </a:lnTo>
                  <a:lnTo>
                    <a:pt x="288" y="1302"/>
                  </a:lnTo>
                  <a:lnTo>
                    <a:pt x="288" y="1302"/>
                  </a:lnTo>
                  <a:lnTo>
                    <a:pt x="292" y="1302"/>
                  </a:lnTo>
                  <a:lnTo>
                    <a:pt x="292" y="1306"/>
                  </a:lnTo>
                  <a:lnTo>
                    <a:pt x="297" y="1311"/>
                  </a:lnTo>
                  <a:lnTo>
                    <a:pt x="301" y="1306"/>
                  </a:lnTo>
                  <a:lnTo>
                    <a:pt x="297" y="1306"/>
                  </a:lnTo>
                  <a:lnTo>
                    <a:pt x="297" y="1306"/>
                  </a:lnTo>
                  <a:lnTo>
                    <a:pt x="297" y="1306"/>
                  </a:lnTo>
                  <a:lnTo>
                    <a:pt x="297" y="1306"/>
                  </a:lnTo>
                  <a:lnTo>
                    <a:pt x="297" y="1306"/>
                  </a:lnTo>
                  <a:lnTo>
                    <a:pt x="301" y="1306"/>
                  </a:lnTo>
                  <a:lnTo>
                    <a:pt x="301" y="1306"/>
                  </a:lnTo>
                  <a:lnTo>
                    <a:pt x="301" y="1302"/>
                  </a:lnTo>
                  <a:lnTo>
                    <a:pt x="301" y="1302"/>
                  </a:lnTo>
                  <a:lnTo>
                    <a:pt x="301" y="1302"/>
                  </a:lnTo>
                  <a:lnTo>
                    <a:pt x="297" y="1297"/>
                  </a:lnTo>
                  <a:lnTo>
                    <a:pt x="297" y="1297"/>
                  </a:lnTo>
                  <a:lnTo>
                    <a:pt x="297" y="1297"/>
                  </a:lnTo>
                  <a:lnTo>
                    <a:pt x="297" y="1297"/>
                  </a:lnTo>
                  <a:lnTo>
                    <a:pt x="297" y="1297"/>
                  </a:lnTo>
                  <a:lnTo>
                    <a:pt x="292" y="1297"/>
                  </a:lnTo>
                  <a:lnTo>
                    <a:pt x="292" y="1293"/>
                  </a:lnTo>
                  <a:lnTo>
                    <a:pt x="297" y="1293"/>
                  </a:lnTo>
                  <a:lnTo>
                    <a:pt x="297" y="1293"/>
                  </a:lnTo>
                  <a:lnTo>
                    <a:pt x="297" y="1293"/>
                  </a:lnTo>
                  <a:lnTo>
                    <a:pt x="297" y="1293"/>
                  </a:lnTo>
                  <a:lnTo>
                    <a:pt x="297" y="1293"/>
                  </a:lnTo>
                  <a:lnTo>
                    <a:pt x="297" y="1293"/>
                  </a:lnTo>
                  <a:lnTo>
                    <a:pt x="297" y="1293"/>
                  </a:lnTo>
                  <a:lnTo>
                    <a:pt x="297" y="1293"/>
                  </a:lnTo>
                  <a:lnTo>
                    <a:pt x="297" y="1293"/>
                  </a:lnTo>
                  <a:lnTo>
                    <a:pt x="297" y="1288"/>
                  </a:lnTo>
                  <a:lnTo>
                    <a:pt x="297" y="1288"/>
                  </a:lnTo>
                  <a:lnTo>
                    <a:pt x="292" y="1288"/>
                  </a:lnTo>
                  <a:lnTo>
                    <a:pt x="297" y="1293"/>
                  </a:lnTo>
                  <a:lnTo>
                    <a:pt x="297" y="1293"/>
                  </a:lnTo>
                  <a:lnTo>
                    <a:pt x="292" y="1293"/>
                  </a:lnTo>
                  <a:lnTo>
                    <a:pt x="292" y="1293"/>
                  </a:lnTo>
                  <a:lnTo>
                    <a:pt x="292" y="1293"/>
                  </a:lnTo>
                  <a:lnTo>
                    <a:pt x="292" y="1293"/>
                  </a:lnTo>
                  <a:lnTo>
                    <a:pt x="292" y="1288"/>
                  </a:lnTo>
                  <a:lnTo>
                    <a:pt x="292" y="1288"/>
                  </a:lnTo>
                  <a:lnTo>
                    <a:pt x="292" y="1288"/>
                  </a:lnTo>
                  <a:lnTo>
                    <a:pt x="288" y="1288"/>
                  </a:lnTo>
                  <a:lnTo>
                    <a:pt x="297" y="1288"/>
                  </a:lnTo>
                  <a:lnTo>
                    <a:pt x="297" y="1284"/>
                  </a:lnTo>
                  <a:lnTo>
                    <a:pt x="297" y="1284"/>
                  </a:lnTo>
                  <a:lnTo>
                    <a:pt x="297" y="1284"/>
                  </a:lnTo>
                  <a:lnTo>
                    <a:pt x="297" y="1284"/>
                  </a:lnTo>
                  <a:lnTo>
                    <a:pt x="297" y="1284"/>
                  </a:lnTo>
                  <a:lnTo>
                    <a:pt x="292" y="1284"/>
                  </a:lnTo>
                  <a:lnTo>
                    <a:pt x="292" y="1288"/>
                  </a:lnTo>
                  <a:lnTo>
                    <a:pt x="292" y="1284"/>
                  </a:lnTo>
                  <a:lnTo>
                    <a:pt x="292" y="1284"/>
                  </a:lnTo>
                  <a:lnTo>
                    <a:pt x="292" y="1284"/>
                  </a:lnTo>
                  <a:lnTo>
                    <a:pt x="292" y="1284"/>
                  </a:lnTo>
                  <a:lnTo>
                    <a:pt x="292" y="1280"/>
                  </a:lnTo>
                  <a:lnTo>
                    <a:pt x="292" y="1280"/>
                  </a:lnTo>
                  <a:lnTo>
                    <a:pt x="292" y="1280"/>
                  </a:lnTo>
                  <a:lnTo>
                    <a:pt x="279" y="1275"/>
                  </a:lnTo>
                  <a:lnTo>
                    <a:pt x="279" y="1275"/>
                  </a:lnTo>
                  <a:lnTo>
                    <a:pt x="279" y="1275"/>
                  </a:lnTo>
                  <a:lnTo>
                    <a:pt x="283" y="1275"/>
                  </a:lnTo>
                  <a:lnTo>
                    <a:pt x="288" y="1275"/>
                  </a:lnTo>
                  <a:lnTo>
                    <a:pt x="292" y="1280"/>
                  </a:lnTo>
                  <a:lnTo>
                    <a:pt x="297" y="1280"/>
                  </a:lnTo>
                  <a:lnTo>
                    <a:pt x="297" y="1280"/>
                  </a:lnTo>
                  <a:lnTo>
                    <a:pt x="297" y="1280"/>
                  </a:lnTo>
                  <a:lnTo>
                    <a:pt x="297" y="1280"/>
                  </a:lnTo>
                  <a:lnTo>
                    <a:pt x="297" y="1280"/>
                  </a:lnTo>
                  <a:lnTo>
                    <a:pt x="297" y="1280"/>
                  </a:lnTo>
                  <a:lnTo>
                    <a:pt x="297" y="1280"/>
                  </a:lnTo>
                  <a:lnTo>
                    <a:pt x="301" y="1275"/>
                  </a:lnTo>
                  <a:lnTo>
                    <a:pt x="301" y="1275"/>
                  </a:lnTo>
                  <a:lnTo>
                    <a:pt x="301" y="1275"/>
                  </a:lnTo>
                  <a:lnTo>
                    <a:pt x="301" y="1275"/>
                  </a:lnTo>
                  <a:lnTo>
                    <a:pt x="306" y="1275"/>
                  </a:lnTo>
                  <a:lnTo>
                    <a:pt x="306" y="1275"/>
                  </a:lnTo>
                  <a:lnTo>
                    <a:pt x="301" y="1271"/>
                  </a:lnTo>
                  <a:lnTo>
                    <a:pt x="301" y="1271"/>
                  </a:lnTo>
                  <a:lnTo>
                    <a:pt x="301" y="1271"/>
                  </a:lnTo>
                  <a:lnTo>
                    <a:pt x="301" y="1266"/>
                  </a:lnTo>
                  <a:lnTo>
                    <a:pt x="301" y="1266"/>
                  </a:lnTo>
                  <a:lnTo>
                    <a:pt x="301" y="1266"/>
                  </a:lnTo>
                  <a:lnTo>
                    <a:pt x="301" y="1266"/>
                  </a:lnTo>
                  <a:lnTo>
                    <a:pt x="301" y="1266"/>
                  </a:lnTo>
                  <a:lnTo>
                    <a:pt x="301" y="1266"/>
                  </a:lnTo>
                  <a:lnTo>
                    <a:pt x="297" y="1266"/>
                  </a:lnTo>
                  <a:lnTo>
                    <a:pt x="297" y="1266"/>
                  </a:lnTo>
                  <a:lnTo>
                    <a:pt x="297" y="1262"/>
                  </a:lnTo>
                  <a:lnTo>
                    <a:pt x="297" y="1262"/>
                  </a:lnTo>
                  <a:lnTo>
                    <a:pt x="297" y="1262"/>
                  </a:lnTo>
                  <a:lnTo>
                    <a:pt x="297" y="1262"/>
                  </a:lnTo>
                  <a:lnTo>
                    <a:pt x="297" y="1262"/>
                  </a:lnTo>
                  <a:lnTo>
                    <a:pt x="297" y="1262"/>
                  </a:lnTo>
                  <a:lnTo>
                    <a:pt x="297" y="1262"/>
                  </a:lnTo>
                  <a:lnTo>
                    <a:pt x="297" y="1262"/>
                  </a:lnTo>
                  <a:lnTo>
                    <a:pt x="292" y="1262"/>
                  </a:lnTo>
                  <a:lnTo>
                    <a:pt x="292" y="1262"/>
                  </a:lnTo>
                  <a:lnTo>
                    <a:pt x="292" y="1262"/>
                  </a:lnTo>
                  <a:lnTo>
                    <a:pt x="288" y="1257"/>
                  </a:lnTo>
                  <a:lnTo>
                    <a:pt x="283" y="1257"/>
                  </a:lnTo>
                  <a:lnTo>
                    <a:pt x="283" y="1257"/>
                  </a:lnTo>
                  <a:lnTo>
                    <a:pt x="279" y="1257"/>
                  </a:lnTo>
                  <a:lnTo>
                    <a:pt x="279" y="1257"/>
                  </a:lnTo>
                  <a:lnTo>
                    <a:pt x="279" y="1257"/>
                  </a:lnTo>
                  <a:lnTo>
                    <a:pt x="279" y="1257"/>
                  </a:lnTo>
                  <a:lnTo>
                    <a:pt x="279" y="1262"/>
                  </a:lnTo>
                  <a:lnTo>
                    <a:pt x="279" y="1262"/>
                  </a:lnTo>
                  <a:lnTo>
                    <a:pt x="279" y="1262"/>
                  </a:lnTo>
                  <a:lnTo>
                    <a:pt x="275" y="1262"/>
                  </a:lnTo>
                  <a:lnTo>
                    <a:pt x="275" y="1262"/>
                  </a:lnTo>
                  <a:lnTo>
                    <a:pt x="275" y="1262"/>
                  </a:lnTo>
                  <a:lnTo>
                    <a:pt x="275" y="1262"/>
                  </a:lnTo>
                  <a:lnTo>
                    <a:pt x="275" y="1262"/>
                  </a:lnTo>
                  <a:lnTo>
                    <a:pt x="275" y="1262"/>
                  </a:lnTo>
                  <a:lnTo>
                    <a:pt x="275" y="1257"/>
                  </a:lnTo>
                  <a:lnTo>
                    <a:pt x="275" y="1257"/>
                  </a:lnTo>
                  <a:lnTo>
                    <a:pt x="275" y="1257"/>
                  </a:lnTo>
                  <a:lnTo>
                    <a:pt x="275" y="1257"/>
                  </a:lnTo>
                  <a:lnTo>
                    <a:pt x="270" y="1262"/>
                  </a:lnTo>
                  <a:lnTo>
                    <a:pt x="270" y="1257"/>
                  </a:lnTo>
                  <a:lnTo>
                    <a:pt x="266" y="1262"/>
                  </a:lnTo>
                  <a:lnTo>
                    <a:pt x="266" y="1257"/>
                  </a:lnTo>
                  <a:lnTo>
                    <a:pt x="266" y="1257"/>
                  </a:lnTo>
                  <a:lnTo>
                    <a:pt x="266" y="1257"/>
                  </a:lnTo>
                  <a:lnTo>
                    <a:pt x="266" y="1257"/>
                  </a:lnTo>
                  <a:lnTo>
                    <a:pt x="266" y="1257"/>
                  </a:lnTo>
                  <a:lnTo>
                    <a:pt x="266" y="1257"/>
                  </a:lnTo>
                  <a:lnTo>
                    <a:pt x="270" y="1257"/>
                  </a:lnTo>
                  <a:lnTo>
                    <a:pt x="270" y="1257"/>
                  </a:lnTo>
                  <a:lnTo>
                    <a:pt x="270" y="1257"/>
                  </a:lnTo>
                  <a:lnTo>
                    <a:pt x="270" y="1257"/>
                  </a:lnTo>
                  <a:lnTo>
                    <a:pt x="270" y="1257"/>
                  </a:lnTo>
                  <a:lnTo>
                    <a:pt x="270" y="1257"/>
                  </a:lnTo>
                  <a:lnTo>
                    <a:pt x="270" y="1253"/>
                  </a:lnTo>
                  <a:lnTo>
                    <a:pt x="288" y="1257"/>
                  </a:lnTo>
                  <a:lnTo>
                    <a:pt x="306" y="1257"/>
                  </a:lnTo>
                  <a:lnTo>
                    <a:pt x="310" y="1257"/>
                  </a:lnTo>
                  <a:lnTo>
                    <a:pt x="310" y="1257"/>
                  </a:lnTo>
                  <a:lnTo>
                    <a:pt x="310" y="1257"/>
                  </a:lnTo>
                  <a:lnTo>
                    <a:pt x="310" y="1253"/>
                  </a:lnTo>
                  <a:lnTo>
                    <a:pt x="306" y="1253"/>
                  </a:lnTo>
                  <a:lnTo>
                    <a:pt x="306" y="1253"/>
                  </a:lnTo>
                  <a:lnTo>
                    <a:pt x="310" y="1253"/>
                  </a:lnTo>
                  <a:lnTo>
                    <a:pt x="314" y="1257"/>
                  </a:lnTo>
                  <a:lnTo>
                    <a:pt x="314" y="1257"/>
                  </a:lnTo>
                  <a:lnTo>
                    <a:pt x="314" y="1253"/>
                  </a:lnTo>
                  <a:lnTo>
                    <a:pt x="314" y="1253"/>
                  </a:lnTo>
                  <a:lnTo>
                    <a:pt x="319" y="1253"/>
                  </a:lnTo>
                  <a:lnTo>
                    <a:pt x="319" y="1253"/>
                  </a:lnTo>
                  <a:lnTo>
                    <a:pt x="314" y="1253"/>
                  </a:lnTo>
                  <a:lnTo>
                    <a:pt x="314" y="1253"/>
                  </a:lnTo>
                  <a:lnTo>
                    <a:pt x="314" y="1253"/>
                  </a:lnTo>
                  <a:lnTo>
                    <a:pt x="314" y="1249"/>
                  </a:lnTo>
                  <a:lnTo>
                    <a:pt x="314" y="1249"/>
                  </a:lnTo>
                  <a:lnTo>
                    <a:pt x="314" y="1249"/>
                  </a:lnTo>
                  <a:lnTo>
                    <a:pt x="314" y="1249"/>
                  </a:lnTo>
                  <a:lnTo>
                    <a:pt x="314" y="1249"/>
                  </a:lnTo>
                  <a:lnTo>
                    <a:pt x="310" y="1249"/>
                  </a:lnTo>
                  <a:lnTo>
                    <a:pt x="310" y="1249"/>
                  </a:lnTo>
                  <a:lnTo>
                    <a:pt x="310" y="1249"/>
                  </a:lnTo>
                  <a:lnTo>
                    <a:pt x="314" y="1244"/>
                  </a:lnTo>
                  <a:lnTo>
                    <a:pt x="314" y="1244"/>
                  </a:lnTo>
                  <a:lnTo>
                    <a:pt x="314" y="1244"/>
                  </a:lnTo>
                  <a:lnTo>
                    <a:pt x="314" y="1249"/>
                  </a:lnTo>
                  <a:lnTo>
                    <a:pt x="314" y="1249"/>
                  </a:lnTo>
                  <a:lnTo>
                    <a:pt x="319" y="1249"/>
                  </a:lnTo>
                  <a:lnTo>
                    <a:pt x="323" y="1249"/>
                  </a:lnTo>
                  <a:lnTo>
                    <a:pt x="323" y="1249"/>
                  </a:lnTo>
                  <a:lnTo>
                    <a:pt x="323" y="1249"/>
                  </a:lnTo>
                  <a:lnTo>
                    <a:pt x="328" y="1249"/>
                  </a:lnTo>
                  <a:lnTo>
                    <a:pt x="328" y="1244"/>
                  </a:lnTo>
                  <a:lnTo>
                    <a:pt x="328" y="1244"/>
                  </a:lnTo>
                  <a:lnTo>
                    <a:pt x="328" y="1240"/>
                  </a:lnTo>
                  <a:lnTo>
                    <a:pt x="332" y="1244"/>
                  </a:lnTo>
                  <a:lnTo>
                    <a:pt x="337" y="1240"/>
                  </a:lnTo>
                  <a:lnTo>
                    <a:pt x="332" y="1240"/>
                  </a:lnTo>
                  <a:lnTo>
                    <a:pt x="332" y="1240"/>
                  </a:lnTo>
                  <a:lnTo>
                    <a:pt x="332" y="1240"/>
                  </a:lnTo>
                  <a:lnTo>
                    <a:pt x="332" y="1240"/>
                  </a:lnTo>
                  <a:lnTo>
                    <a:pt x="332" y="1240"/>
                  </a:lnTo>
                  <a:lnTo>
                    <a:pt x="332" y="1235"/>
                  </a:lnTo>
                  <a:lnTo>
                    <a:pt x="332" y="1235"/>
                  </a:lnTo>
                  <a:lnTo>
                    <a:pt x="332" y="1231"/>
                  </a:lnTo>
                  <a:lnTo>
                    <a:pt x="332" y="1231"/>
                  </a:lnTo>
                  <a:lnTo>
                    <a:pt x="337" y="1231"/>
                  </a:lnTo>
                  <a:lnTo>
                    <a:pt x="337" y="1235"/>
                  </a:lnTo>
                  <a:lnTo>
                    <a:pt x="341" y="1235"/>
                  </a:lnTo>
                  <a:lnTo>
                    <a:pt x="341" y="1235"/>
                  </a:lnTo>
                  <a:lnTo>
                    <a:pt x="341" y="1235"/>
                  </a:lnTo>
                  <a:lnTo>
                    <a:pt x="341" y="1235"/>
                  </a:lnTo>
                  <a:lnTo>
                    <a:pt x="341" y="1235"/>
                  </a:lnTo>
                  <a:lnTo>
                    <a:pt x="337" y="1235"/>
                  </a:lnTo>
                  <a:lnTo>
                    <a:pt x="337" y="1231"/>
                  </a:lnTo>
                  <a:lnTo>
                    <a:pt x="337" y="1231"/>
                  </a:lnTo>
                  <a:lnTo>
                    <a:pt x="337" y="1231"/>
                  </a:lnTo>
                  <a:lnTo>
                    <a:pt x="341" y="1231"/>
                  </a:lnTo>
                  <a:lnTo>
                    <a:pt x="341" y="1231"/>
                  </a:lnTo>
                  <a:lnTo>
                    <a:pt x="341" y="1231"/>
                  </a:lnTo>
                  <a:lnTo>
                    <a:pt x="341" y="1231"/>
                  </a:lnTo>
                  <a:lnTo>
                    <a:pt x="341" y="1231"/>
                  </a:lnTo>
                  <a:lnTo>
                    <a:pt x="341" y="1231"/>
                  </a:lnTo>
                  <a:lnTo>
                    <a:pt x="341" y="1226"/>
                  </a:lnTo>
                  <a:lnTo>
                    <a:pt x="341" y="1226"/>
                  </a:lnTo>
                  <a:lnTo>
                    <a:pt x="341" y="1226"/>
                  </a:lnTo>
                  <a:lnTo>
                    <a:pt x="341" y="1226"/>
                  </a:lnTo>
                  <a:lnTo>
                    <a:pt x="341" y="1226"/>
                  </a:lnTo>
                  <a:lnTo>
                    <a:pt x="341" y="1226"/>
                  </a:lnTo>
                  <a:lnTo>
                    <a:pt x="341" y="1226"/>
                  </a:lnTo>
                  <a:lnTo>
                    <a:pt x="341" y="1226"/>
                  </a:lnTo>
                  <a:lnTo>
                    <a:pt x="341" y="1226"/>
                  </a:lnTo>
                  <a:lnTo>
                    <a:pt x="341" y="1226"/>
                  </a:lnTo>
                  <a:lnTo>
                    <a:pt x="341" y="1226"/>
                  </a:lnTo>
                  <a:lnTo>
                    <a:pt x="341" y="1222"/>
                  </a:lnTo>
                  <a:lnTo>
                    <a:pt x="341" y="1222"/>
                  </a:lnTo>
                  <a:lnTo>
                    <a:pt x="341" y="1218"/>
                  </a:lnTo>
                  <a:lnTo>
                    <a:pt x="341" y="1218"/>
                  </a:lnTo>
                  <a:lnTo>
                    <a:pt x="341" y="1218"/>
                  </a:lnTo>
                  <a:lnTo>
                    <a:pt x="341" y="1213"/>
                  </a:lnTo>
                  <a:lnTo>
                    <a:pt x="341" y="1213"/>
                  </a:lnTo>
                  <a:lnTo>
                    <a:pt x="341" y="1213"/>
                  </a:lnTo>
                  <a:lnTo>
                    <a:pt x="341" y="1209"/>
                  </a:lnTo>
                  <a:lnTo>
                    <a:pt x="345" y="1209"/>
                  </a:lnTo>
                  <a:lnTo>
                    <a:pt x="345" y="1209"/>
                  </a:lnTo>
                  <a:lnTo>
                    <a:pt x="345" y="1204"/>
                  </a:lnTo>
                  <a:lnTo>
                    <a:pt x="345" y="1204"/>
                  </a:lnTo>
                  <a:lnTo>
                    <a:pt x="345" y="1204"/>
                  </a:lnTo>
                  <a:lnTo>
                    <a:pt x="345" y="1209"/>
                  </a:lnTo>
                  <a:lnTo>
                    <a:pt x="345" y="1209"/>
                  </a:lnTo>
                  <a:lnTo>
                    <a:pt x="345" y="1209"/>
                  </a:lnTo>
                  <a:lnTo>
                    <a:pt x="345" y="1213"/>
                  </a:lnTo>
                  <a:lnTo>
                    <a:pt x="345" y="1213"/>
                  </a:lnTo>
                  <a:lnTo>
                    <a:pt x="345" y="1218"/>
                  </a:lnTo>
                  <a:lnTo>
                    <a:pt x="345" y="1218"/>
                  </a:lnTo>
                  <a:lnTo>
                    <a:pt x="345" y="1218"/>
                  </a:lnTo>
                  <a:lnTo>
                    <a:pt x="345" y="1213"/>
                  </a:lnTo>
                  <a:lnTo>
                    <a:pt x="345" y="1209"/>
                  </a:lnTo>
                  <a:lnTo>
                    <a:pt x="350" y="1209"/>
                  </a:lnTo>
                  <a:lnTo>
                    <a:pt x="350" y="1209"/>
                  </a:lnTo>
                  <a:lnTo>
                    <a:pt x="350" y="1209"/>
                  </a:lnTo>
                  <a:lnTo>
                    <a:pt x="350" y="1209"/>
                  </a:lnTo>
                  <a:lnTo>
                    <a:pt x="350" y="1209"/>
                  </a:lnTo>
                  <a:lnTo>
                    <a:pt x="350" y="1213"/>
                  </a:lnTo>
                  <a:lnTo>
                    <a:pt x="350" y="1213"/>
                  </a:lnTo>
                  <a:lnTo>
                    <a:pt x="350" y="1213"/>
                  </a:lnTo>
                  <a:lnTo>
                    <a:pt x="350" y="1218"/>
                  </a:lnTo>
                  <a:lnTo>
                    <a:pt x="350" y="1222"/>
                  </a:lnTo>
                  <a:lnTo>
                    <a:pt x="350" y="1222"/>
                  </a:lnTo>
                  <a:lnTo>
                    <a:pt x="350" y="1222"/>
                  </a:lnTo>
                  <a:lnTo>
                    <a:pt x="350" y="1226"/>
                  </a:lnTo>
                  <a:lnTo>
                    <a:pt x="350" y="1226"/>
                  </a:lnTo>
                  <a:lnTo>
                    <a:pt x="350" y="1231"/>
                  </a:lnTo>
                  <a:lnTo>
                    <a:pt x="350" y="1231"/>
                  </a:lnTo>
                  <a:lnTo>
                    <a:pt x="350" y="1231"/>
                  </a:lnTo>
                  <a:lnTo>
                    <a:pt x="350" y="1231"/>
                  </a:lnTo>
                  <a:lnTo>
                    <a:pt x="350" y="1231"/>
                  </a:lnTo>
                  <a:lnTo>
                    <a:pt x="350" y="1235"/>
                  </a:lnTo>
                  <a:lnTo>
                    <a:pt x="350" y="1235"/>
                  </a:lnTo>
                  <a:lnTo>
                    <a:pt x="350" y="1231"/>
                  </a:lnTo>
                  <a:lnTo>
                    <a:pt x="350" y="1231"/>
                  </a:lnTo>
                  <a:lnTo>
                    <a:pt x="350" y="1231"/>
                  </a:lnTo>
                  <a:lnTo>
                    <a:pt x="350" y="1226"/>
                  </a:lnTo>
                  <a:lnTo>
                    <a:pt x="350" y="1226"/>
                  </a:lnTo>
                  <a:lnTo>
                    <a:pt x="350" y="1226"/>
                  </a:lnTo>
                  <a:lnTo>
                    <a:pt x="350" y="1226"/>
                  </a:lnTo>
                  <a:lnTo>
                    <a:pt x="350" y="1231"/>
                  </a:lnTo>
                  <a:lnTo>
                    <a:pt x="354" y="1231"/>
                  </a:lnTo>
                  <a:lnTo>
                    <a:pt x="354" y="1231"/>
                  </a:lnTo>
                  <a:lnTo>
                    <a:pt x="354" y="1231"/>
                  </a:lnTo>
                  <a:lnTo>
                    <a:pt x="354" y="1231"/>
                  </a:lnTo>
                  <a:lnTo>
                    <a:pt x="354" y="1231"/>
                  </a:lnTo>
                  <a:lnTo>
                    <a:pt x="354" y="1231"/>
                  </a:lnTo>
                  <a:lnTo>
                    <a:pt x="354" y="1231"/>
                  </a:lnTo>
                  <a:lnTo>
                    <a:pt x="354" y="1231"/>
                  </a:lnTo>
                  <a:lnTo>
                    <a:pt x="354" y="1235"/>
                  </a:lnTo>
                  <a:lnTo>
                    <a:pt x="354" y="1235"/>
                  </a:lnTo>
                  <a:lnTo>
                    <a:pt x="354" y="1235"/>
                  </a:lnTo>
                  <a:lnTo>
                    <a:pt x="354" y="1231"/>
                  </a:lnTo>
                  <a:lnTo>
                    <a:pt x="354" y="1231"/>
                  </a:lnTo>
                  <a:lnTo>
                    <a:pt x="354" y="1231"/>
                  </a:lnTo>
                  <a:lnTo>
                    <a:pt x="359" y="1231"/>
                  </a:lnTo>
                  <a:lnTo>
                    <a:pt x="359" y="1231"/>
                  </a:lnTo>
                  <a:lnTo>
                    <a:pt x="359" y="1231"/>
                  </a:lnTo>
                  <a:lnTo>
                    <a:pt x="359" y="1231"/>
                  </a:lnTo>
                  <a:lnTo>
                    <a:pt x="359" y="1226"/>
                  </a:lnTo>
                  <a:lnTo>
                    <a:pt x="359" y="1226"/>
                  </a:lnTo>
                  <a:lnTo>
                    <a:pt x="359" y="1226"/>
                  </a:lnTo>
                  <a:lnTo>
                    <a:pt x="359" y="1226"/>
                  </a:lnTo>
                  <a:lnTo>
                    <a:pt x="359" y="1222"/>
                  </a:lnTo>
                  <a:lnTo>
                    <a:pt x="363" y="1222"/>
                  </a:lnTo>
                  <a:lnTo>
                    <a:pt x="363" y="1218"/>
                  </a:lnTo>
                  <a:lnTo>
                    <a:pt x="363" y="1218"/>
                  </a:lnTo>
                  <a:lnTo>
                    <a:pt x="363" y="1218"/>
                  </a:lnTo>
                  <a:lnTo>
                    <a:pt x="363" y="1218"/>
                  </a:lnTo>
                  <a:lnTo>
                    <a:pt x="363" y="1218"/>
                  </a:lnTo>
                  <a:lnTo>
                    <a:pt x="363" y="1218"/>
                  </a:lnTo>
                  <a:lnTo>
                    <a:pt x="363" y="1218"/>
                  </a:lnTo>
                  <a:lnTo>
                    <a:pt x="363" y="1213"/>
                  </a:lnTo>
                  <a:lnTo>
                    <a:pt x="367" y="1218"/>
                  </a:lnTo>
                  <a:lnTo>
                    <a:pt x="367" y="1213"/>
                  </a:lnTo>
                  <a:lnTo>
                    <a:pt x="367" y="1213"/>
                  </a:lnTo>
                  <a:lnTo>
                    <a:pt x="367" y="1213"/>
                  </a:lnTo>
                  <a:lnTo>
                    <a:pt x="367" y="1213"/>
                  </a:lnTo>
                  <a:lnTo>
                    <a:pt x="372" y="1213"/>
                  </a:lnTo>
                  <a:lnTo>
                    <a:pt x="372" y="1209"/>
                  </a:lnTo>
                  <a:lnTo>
                    <a:pt x="372" y="1209"/>
                  </a:lnTo>
                  <a:lnTo>
                    <a:pt x="372" y="1209"/>
                  </a:lnTo>
                  <a:lnTo>
                    <a:pt x="376" y="1209"/>
                  </a:lnTo>
                  <a:lnTo>
                    <a:pt x="376" y="1209"/>
                  </a:lnTo>
                  <a:lnTo>
                    <a:pt x="376" y="1209"/>
                  </a:lnTo>
                  <a:lnTo>
                    <a:pt x="376" y="1209"/>
                  </a:lnTo>
                  <a:lnTo>
                    <a:pt x="376" y="1209"/>
                  </a:lnTo>
                  <a:lnTo>
                    <a:pt x="376" y="1213"/>
                  </a:lnTo>
                  <a:lnTo>
                    <a:pt x="376" y="1213"/>
                  </a:lnTo>
                  <a:lnTo>
                    <a:pt x="372" y="1213"/>
                  </a:lnTo>
                  <a:lnTo>
                    <a:pt x="372" y="1213"/>
                  </a:lnTo>
                  <a:lnTo>
                    <a:pt x="372" y="1213"/>
                  </a:lnTo>
                  <a:lnTo>
                    <a:pt x="381" y="1209"/>
                  </a:lnTo>
                  <a:lnTo>
                    <a:pt x="376" y="1209"/>
                  </a:lnTo>
                  <a:lnTo>
                    <a:pt x="376" y="1209"/>
                  </a:lnTo>
                  <a:lnTo>
                    <a:pt x="376" y="1209"/>
                  </a:lnTo>
                  <a:lnTo>
                    <a:pt x="376" y="1209"/>
                  </a:lnTo>
                  <a:lnTo>
                    <a:pt x="376" y="1209"/>
                  </a:lnTo>
                  <a:lnTo>
                    <a:pt x="381" y="1209"/>
                  </a:lnTo>
                  <a:lnTo>
                    <a:pt x="381" y="1204"/>
                  </a:lnTo>
                  <a:lnTo>
                    <a:pt x="381" y="1209"/>
                  </a:lnTo>
                  <a:lnTo>
                    <a:pt x="385" y="1209"/>
                  </a:lnTo>
                  <a:lnTo>
                    <a:pt x="385" y="1209"/>
                  </a:lnTo>
                  <a:lnTo>
                    <a:pt x="385" y="1204"/>
                  </a:lnTo>
                  <a:lnTo>
                    <a:pt x="385" y="1204"/>
                  </a:lnTo>
                  <a:lnTo>
                    <a:pt x="385" y="1204"/>
                  </a:lnTo>
                  <a:lnTo>
                    <a:pt x="385" y="1204"/>
                  </a:lnTo>
                  <a:lnTo>
                    <a:pt x="381" y="1204"/>
                  </a:lnTo>
                  <a:lnTo>
                    <a:pt x="381" y="1204"/>
                  </a:lnTo>
                  <a:lnTo>
                    <a:pt x="381" y="1204"/>
                  </a:lnTo>
                  <a:lnTo>
                    <a:pt x="381" y="1204"/>
                  </a:lnTo>
                  <a:lnTo>
                    <a:pt x="381" y="1204"/>
                  </a:lnTo>
                  <a:lnTo>
                    <a:pt x="385" y="1200"/>
                  </a:lnTo>
                  <a:lnTo>
                    <a:pt x="381" y="1204"/>
                  </a:lnTo>
                  <a:lnTo>
                    <a:pt x="381" y="1200"/>
                  </a:lnTo>
                  <a:lnTo>
                    <a:pt x="381" y="1200"/>
                  </a:lnTo>
                  <a:lnTo>
                    <a:pt x="381" y="1200"/>
                  </a:lnTo>
                  <a:lnTo>
                    <a:pt x="381" y="1200"/>
                  </a:lnTo>
                  <a:lnTo>
                    <a:pt x="381" y="1200"/>
                  </a:lnTo>
                  <a:lnTo>
                    <a:pt x="376" y="1200"/>
                  </a:lnTo>
                  <a:lnTo>
                    <a:pt x="376" y="1195"/>
                  </a:lnTo>
                  <a:lnTo>
                    <a:pt x="381" y="1195"/>
                  </a:lnTo>
                  <a:lnTo>
                    <a:pt x="385" y="1200"/>
                  </a:lnTo>
                  <a:lnTo>
                    <a:pt x="385" y="1200"/>
                  </a:lnTo>
                  <a:lnTo>
                    <a:pt x="381" y="1200"/>
                  </a:lnTo>
                  <a:lnTo>
                    <a:pt x="381" y="1195"/>
                  </a:lnTo>
                  <a:lnTo>
                    <a:pt x="381" y="1195"/>
                  </a:lnTo>
                  <a:lnTo>
                    <a:pt x="376" y="1195"/>
                  </a:lnTo>
                  <a:lnTo>
                    <a:pt x="376" y="1195"/>
                  </a:lnTo>
                  <a:lnTo>
                    <a:pt x="376" y="1191"/>
                  </a:lnTo>
                  <a:lnTo>
                    <a:pt x="376" y="1191"/>
                  </a:lnTo>
                  <a:lnTo>
                    <a:pt x="376" y="1191"/>
                  </a:lnTo>
                  <a:lnTo>
                    <a:pt x="376" y="1191"/>
                  </a:lnTo>
                  <a:lnTo>
                    <a:pt x="376" y="1191"/>
                  </a:lnTo>
                  <a:lnTo>
                    <a:pt x="376" y="1191"/>
                  </a:lnTo>
                  <a:lnTo>
                    <a:pt x="376" y="1191"/>
                  </a:lnTo>
                  <a:lnTo>
                    <a:pt x="376" y="1187"/>
                  </a:lnTo>
                  <a:lnTo>
                    <a:pt x="376" y="1187"/>
                  </a:lnTo>
                  <a:lnTo>
                    <a:pt x="381" y="1187"/>
                  </a:lnTo>
                  <a:lnTo>
                    <a:pt x="381" y="1187"/>
                  </a:lnTo>
                  <a:lnTo>
                    <a:pt x="381" y="1187"/>
                  </a:lnTo>
                  <a:lnTo>
                    <a:pt x="381" y="1191"/>
                  </a:lnTo>
                  <a:lnTo>
                    <a:pt x="381" y="1191"/>
                  </a:lnTo>
                  <a:lnTo>
                    <a:pt x="381" y="1191"/>
                  </a:lnTo>
                  <a:lnTo>
                    <a:pt x="385" y="1191"/>
                  </a:lnTo>
                  <a:lnTo>
                    <a:pt x="385" y="1191"/>
                  </a:lnTo>
                  <a:lnTo>
                    <a:pt x="390" y="1191"/>
                  </a:lnTo>
                  <a:lnTo>
                    <a:pt x="390" y="1191"/>
                  </a:lnTo>
                  <a:lnTo>
                    <a:pt x="390" y="1191"/>
                  </a:lnTo>
                  <a:lnTo>
                    <a:pt x="390" y="1191"/>
                  </a:lnTo>
                  <a:lnTo>
                    <a:pt x="390" y="1191"/>
                  </a:lnTo>
                  <a:lnTo>
                    <a:pt x="390" y="1191"/>
                  </a:lnTo>
                  <a:lnTo>
                    <a:pt x="394" y="1191"/>
                  </a:lnTo>
                  <a:lnTo>
                    <a:pt x="394" y="1191"/>
                  </a:lnTo>
                  <a:lnTo>
                    <a:pt x="394" y="1187"/>
                  </a:lnTo>
                  <a:lnTo>
                    <a:pt x="394" y="1187"/>
                  </a:lnTo>
                  <a:lnTo>
                    <a:pt x="394" y="1187"/>
                  </a:lnTo>
                  <a:lnTo>
                    <a:pt x="390" y="1182"/>
                  </a:lnTo>
                  <a:lnTo>
                    <a:pt x="390" y="1182"/>
                  </a:lnTo>
                  <a:lnTo>
                    <a:pt x="390" y="1182"/>
                  </a:lnTo>
                  <a:lnTo>
                    <a:pt x="394" y="1182"/>
                  </a:lnTo>
                  <a:lnTo>
                    <a:pt x="394" y="1182"/>
                  </a:lnTo>
                  <a:lnTo>
                    <a:pt x="394" y="1182"/>
                  </a:lnTo>
                  <a:lnTo>
                    <a:pt x="390" y="1182"/>
                  </a:lnTo>
                  <a:lnTo>
                    <a:pt x="390" y="1182"/>
                  </a:lnTo>
                  <a:lnTo>
                    <a:pt x="390" y="1178"/>
                  </a:lnTo>
                  <a:lnTo>
                    <a:pt x="390" y="1178"/>
                  </a:lnTo>
                  <a:lnTo>
                    <a:pt x="390" y="1178"/>
                  </a:lnTo>
                  <a:lnTo>
                    <a:pt x="385" y="1178"/>
                  </a:lnTo>
                  <a:lnTo>
                    <a:pt x="385" y="1178"/>
                  </a:lnTo>
                  <a:lnTo>
                    <a:pt x="385" y="1178"/>
                  </a:lnTo>
                  <a:lnTo>
                    <a:pt x="385" y="1178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85" y="1182"/>
                  </a:lnTo>
                  <a:lnTo>
                    <a:pt x="385" y="1187"/>
                  </a:lnTo>
                  <a:lnTo>
                    <a:pt x="385" y="1187"/>
                  </a:lnTo>
                  <a:lnTo>
                    <a:pt x="385" y="1187"/>
                  </a:lnTo>
                  <a:lnTo>
                    <a:pt x="385" y="1187"/>
                  </a:lnTo>
                  <a:lnTo>
                    <a:pt x="385" y="1187"/>
                  </a:lnTo>
                  <a:lnTo>
                    <a:pt x="385" y="1187"/>
                  </a:lnTo>
                  <a:lnTo>
                    <a:pt x="385" y="1187"/>
                  </a:lnTo>
                  <a:lnTo>
                    <a:pt x="381" y="1182"/>
                  </a:lnTo>
                  <a:lnTo>
                    <a:pt x="376" y="1182"/>
                  </a:lnTo>
                  <a:lnTo>
                    <a:pt x="376" y="1182"/>
                  </a:lnTo>
                  <a:lnTo>
                    <a:pt x="372" y="1187"/>
                  </a:lnTo>
                  <a:lnTo>
                    <a:pt x="372" y="1187"/>
                  </a:lnTo>
                  <a:lnTo>
                    <a:pt x="372" y="1187"/>
                  </a:lnTo>
                  <a:lnTo>
                    <a:pt x="372" y="1187"/>
                  </a:lnTo>
                  <a:lnTo>
                    <a:pt x="372" y="1187"/>
                  </a:lnTo>
                  <a:lnTo>
                    <a:pt x="367" y="1187"/>
                  </a:lnTo>
                  <a:lnTo>
                    <a:pt x="367" y="1187"/>
                  </a:lnTo>
                  <a:lnTo>
                    <a:pt x="367" y="1187"/>
                  </a:lnTo>
                  <a:lnTo>
                    <a:pt x="367" y="1187"/>
                  </a:lnTo>
                  <a:lnTo>
                    <a:pt x="363" y="1178"/>
                  </a:lnTo>
                  <a:lnTo>
                    <a:pt x="363" y="1178"/>
                  </a:lnTo>
                  <a:lnTo>
                    <a:pt x="363" y="1182"/>
                  </a:lnTo>
                  <a:lnTo>
                    <a:pt x="363" y="1182"/>
                  </a:lnTo>
                  <a:lnTo>
                    <a:pt x="363" y="1182"/>
                  </a:lnTo>
                  <a:lnTo>
                    <a:pt x="367" y="1178"/>
                  </a:lnTo>
                  <a:lnTo>
                    <a:pt x="367" y="1178"/>
                  </a:lnTo>
                  <a:lnTo>
                    <a:pt x="367" y="1178"/>
                  </a:lnTo>
                  <a:lnTo>
                    <a:pt x="367" y="1178"/>
                  </a:lnTo>
                  <a:lnTo>
                    <a:pt x="367" y="1178"/>
                  </a:lnTo>
                  <a:lnTo>
                    <a:pt x="367" y="1178"/>
                  </a:lnTo>
                  <a:lnTo>
                    <a:pt x="367" y="1173"/>
                  </a:lnTo>
                  <a:lnTo>
                    <a:pt x="367" y="1173"/>
                  </a:lnTo>
                  <a:lnTo>
                    <a:pt x="367" y="1173"/>
                  </a:lnTo>
                  <a:lnTo>
                    <a:pt x="367" y="1178"/>
                  </a:lnTo>
                  <a:lnTo>
                    <a:pt x="367" y="1178"/>
                  </a:lnTo>
                  <a:lnTo>
                    <a:pt x="372" y="1173"/>
                  </a:lnTo>
                  <a:lnTo>
                    <a:pt x="372" y="1173"/>
                  </a:lnTo>
                  <a:lnTo>
                    <a:pt x="372" y="1173"/>
                  </a:lnTo>
                  <a:lnTo>
                    <a:pt x="372" y="1173"/>
                  </a:lnTo>
                  <a:lnTo>
                    <a:pt x="372" y="1178"/>
                  </a:lnTo>
                  <a:lnTo>
                    <a:pt x="372" y="1178"/>
                  </a:lnTo>
                  <a:lnTo>
                    <a:pt x="372" y="1178"/>
                  </a:lnTo>
                  <a:lnTo>
                    <a:pt x="372" y="1178"/>
                  </a:lnTo>
                  <a:lnTo>
                    <a:pt x="372" y="1178"/>
                  </a:lnTo>
                  <a:lnTo>
                    <a:pt x="372" y="1178"/>
                  </a:lnTo>
                  <a:lnTo>
                    <a:pt x="372" y="1178"/>
                  </a:lnTo>
                  <a:lnTo>
                    <a:pt x="376" y="1182"/>
                  </a:lnTo>
                  <a:lnTo>
                    <a:pt x="376" y="1182"/>
                  </a:lnTo>
                  <a:lnTo>
                    <a:pt x="381" y="1178"/>
                  </a:lnTo>
                  <a:lnTo>
                    <a:pt x="376" y="1178"/>
                  </a:lnTo>
                  <a:lnTo>
                    <a:pt x="376" y="1178"/>
                  </a:lnTo>
                  <a:lnTo>
                    <a:pt x="376" y="1178"/>
                  </a:lnTo>
                  <a:lnTo>
                    <a:pt x="376" y="1178"/>
                  </a:lnTo>
                  <a:lnTo>
                    <a:pt x="376" y="1178"/>
                  </a:lnTo>
                  <a:lnTo>
                    <a:pt x="376" y="1173"/>
                  </a:lnTo>
                  <a:lnTo>
                    <a:pt x="376" y="1173"/>
                  </a:lnTo>
                  <a:lnTo>
                    <a:pt x="376" y="1173"/>
                  </a:lnTo>
                  <a:lnTo>
                    <a:pt x="376" y="1173"/>
                  </a:lnTo>
                  <a:lnTo>
                    <a:pt x="376" y="1173"/>
                  </a:lnTo>
                  <a:lnTo>
                    <a:pt x="376" y="1173"/>
                  </a:lnTo>
                  <a:lnTo>
                    <a:pt x="381" y="1173"/>
                  </a:lnTo>
                  <a:lnTo>
                    <a:pt x="381" y="1173"/>
                  </a:lnTo>
                  <a:lnTo>
                    <a:pt x="385" y="1169"/>
                  </a:lnTo>
                  <a:lnTo>
                    <a:pt x="385" y="1169"/>
                  </a:lnTo>
                  <a:lnTo>
                    <a:pt x="385" y="1164"/>
                  </a:lnTo>
                  <a:lnTo>
                    <a:pt x="390" y="1164"/>
                  </a:lnTo>
                  <a:lnTo>
                    <a:pt x="394" y="1164"/>
                  </a:lnTo>
                  <a:lnTo>
                    <a:pt x="394" y="1160"/>
                  </a:lnTo>
                  <a:lnTo>
                    <a:pt x="398" y="1160"/>
                  </a:lnTo>
                  <a:lnTo>
                    <a:pt x="398" y="1160"/>
                  </a:lnTo>
                  <a:lnTo>
                    <a:pt x="398" y="1160"/>
                  </a:lnTo>
                  <a:lnTo>
                    <a:pt x="398" y="1160"/>
                  </a:lnTo>
                  <a:lnTo>
                    <a:pt x="398" y="1156"/>
                  </a:lnTo>
                  <a:lnTo>
                    <a:pt x="398" y="1156"/>
                  </a:lnTo>
                  <a:lnTo>
                    <a:pt x="398" y="1156"/>
                  </a:lnTo>
                  <a:lnTo>
                    <a:pt x="398" y="1156"/>
                  </a:lnTo>
                  <a:lnTo>
                    <a:pt x="398" y="1156"/>
                  </a:lnTo>
                  <a:lnTo>
                    <a:pt x="398" y="1156"/>
                  </a:lnTo>
                  <a:lnTo>
                    <a:pt x="398" y="1156"/>
                  </a:lnTo>
                  <a:lnTo>
                    <a:pt x="398" y="1156"/>
                  </a:lnTo>
                  <a:lnTo>
                    <a:pt x="403" y="1156"/>
                  </a:lnTo>
                  <a:lnTo>
                    <a:pt x="398" y="1156"/>
                  </a:lnTo>
                  <a:lnTo>
                    <a:pt x="398" y="1156"/>
                  </a:lnTo>
                  <a:lnTo>
                    <a:pt x="398" y="1156"/>
                  </a:lnTo>
                  <a:lnTo>
                    <a:pt x="398" y="1151"/>
                  </a:lnTo>
                  <a:lnTo>
                    <a:pt x="398" y="1151"/>
                  </a:lnTo>
                  <a:lnTo>
                    <a:pt x="398" y="1151"/>
                  </a:lnTo>
                  <a:lnTo>
                    <a:pt x="403" y="1151"/>
                  </a:lnTo>
                  <a:lnTo>
                    <a:pt x="403" y="1151"/>
                  </a:lnTo>
                  <a:lnTo>
                    <a:pt x="403" y="1151"/>
                  </a:lnTo>
                  <a:lnTo>
                    <a:pt x="407" y="1147"/>
                  </a:lnTo>
                  <a:lnTo>
                    <a:pt x="407" y="1147"/>
                  </a:lnTo>
                  <a:lnTo>
                    <a:pt x="407" y="1147"/>
                  </a:lnTo>
                  <a:lnTo>
                    <a:pt x="412" y="1142"/>
                  </a:lnTo>
                  <a:lnTo>
                    <a:pt x="412" y="1142"/>
                  </a:lnTo>
                  <a:lnTo>
                    <a:pt x="412" y="1147"/>
                  </a:lnTo>
                  <a:lnTo>
                    <a:pt x="412" y="1147"/>
                  </a:lnTo>
                  <a:lnTo>
                    <a:pt x="412" y="1147"/>
                  </a:lnTo>
                  <a:lnTo>
                    <a:pt x="412" y="1147"/>
                  </a:lnTo>
                  <a:lnTo>
                    <a:pt x="416" y="1147"/>
                  </a:lnTo>
                  <a:lnTo>
                    <a:pt x="416" y="1147"/>
                  </a:lnTo>
                  <a:lnTo>
                    <a:pt x="416" y="1142"/>
                  </a:lnTo>
                  <a:lnTo>
                    <a:pt x="421" y="1142"/>
                  </a:lnTo>
                  <a:lnTo>
                    <a:pt x="416" y="1142"/>
                  </a:lnTo>
                  <a:lnTo>
                    <a:pt x="403" y="1142"/>
                  </a:lnTo>
                  <a:lnTo>
                    <a:pt x="403" y="1142"/>
                  </a:lnTo>
                  <a:lnTo>
                    <a:pt x="398" y="1142"/>
                  </a:lnTo>
                  <a:lnTo>
                    <a:pt x="398" y="1142"/>
                  </a:lnTo>
                  <a:lnTo>
                    <a:pt x="403" y="1138"/>
                  </a:lnTo>
                  <a:lnTo>
                    <a:pt x="403" y="1138"/>
                  </a:lnTo>
                  <a:lnTo>
                    <a:pt x="403" y="1138"/>
                  </a:lnTo>
                  <a:lnTo>
                    <a:pt x="407" y="1138"/>
                  </a:lnTo>
                  <a:lnTo>
                    <a:pt x="407" y="1138"/>
                  </a:lnTo>
                  <a:lnTo>
                    <a:pt x="412" y="1133"/>
                  </a:lnTo>
                  <a:lnTo>
                    <a:pt x="412" y="1133"/>
                  </a:lnTo>
                  <a:lnTo>
                    <a:pt x="412" y="1129"/>
                  </a:lnTo>
                  <a:lnTo>
                    <a:pt x="407" y="1125"/>
                  </a:lnTo>
                  <a:lnTo>
                    <a:pt x="407" y="1125"/>
                  </a:lnTo>
                  <a:lnTo>
                    <a:pt x="412" y="1125"/>
                  </a:lnTo>
                  <a:lnTo>
                    <a:pt x="412" y="1129"/>
                  </a:lnTo>
                  <a:lnTo>
                    <a:pt x="416" y="1133"/>
                  </a:lnTo>
                  <a:lnTo>
                    <a:pt x="416" y="1133"/>
                  </a:lnTo>
                  <a:lnTo>
                    <a:pt x="416" y="1133"/>
                  </a:lnTo>
                  <a:lnTo>
                    <a:pt x="416" y="1133"/>
                  </a:lnTo>
                  <a:lnTo>
                    <a:pt x="416" y="1129"/>
                  </a:lnTo>
                  <a:lnTo>
                    <a:pt x="416" y="1129"/>
                  </a:lnTo>
                  <a:lnTo>
                    <a:pt x="416" y="1129"/>
                  </a:lnTo>
                  <a:lnTo>
                    <a:pt x="416" y="1129"/>
                  </a:lnTo>
                  <a:lnTo>
                    <a:pt x="416" y="1129"/>
                  </a:lnTo>
                  <a:lnTo>
                    <a:pt x="416" y="1129"/>
                  </a:lnTo>
                  <a:lnTo>
                    <a:pt x="416" y="1129"/>
                  </a:lnTo>
                  <a:lnTo>
                    <a:pt x="416" y="1129"/>
                  </a:lnTo>
                  <a:lnTo>
                    <a:pt x="416" y="1129"/>
                  </a:lnTo>
                  <a:lnTo>
                    <a:pt x="416" y="1129"/>
                  </a:lnTo>
                  <a:lnTo>
                    <a:pt x="416" y="1129"/>
                  </a:lnTo>
                  <a:lnTo>
                    <a:pt x="416" y="1129"/>
                  </a:lnTo>
                  <a:lnTo>
                    <a:pt x="416" y="1129"/>
                  </a:lnTo>
                  <a:lnTo>
                    <a:pt x="416" y="1129"/>
                  </a:lnTo>
                  <a:lnTo>
                    <a:pt x="412" y="1125"/>
                  </a:lnTo>
                  <a:lnTo>
                    <a:pt x="412" y="1125"/>
                  </a:lnTo>
                  <a:lnTo>
                    <a:pt x="412" y="1125"/>
                  </a:lnTo>
                  <a:lnTo>
                    <a:pt x="407" y="1125"/>
                  </a:lnTo>
                  <a:lnTo>
                    <a:pt x="407" y="1120"/>
                  </a:lnTo>
                  <a:lnTo>
                    <a:pt x="407" y="1111"/>
                  </a:lnTo>
                  <a:lnTo>
                    <a:pt x="403" y="1111"/>
                  </a:lnTo>
                  <a:lnTo>
                    <a:pt x="403" y="1107"/>
                  </a:lnTo>
                  <a:lnTo>
                    <a:pt x="403" y="1107"/>
                  </a:lnTo>
                  <a:lnTo>
                    <a:pt x="403" y="1107"/>
                  </a:lnTo>
                  <a:lnTo>
                    <a:pt x="403" y="1107"/>
                  </a:lnTo>
                  <a:lnTo>
                    <a:pt x="403" y="1107"/>
                  </a:lnTo>
                  <a:lnTo>
                    <a:pt x="403" y="1107"/>
                  </a:lnTo>
                  <a:lnTo>
                    <a:pt x="403" y="1111"/>
                  </a:lnTo>
                  <a:lnTo>
                    <a:pt x="403" y="1116"/>
                  </a:lnTo>
                  <a:lnTo>
                    <a:pt x="403" y="1116"/>
                  </a:lnTo>
                  <a:lnTo>
                    <a:pt x="403" y="1116"/>
                  </a:lnTo>
                  <a:lnTo>
                    <a:pt x="403" y="1111"/>
                  </a:lnTo>
                  <a:lnTo>
                    <a:pt x="398" y="1111"/>
                  </a:lnTo>
                  <a:lnTo>
                    <a:pt x="403" y="1107"/>
                  </a:lnTo>
                  <a:lnTo>
                    <a:pt x="398" y="1107"/>
                  </a:lnTo>
                  <a:lnTo>
                    <a:pt x="398" y="1102"/>
                  </a:lnTo>
                  <a:lnTo>
                    <a:pt x="398" y="1102"/>
                  </a:lnTo>
                  <a:lnTo>
                    <a:pt x="394" y="1102"/>
                  </a:lnTo>
                  <a:lnTo>
                    <a:pt x="394" y="1102"/>
                  </a:lnTo>
                  <a:lnTo>
                    <a:pt x="394" y="1102"/>
                  </a:lnTo>
                  <a:lnTo>
                    <a:pt x="394" y="1102"/>
                  </a:lnTo>
                  <a:lnTo>
                    <a:pt x="394" y="1102"/>
                  </a:lnTo>
                  <a:lnTo>
                    <a:pt x="394" y="1107"/>
                  </a:lnTo>
                  <a:lnTo>
                    <a:pt x="394" y="1107"/>
                  </a:lnTo>
                  <a:lnTo>
                    <a:pt x="394" y="1111"/>
                  </a:lnTo>
                  <a:lnTo>
                    <a:pt x="394" y="1111"/>
                  </a:lnTo>
                  <a:lnTo>
                    <a:pt x="394" y="1107"/>
                  </a:lnTo>
                  <a:lnTo>
                    <a:pt x="390" y="1107"/>
                  </a:lnTo>
                  <a:lnTo>
                    <a:pt x="390" y="1102"/>
                  </a:lnTo>
                  <a:lnTo>
                    <a:pt x="390" y="1102"/>
                  </a:lnTo>
                  <a:lnTo>
                    <a:pt x="390" y="1098"/>
                  </a:lnTo>
                  <a:lnTo>
                    <a:pt x="390" y="1098"/>
                  </a:lnTo>
                  <a:lnTo>
                    <a:pt x="390" y="1102"/>
                  </a:lnTo>
                  <a:lnTo>
                    <a:pt x="390" y="1102"/>
                  </a:lnTo>
                  <a:lnTo>
                    <a:pt x="390" y="1102"/>
                  </a:lnTo>
                  <a:lnTo>
                    <a:pt x="390" y="1102"/>
                  </a:lnTo>
                  <a:lnTo>
                    <a:pt x="390" y="1102"/>
                  </a:lnTo>
                  <a:lnTo>
                    <a:pt x="385" y="1098"/>
                  </a:lnTo>
                  <a:lnTo>
                    <a:pt x="385" y="1098"/>
                  </a:lnTo>
                  <a:lnTo>
                    <a:pt x="381" y="1094"/>
                  </a:lnTo>
                  <a:lnTo>
                    <a:pt x="381" y="1094"/>
                  </a:lnTo>
                  <a:lnTo>
                    <a:pt x="385" y="1094"/>
                  </a:lnTo>
                  <a:lnTo>
                    <a:pt x="385" y="1094"/>
                  </a:lnTo>
                  <a:lnTo>
                    <a:pt x="385" y="1094"/>
                  </a:lnTo>
                  <a:lnTo>
                    <a:pt x="385" y="1094"/>
                  </a:lnTo>
                  <a:lnTo>
                    <a:pt x="381" y="1089"/>
                  </a:lnTo>
                  <a:lnTo>
                    <a:pt x="381" y="1089"/>
                  </a:lnTo>
                  <a:lnTo>
                    <a:pt x="376" y="1085"/>
                  </a:lnTo>
                  <a:lnTo>
                    <a:pt x="381" y="1089"/>
                  </a:lnTo>
                  <a:lnTo>
                    <a:pt x="381" y="1089"/>
                  </a:lnTo>
                  <a:lnTo>
                    <a:pt x="390" y="1094"/>
                  </a:lnTo>
                  <a:lnTo>
                    <a:pt x="394" y="1094"/>
                  </a:lnTo>
                  <a:lnTo>
                    <a:pt x="390" y="1089"/>
                  </a:lnTo>
                  <a:lnTo>
                    <a:pt x="385" y="1089"/>
                  </a:lnTo>
                  <a:lnTo>
                    <a:pt x="385" y="1085"/>
                  </a:lnTo>
                  <a:lnTo>
                    <a:pt x="385" y="1085"/>
                  </a:lnTo>
                  <a:lnTo>
                    <a:pt x="385" y="1085"/>
                  </a:lnTo>
                  <a:lnTo>
                    <a:pt x="385" y="1085"/>
                  </a:lnTo>
                  <a:lnTo>
                    <a:pt x="385" y="1085"/>
                  </a:lnTo>
                  <a:lnTo>
                    <a:pt x="385" y="1085"/>
                  </a:lnTo>
                  <a:lnTo>
                    <a:pt x="385" y="1085"/>
                  </a:lnTo>
                  <a:lnTo>
                    <a:pt x="385" y="1085"/>
                  </a:lnTo>
                  <a:lnTo>
                    <a:pt x="385" y="1085"/>
                  </a:lnTo>
                  <a:lnTo>
                    <a:pt x="385" y="1080"/>
                  </a:lnTo>
                  <a:lnTo>
                    <a:pt x="385" y="1080"/>
                  </a:lnTo>
                  <a:lnTo>
                    <a:pt x="385" y="1080"/>
                  </a:lnTo>
                  <a:lnTo>
                    <a:pt x="381" y="1080"/>
                  </a:lnTo>
                  <a:lnTo>
                    <a:pt x="381" y="1080"/>
                  </a:lnTo>
                  <a:lnTo>
                    <a:pt x="376" y="1080"/>
                  </a:lnTo>
                  <a:lnTo>
                    <a:pt x="376" y="1080"/>
                  </a:lnTo>
                  <a:lnTo>
                    <a:pt x="376" y="1080"/>
                  </a:lnTo>
                  <a:lnTo>
                    <a:pt x="376" y="1080"/>
                  </a:lnTo>
                  <a:lnTo>
                    <a:pt x="372" y="1085"/>
                  </a:lnTo>
                  <a:lnTo>
                    <a:pt x="372" y="1080"/>
                  </a:lnTo>
                  <a:lnTo>
                    <a:pt x="372" y="1080"/>
                  </a:lnTo>
                  <a:lnTo>
                    <a:pt x="372" y="1080"/>
                  </a:lnTo>
                  <a:lnTo>
                    <a:pt x="372" y="1080"/>
                  </a:lnTo>
                  <a:lnTo>
                    <a:pt x="372" y="1080"/>
                  </a:lnTo>
                  <a:lnTo>
                    <a:pt x="376" y="1076"/>
                  </a:lnTo>
                  <a:lnTo>
                    <a:pt x="376" y="1076"/>
                  </a:lnTo>
                  <a:lnTo>
                    <a:pt x="372" y="1076"/>
                  </a:lnTo>
                  <a:lnTo>
                    <a:pt x="367" y="1076"/>
                  </a:lnTo>
                  <a:lnTo>
                    <a:pt x="367" y="1072"/>
                  </a:lnTo>
                  <a:lnTo>
                    <a:pt x="367" y="1072"/>
                  </a:lnTo>
                  <a:lnTo>
                    <a:pt x="367" y="1067"/>
                  </a:lnTo>
                  <a:lnTo>
                    <a:pt x="367" y="1067"/>
                  </a:lnTo>
                  <a:lnTo>
                    <a:pt x="363" y="1067"/>
                  </a:lnTo>
                  <a:lnTo>
                    <a:pt x="363" y="1063"/>
                  </a:lnTo>
                  <a:lnTo>
                    <a:pt x="363" y="1063"/>
                  </a:lnTo>
                  <a:lnTo>
                    <a:pt x="359" y="1063"/>
                  </a:lnTo>
                  <a:lnTo>
                    <a:pt x="359" y="1063"/>
                  </a:lnTo>
                  <a:lnTo>
                    <a:pt x="359" y="1063"/>
                  </a:lnTo>
                  <a:lnTo>
                    <a:pt x="363" y="1063"/>
                  </a:lnTo>
                  <a:lnTo>
                    <a:pt x="363" y="1058"/>
                  </a:lnTo>
                  <a:lnTo>
                    <a:pt x="363" y="1058"/>
                  </a:lnTo>
                  <a:lnTo>
                    <a:pt x="359" y="1054"/>
                  </a:lnTo>
                  <a:lnTo>
                    <a:pt x="359" y="1054"/>
                  </a:lnTo>
                  <a:lnTo>
                    <a:pt x="359" y="1054"/>
                  </a:lnTo>
                  <a:lnTo>
                    <a:pt x="354" y="1054"/>
                  </a:lnTo>
                  <a:lnTo>
                    <a:pt x="350" y="1058"/>
                  </a:lnTo>
                  <a:lnTo>
                    <a:pt x="345" y="1063"/>
                  </a:lnTo>
                  <a:lnTo>
                    <a:pt x="350" y="1063"/>
                  </a:lnTo>
                  <a:lnTo>
                    <a:pt x="350" y="1063"/>
                  </a:lnTo>
                  <a:lnTo>
                    <a:pt x="345" y="1063"/>
                  </a:lnTo>
                  <a:lnTo>
                    <a:pt x="341" y="1063"/>
                  </a:lnTo>
                  <a:lnTo>
                    <a:pt x="341" y="1063"/>
                  </a:lnTo>
                  <a:lnTo>
                    <a:pt x="341" y="1058"/>
                  </a:lnTo>
                  <a:lnTo>
                    <a:pt x="341" y="1058"/>
                  </a:lnTo>
                  <a:lnTo>
                    <a:pt x="341" y="1054"/>
                  </a:lnTo>
                  <a:lnTo>
                    <a:pt x="341" y="1054"/>
                  </a:lnTo>
                  <a:lnTo>
                    <a:pt x="341" y="1054"/>
                  </a:lnTo>
                  <a:lnTo>
                    <a:pt x="345" y="1054"/>
                  </a:lnTo>
                  <a:lnTo>
                    <a:pt x="341" y="1054"/>
                  </a:lnTo>
                  <a:lnTo>
                    <a:pt x="341" y="1049"/>
                  </a:lnTo>
                  <a:lnTo>
                    <a:pt x="341" y="1049"/>
                  </a:lnTo>
                  <a:lnTo>
                    <a:pt x="341" y="1049"/>
                  </a:lnTo>
                  <a:lnTo>
                    <a:pt x="337" y="1049"/>
                  </a:lnTo>
                  <a:lnTo>
                    <a:pt x="332" y="1049"/>
                  </a:lnTo>
                  <a:lnTo>
                    <a:pt x="328" y="1049"/>
                  </a:lnTo>
                  <a:lnTo>
                    <a:pt x="328" y="1049"/>
                  </a:lnTo>
                  <a:lnTo>
                    <a:pt x="328" y="1049"/>
                  </a:lnTo>
                  <a:lnTo>
                    <a:pt x="328" y="1054"/>
                  </a:lnTo>
                  <a:lnTo>
                    <a:pt x="328" y="1049"/>
                  </a:lnTo>
                  <a:lnTo>
                    <a:pt x="328" y="1049"/>
                  </a:lnTo>
                  <a:lnTo>
                    <a:pt x="328" y="1049"/>
                  </a:lnTo>
                  <a:lnTo>
                    <a:pt x="328" y="1049"/>
                  </a:lnTo>
                  <a:lnTo>
                    <a:pt x="323" y="1045"/>
                  </a:lnTo>
                  <a:lnTo>
                    <a:pt x="323" y="1045"/>
                  </a:lnTo>
                  <a:lnTo>
                    <a:pt x="323" y="1045"/>
                  </a:lnTo>
                  <a:lnTo>
                    <a:pt x="323" y="1045"/>
                  </a:lnTo>
                  <a:lnTo>
                    <a:pt x="319" y="1045"/>
                  </a:lnTo>
                  <a:lnTo>
                    <a:pt x="319" y="1045"/>
                  </a:lnTo>
                  <a:lnTo>
                    <a:pt x="319" y="1045"/>
                  </a:lnTo>
                  <a:lnTo>
                    <a:pt x="319" y="1045"/>
                  </a:lnTo>
                  <a:lnTo>
                    <a:pt x="319" y="1045"/>
                  </a:lnTo>
                  <a:lnTo>
                    <a:pt x="319" y="1045"/>
                  </a:lnTo>
                  <a:lnTo>
                    <a:pt x="319" y="1041"/>
                  </a:lnTo>
                  <a:lnTo>
                    <a:pt x="323" y="1041"/>
                  </a:lnTo>
                  <a:lnTo>
                    <a:pt x="323" y="1041"/>
                  </a:lnTo>
                  <a:lnTo>
                    <a:pt x="323" y="1041"/>
                  </a:lnTo>
                  <a:lnTo>
                    <a:pt x="328" y="1036"/>
                  </a:lnTo>
                  <a:lnTo>
                    <a:pt x="328" y="1036"/>
                  </a:lnTo>
                  <a:lnTo>
                    <a:pt x="328" y="1036"/>
                  </a:lnTo>
                  <a:lnTo>
                    <a:pt x="328" y="1036"/>
                  </a:lnTo>
                  <a:lnTo>
                    <a:pt x="323" y="1036"/>
                  </a:lnTo>
                  <a:lnTo>
                    <a:pt x="323" y="1036"/>
                  </a:lnTo>
                  <a:lnTo>
                    <a:pt x="323" y="1032"/>
                  </a:lnTo>
                  <a:lnTo>
                    <a:pt x="323" y="1032"/>
                  </a:lnTo>
                  <a:lnTo>
                    <a:pt x="323" y="1032"/>
                  </a:lnTo>
                  <a:lnTo>
                    <a:pt x="323" y="1032"/>
                  </a:lnTo>
                  <a:lnTo>
                    <a:pt x="323" y="1032"/>
                  </a:lnTo>
                  <a:lnTo>
                    <a:pt x="323" y="1032"/>
                  </a:lnTo>
                  <a:lnTo>
                    <a:pt x="323" y="1032"/>
                  </a:lnTo>
                  <a:lnTo>
                    <a:pt x="323" y="1027"/>
                  </a:lnTo>
                  <a:lnTo>
                    <a:pt x="323" y="1027"/>
                  </a:lnTo>
                  <a:lnTo>
                    <a:pt x="323" y="1027"/>
                  </a:lnTo>
                  <a:lnTo>
                    <a:pt x="323" y="1027"/>
                  </a:lnTo>
                  <a:lnTo>
                    <a:pt x="323" y="1023"/>
                  </a:lnTo>
                  <a:lnTo>
                    <a:pt x="323" y="1023"/>
                  </a:lnTo>
                  <a:lnTo>
                    <a:pt x="323" y="1023"/>
                  </a:lnTo>
                  <a:lnTo>
                    <a:pt x="319" y="1023"/>
                  </a:lnTo>
                  <a:lnTo>
                    <a:pt x="319" y="1023"/>
                  </a:lnTo>
                  <a:lnTo>
                    <a:pt x="319" y="1018"/>
                  </a:lnTo>
                  <a:lnTo>
                    <a:pt x="319" y="1018"/>
                  </a:lnTo>
                  <a:lnTo>
                    <a:pt x="319" y="1018"/>
                  </a:lnTo>
                  <a:lnTo>
                    <a:pt x="319" y="1018"/>
                  </a:lnTo>
                  <a:lnTo>
                    <a:pt x="319" y="1018"/>
                  </a:lnTo>
                  <a:lnTo>
                    <a:pt x="319" y="1018"/>
                  </a:lnTo>
                  <a:lnTo>
                    <a:pt x="319" y="1014"/>
                  </a:lnTo>
                  <a:lnTo>
                    <a:pt x="319" y="1014"/>
                  </a:lnTo>
                  <a:lnTo>
                    <a:pt x="319" y="1010"/>
                  </a:lnTo>
                  <a:lnTo>
                    <a:pt x="319" y="1010"/>
                  </a:lnTo>
                  <a:lnTo>
                    <a:pt x="323" y="1010"/>
                  </a:lnTo>
                  <a:lnTo>
                    <a:pt x="323" y="1010"/>
                  </a:lnTo>
                  <a:lnTo>
                    <a:pt x="319" y="1010"/>
                  </a:lnTo>
                  <a:lnTo>
                    <a:pt x="319" y="1010"/>
                  </a:lnTo>
                  <a:lnTo>
                    <a:pt x="319" y="1010"/>
                  </a:lnTo>
                  <a:lnTo>
                    <a:pt x="319" y="1005"/>
                  </a:lnTo>
                  <a:lnTo>
                    <a:pt x="319" y="1005"/>
                  </a:lnTo>
                  <a:lnTo>
                    <a:pt x="319" y="1005"/>
                  </a:lnTo>
                  <a:lnTo>
                    <a:pt x="319" y="1005"/>
                  </a:lnTo>
                  <a:lnTo>
                    <a:pt x="319" y="1005"/>
                  </a:lnTo>
                  <a:lnTo>
                    <a:pt x="319" y="1005"/>
                  </a:lnTo>
                  <a:lnTo>
                    <a:pt x="319" y="1001"/>
                  </a:lnTo>
                  <a:lnTo>
                    <a:pt x="319" y="1001"/>
                  </a:lnTo>
                  <a:lnTo>
                    <a:pt x="319" y="1001"/>
                  </a:lnTo>
                  <a:lnTo>
                    <a:pt x="319" y="1001"/>
                  </a:lnTo>
                  <a:lnTo>
                    <a:pt x="319" y="1001"/>
                  </a:lnTo>
                  <a:lnTo>
                    <a:pt x="319" y="1001"/>
                  </a:lnTo>
                  <a:lnTo>
                    <a:pt x="319" y="1001"/>
                  </a:lnTo>
                  <a:lnTo>
                    <a:pt x="319" y="1001"/>
                  </a:lnTo>
                  <a:lnTo>
                    <a:pt x="319" y="996"/>
                  </a:lnTo>
                  <a:lnTo>
                    <a:pt x="319" y="996"/>
                  </a:lnTo>
                  <a:lnTo>
                    <a:pt x="319" y="996"/>
                  </a:lnTo>
                  <a:lnTo>
                    <a:pt x="319" y="996"/>
                  </a:lnTo>
                  <a:lnTo>
                    <a:pt x="319" y="996"/>
                  </a:lnTo>
                  <a:lnTo>
                    <a:pt x="319" y="992"/>
                  </a:lnTo>
                  <a:lnTo>
                    <a:pt x="319" y="992"/>
                  </a:lnTo>
                  <a:lnTo>
                    <a:pt x="319" y="992"/>
                  </a:lnTo>
                  <a:lnTo>
                    <a:pt x="319" y="987"/>
                  </a:lnTo>
                  <a:lnTo>
                    <a:pt x="319" y="987"/>
                  </a:lnTo>
                  <a:lnTo>
                    <a:pt x="319" y="987"/>
                  </a:lnTo>
                  <a:lnTo>
                    <a:pt x="319" y="983"/>
                  </a:lnTo>
                  <a:lnTo>
                    <a:pt x="319" y="983"/>
                  </a:lnTo>
                  <a:lnTo>
                    <a:pt x="319" y="979"/>
                  </a:lnTo>
                  <a:lnTo>
                    <a:pt x="319" y="979"/>
                  </a:lnTo>
                  <a:lnTo>
                    <a:pt x="314" y="979"/>
                  </a:lnTo>
                  <a:lnTo>
                    <a:pt x="314" y="979"/>
                  </a:lnTo>
                  <a:lnTo>
                    <a:pt x="314" y="974"/>
                  </a:lnTo>
                  <a:lnTo>
                    <a:pt x="314" y="974"/>
                  </a:lnTo>
                  <a:lnTo>
                    <a:pt x="314" y="974"/>
                  </a:lnTo>
                  <a:lnTo>
                    <a:pt x="319" y="979"/>
                  </a:lnTo>
                  <a:lnTo>
                    <a:pt x="319" y="979"/>
                  </a:lnTo>
                  <a:lnTo>
                    <a:pt x="323" y="979"/>
                  </a:lnTo>
                  <a:lnTo>
                    <a:pt x="319" y="979"/>
                  </a:lnTo>
                  <a:lnTo>
                    <a:pt x="319" y="979"/>
                  </a:lnTo>
                  <a:lnTo>
                    <a:pt x="319" y="979"/>
                  </a:lnTo>
                  <a:lnTo>
                    <a:pt x="319" y="974"/>
                  </a:lnTo>
                  <a:lnTo>
                    <a:pt x="319" y="979"/>
                  </a:lnTo>
                  <a:lnTo>
                    <a:pt x="323" y="979"/>
                  </a:lnTo>
                  <a:lnTo>
                    <a:pt x="323" y="979"/>
                  </a:lnTo>
                  <a:lnTo>
                    <a:pt x="319" y="974"/>
                  </a:lnTo>
                  <a:lnTo>
                    <a:pt x="319" y="974"/>
                  </a:lnTo>
                  <a:lnTo>
                    <a:pt x="319" y="974"/>
                  </a:lnTo>
                  <a:lnTo>
                    <a:pt x="314" y="970"/>
                  </a:lnTo>
                  <a:lnTo>
                    <a:pt x="314" y="970"/>
                  </a:lnTo>
                  <a:lnTo>
                    <a:pt x="314" y="965"/>
                  </a:lnTo>
                  <a:lnTo>
                    <a:pt x="314" y="965"/>
                  </a:lnTo>
                  <a:lnTo>
                    <a:pt x="314" y="965"/>
                  </a:lnTo>
                  <a:lnTo>
                    <a:pt x="314" y="961"/>
                  </a:lnTo>
                  <a:lnTo>
                    <a:pt x="319" y="965"/>
                  </a:lnTo>
                  <a:lnTo>
                    <a:pt x="319" y="965"/>
                  </a:lnTo>
                  <a:lnTo>
                    <a:pt x="319" y="965"/>
                  </a:lnTo>
                  <a:lnTo>
                    <a:pt x="319" y="965"/>
                  </a:lnTo>
                  <a:lnTo>
                    <a:pt x="319" y="965"/>
                  </a:lnTo>
                  <a:lnTo>
                    <a:pt x="319" y="965"/>
                  </a:lnTo>
                  <a:lnTo>
                    <a:pt x="319" y="965"/>
                  </a:lnTo>
                  <a:lnTo>
                    <a:pt x="319" y="965"/>
                  </a:lnTo>
                  <a:lnTo>
                    <a:pt x="319" y="961"/>
                  </a:lnTo>
                  <a:lnTo>
                    <a:pt x="319" y="961"/>
                  </a:lnTo>
                  <a:lnTo>
                    <a:pt x="319" y="961"/>
                  </a:lnTo>
                  <a:lnTo>
                    <a:pt x="319" y="961"/>
                  </a:lnTo>
                  <a:lnTo>
                    <a:pt x="319" y="961"/>
                  </a:lnTo>
                  <a:lnTo>
                    <a:pt x="319" y="961"/>
                  </a:lnTo>
                  <a:lnTo>
                    <a:pt x="319" y="961"/>
                  </a:lnTo>
                  <a:lnTo>
                    <a:pt x="319" y="961"/>
                  </a:lnTo>
                  <a:lnTo>
                    <a:pt x="319" y="961"/>
                  </a:lnTo>
                  <a:lnTo>
                    <a:pt x="319" y="961"/>
                  </a:lnTo>
                  <a:lnTo>
                    <a:pt x="319" y="961"/>
                  </a:lnTo>
                  <a:lnTo>
                    <a:pt x="319" y="961"/>
                  </a:lnTo>
                  <a:lnTo>
                    <a:pt x="319" y="956"/>
                  </a:lnTo>
                  <a:lnTo>
                    <a:pt x="319" y="956"/>
                  </a:lnTo>
                  <a:lnTo>
                    <a:pt x="319" y="956"/>
                  </a:lnTo>
                  <a:lnTo>
                    <a:pt x="319" y="956"/>
                  </a:lnTo>
                  <a:lnTo>
                    <a:pt x="314" y="956"/>
                  </a:lnTo>
                  <a:lnTo>
                    <a:pt x="314" y="952"/>
                  </a:lnTo>
                  <a:lnTo>
                    <a:pt x="319" y="952"/>
                  </a:lnTo>
                  <a:lnTo>
                    <a:pt x="319" y="952"/>
                  </a:lnTo>
                  <a:lnTo>
                    <a:pt x="319" y="952"/>
                  </a:lnTo>
                  <a:lnTo>
                    <a:pt x="314" y="952"/>
                  </a:lnTo>
                  <a:lnTo>
                    <a:pt x="314" y="952"/>
                  </a:lnTo>
                  <a:lnTo>
                    <a:pt x="314" y="952"/>
                  </a:lnTo>
                  <a:lnTo>
                    <a:pt x="314" y="952"/>
                  </a:lnTo>
                  <a:lnTo>
                    <a:pt x="314" y="952"/>
                  </a:lnTo>
                  <a:lnTo>
                    <a:pt x="319" y="952"/>
                  </a:lnTo>
                  <a:lnTo>
                    <a:pt x="319" y="948"/>
                  </a:lnTo>
                  <a:lnTo>
                    <a:pt x="314" y="948"/>
                  </a:lnTo>
                  <a:lnTo>
                    <a:pt x="310" y="948"/>
                  </a:lnTo>
                  <a:lnTo>
                    <a:pt x="314" y="948"/>
                  </a:lnTo>
                  <a:lnTo>
                    <a:pt x="319" y="948"/>
                  </a:lnTo>
                  <a:lnTo>
                    <a:pt x="314" y="943"/>
                  </a:lnTo>
                  <a:lnTo>
                    <a:pt x="314" y="943"/>
                  </a:lnTo>
                  <a:lnTo>
                    <a:pt x="314" y="943"/>
                  </a:lnTo>
                  <a:lnTo>
                    <a:pt x="314" y="943"/>
                  </a:lnTo>
                  <a:lnTo>
                    <a:pt x="319" y="943"/>
                  </a:lnTo>
                  <a:lnTo>
                    <a:pt x="319" y="943"/>
                  </a:lnTo>
                  <a:lnTo>
                    <a:pt x="319" y="943"/>
                  </a:lnTo>
                  <a:lnTo>
                    <a:pt x="319" y="943"/>
                  </a:lnTo>
                  <a:lnTo>
                    <a:pt x="323" y="943"/>
                  </a:lnTo>
                  <a:lnTo>
                    <a:pt x="319" y="943"/>
                  </a:lnTo>
                  <a:lnTo>
                    <a:pt x="314" y="943"/>
                  </a:lnTo>
                  <a:lnTo>
                    <a:pt x="314" y="939"/>
                  </a:lnTo>
                  <a:lnTo>
                    <a:pt x="319" y="943"/>
                  </a:lnTo>
                  <a:lnTo>
                    <a:pt x="319" y="939"/>
                  </a:lnTo>
                  <a:lnTo>
                    <a:pt x="319" y="939"/>
                  </a:lnTo>
                  <a:lnTo>
                    <a:pt x="319" y="939"/>
                  </a:lnTo>
                  <a:lnTo>
                    <a:pt x="319" y="939"/>
                  </a:lnTo>
                  <a:lnTo>
                    <a:pt x="319" y="939"/>
                  </a:lnTo>
                  <a:lnTo>
                    <a:pt x="323" y="939"/>
                  </a:lnTo>
                  <a:lnTo>
                    <a:pt x="323" y="939"/>
                  </a:lnTo>
                  <a:lnTo>
                    <a:pt x="323" y="934"/>
                  </a:lnTo>
                  <a:lnTo>
                    <a:pt x="319" y="934"/>
                  </a:lnTo>
                  <a:lnTo>
                    <a:pt x="319" y="934"/>
                  </a:lnTo>
                  <a:lnTo>
                    <a:pt x="319" y="934"/>
                  </a:lnTo>
                  <a:lnTo>
                    <a:pt x="314" y="930"/>
                  </a:lnTo>
                  <a:lnTo>
                    <a:pt x="319" y="930"/>
                  </a:lnTo>
                  <a:lnTo>
                    <a:pt x="323" y="930"/>
                  </a:lnTo>
                  <a:lnTo>
                    <a:pt x="323" y="934"/>
                  </a:lnTo>
                  <a:lnTo>
                    <a:pt x="323" y="934"/>
                  </a:lnTo>
                  <a:lnTo>
                    <a:pt x="328" y="934"/>
                  </a:lnTo>
                  <a:lnTo>
                    <a:pt x="328" y="939"/>
                  </a:lnTo>
                  <a:lnTo>
                    <a:pt x="328" y="934"/>
                  </a:lnTo>
                  <a:lnTo>
                    <a:pt x="328" y="934"/>
                  </a:lnTo>
                  <a:lnTo>
                    <a:pt x="328" y="930"/>
                  </a:lnTo>
                  <a:lnTo>
                    <a:pt x="328" y="934"/>
                  </a:lnTo>
                  <a:lnTo>
                    <a:pt x="328" y="934"/>
                  </a:lnTo>
                  <a:lnTo>
                    <a:pt x="332" y="939"/>
                  </a:lnTo>
                  <a:lnTo>
                    <a:pt x="332" y="939"/>
                  </a:lnTo>
                  <a:lnTo>
                    <a:pt x="332" y="943"/>
                  </a:lnTo>
                  <a:lnTo>
                    <a:pt x="332" y="943"/>
                  </a:lnTo>
                  <a:lnTo>
                    <a:pt x="337" y="943"/>
                  </a:lnTo>
                  <a:lnTo>
                    <a:pt x="337" y="943"/>
                  </a:lnTo>
                  <a:lnTo>
                    <a:pt x="337" y="939"/>
                  </a:lnTo>
                  <a:lnTo>
                    <a:pt x="337" y="939"/>
                  </a:lnTo>
                  <a:lnTo>
                    <a:pt x="337" y="934"/>
                  </a:lnTo>
                  <a:lnTo>
                    <a:pt x="337" y="934"/>
                  </a:lnTo>
                  <a:lnTo>
                    <a:pt x="337" y="934"/>
                  </a:lnTo>
                  <a:lnTo>
                    <a:pt x="337" y="934"/>
                  </a:lnTo>
                  <a:lnTo>
                    <a:pt x="337" y="930"/>
                  </a:lnTo>
                  <a:lnTo>
                    <a:pt x="337" y="930"/>
                  </a:lnTo>
                  <a:lnTo>
                    <a:pt x="332" y="930"/>
                  </a:lnTo>
                  <a:lnTo>
                    <a:pt x="332" y="930"/>
                  </a:lnTo>
                  <a:lnTo>
                    <a:pt x="332" y="930"/>
                  </a:lnTo>
                  <a:lnTo>
                    <a:pt x="328" y="930"/>
                  </a:lnTo>
                  <a:lnTo>
                    <a:pt x="328" y="930"/>
                  </a:lnTo>
                  <a:lnTo>
                    <a:pt x="328" y="925"/>
                  </a:lnTo>
                  <a:lnTo>
                    <a:pt x="328" y="925"/>
                  </a:lnTo>
                  <a:lnTo>
                    <a:pt x="328" y="925"/>
                  </a:lnTo>
                  <a:lnTo>
                    <a:pt x="328" y="925"/>
                  </a:lnTo>
                  <a:lnTo>
                    <a:pt x="328" y="921"/>
                  </a:lnTo>
                  <a:lnTo>
                    <a:pt x="328" y="921"/>
                  </a:lnTo>
                  <a:lnTo>
                    <a:pt x="328" y="921"/>
                  </a:lnTo>
                  <a:lnTo>
                    <a:pt x="332" y="921"/>
                  </a:lnTo>
                  <a:lnTo>
                    <a:pt x="332" y="921"/>
                  </a:lnTo>
                  <a:lnTo>
                    <a:pt x="328" y="921"/>
                  </a:lnTo>
                  <a:lnTo>
                    <a:pt x="328" y="921"/>
                  </a:lnTo>
                  <a:lnTo>
                    <a:pt x="328" y="921"/>
                  </a:lnTo>
                  <a:lnTo>
                    <a:pt x="328" y="921"/>
                  </a:lnTo>
                  <a:lnTo>
                    <a:pt x="328" y="921"/>
                  </a:lnTo>
                  <a:lnTo>
                    <a:pt x="328" y="917"/>
                  </a:lnTo>
                  <a:lnTo>
                    <a:pt x="328" y="917"/>
                  </a:lnTo>
                  <a:lnTo>
                    <a:pt x="328" y="917"/>
                  </a:lnTo>
                  <a:lnTo>
                    <a:pt x="328" y="917"/>
                  </a:lnTo>
                  <a:lnTo>
                    <a:pt x="328" y="917"/>
                  </a:lnTo>
                  <a:lnTo>
                    <a:pt x="328" y="917"/>
                  </a:lnTo>
                  <a:lnTo>
                    <a:pt x="328" y="917"/>
                  </a:lnTo>
                  <a:lnTo>
                    <a:pt x="328" y="917"/>
                  </a:lnTo>
                  <a:lnTo>
                    <a:pt x="328" y="917"/>
                  </a:lnTo>
                  <a:lnTo>
                    <a:pt x="328" y="917"/>
                  </a:lnTo>
                  <a:lnTo>
                    <a:pt x="328" y="912"/>
                  </a:lnTo>
                  <a:lnTo>
                    <a:pt x="328" y="912"/>
                  </a:lnTo>
                  <a:lnTo>
                    <a:pt x="328" y="912"/>
                  </a:lnTo>
                  <a:lnTo>
                    <a:pt x="328" y="912"/>
                  </a:lnTo>
                  <a:lnTo>
                    <a:pt x="328" y="908"/>
                  </a:lnTo>
                  <a:lnTo>
                    <a:pt x="328" y="908"/>
                  </a:lnTo>
                  <a:lnTo>
                    <a:pt x="328" y="908"/>
                  </a:lnTo>
                  <a:lnTo>
                    <a:pt x="328" y="903"/>
                  </a:lnTo>
                  <a:lnTo>
                    <a:pt x="328" y="903"/>
                  </a:lnTo>
                  <a:lnTo>
                    <a:pt x="328" y="903"/>
                  </a:lnTo>
                  <a:lnTo>
                    <a:pt x="328" y="903"/>
                  </a:lnTo>
                  <a:lnTo>
                    <a:pt x="328" y="903"/>
                  </a:lnTo>
                  <a:lnTo>
                    <a:pt x="328" y="903"/>
                  </a:lnTo>
                  <a:lnTo>
                    <a:pt x="332" y="899"/>
                  </a:lnTo>
                  <a:lnTo>
                    <a:pt x="332" y="899"/>
                  </a:lnTo>
                  <a:lnTo>
                    <a:pt x="332" y="899"/>
                  </a:lnTo>
                  <a:lnTo>
                    <a:pt x="332" y="899"/>
                  </a:lnTo>
                  <a:lnTo>
                    <a:pt x="332" y="899"/>
                  </a:lnTo>
                  <a:lnTo>
                    <a:pt x="332" y="899"/>
                  </a:lnTo>
                  <a:lnTo>
                    <a:pt x="332" y="894"/>
                  </a:lnTo>
                  <a:lnTo>
                    <a:pt x="332" y="894"/>
                  </a:lnTo>
                  <a:lnTo>
                    <a:pt x="332" y="894"/>
                  </a:lnTo>
                  <a:lnTo>
                    <a:pt x="332" y="890"/>
                  </a:lnTo>
                  <a:lnTo>
                    <a:pt x="332" y="890"/>
                  </a:lnTo>
                  <a:lnTo>
                    <a:pt x="332" y="890"/>
                  </a:lnTo>
                  <a:lnTo>
                    <a:pt x="332" y="886"/>
                  </a:lnTo>
                  <a:lnTo>
                    <a:pt x="337" y="886"/>
                  </a:lnTo>
                  <a:lnTo>
                    <a:pt x="337" y="886"/>
                  </a:lnTo>
                  <a:lnTo>
                    <a:pt x="337" y="886"/>
                  </a:lnTo>
                  <a:lnTo>
                    <a:pt x="337" y="881"/>
                  </a:lnTo>
                  <a:lnTo>
                    <a:pt x="337" y="881"/>
                  </a:lnTo>
                  <a:lnTo>
                    <a:pt x="337" y="881"/>
                  </a:lnTo>
                  <a:lnTo>
                    <a:pt x="337" y="877"/>
                  </a:lnTo>
                  <a:lnTo>
                    <a:pt x="337" y="877"/>
                  </a:lnTo>
                  <a:lnTo>
                    <a:pt x="337" y="877"/>
                  </a:lnTo>
                  <a:lnTo>
                    <a:pt x="337" y="872"/>
                  </a:lnTo>
                  <a:lnTo>
                    <a:pt x="337" y="872"/>
                  </a:lnTo>
                  <a:lnTo>
                    <a:pt x="341" y="872"/>
                  </a:lnTo>
                  <a:lnTo>
                    <a:pt x="337" y="877"/>
                  </a:lnTo>
                  <a:lnTo>
                    <a:pt x="337" y="877"/>
                  </a:lnTo>
                  <a:lnTo>
                    <a:pt x="341" y="877"/>
                  </a:lnTo>
                  <a:lnTo>
                    <a:pt x="345" y="872"/>
                  </a:lnTo>
                  <a:lnTo>
                    <a:pt x="341" y="872"/>
                  </a:lnTo>
                  <a:lnTo>
                    <a:pt x="341" y="872"/>
                  </a:lnTo>
                  <a:lnTo>
                    <a:pt x="341" y="872"/>
                  </a:lnTo>
                  <a:lnTo>
                    <a:pt x="337" y="872"/>
                  </a:lnTo>
                  <a:lnTo>
                    <a:pt x="332" y="868"/>
                  </a:lnTo>
                  <a:lnTo>
                    <a:pt x="332" y="868"/>
                  </a:lnTo>
                  <a:lnTo>
                    <a:pt x="332" y="868"/>
                  </a:lnTo>
                  <a:lnTo>
                    <a:pt x="337" y="868"/>
                  </a:lnTo>
                  <a:lnTo>
                    <a:pt x="337" y="868"/>
                  </a:lnTo>
                  <a:lnTo>
                    <a:pt x="332" y="868"/>
                  </a:lnTo>
                  <a:lnTo>
                    <a:pt x="332" y="868"/>
                  </a:lnTo>
                  <a:lnTo>
                    <a:pt x="332" y="863"/>
                  </a:lnTo>
                  <a:lnTo>
                    <a:pt x="332" y="863"/>
                  </a:lnTo>
                  <a:lnTo>
                    <a:pt x="332" y="863"/>
                  </a:lnTo>
                  <a:lnTo>
                    <a:pt x="332" y="863"/>
                  </a:lnTo>
                  <a:lnTo>
                    <a:pt x="328" y="863"/>
                  </a:lnTo>
                  <a:lnTo>
                    <a:pt x="328" y="863"/>
                  </a:lnTo>
                  <a:lnTo>
                    <a:pt x="328" y="863"/>
                  </a:lnTo>
                  <a:lnTo>
                    <a:pt x="328" y="859"/>
                  </a:lnTo>
                  <a:lnTo>
                    <a:pt x="328" y="859"/>
                  </a:lnTo>
                  <a:lnTo>
                    <a:pt x="328" y="859"/>
                  </a:lnTo>
                  <a:lnTo>
                    <a:pt x="328" y="855"/>
                  </a:lnTo>
                  <a:lnTo>
                    <a:pt x="328" y="855"/>
                  </a:lnTo>
                  <a:lnTo>
                    <a:pt x="328" y="855"/>
                  </a:lnTo>
                  <a:lnTo>
                    <a:pt x="328" y="855"/>
                  </a:lnTo>
                  <a:lnTo>
                    <a:pt x="328" y="855"/>
                  </a:lnTo>
                  <a:lnTo>
                    <a:pt x="328" y="855"/>
                  </a:lnTo>
                  <a:lnTo>
                    <a:pt x="328" y="855"/>
                  </a:lnTo>
                  <a:lnTo>
                    <a:pt x="328" y="855"/>
                  </a:lnTo>
                  <a:lnTo>
                    <a:pt x="328" y="855"/>
                  </a:lnTo>
                  <a:lnTo>
                    <a:pt x="328" y="850"/>
                  </a:lnTo>
                  <a:lnTo>
                    <a:pt x="328" y="850"/>
                  </a:lnTo>
                  <a:lnTo>
                    <a:pt x="328" y="846"/>
                  </a:lnTo>
                  <a:lnTo>
                    <a:pt x="328" y="846"/>
                  </a:lnTo>
                  <a:lnTo>
                    <a:pt x="328" y="846"/>
                  </a:lnTo>
                  <a:lnTo>
                    <a:pt x="328" y="841"/>
                  </a:lnTo>
                  <a:lnTo>
                    <a:pt x="328" y="841"/>
                  </a:lnTo>
                  <a:lnTo>
                    <a:pt x="328" y="841"/>
                  </a:lnTo>
                  <a:lnTo>
                    <a:pt x="332" y="841"/>
                  </a:lnTo>
                  <a:lnTo>
                    <a:pt x="332" y="841"/>
                  </a:lnTo>
                  <a:lnTo>
                    <a:pt x="332" y="841"/>
                  </a:lnTo>
                  <a:lnTo>
                    <a:pt x="337" y="841"/>
                  </a:lnTo>
                  <a:lnTo>
                    <a:pt x="337" y="850"/>
                  </a:lnTo>
                  <a:lnTo>
                    <a:pt x="337" y="850"/>
                  </a:lnTo>
                  <a:lnTo>
                    <a:pt x="337" y="850"/>
                  </a:lnTo>
                  <a:lnTo>
                    <a:pt x="337" y="850"/>
                  </a:lnTo>
                  <a:lnTo>
                    <a:pt x="341" y="850"/>
                  </a:lnTo>
                  <a:lnTo>
                    <a:pt x="345" y="850"/>
                  </a:lnTo>
                  <a:lnTo>
                    <a:pt x="345" y="850"/>
                  </a:lnTo>
                  <a:lnTo>
                    <a:pt x="345" y="850"/>
                  </a:lnTo>
                  <a:lnTo>
                    <a:pt x="345" y="850"/>
                  </a:lnTo>
                  <a:lnTo>
                    <a:pt x="345" y="846"/>
                  </a:lnTo>
                  <a:lnTo>
                    <a:pt x="345" y="846"/>
                  </a:lnTo>
                  <a:lnTo>
                    <a:pt x="345" y="846"/>
                  </a:lnTo>
                  <a:lnTo>
                    <a:pt x="350" y="841"/>
                  </a:lnTo>
                  <a:lnTo>
                    <a:pt x="350" y="841"/>
                  </a:lnTo>
                  <a:lnTo>
                    <a:pt x="350" y="846"/>
                  </a:lnTo>
                  <a:lnTo>
                    <a:pt x="350" y="846"/>
                  </a:lnTo>
                  <a:lnTo>
                    <a:pt x="354" y="846"/>
                  </a:lnTo>
                  <a:lnTo>
                    <a:pt x="354" y="846"/>
                  </a:lnTo>
                  <a:lnTo>
                    <a:pt x="354" y="846"/>
                  </a:lnTo>
                  <a:lnTo>
                    <a:pt x="354" y="841"/>
                  </a:lnTo>
                  <a:lnTo>
                    <a:pt x="354" y="841"/>
                  </a:lnTo>
                  <a:lnTo>
                    <a:pt x="359" y="837"/>
                  </a:lnTo>
                  <a:lnTo>
                    <a:pt x="359" y="837"/>
                  </a:lnTo>
                  <a:lnTo>
                    <a:pt x="359" y="837"/>
                  </a:lnTo>
                  <a:lnTo>
                    <a:pt x="359" y="837"/>
                  </a:lnTo>
                  <a:lnTo>
                    <a:pt x="359" y="837"/>
                  </a:lnTo>
                  <a:lnTo>
                    <a:pt x="359" y="832"/>
                  </a:lnTo>
                  <a:lnTo>
                    <a:pt x="359" y="832"/>
                  </a:lnTo>
                  <a:lnTo>
                    <a:pt x="359" y="832"/>
                  </a:lnTo>
                  <a:lnTo>
                    <a:pt x="359" y="832"/>
                  </a:lnTo>
                  <a:lnTo>
                    <a:pt x="359" y="832"/>
                  </a:lnTo>
                  <a:lnTo>
                    <a:pt x="359" y="832"/>
                  </a:lnTo>
                  <a:lnTo>
                    <a:pt x="359" y="837"/>
                  </a:lnTo>
                  <a:lnTo>
                    <a:pt x="359" y="837"/>
                  </a:lnTo>
                  <a:lnTo>
                    <a:pt x="359" y="837"/>
                  </a:lnTo>
                  <a:lnTo>
                    <a:pt x="363" y="832"/>
                  </a:lnTo>
                  <a:lnTo>
                    <a:pt x="363" y="832"/>
                  </a:lnTo>
                  <a:lnTo>
                    <a:pt x="363" y="832"/>
                  </a:lnTo>
                  <a:lnTo>
                    <a:pt x="363" y="832"/>
                  </a:lnTo>
                  <a:lnTo>
                    <a:pt x="363" y="832"/>
                  </a:lnTo>
                  <a:lnTo>
                    <a:pt x="363" y="828"/>
                  </a:lnTo>
                  <a:lnTo>
                    <a:pt x="354" y="828"/>
                  </a:lnTo>
                  <a:lnTo>
                    <a:pt x="354" y="824"/>
                  </a:lnTo>
                  <a:lnTo>
                    <a:pt x="359" y="824"/>
                  </a:lnTo>
                  <a:lnTo>
                    <a:pt x="359" y="824"/>
                  </a:lnTo>
                  <a:lnTo>
                    <a:pt x="359" y="824"/>
                  </a:lnTo>
                  <a:lnTo>
                    <a:pt x="359" y="828"/>
                  </a:lnTo>
                  <a:lnTo>
                    <a:pt x="363" y="828"/>
                  </a:lnTo>
                  <a:lnTo>
                    <a:pt x="363" y="824"/>
                  </a:lnTo>
                  <a:lnTo>
                    <a:pt x="363" y="824"/>
                  </a:lnTo>
                  <a:lnTo>
                    <a:pt x="363" y="824"/>
                  </a:lnTo>
                  <a:lnTo>
                    <a:pt x="363" y="824"/>
                  </a:lnTo>
                  <a:lnTo>
                    <a:pt x="363" y="819"/>
                  </a:lnTo>
                  <a:lnTo>
                    <a:pt x="363" y="819"/>
                  </a:lnTo>
                  <a:lnTo>
                    <a:pt x="363" y="819"/>
                  </a:lnTo>
                  <a:lnTo>
                    <a:pt x="359" y="815"/>
                  </a:lnTo>
                  <a:lnTo>
                    <a:pt x="359" y="815"/>
                  </a:lnTo>
                  <a:lnTo>
                    <a:pt x="359" y="810"/>
                  </a:lnTo>
                  <a:lnTo>
                    <a:pt x="359" y="810"/>
                  </a:lnTo>
                  <a:lnTo>
                    <a:pt x="359" y="810"/>
                  </a:lnTo>
                  <a:lnTo>
                    <a:pt x="359" y="810"/>
                  </a:lnTo>
                  <a:lnTo>
                    <a:pt x="354" y="806"/>
                  </a:lnTo>
                  <a:lnTo>
                    <a:pt x="354" y="806"/>
                  </a:lnTo>
                  <a:lnTo>
                    <a:pt x="359" y="806"/>
                  </a:lnTo>
                  <a:lnTo>
                    <a:pt x="354" y="801"/>
                  </a:lnTo>
                  <a:lnTo>
                    <a:pt x="354" y="797"/>
                  </a:lnTo>
                  <a:lnTo>
                    <a:pt x="354" y="797"/>
                  </a:lnTo>
                  <a:lnTo>
                    <a:pt x="354" y="793"/>
                  </a:lnTo>
                  <a:lnTo>
                    <a:pt x="345" y="788"/>
                  </a:lnTo>
                  <a:lnTo>
                    <a:pt x="345" y="788"/>
                  </a:lnTo>
                  <a:lnTo>
                    <a:pt x="345" y="788"/>
                  </a:lnTo>
                  <a:lnTo>
                    <a:pt x="350" y="788"/>
                  </a:lnTo>
                  <a:lnTo>
                    <a:pt x="350" y="788"/>
                  </a:lnTo>
                  <a:lnTo>
                    <a:pt x="350" y="788"/>
                  </a:lnTo>
                  <a:lnTo>
                    <a:pt x="350" y="788"/>
                  </a:lnTo>
                  <a:lnTo>
                    <a:pt x="354" y="788"/>
                  </a:lnTo>
                  <a:lnTo>
                    <a:pt x="354" y="788"/>
                  </a:lnTo>
                  <a:lnTo>
                    <a:pt x="350" y="788"/>
                  </a:lnTo>
                  <a:lnTo>
                    <a:pt x="354" y="788"/>
                  </a:lnTo>
                  <a:lnTo>
                    <a:pt x="354" y="788"/>
                  </a:lnTo>
                  <a:lnTo>
                    <a:pt x="354" y="793"/>
                  </a:lnTo>
                  <a:lnTo>
                    <a:pt x="354" y="793"/>
                  </a:lnTo>
                  <a:lnTo>
                    <a:pt x="354" y="797"/>
                  </a:lnTo>
                  <a:lnTo>
                    <a:pt x="354" y="797"/>
                  </a:lnTo>
                  <a:lnTo>
                    <a:pt x="354" y="797"/>
                  </a:lnTo>
                  <a:lnTo>
                    <a:pt x="359" y="797"/>
                  </a:lnTo>
                  <a:lnTo>
                    <a:pt x="359" y="797"/>
                  </a:lnTo>
                  <a:lnTo>
                    <a:pt x="359" y="797"/>
                  </a:lnTo>
                  <a:lnTo>
                    <a:pt x="359" y="797"/>
                  </a:lnTo>
                  <a:lnTo>
                    <a:pt x="359" y="801"/>
                  </a:lnTo>
                  <a:lnTo>
                    <a:pt x="359" y="801"/>
                  </a:lnTo>
                  <a:lnTo>
                    <a:pt x="359" y="801"/>
                  </a:lnTo>
                  <a:lnTo>
                    <a:pt x="359" y="801"/>
                  </a:lnTo>
                  <a:lnTo>
                    <a:pt x="359" y="801"/>
                  </a:lnTo>
                  <a:lnTo>
                    <a:pt x="359" y="806"/>
                  </a:lnTo>
                  <a:lnTo>
                    <a:pt x="359" y="806"/>
                  </a:lnTo>
                  <a:lnTo>
                    <a:pt x="359" y="806"/>
                  </a:lnTo>
                  <a:lnTo>
                    <a:pt x="359" y="810"/>
                  </a:lnTo>
                  <a:lnTo>
                    <a:pt x="359" y="810"/>
                  </a:lnTo>
                  <a:lnTo>
                    <a:pt x="359" y="810"/>
                  </a:lnTo>
                  <a:lnTo>
                    <a:pt x="363" y="806"/>
                  </a:lnTo>
                  <a:lnTo>
                    <a:pt x="363" y="806"/>
                  </a:lnTo>
                  <a:lnTo>
                    <a:pt x="363" y="801"/>
                  </a:lnTo>
                  <a:lnTo>
                    <a:pt x="367" y="801"/>
                  </a:lnTo>
                  <a:lnTo>
                    <a:pt x="367" y="801"/>
                  </a:lnTo>
                  <a:lnTo>
                    <a:pt x="367" y="801"/>
                  </a:lnTo>
                  <a:lnTo>
                    <a:pt x="367" y="806"/>
                  </a:lnTo>
                  <a:lnTo>
                    <a:pt x="367" y="806"/>
                  </a:lnTo>
                  <a:lnTo>
                    <a:pt x="367" y="806"/>
                  </a:lnTo>
                  <a:lnTo>
                    <a:pt x="367" y="806"/>
                  </a:lnTo>
                  <a:lnTo>
                    <a:pt x="367" y="806"/>
                  </a:lnTo>
                  <a:lnTo>
                    <a:pt x="367" y="810"/>
                  </a:lnTo>
                  <a:lnTo>
                    <a:pt x="363" y="810"/>
                  </a:lnTo>
                  <a:lnTo>
                    <a:pt x="363" y="810"/>
                  </a:lnTo>
                  <a:lnTo>
                    <a:pt x="363" y="810"/>
                  </a:lnTo>
                  <a:lnTo>
                    <a:pt x="367" y="810"/>
                  </a:lnTo>
                  <a:lnTo>
                    <a:pt x="367" y="810"/>
                  </a:lnTo>
                  <a:lnTo>
                    <a:pt x="367" y="810"/>
                  </a:lnTo>
                  <a:lnTo>
                    <a:pt x="367" y="815"/>
                  </a:lnTo>
                  <a:lnTo>
                    <a:pt x="367" y="815"/>
                  </a:lnTo>
                  <a:lnTo>
                    <a:pt x="367" y="815"/>
                  </a:lnTo>
                  <a:lnTo>
                    <a:pt x="372" y="810"/>
                  </a:lnTo>
                  <a:lnTo>
                    <a:pt x="372" y="810"/>
                  </a:lnTo>
                  <a:lnTo>
                    <a:pt x="372" y="810"/>
                  </a:lnTo>
                  <a:lnTo>
                    <a:pt x="372" y="810"/>
                  </a:lnTo>
                  <a:lnTo>
                    <a:pt x="372" y="810"/>
                  </a:lnTo>
                  <a:lnTo>
                    <a:pt x="372" y="810"/>
                  </a:lnTo>
                  <a:lnTo>
                    <a:pt x="372" y="810"/>
                  </a:lnTo>
                  <a:lnTo>
                    <a:pt x="372" y="810"/>
                  </a:lnTo>
                  <a:lnTo>
                    <a:pt x="372" y="810"/>
                  </a:lnTo>
                  <a:lnTo>
                    <a:pt x="372" y="810"/>
                  </a:lnTo>
                  <a:lnTo>
                    <a:pt x="372" y="810"/>
                  </a:lnTo>
                  <a:lnTo>
                    <a:pt x="372" y="810"/>
                  </a:lnTo>
                  <a:lnTo>
                    <a:pt x="372" y="810"/>
                  </a:lnTo>
                  <a:lnTo>
                    <a:pt x="376" y="810"/>
                  </a:lnTo>
                  <a:lnTo>
                    <a:pt x="376" y="810"/>
                  </a:lnTo>
                  <a:lnTo>
                    <a:pt x="376" y="806"/>
                  </a:lnTo>
                  <a:lnTo>
                    <a:pt x="376" y="806"/>
                  </a:lnTo>
                  <a:lnTo>
                    <a:pt x="372" y="806"/>
                  </a:lnTo>
                  <a:lnTo>
                    <a:pt x="372" y="806"/>
                  </a:lnTo>
                  <a:lnTo>
                    <a:pt x="372" y="806"/>
                  </a:lnTo>
                  <a:lnTo>
                    <a:pt x="372" y="801"/>
                  </a:lnTo>
                  <a:lnTo>
                    <a:pt x="372" y="801"/>
                  </a:lnTo>
                  <a:lnTo>
                    <a:pt x="372" y="801"/>
                  </a:lnTo>
                  <a:lnTo>
                    <a:pt x="372" y="801"/>
                  </a:lnTo>
                  <a:lnTo>
                    <a:pt x="376" y="801"/>
                  </a:lnTo>
                  <a:lnTo>
                    <a:pt x="376" y="801"/>
                  </a:lnTo>
                  <a:lnTo>
                    <a:pt x="376" y="801"/>
                  </a:lnTo>
                  <a:lnTo>
                    <a:pt x="376" y="801"/>
                  </a:lnTo>
                  <a:lnTo>
                    <a:pt x="376" y="801"/>
                  </a:lnTo>
                  <a:lnTo>
                    <a:pt x="376" y="801"/>
                  </a:lnTo>
                  <a:lnTo>
                    <a:pt x="376" y="806"/>
                  </a:lnTo>
                  <a:lnTo>
                    <a:pt x="381" y="806"/>
                  </a:lnTo>
                  <a:lnTo>
                    <a:pt x="381" y="806"/>
                  </a:lnTo>
                  <a:lnTo>
                    <a:pt x="381" y="806"/>
                  </a:lnTo>
                  <a:lnTo>
                    <a:pt x="381" y="806"/>
                  </a:lnTo>
                  <a:lnTo>
                    <a:pt x="381" y="806"/>
                  </a:lnTo>
                  <a:lnTo>
                    <a:pt x="381" y="806"/>
                  </a:lnTo>
                  <a:lnTo>
                    <a:pt x="381" y="806"/>
                  </a:lnTo>
                  <a:lnTo>
                    <a:pt x="385" y="806"/>
                  </a:lnTo>
                  <a:lnTo>
                    <a:pt x="385" y="806"/>
                  </a:lnTo>
                  <a:lnTo>
                    <a:pt x="385" y="801"/>
                  </a:lnTo>
                  <a:lnTo>
                    <a:pt x="385" y="801"/>
                  </a:lnTo>
                  <a:lnTo>
                    <a:pt x="385" y="801"/>
                  </a:lnTo>
                  <a:lnTo>
                    <a:pt x="385" y="801"/>
                  </a:lnTo>
                  <a:lnTo>
                    <a:pt x="385" y="801"/>
                  </a:lnTo>
                  <a:lnTo>
                    <a:pt x="385" y="801"/>
                  </a:lnTo>
                  <a:lnTo>
                    <a:pt x="385" y="797"/>
                  </a:lnTo>
                  <a:lnTo>
                    <a:pt x="381" y="797"/>
                  </a:lnTo>
                  <a:lnTo>
                    <a:pt x="385" y="797"/>
                  </a:lnTo>
                  <a:lnTo>
                    <a:pt x="390" y="797"/>
                  </a:lnTo>
                  <a:lnTo>
                    <a:pt x="390" y="797"/>
                  </a:lnTo>
                  <a:lnTo>
                    <a:pt x="390" y="793"/>
                  </a:lnTo>
                  <a:lnTo>
                    <a:pt x="390" y="793"/>
                  </a:lnTo>
                  <a:lnTo>
                    <a:pt x="385" y="797"/>
                  </a:lnTo>
                  <a:lnTo>
                    <a:pt x="385" y="793"/>
                  </a:lnTo>
                  <a:lnTo>
                    <a:pt x="381" y="793"/>
                  </a:lnTo>
                  <a:lnTo>
                    <a:pt x="381" y="793"/>
                  </a:lnTo>
                  <a:lnTo>
                    <a:pt x="385" y="788"/>
                  </a:lnTo>
                  <a:lnTo>
                    <a:pt x="385" y="793"/>
                  </a:lnTo>
                  <a:lnTo>
                    <a:pt x="390" y="793"/>
                  </a:lnTo>
                  <a:lnTo>
                    <a:pt x="390" y="793"/>
                  </a:lnTo>
                  <a:lnTo>
                    <a:pt x="390" y="788"/>
                  </a:lnTo>
                  <a:lnTo>
                    <a:pt x="390" y="788"/>
                  </a:lnTo>
                  <a:lnTo>
                    <a:pt x="390" y="793"/>
                  </a:lnTo>
                  <a:lnTo>
                    <a:pt x="390" y="793"/>
                  </a:lnTo>
                  <a:lnTo>
                    <a:pt x="394" y="793"/>
                  </a:lnTo>
                  <a:lnTo>
                    <a:pt x="390" y="788"/>
                  </a:lnTo>
                  <a:lnTo>
                    <a:pt x="390" y="788"/>
                  </a:lnTo>
                  <a:lnTo>
                    <a:pt x="390" y="788"/>
                  </a:lnTo>
                  <a:lnTo>
                    <a:pt x="376" y="788"/>
                  </a:lnTo>
                  <a:lnTo>
                    <a:pt x="376" y="788"/>
                  </a:lnTo>
                  <a:lnTo>
                    <a:pt x="376" y="784"/>
                  </a:lnTo>
                  <a:lnTo>
                    <a:pt x="381" y="784"/>
                  </a:lnTo>
                  <a:lnTo>
                    <a:pt x="381" y="784"/>
                  </a:lnTo>
                  <a:lnTo>
                    <a:pt x="381" y="784"/>
                  </a:lnTo>
                  <a:lnTo>
                    <a:pt x="381" y="784"/>
                  </a:lnTo>
                  <a:lnTo>
                    <a:pt x="381" y="784"/>
                  </a:lnTo>
                  <a:lnTo>
                    <a:pt x="381" y="784"/>
                  </a:lnTo>
                  <a:lnTo>
                    <a:pt x="381" y="784"/>
                  </a:lnTo>
                  <a:lnTo>
                    <a:pt x="381" y="784"/>
                  </a:lnTo>
                  <a:lnTo>
                    <a:pt x="381" y="784"/>
                  </a:lnTo>
                  <a:lnTo>
                    <a:pt x="381" y="784"/>
                  </a:lnTo>
                  <a:lnTo>
                    <a:pt x="385" y="784"/>
                  </a:lnTo>
                  <a:lnTo>
                    <a:pt x="385" y="784"/>
                  </a:lnTo>
                  <a:lnTo>
                    <a:pt x="385" y="784"/>
                  </a:lnTo>
                  <a:lnTo>
                    <a:pt x="381" y="779"/>
                  </a:lnTo>
                  <a:lnTo>
                    <a:pt x="381" y="779"/>
                  </a:lnTo>
                  <a:lnTo>
                    <a:pt x="381" y="779"/>
                  </a:lnTo>
                  <a:lnTo>
                    <a:pt x="385" y="779"/>
                  </a:lnTo>
                  <a:lnTo>
                    <a:pt x="385" y="779"/>
                  </a:lnTo>
                  <a:lnTo>
                    <a:pt x="385" y="784"/>
                  </a:lnTo>
                  <a:lnTo>
                    <a:pt x="385" y="784"/>
                  </a:lnTo>
                  <a:lnTo>
                    <a:pt x="385" y="784"/>
                  </a:lnTo>
                  <a:lnTo>
                    <a:pt x="390" y="779"/>
                  </a:lnTo>
                  <a:lnTo>
                    <a:pt x="390" y="779"/>
                  </a:lnTo>
                  <a:lnTo>
                    <a:pt x="390" y="779"/>
                  </a:lnTo>
                  <a:lnTo>
                    <a:pt x="390" y="779"/>
                  </a:lnTo>
                  <a:lnTo>
                    <a:pt x="390" y="779"/>
                  </a:lnTo>
                  <a:lnTo>
                    <a:pt x="390" y="775"/>
                  </a:lnTo>
                  <a:lnTo>
                    <a:pt x="390" y="775"/>
                  </a:lnTo>
                  <a:lnTo>
                    <a:pt x="390" y="775"/>
                  </a:lnTo>
                  <a:lnTo>
                    <a:pt x="390" y="775"/>
                  </a:lnTo>
                  <a:lnTo>
                    <a:pt x="394" y="770"/>
                  </a:lnTo>
                  <a:lnTo>
                    <a:pt x="394" y="770"/>
                  </a:lnTo>
                  <a:lnTo>
                    <a:pt x="394" y="775"/>
                  </a:lnTo>
                  <a:lnTo>
                    <a:pt x="394" y="775"/>
                  </a:lnTo>
                  <a:lnTo>
                    <a:pt x="394" y="775"/>
                  </a:lnTo>
                  <a:lnTo>
                    <a:pt x="398" y="770"/>
                  </a:lnTo>
                  <a:lnTo>
                    <a:pt x="394" y="770"/>
                  </a:lnTo>
                  <a:lnTo>
                    <a:pt x="394" y="770"/>
                  </a:lnTo>
                  <a:lnTo>
                    <a:pt x="394" y="766"/>
                  </a:lnTo>
                  <a:lnTo>
                    <a:pt x="394" y="766"/>
                  </a:lnTo>
                  <a:lnTo>
                    <a:pt x="394" y="766"/>
                  </a:lnTo>
                  <a:lnTo>
                    <a:pt x="390" y="766"/>
                  </a:lnTo>
                  <a:lnTo>
                    <a:pt x="390" y="766"/>
                  </a:lnTo>
                  <a:lnTo>
                    <a:pt x="394" y="766"/>
                  </a:lnTo>
                  <a:lnTo>
                    <a:pt x="403" y="766"/>
                  </a:lnTo>
                  <a:lnTo>
                    <a:pt x="403" y="766"/>
                  </a:lnTo>
                  <a:lnTo>
                    <a:pt x="398" y="766"/>
                  </a:lnTo>
                  <a:lnTo>
                    <a:pt x="398" y="762"/>
                  </a:lnTo>
                  <a:lnTo>
                    <a:pt x="398" y="762"/>
                  </a:lnTo>
                  <a:lnTo>
                    <a:pt x="398" y="762"/>
                  </a:lnTo>
                  <a:lnTo>
                    <a:pt x="398" y="762"/>
                  </a:lnTo>
                  <a:lnTo>
                    <a:pt x="398" y="762"/>
                  </a:lnTo>
                  <a:lnTo>
                    <a:pt x="407" y="762"/>
                  </a:lnTo>
                  <a:lnTo>
                    <a:pt x="407" y="762"/>
                  </a:lnTo>
                  <a:lnTo>
                    <a:pt x="403" y="762"/>
                  </a:lnTo>
                  <a:lnTo>
                    <a:pt x="403" y="762"/>
                  </a:lnTo>
                  <a:lnTo>
                    <a:pt x="403" y="766"/>
                  </a:lnTo>
                  <a:lnTo>
                    <a:pt x="403" y="766"/>
                  </a:lnTo>
                  <a:lnTo>
                    <a:pt x="403" y="766"/>
                  </a:lnTo>
                  <a:lnTo>
                    <a:pt x="403" y="766"/>
                  </a:lnTo>
                  <a:lnTo>
                    <a:pt x="403" y="766"/>
                  </a:lnTo>
                  <a:lnTo>
                    <a:pt x="403" y="766"/>
                  </a:lnTo>
                  <a:lnTo>
                    <a:pt x="403" y="766"/>
                  </a:lnTo>
                  <a:lnTo>
                    <a:pt x="407" y="766"/>
                  </a:lnTo>
                  <a:lnTo>
                    <a:pt x="407" y="762"/>
                  </a:lnTo>
                  <a:lnTo>
                    <a:pt x="412" y="762"/>
                  </a:lnTo>
                  <a:lnTo>
                    <a:pt x="403" y="757"/>
                  </a:lnTo>
                  <a:lnTo>
                    <a:pt x="398" y="757"/>
                  </a:lnTo>
                  <a:lnTo>
                    <a:pt x="403" y="757"/>
                  </a:lnTo>
                  <a:lnTo>
                    <a:pt x="403" y="757"/>
                  </a:lnTo>
                  <a:lnTo>
                    <a:pt x="403" y="757"/>
                  </a:lnTo>
                  <a:lnTo>
                    <a:pt x="407" y="757"/>
                  </a:lnTo>
                  <a:lnTo>
                    <a:pt x="407" y="757"/>
                  </a:lnTo>
                  <a:lnTo>
                    <a:pt x="407" y="757"/>
                  </a:lnTo>
                  <a:lnTo>
                    <a:pt x="407" y="753"/>
                  </a:lnTo>
                  <a:lnTo>
                    <a:pt x="407" y="757"/>
                  </a:lnTo>
                  <a:lnTo>
                    <a:pt x="412" y="757"/>
                  </a:lnTo>
                  <a:lnTo>
                    <a:pt x="412" y="757"/>
                  </a:lnTo>
                  <a:lnTo>
                    <a:pt x="412" y="757"/>
                  </a:lnTo>
                  <a:lnTo>
                    <a:pt x="412" y="757"/>
                  </a:lnTo>
                  <a:lnTo>
                    <a:pt x="412" y="762"/>
                  </a:lnTo>
                  <a:lnTo>
                    <a:pt x="412" y="762"/>
                  </a:lnTo>
                  <a:lnTo>
                    <a:pt x="412" y="762"/>
                  </a:lnTo>
                  <a:lnTo>
                    <a:pt x="416" y="762"/>
                  </a:lnTo>
                  <a:lnTo>
                    <a:pt x="416" y="762"/>
                  </a:lnTo>
                  <a:lnTo>
                    <a:pt x="416" y="766"/>
                  </a:lnTo>
                  <a:lnTo>
                    <a:pt x="416" y="766"/>
                  </a:lnTo>
                  <a:lnTo>
                    <a:pt x="416" y="766"/>
                  </a:lnTo>
                  <a:lnTo>
                    <a:pt x="416" y="766"/>
                  </a:lnTo>
                  <a:lnTo>
                    <a:pt x="416" y="766"/>
                  </a:lnTo>
                  <a:lnTo>
                    <a:pt x="416" y="762"/>
                  </a:lnTo>
                  <a:lnTo>
                    <a:pt x="421" y="762"/>
                  </a:lnTo>
                  <a:lnTo>
                    <a:pt x="421" y="762"/>
                  </a:lnTo>
                  <a:lnTo>
                    <a:pt x="421" y="762"/>
                  </a:lnTo>
                  <a:lnTo>
                    <a:pt x="421" y="762"/>
                  </a:lnTo>
                  <a:lnTo>
                    <a:pt x="421" y="762"/>
                  </a:lnTo>
                  <a:lnTo>
                    <a:pt x="416" y="762"/>
                  </a:lnTo>
                  <a:lnTo>
                    <a:pt x="416" y="757"/>
                  </a:lnTo>
                  <a:lnTo>
                    <a:pt x="416" y="757"/>
                  </a:lnTo>
                  <a:lnTo>
                    <a:pt x="421" y="757"/>
                  </a:lnTo>
                  <a:lnTo>
                    <a:pt x="421" y="757"/>
                  </a:lnTo>
                  <a:lnTo>
                    <a:pt x="421" y="757"/>
                  </a:lnTo>
                  <a:lnTo>
                    <a:pt x="421" y="757"/>
                  </a:lnTo>
                  <a:lnTo>
                    <a:pt x="421" y="757"/>
                  </a:lnTo>
                  <a:lnTo>
                    <a:pt x="421" y="753"/>
                  </a:lnTo>
                  <a:lnTo>
                    <a:pt x="421" y="753"/>
                  </a:lnTo>
                  <a:lnTo>
                    <a:pt x="421" y="753"/>
                  </a:lnTo>
                  <a:lnTo>
                    <a:pt x="421" y="748"/>
                  </a:lnTo>
                  <a:lnTo>
                    <a:pt x="421" y="748"/>
                  </a:lnTo>
                  <a:lnTo>
                    <a:pt x="425" y="748"/>
                  </a:lnTo>
                  <a:lnTo>
                    <a:pt x="425" y="748"/>
                  </a:lnTo>
                  <a:lnTo>
                    <a:pt x="425" y="748"/>
                  </a:lnTo>
                  <a:lnTo>
                    <a:pt x="429" y="748"/>
                  </a:lnTo>
                  <a:lnTo>
                    <a:pt x="429" y="748"/>
                  </a:lnTo>
                  <a:lnTo>
                    <a:pt x="429" y="748"/>
                  </a:lnTo>
                  <a:lnTo>
                    <a:pt x="429" y="744"/>
                  </a:lnTo>
                  <a:lnTo>
                    <a:pt x="429" y="744"/>
                  </a:lnTo>
                  <a:lnTo>
                    <a:pt x="429" y="739"/>
                  </a:lnTo>
                  <a:lnTo>
                    <a:pt x="429" y="739"/>
                  </a:lnTo>
                  <a:lnTo>
                    <a:pt x="429" y="735"/>
                  </a:lnTo>
                  <a:lnTo>
                    <a:pt x="429" y="731"/>
                  </a:lnTo>
                  <a:lnTo>
                    <a:pt x="429" y="731"/>
                  </a:lnTo>
                  <a:lnTo>
                    <a:pt x="429" y="731"/>
                  </a:lnTo>
                  <a:lnTo>
                    <a:pt x="434" y="735"/>
                  </a:lnTo>
                  <a:lnTo>
                    <a:pt x="434" y="735"/>
                  </a:lnTo>
                  <a:lnTo>
                    <a:pt x="434" y="735"/>
                  </a:lnTo>
                  <a:lnTo>
                    <a:pt x="434" y="731"/>
                  </a:lnTo>
                  <a:lnTo>
                    <a:pt x="434" y="731"/>
                  </a:lnTo>
                  <a:lnTo>
                    <a:pt x="434" y="731"/>
                  </a:lnTo>
                  <a:lnTo>
                    <a:pt x="438" y="735"/>
                  </a:lnTo>
                  <a:lnTo>
                    <a:pt x="438" y="739"/>
                  </a:lnTo>
                  <a:lnTo>
                    <a:pt x="443" y="739"/>
                  </a:lnTo>
                  <a:lnTo>
                    <a:pt x="443" y="739"/>
                  </a:lnTo>
                  <a:lnTo>
                    <a:pt x="443" y="735"/>
                  </a:lnTo>
                  <a:lnTo>
                    <a:pt x="443" y="735"/>
                  </a:lnTo>
                  <a:lnTo>
                    <a:pt x="438" y="731"/>
                  </a:lnTo>
                  <a:lnTo>
                    <a:pt x="438" y="731"/>
                  </a:lnTo>
                  <a:lnTo>
                    <a:pt x="438" y="731"/>
                  </a:lnTo>
                  <a:lnTo>
                    <a:pt x="438" y="731"/>
                  </a:lnTo>
                  <a:lnTo>
                    <a:pt x="443" y="731"/>
                  </a:lnTo>
                  <a:lnTo>
                    <a:pt x="443" y="731"/>
                  </a:lnTo>
                  <a:lnTo>
                    <a:pt x="438" y="726"/>
                  </a:lnTo>
                  <a:lnTo>
                    <a:pt x="438" y="726"/>
                  </a:lnTo>
                  <a:lnTo>
                    <a:pt x="438" y="726"/>
                  </a:lnTo>
                  <a:lnTo>
                    <a:pt x="438" y="722"/>
                  </a:lnTo>
                  <a:lnTo>
                    <a:pt x="438" y="722"/>
                  </a:lnTo>
                  <a:lnTo>
                    <a:pt x="438" y="722"/>
                  </a:lnTo>
                  <a:lnTo>
                    <a:pt x="438" y="722"/>
                  </a:lnTo>
                  <a:lnTo>
                    <a:pt x="438" y="722"/>
                  </a:lnTo>
                  <a:lnTo>
                    <a:pt x="438" y="722"/>
                  </a:lnTo>
                  <a:lnTo>
                    <a:pt x="438" y="722"/>
                  </a:lnTo>
                  <a:lnTo>
                    <a:pt x="443" y="722"/>
                  </a:lnTo>
                  <a:lnTo>
                    <a:pt x="443" y="726"/>
                  </a:lnTo>
                  <a:lnTo>
                    <a:pt x="443" y="726"/>
                  </a:lnTo>
                  <a:lnTo>
                    <a:pt x="447" y="726"/>
                  </a:lnTo>
                  <a:lnTo>
                    <a:pt x="447" y="726"/>
                  </a:lnTo>
                  <a:lnTo>
                    <a:pt x="447" y="726"/>
                  </a:lnTo>
                  <a:lnTo>
                    <a:pt x="447" y="731"/>
                  </a:lnTo>
                  <a:lnTo>
                    <a:pt x="447" y="731"/>
                  </a:lnTo>
                  <a:lnTo>
                    <a:pt x="447" y="731"/>
                  </a:lnTo>
                  <a:lnTo>
                    <a:pt x="447" y="731"/>
                  </a:lnTo>
                  <a:lnTo>
                    <a:pt x="447" y="731"/>
                  </a:lnTo>
                  <a:lnTo>
                    <a:pt x="447" y="735"/>
                  </a:lnTo>
                  <a:lnTo>
                    <a:pt x="452" y="735"/>
                  </a:lnTo>
                  <a:lnTo>
                    <a:pt x="452" y="735"/>
                  </a:lnTo>
                  <a:lnTo>
                    <a:pt x="452" y="735"/>
                  </a:lnTo>
                  <a:lnTo>
                    <a:pt x="452" y="735"/>
                  </a:lnTo>
                  <a:lnTo>
                    <a:pt x="452" y="735"/>
                  </a:lnTo>
                  <a:lnTo>
                    <a:pt x="456" y="731"/>
                  </a:lnTo>
                  <a:lnTo>
                    <a:pt x="456" y="731"/>
                  </a:lnTo>
                  <a:lnTo>
                    <a:pt x="456" y="731"/>
                  </a:lnTo>
                  <a:lnTo>
                    <a:pt x="456" y="726"/>
                  </a:lnTo>
                  <a:lnTo>
                    <a:pt x="456" y="726"/>
                  </a:lnTo>
                  <a:lnTo>
                    <a:pt x="456" y="722"/>
                  </a:lnTo>
                  <a:lnTo>
                    <a:pt x="456" y="722"/>
                  </a:lnTo>
                  <a:lnTo>
                    <a:pt x="460" y="717"/>
                  </a:lnTo>
                  <a:lnTo>
                    <a:pt x="460" y="717"/>
                  </a:lnTo>
                  <a:lnTo>
                    <a:pt x="460" y="717"/>
                  </a:lnTo>
                  <a:lnTo>
                    <a:pt x="465" y="713"/>
                  </a:lnTo>
                  <a:lnTo>
                    <a:pt x="465" y="713"/>
                  </a:lnTo>
                  <a:lnTo>
                    <a:pt x="465" y="713"/>
                  </a:lnTo>
                  <a:lnTo>
                    <a:pt x="469" y="717"/>
                  </a:lnTo>
                  <a:lnTo>
                    <a:pt x="469" y="713"/>
                  </a:lnTo>
                  <a:lnTo>
                    <a:pt x="469" y="713"/>
                  </a:lnTo>
                  <a:lnTo>
                    <a:pt x="469" y="708"/>
                  </a:lnTo>
                  <a:lnTo>
                    <a:pt x="469" y="708"/>
                  </a:lnTo>
                  <a:lnTo>
                    <a:pt x="469" y="708"/>
                  </a:lnTo>
                  <a:lnTo>
                    <a:pt x="469" y="708"/>
                  </a:lnTo>
                  <a:lnTo>
                    <a:pt x="474" y="708"/>
                  </a:lnTo>
                  <a:lnTo>
                    <a:pt x="474" y="708"/>
                  </a:lnTo>
                  <a:lnTo>
                    <a:pt x="474" y="708"/>
                  </a:lnTo>
                  <a:lnTo>
                    <a:pt x="474" y="708"/>
                  </a:lnTo>
                  <a:lnTo>
                    <a:pt x="474" y="713"/>
                  </a:lnTo>
                  <a:lnTo>
                    <a:pt x="474" y="713"/>
                  </a:lnTo>
                  <a:lnTo>
                    <a:pt x="474" y="708"/>
                  </a:lnTo>
                  <a:lnTo>
                    <a:pt x="474" y="708"/>
                  </a:lnTo>
                  <a:lnTo>
                    <a:pt x="478" y="708"/>
                  </a:lnTo>
                  <a:lnTo>
                    <a:pt x="478" y="708"/>
                  </a:lnTo>
                  <a:lnTo>
                    <a:pt x="478" y="708"/>
                  </a:lnTo>
                  <a:lnTo>
                    <a:pt x="478" y="704"/>
                  </a:lnTo>
                  <a:lnTo>
                    <a:pt x="483" y="704"/>
                  </a:lnTo>
                  <a:lnTo>
                    <a:pt x="483" y="700"/>
                  </a:lnTo>
                  <a:lnTo>
                    <a:pt x="483" y="700"/>
                  </a:lnTo>
                  <a:lnTo>
                    <a:pt x="483" y="704"/>
                  </a:lnTo>
                  <a:lnTo>
                    <a:pt x="483" y="704"/>
                  </a:lnTo>
                  <a:lnTo>
                    <a:pt x="483" y="708"/>
                  </a:lnTo>
                  <a:lnTo>
                    <a:pt x="483" y="708"/>
                  </a:lnTo>
                  <a:lnTo>
                    <a:pt x="483" y="708"/>
                  </a:lnTo>
                  <a:lnTo>
                    <a:pt x="483" y="708"/>
                  </a:lnTo>
                  <a:lnTo>
                    <a:pt x="483" y="708"/>
                  </a:lnTo>
                  <a:lnTo>
                    <a:pt x="483" y="708"/>
                  </a:lnTo>
                  <a:lnTo>
                    <a:pt x="483" y="700"/>
                  </a:lnTo>
                  <a:lnTo>
                    <a:pt x="483" y="700"/>
                  </a:lnTo>
                  <a:lnTo>
                    <a:pt x="487" y="700"/>
                  </a:lnTo>
                  <a:lnTo>
                    <a:pt x="487" y="700"/>
                  </a:lnTo>
                  <a:lnTo>
                    <a:pt x="487" y="700"/>
                  </a:lnTo>
                  <a:lnTo>
                    <a:pt x="487" y="704"/>
                  </a:lnTo>
                  <a:lnTo>
                    <a:pt x="487" y="704"/>
                  </a:lnTo>
                  <a:lnTo>
                    <a:pt x="487" y="704"/>
                  </a:lnTo>
                  <a:lnTo>
                    <a:pt x="487" y="708"/>
                  </a:lnTo>
                  <a:lnTo>
                    <a:pt x="487" y="708"/>
                  </a:lnTo>
                  <a:lnTo>
                    <a:pt x="487" y="708"/>
                  </a:lnTo>
                  <a:lnTo>
                    <a:pt x="487" y="704"/>
                  </a:lnTo>
                  <a:lnTo>
                    <a:pt x="487" y="704"/>
                  </a:lnTo>
                  <a:lnTo>
                    <a:pt x="491" y="704"/>
                  </a:lnTo>
                  <a:lnTo>
                    <a:pt x="491" y="704"/>
                  </a:lnTo>
                  <a:lnTo>
                    <a:pt x="487" y="700"/>
                  </a:lnTo>
                  <a:lnTo>
                    <a:pt x="487" y="700"/>
                  </a:lnTo>
                  <a:lnTo>
                    <a:pt x="487" y="700"/>
                  </a:lnTo>
                  <a:lnTo>
                    <a:pt x="491" y="695"/>
                  </a:lnTo>
                  <a:lnTo>
                    <a:pt x="487" y="695"/>
                  </a:lnTo>
                  <a:lnTo>
                    <a:pt x="491" y="695"/>
                  </a:lnTo>
                  <a:lnTo>
                    <a:pt x="491" y="695"/>
                  </a:lnTo>
                  <a:lnTo>
                    <a:pt x="496" y="691"/>
                  </a:lnTo>
                  <a:lnTo>
                    <a:pt x="496" y="691"/>
                  </a:lnTo>
                  <a:lnTo>
                    <a:pt x="496" y="691"/>
                  </a:lnTo>
                  <a:lnTo>
                    <a:pt x="496" y="691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1"/>
                  </a:lnTo>
                  <a:lnTo>
                    <a:pt x="500" y="691"/>
                  </a:lnTo>
                  <a:lnTo>
                    <a:pt x="500" y="691"/>
                  </a:lnTo>
                  <a:lnTo>
                    <a:pt x="500" y="691"/>
                  </a:lnTo>
                  <a:lnTo>
                    <a:pt x="500" y="695"/>
                  </a:lnTo>
                  <a:lnTo>
                    <a:pt x="505" y="695"/>
                  </a:lnTo>
                  <a:lnTo>
                    <a:pt x="505" y="691"/>
                  </a:lnTo>
                  <a:lnTo>
                    <a:pt x="505" y="691"/>
                  </a:lnTo>
                  <a:lnTo>
                    <a:pt x="505" y="691"/>
                  </a:lnTo>
                  <a:lnTo>
                    <a:pt x="505" y="691"/>
                  </a:lnTo>
                  <a:lnTo>
                    <a:pt x="500" y="691"/>
                  </a:lnTo>
                  <a:lnTo>
                    <a:pt x="505" y="686"/>
                  </a:lnTo>
                  <a:lnTo>
                    <a:pt x="505" y="686"/>
                  </a:lnTo>
                  <a:lnTo>
                    <a:pt x="505" y="686"/>
                  </a:lnTo>
                  <a:lnTo>
                    <a:pt x="509" y="682"/>
                  </a:lnTo>
                  <a:lnTo>
                    <a:pt x="509" y="682"/>
                  </a:lnTo>
                  <a:lnTo>
                    <a:pt x="509" y="677"/>
                  </a:lnTo>
                  <a:lnTo>
                    <a:pt x="509" y="673"/>
                  </a:lnTo>
                  <a:lnTo>
                    <a:pt x="514" y="673"/>
                  </a:lnTo>
                  <a:lnTo>
                    <a:pt x="514" y="673"/>
                  </a:lnTo>
                  <a:lnTo>
                    <a:pt x="514" y="673"/>
                  </a:lnTo>
                  <a:lnTo>
                    <a:pt x="514" y="673"/>
                  </a:lnTo>
                  <a:lnTo>
                    <a:pt x="514" y="673"/>
                  </a:lnTo>
                  <a:lnTo>
                    <a:pt x="514" y="673"/>
                  </a:lnTo>
                  <a:lnTo>
                    <a:pt x="514" y="669"/>
                  </a:lnTo>
                  <a:lnTo>
                    <a:pt x="514" y="669"/>
                  </a:lnTo>
                  <a:lnTo>
                    <a:pt x="514" y="669"/>
                  </a:lnTo>
                  <a:lnTo>
                    <a:pt x="514" y="664"/>
                  </a:lnTo>
                  <a:lnTo>
                    <a:pt x="514" y="664"/>
                  </a:lnTo>
                  <a:lnTo>
                    <a:pt x="514" y="664"/>
                  </a:lnTo>
                  <a:lnTo>
                    <a:pt x="514" y="664"/>
                  </a:lnTo>
                  <a:lnTo>
                    <a:pt x="514" y="664"/>
                  </a:lnTo>
                  <a:lnTo>
                    <a:pt x="514" y="664"/>
                  </a:lnTo>
                  <a:lnTo>
                    <a:pt x="514" y="664"/>
                  </a:lnTo>
                  <a:lnTo>
                    <a:pt x="514" y="664"/>
                  </a:lnTo>
                  <a:lnTo>
                    <a:pt x="514" y="664"/>
                  </a:lnTo>
                  <a:lnTo>
                    <a:pt x="514" y="664"/>
                  </a:lnTo>
                  <a:lnTo>
                    <a:pt x="514" y="660"/>
                  </a:lnTo>
                  <a:lnTo>
                    <a:pt x="518" y="655"/>
                  </a:lnTo>
                  <a:lnTo>
                    <a:pt x="518" y="655"/>
                  </a:lnTo>
                  <a:lnTo>
                    <a:pt x="518" y="651"/>
                  </a:lnTo>
                  <a:lnTo>
                    <a:pt x="522" y="651"/>
                  </a:lnTo>
                  <a:lnTo>
                    <a:pt x="522" y="646"/>
                  </a:lnTo>
                  <a:lnTo>
                    <a:pt x="522" y="642"/>
                  </a:lnTo>
                  <a:lnTo>
                    <a:pt x="522" y="642"/>
                  </a:lnTo>
                  <a:lnTo>
                    <a:pt x="522" y="642"/>
                  </a:lnTo>
                  <a:lnTo>
                    <a:pt x="527" y="642"/>
                  </a:lnTo>
                  <a:lnTo>
                    <a:pt x="527" y="642"/>
                  </a:lnTo>
                  <a:lnTo>
                    <a:pt x="531" y="633"/>
                  </a:lnTo>
                  <a:lnTo>
                    <a:pt x="531" y="633"/>
                  </a:lnTo>
                  <a:lnTo>
                    <a:pt x="531" y="633"/>
                  </a:lnTo>
                  <a:lnTo>
                    <a:pt x="536" y="633"/>
                  </a:lnTo>
                  <a:lnTo>
                    <a:pt x="536" y="633"/>
                  </a:lnTo>
                  <a:lnTo>
                    <a:pt x="536" y="629"/>
                  </a:lnTo>
                  <a:lnTo>
                    <a:pt x="536" y="629"/>
                  </a:lnTo>
                  <a:lnTo>
                    <a:pt x="536" y="629"/>
                  </a:lnTo>
                  <a:lnTo>
                    <a:pt x="536" y="629"/>
                  </a:lnTo>
                  <a:lnTo>
                    <a:pt x="536" y="629"/>
                  </a:lnTo>
                  <a:lnTo>
                    <a:pt x="536" y="629"/>
                  </a:lnTo>
                  <a:lnTo>
                    <a:pt x="536" y="629"/>
                  </a:lnTo>
                  <a:lnTo>
                    <a:pt x="536" y="624"/>
                  </a:lnTo>
                  <a:lnTo>
                    <a:pt x="540" y="629"/>
                  </a:lnTo>
                  <a:lnTo>
                    <a:pt x="536" y="624"/>
                  </a:lnTo>
                  <a:lnTo>
                    <a:pt x="536" y="624"/>
                  </a:lnTo>
                  <a:lnTo>
                    <a:pt x="540" y="629"/>
                  </a:lnTo>
                  <a:lnTo>
                    <a:pt x="540" y="629"/>
                  </a:lnTo>
                  <a:lnTo>
                    <a:pt x="540" y="629"/>
                  </a:lnTo>
                  <a:lnTo>
                    <a:pt x="540" y="624"/>
                  </a:lnTo>
                  <a:lnTo>
                    <a:pt x="545" y="624"/>
                  </a:lnTo>
                  <a:lnTo>
                    <a:pt x="549" y="620"/>
                  </a:lnTo>
                  <a:lnTo>
                    <a:pt x="549" y="615"/>
                  </a:lnTo>
                  <a:lnTo>
                    <a:pt x="549" y="615"/>
                  </a:lnTo>
                  <a:lnTo>
                    <a:pt x="549" y="615"/>
                  </a:lnTo>
                  <a:lnTo>
                    <a:pt x="549" y="615"/>
                  </a:lnTo>
                  <a:lnTo>
                    <a:pt x="549" y="615"/>
                  </a:lnTo>
                  <a:lnTo>
                    <a:pt x="553" y="615"/>
                  </a:lnTo>
                  <a:lnTo>
                    <a:pt x="553" y="615"/>
                  </a:lnTo>
                  <a:lnTo>
                    <a:pt x="553" y="611"/>
                  </a:lnTo>
                  <a:lnTo>
                    <a:pt x="553" y="611"/>
                  </a:lnTo>
                  <a:lnTo>
                    <a:pt x="549" y="611"/>
                  </a:lnTo>
                  <a:lnTo>
                    <a:pt x="549" y="611"/>
                  </a:lnTo>
                  <a:lnTo>
                    <a:pt x="549" y="611"/>
                  </a:lnTo>
                  <a:lnTo>
                    <a:pt x="549" y="611"/>
                  </a:lnTo>
                  <a:lnTo>
                    <a:pt x="549" y="611"/>
                  </a:lnTo>
                  <a:lnTo>
                    <a:pt x="549" y="611"/>
                  </a:lnTo>
                  <a:lnTo>
                    <a:pt x="549" y="611"/>
                  </a:lnTo>
                  <a:lnTo>
                    <a:pt x="549" y="615"/>
                  </a:lnTo>
                  <a:lnTo>
                    <a:pt x="545" y="615"/>
                  </a:lnTo>
                  <a:lnTo>
                    <a:pt x="545" y="611"/>
                  </a:lnTo>
                  <a:lnTo>
                    <a:pt x="545" y="611"/>
                  </a:lnTo>
                  <a:lnTo>
                    <a:pt x="545" y="611"/>
                  </a:lnTo>
                  <a:lnTo>
                    <a:pt x="545" y="607"/>
                  </a:lnTo>
                  <a:lnTo>
                    <a:pt x="545" y="607"/>
                  </a:lnTo>
                  <a:lnTo>
                    <a:pt x="545" y="607"/>
                  </a:lnTo>
                  <a:lnTo>
                    <a:pt x="545" y="607"/>
                  </a:lnTo>
                  <a:lnTo>
                    <a:pt x="540" y="607"/>
                  </a:lnTo>
                  <a:lnTo>
                    <a:pt x="540" y="607"/>
                  </a:lnTo>
                  <a:lnTo>
                    <a:pt x="540" y="607"/>
                  </a:lnTo>
                  <a:lnTo>
                    <a:pt x="540" y="607"/>
                  </a:lnTo>
                  <a:lnTo>
                    <a:pt x="540" y="602"/>
                  </a:lnTo>
                  <a:lnTo>
                    <a:pt x="540" y="602"/>
                  </a:lnTo>
                  <a:lnTo>
                    <a:pt x="540" y="602"/>
                  </a:lnTo>
                  <a:lnTo>
                    <a:pt x="540" y="602"/>
                  </a:lnTo>
                  <a:lnTo>
                    <a:pt x="540" y="602"/>
                  </a:lnTo>
                  <a:lnTo>
                    <a:pt x="540" y="602"/>
                  </a:lnTo>
                  <a:lnTo>
                    <a:pt x="540" y="602"/>
                  </a:lnTo>
                  <a:lnTo>
                    <a:pt x="540" y="602"/>
                  </a:lnTo>
                  <a:lnTo>
                    <a:pt x="540" y="607"/>
                  </a:lnTo>
                  <a:lnTo>
                    <a:pt x="540" y="602"/>
                  </a:lnTo>
                  <a:lnTo>
                    <a:pt x="545" y="602"/>
                  </a:lnTo>
                  <a:lnTo>
                    <a:pt x="545" y="602"/>
                  </a:lnTo>
                  <a:lnTo>
                    <a:pt x="545" y="607"/>
                  </a:lnTo>
                  <a:lnTo>
                    <a:pt x="549" y="607"/>
                  </a:lnTo>
                  <a:lnTo>
                    <a:pt x="549" y="607"/>
                  </a:lnTo>
                  <a:lnTo>
                    <a:pt x="549" y="602"/>
                  </a:lnTo>
                  <a:lnTo>
                    <a:pt x="549" y="602"/>
                  </a:lnTo>
                  <a:lnTo>
                    <a:pt x="549" y="602"/>
                  </a:lnTo>
                  <a:lnTo>
                    <a:pt x="549" y="602"/>
                  </a:lnTo>
                  <a:lnTo>
                    <a:pt x="545" y="602"/>
                  </a:lnTo>
                  <a:lnTo>
                    <a:pt x="545" y="602"/>
                  </a:lnTo>
                  <a:lnTo>
                    <a:pt x="545" y="598"/>
                  </a:lnTo>
                  <a:lnTo>
                    <a:pt x="545" y="598"/>
                  </a:lnTo>
                  <a:lnTo>
                    <a:pt x="545" y="598"/>
                  </a:lnTo>
                  <a:lnTo>
                    <a:pt x="545" y="598"/>
                  </a:lnTo>
                  <a:lnTo>
                    <a:pt x="545" y="602"/>
                  </a:lnTo>
                  <a:lnTo>
                    <a:pt x="545" y="598"/>
                  </a:lnTo>
                  <a:lnTo>
                    <a:pt x="540" y="598"/>
                  </a:lnTo>
                  <a:lnTo>
                    <a:pt x="540" y="593"/>
                  </a:lnTo>
                  <a:lnTo>
                    <a:pt x="540" y="593"/>
                  </a:lnTo>
                  <a:lnTo>
                    <a:pt x="540" y="593"/>
                  </a:lnTo>
                  <a:lnTo>
                    <a:pt x="540" y="598"/>
                  </a:lnTo>
                  <a:lnTo>
                    <a:pt x="540" y="598"/>
                  </a:lnTo>
                  <a:lnTo>
                    <a:pt x="540" y="598"/>
                  </a:lnTo>
                  <a:lnTo>
                    <a:pt x="540" y="598"/>
                  </a:lnTo>
                  <a:lnTo>
                    <a:pt x="540" y="598"/>
                  </a:lnTo>
                  <a:lnTo>
                    <a:pt x="540" y="598"/>
                  </a:lnTo>
                  <a:lnTo>
                    <a:pt x="540" y="598"/>
                  </a:lnTo>
                  <a:lnTo>
                    <a:pt x="536" y="598"/>
                  </a:lnTo>
                  <a:lnTo>
                    <a:pt x="536" y="598"/>
                  </a:lnTo>
                  <a:lnTo>
                    <a:pt x="536" y="598"/>
                  </a:lnTo>
                  <a:lnTo>
                    <a:pt x="536" y="593"/>
                  </a:lnTo>
                  <a:lnTo>
                    <a:pt x="536" y="593"/>
                  </a:lnTo>
                  <a:lnTo>
                    <a:pt x="536" y="593"/>
                  </a:lnTo>
                  <a:lnTo>
                    <a:pt x="536" y="593"/>
                  </a:lnTo>
                  <a:lnTo>
                    <a:pt x="536" y="593"/>
                  </a:lnTo>
                  <a:lnTo>
                    <a:pt x="531" y="593"/>
                  </a:lnTo>
                  <a:lnTo>
                    <a:pt x="531" y="593"/>
                  </a:lnTo>
                  <a:lnTo>
                    <a:pt x="531" y="589"/>
                  </a:lnTo>
                  <a:lnTo>
                    <a:pt x="531" y="589"/>
                  </a:lnTo>
                  <a:lnTo>
                    <a:pt x="531" y="589"/>
                  </a:lnTo>
                  <a:lnTo>
                    <a:pt x="531" y="589"/>
                  </a:lnTo>
                  <a:lnTo>
                    <a:pt x="527" y="589"/>
                  </a:lnTo>
                  <a:lnTo>
                    <a:pt x="527" y="584"/>
                  </a:lnTo>
                  <a:lnTo>
                    <a:pt x="527" y="584"/>
                  </a:lnTo>
                  <a:lnTo>
                    <a:pt x="527" y="584"/>
                  </a:lnTo>
                  <a:lnTo>
                    <a:pt x="527" y="580"/>
                  </a:lnTo>
                  <a:lnTo>
                    <a:pt x="527" y="580"/>
                  </a:lnTo>
                  <a:lnTo>
                    <a:pt x="527" y="580"/>
                  </a:lnTo>
                  <a:lnTo>
                    <a:pt x="527" y="580"/>
                  </a:lnTo>
                  <a:lnTo>
                    <a:pt x="531" y="584"/>
                  </a:lnTo>
                  <a:lnTo>
                    <a:pt x="531" y="584"/>
                  </a:lnTo>
                  <a:lnTo>
                    <a:pt x="531" y="584"/>
                  </a:lnTo>
                  <a:lnTo>
                    <a:pt x="536" y="589"/>
                  </a:lnTo>
                  <a:lnTo>
                    <a:pt x="536" y="589"/>
                  </a:lnTo>
                  <a:lnTo>
                    <a:pt x="536" y="584"/>
                  </a:lnTo>
                  <a:lnTo>
                    <a:pt x="536" y="584"/>
                  </a:lnTo>
                  <a:lnTo>
                    <a:pt x="536" y="584"/>
                  </a:lnTo>
                  <a:lnTo>
                    <a:pt x="536" y="584"/>
                  </a:lnTo>
                  <a:lnTo>
                    <a:pt x="536" y="584"/>
                  </a:lnTo>
                  <a:lnTo>
                    <a:pt x="536" y="584"/>
                  </a:lnTo>
                  <a:lnTo>
                    <a:pt x="536" y="580"/>
                  </a:lnTo>
                  <a:lnTo>
                    <a:pt x="531" y="580"/>
                  </a:lnTo>
                  <a:lnTo>
                    <a:pt x="531" y="576"/>
                  </a:lnTo>
                  <a:lnTo>
                    <a:pt x="531" y="576"/>
                  </a:lnTo>
                  <a:lnTo>
                    <a:pt x="536" y="576"/>
                  </a:lnTo>
                  <a:lnTo>
                    <a:pt x="536" y="576"/>
                  </a:lnTo>
                  <a:lnTo>
                    <a:pt x="536" y="576"/>
                  </a:lnTo>
                  <a:lnTo>
                    <a:pt x="536" y="576"/>
                  </a:lnTo>
                  <a:lnTo>
                    <a:pt x="531" y="571"/>
                  </a:lnTo>
                  <a:lnTo>
                    <a:pt x="527" y="571"/>
                  </a:lnTo>
                  <a:lnTo>
                    <a:pt x="527" y="571"/>
                  </a:lnTo>
                  <a:lnTo>
                    <a:pt x="527" y="571"/>
                  </a:lnTo>
                  <a:lnTo>
                    <a:pt x="522" y="571"/>
                  </a:lnTo>
                  <a:lnTo>
                    <a:pt x="522" y="571"/>
                  </a:lnTo>
                  <a:lnTo>
                    <a:pt x="522" y="571"/>
                  </a:lnTo>
                  <a:lnTo>
                    <a:pt x="522" y="571"/>
                  </a:lnTo>
                  <a:lnTo>
                    <a:pt x="522" y="567"/>
                  </a:lnTo>
                  <a:lnTo>
                    <a:pt x="522" y="567"/>
                  </a:lnTo>
                  <a:lnTo>
                    <a:pt x="522" y="567"/>
                  </a:lnTo>
                  <a:lnTo>
                    <a:pt x="522" y="562"/>
                  </a:lnTo>
                  <a:lnTo>
                    <a:pt x="522" y="562"/>
                  </a:lnTo>
                  <a:lnTo>
                    <a:pt x="522" y="562"/>
                  </a:lnTo>
                  <a:lnTo>
                    <a:pt x="522" y="567"/>
                  </a:lnTo>
                  <a:lnTo>
                    <a:pt x="527" y="567"/>
                  </a:lnTo>
                  <a:lnTo>
                    <a:pt x="527" y="567"/>
                  </a:lnTo>
                  <a:lnTo>
                    <a:pt x="527" y="567"/>
                  </a:lnTo>
                  <a:lnTo>
                    <a:pt x="527" y="567"/>
                  </a:lnTo>
                  <a:lnTo>
                    <a:pt x="527" y="567"/>
                  </a:lnTo>
                  <a:lnTo>
                    <a:pt x="531" y="567"/>
                  </a:lnTo>
                  <a:lnTo>
                    <a:pt x="527" y="562"/>
                  </a:lnTo>
                  <a:lnTo>
                    <a:pt x="531" y="562"/>
                  </a:lnTo>
                  <a:lnTo>
                    <a:pt x="531" y="562"/>
                  </a:lnTo>
                  <a:lnTo>
                    <a:pt x="531" y="558"/>
                  </a:lnTo>
                  <a:lnTo>
                    <a:pt x="531" y="558"/>
                  </a:lnTo>
                  <a:lnTo>
                    <a:pt x="531" y="558"/>
                  </a:lnTo>
                  <a:lnTo>
                    <a:pt x="531" y="558"/>
                  </a:lnTo>
                  <a:lnTo>
                    <a:pt x="531" y="558"/>
                  </a:lnTo>
                  <a:lnTo>
                    <a:pt x="531" y="553"/>
                  </a:lnTo>
                  <a:lnTo>
                    <a:pt x="531" y="553"/>
                  </a:lnTo>
                  <a:lnTo>
                    <a:pt x="531" y="553"/>
                  </a:lnTo>
                  <a:lnTo>
                    <a:pt x="531" y="553"/>
                  </a:lnTo>
                  <a:lnTo>
                    <a:pt x="531" y="553"/>
                  </a:lnTo>
                  <a:lnTo>
                    <a:pt x="540" y="549"/>
                  </a:lnTo>
                  <a:lnTo>
                    <a:pt x="540" y="549"/>
                  </a:lnTo>
                  <a:lnTo>
                    <a:pt x="540" y="549"/>
                  </a:lnTo>
                  <a:lnTo>
                    <a:pt x="540" y="549"/>
                  </a:lnTo>
                  <a:lnTo>
                    <a:pt x="540" y="545"/>
                  </a:lnTo>
                  <a:lnTo>
                    <a:pt x="540" y="545"/>
                  </a:lnTo>
                  <a:lnTo>
                    <a:pt x="540" y="545"/>
                  </a:lnTo>
                  <a:lnTo>
                    <a:pt x="540" y="545"/>
                  </a:lnTo>
                  <a:lnTo>
                    <a:pt x="540" y="545"/>
                  </a:lnTo>
                  <a:lnTo>
                    <a:pt x="540" y="545"/>
                  </a:lnTo>
                  <a:lnTo>
                    <a:pt x="545" y="545"/>
                  </a:lnTo>
                  <a:lnTo>
                    <a:pt x="545" y="545"/>
                  </a:lnTo>
                  <a:lnTo>
                    <a:pt x="545" y="545"/>
                  </a:lnTo>
                  <a:lnTo>
                    <a:pt x="545" y="545"/>
                  </a:lnTo>
                  <a:lnTo>
                    <a:pt x="545" y="545"/>
                  </a:lnTo>
                  <a:lnTo>
                    <a:pt x="545" y="545"/>
                  </a:lnTo>
                  <a:lnTo>
                    <a:pt x="545" y="540"/>
                  </a:lnTo>
                  <a:lnTo>
                    <a:pt x="545" y="540"/>
                  </a:lnTo>
                  <a:lnTo>
                    <a:pt x="545" y="540"/>
                  </a:lnTo>
                  <a:lnTo>
                    <a:pt x="549" y="540"/>
                  </a:lnTo>
                  <a:lnTo>
                    <a:pt x="549" y="536"/>
                  </a:lnTo>
                  <a:lnTo>
                    <a:pt x="549" y="536"/>
                  </a:lnTo>
                  <a:lnTo>
                    <a:pt x="549" y="536"/>
                  </a:lnTo>
                  <a:lnTo>
                    <a:pt x="549" y="536"/>
                  </a:lnTo>
                  <a:lnTo>
                    <a:pt x="549" y="536"/>
                  </a:lnTo>
                  <a:lnTo>
                    <a:pt x="549" y="536"/>
                  </a:lnTo>
                  <a:lnTo>
                    <a:pt x="549" y="531"/>
                  </a:lnTo>
                  <a:lnTo>
                    <a:pt x="549" y="531"/>
                  </a:lnTo>
                  <a:lnTo>
                    <a:pt x="549" y="531"/>
                  </a:lnTo>
                  <a:lnTo>
                    <a:pt x="549" y="527"/>
                  </a:lnTo>
                  <a:lnTo>
                    <a:pt x="553" y="527"/>
                  </a:lnTo>
                  <a:lnTo>
                    <a:pt x="553" y="527"/>
                  </a:lnTo>
                  <a:lnTo>
                    <a:pt x="553" y="527"/>
                  </a:lnTo>
                  <a:lnTo>
                    <a:pt x="549" y="518"/>
                  </a:lnTo>
                  <a:lnTo>
                    <a:pt x="545" y="514"/>
                  </a:lnTo>
                  <a:lnTo>
                    <a:pt x="540" y="509"/>
                  </a:lnTo>
                  <a:lnTo>
                    <a:pt x="540" y="505"/>
                  </a:lnTo>
                  <a:lnTo>
                    <a:pt x="536" y="505"/>
                  </a:lnTo>
                  <a:lnTo>
                    <a:pt x="536" y="500"/>
                  </a:lnTo>
                  <a:lnTo>
                    <a:pt x="536" y="500"/>
                  </a:lnTo>
                  <a:lnTo>
                    <a:pt x="536" y="500"/>
                  </a:lnTo>
                  <a:lnTo>
                    <a:pt x="536" y="500"/>
                  </a:lnTo>
                  <a:lnTo>
                    <a:pt x="536" y="500"/>
                  </a:lnTo>
                  <a:lnTo>
                    <a:pt x="536" y="500"/>
                  </a:lnTo>
                  <a:lnTo>
                    <a:pt x="540" y="500"/>
                  </a:lnTo>
                  <a:lnTo>
                    <a:pt x="540" y="500"/>
                  </a:lnTo>
                  <a:lnTo>
                    <a:pt x="540" y="505"/>
                  </a:lnTo>
                  <a:lnTo>
                    <a:pt x="545" y="505"/>
                  </a:lnTo>
                  <a:lnTo>
                    <a:pt x="545" y="505"/>
                  </a:lnTo>
                  <a:lnTo>
                    <a:pt x="545" y="505"/>
                  </a:lnTo>
                  <a:lnTo>
                    <a:pt x="545" y="509"/>
                  </a:lnTo>
                  <a:lnTo>
                    <a:pt x="545" y="509"/>
                  </a:lnTo>
                  <a:lnTo>
                    <a:pt x="549" y="509"/>
                  </a:lnTo>
                  <a:lnTo>
                    <a:pt x="549" y="514"/>
                  </a:lnTo>
                  <a:lnTo>
                    <a:pt x="549" y="514"/>
                  </a:lnTo>
                  <a:lnTo>
                    <a:pt x="549" y="518"/>
                  </a:lnTo>
                  <a:lnTo>
                    <a:pt x="553" y="518"/>
                  </a:lnTo>
                  <a:lnTo>
                    <a:pt x="553" y="514"/>
                  </a:lnTo>
                  <a:lnTo>
                    <a:pt x="558" y="514"/>
                  </a:lnTo>
                  <a:lnTo>
                    <a:pt x="558" y="509"/>
                  </a:lnTo>
                  <a:lnTo>
                    <a:pt x="558" y="509"/>
                  </a:lnTo>
                  <a:lnTo>
                    <a:pt x="553" y="509"/>
                  </a:lnTo>
                  <a:lnTo>
                    <a:pt x="553" y="505"/>
                  </a:lnTo>
                  <a:lnTo>
                    <a:pt x="553" y="505"/>
                  </a:lnTo>
                  <a:lnTo>
                    <a:pt x="549" y="505"/>
                  </a:lnTo>
                  <a:lnTo>
                    <a:pt x="549" y="505"/>
                  </a:lnTo>
                  <a:lnTo>
                    <a:pt x="549" y="505"/>
                  </a:lnTo>
                  <a:lnTo>
                    <a:pt x="549" y="505"/>
                  </a:lnTo>
                  <a:lnTo>
                    <a:pt x="549" y="505"/>
                  </a:lnTo>
                  <a:lnTo>
                    <a:pt x="549" y="505"/>
                  </a:lnTo>
                  <a:lnTo>
                    <a:pt x="545" y="500"/>
                  </a:lnTo>
                  <a:lnTo>
                    <a:pt x="545" y="500"/>
                  </a:lnTo>
                  <a:lnTo>
                    <a:pt x="545" y="500"/>
                  </a:lnTo>
                  <a:lnTo>
                    <a:pt x="545" y="500"/>
                  </a:lnTo>
                  <a:lnTo>
                    <a:pt x="545" y="500"/>
                  </a:lnTo>
                  <a:lnTo>
                    <a:pt x="545" y="500"/>
                  </a:lnTo>
                  <a:lnTo>
                    <a:pt x="545" y="500"/>
                  </a:lnTo>
                  <a:lnTo>
                    <a:pt x="545" y="496"/>
                  </a:lnTo>
                  <a:lnTo>
                    <a:pt x="549" y="496"/>
                  </a:lnTo>
                  <a:lnTo>
                    <a:pt x="553" y="496"/>
                  </a:lnTo>
                  <a:lnTo>
                    <a:pt x="553" y="496"/>
                  </a:lnTo>
                  <a:lnTo>
                    <a:pt x="549" y="496"/>
                  </a:lnTo>
                  <a:lnTo>
                    <a:pt x="549" y="496"/>
                  </a:lnTo>
                  <a:lnTo>
                    <a:pt x="549" y="496"/>
                  </a:lnTo>
                  <a:lnTo>
                    <a:pt x="549" y="492"/>
                  </a:lnTo>
                  <a:lnTo>
                    <a:pt x="553" y="492"/>
                  </a:lnTo>
                  <a:lnTo>
                    <a:pt x="553" y="496"/>
                  </a:lnTo>
                  <a:lnTo>
                    <a:pt x="553" y="496"/>
                  </a:lnTo>
                  <a:lnTo>
                    <a:pt x="558" y="496"/>
                  </a:lnTo>
                  <a:lnTo>
                    <a:pt x="558" y="496"/>
                  </a:lnTo>
                  <a:lnTo>
                    <a:pt x="558" y="496"/>
                  </a:lnTo>
                  <a:lnTo>
                    <a:pt x="562" y="496"/>
                  </a:lnTo>
                  <a:lnTo>
                    <a:pt x="562" y="496"/>
                  </a:lnTo>
                  <a:lnTo>
                    <a:pt x="567" y="496"/>
                  </a:lnTo>
                  <a:lnTo>
                    <a:pt x="567" y="492"/>
                  </a:lnTo>
                  <a:lnTo>
                    <a:pt x="567" y="496"/>
                  </a:lnTo>
                  <a:lnTo>
                    <a:pt x="567" y="496"/>
                  </a:lnTo>
                  <a:lnTo>
                    <a:pt x="567" y="496"/>
                  </a:lnTo>
                  <a:lnTo>
                    <a:pt x="571" y="496"/>
                  </a:lnTo>
                  <a:lnTo>
                    <a:pt x="571" y="492"/>
                  </a:lnTo>
                  <a:lnTo>
                    <a:pt x="571" y="492"/>
                  </a:lnTo>
                  <a:lnTo>
                    <a:pt x="571" y="492"/>
                  </a:lnTo>
                  <a:lnTo>
                    <a:pt x="571" y="487"/>
                  </a:lnTo>
                  <a:lnTo>
                    <a:pt x="571" y="492"/>
                  </a:lnTo>
                  <a:lnTo>
                    <a:pt x="571" y="492"/>
                  </a:lnTo>
                  <a:lnTo>
                    <a:pt x="571" y="492"/>
                  </a:lnTo>
                  <a:lnTo>
                    <a:pt x="571" y="492"/>
                  </a:lnTo>
                  <a:lnTo>
                    <a:pt x="576" y="492"/>
                  </a:lnTo>
                  <a:lnTo>
                    <a:pt x="576" y="487"/>
                  </a:lnTo>
                  <a:lnTo>
                    <a:pt x="576" y="487"/>
                  </a:lnTo>
                  <a:lnTo>
                    <a:pt x="571" y="487"/>
                  </a:lnTo>
                  <a:lnTo>
                    <a:pt x="571" y="483"/>
                  </a:lnTo>
                  <a:lnTo>
                    <a:pt x="567" y="483"/>
                  </a:lnTo>
                  <a:lnTo>
                    <a:pt x="567" y="483"/>
                  </a:lnTo>
                  <a:lnTo>
                    <a:pt x="571" y="483"/>
                  </a:lnTo>
                  <a:lnTo>
                    <a:pt x="567" y="483"/>
                  </a:lnTo>
                  <a:lnTo>
                    <a:pt x="567" y="483"/>
                  </a:lnTo>
                  <a:lnTo>
                    <a:pt x="567" y="478"/>
                  </a:lnTo>
                  <a:lnTo>
                    <a:pt x="567" y="478"/>
                  </a:lnTo>
                  <a:lnTo>
                    <a:pt x="571" y="483"/>
                  </a:lnTo>
                  <a:lnTo>
                    <a:pt x="576" y="478"/>
                  </a:lnTo>
                  <a:lnTo>
                    <a:pt x="576" y="478"/>
                  </a:lnTo>
                  <a:lnTo>
                    <a:pt x="576" y="483"/>
                  </a:lnTo>
                  <a:lnTo>
                    <a:pt x="576" y="483"/>
                  </a:lnTo>
                  <a:lnTo>
                    <a:pt x="576" y="483"/>
                  </a:lnTo>
                  <a:lnTo>
                    <a:pt x="576" y="478"/>
                  </a:lnTo>
                  <a:lnTo>
                    <a:pt x="576" y="478"/>
                  </a:lnTo>
                  <a:lnTo>
                    <a:pt x="576" y="478"/>
                  </a:lnTo>
                  <a:lnTo>
                    <a:pt x="576" y="478"/>
                  </a:lnTo>
                  <a:lnTo>
                    <a:pt x="580" y="478"/>
                  </a:lnTo>
                  <a:lnTo>
                    <a:pt x="580" y="478"/>
                  </a:lnTo>
                  <a:lnTo>
                    <a:pt x="584" y="478"/>
                  </a:lnTo>
                  <a:lnTo>
                    <a:pt x="584" y="478"/>
                  </a:lnTo>
                  <a:lnTo>
                    <a:pt x="580" y="478"/>
                  </a:lnTo>
                  <a:lnTo>
                    <a:pt x="580" y="474"/>
                  </a:lnTo>
                  <a:lnTo>
                    <a:pt x="580" y="474"/>
                  </a:lnTo>
                  <a:lnTo>
                    <a:pt x="580" y="474"/>
                  </a:lnTo>
                  <a:lnTo>
                    <a:pt x="576" y="469"/>
                  </a:lnTo>
                  <a:lnTo>
                    <a:pt x="571" y="465"/>
                  </a:lnTo>
                  <a:lnTo>
                    <a:pt x="567" y="461"/>
                  </a:lnTo>
                  <a:lnTo>
                    <a:pt x="562" y="461"/>
                  </a:lnTo>
                  <a:lnTo>
                    <a:pt x="562" y="456"/>
                  </a:lnTo>
                  <a:lnTo>
                    <a:pt x="562" y="456"/>
                  </a:lnTo>
                  <a:lnTo>
                    <a:pt x="562" y="456"/>
                  </a:lnTo>
                  <a:lnTo>
                    <a:pt x="562" y="456"/>
                  </a:lnTo>
                  <a:lnTo>
                    <a:pt x="562" y="461"/>
                  </a:lnTo>
                  <a:lnTo>
                    <a:pt x="567" y="461"/>
                  </a:lnTo>
                  <a:lnTo>
                    <a:pt x="567" y="461"/>
                  </a:lnTo>
                  <a:lnTo>
                    <a:pt x="567" y="461"/>
                  </a:lnTo>
                  <a:lnTo>
                    <a:pt x="571" y="465"/>
                  </a:lnTo>
                  <a:lnTo>
                    <a:pt x="571" y="465"/>
                  </a:lnTo>
                  <a:lnTo>
                    <a:pt x="576" y="465"/>
                  </a:lnTo>
                  <a:lnTo>
                    <a:pt x="576" y="469"/>
                  </a:lnTo>
                  <a:lnTo>
                    <a:pt x="580" y="469"/>
                  </a:lnTo>
                  <a:lnTo>
                    <a:pt x="584" y="474"/>
                  </a:lnTo>
                  <a:lnTo>
                    <a:pt x="584" y="474"/>
                  </a:lnTo>
                  <a:lnTo>
                    <a:pt x="584" y="474"/>
                  </a:lnTo>
                  <a:lnTo>
                    <a:pt x="584" y="474"/>
                  </a:lnTo>
                  <a:lnTo>
                    <a:pt x="589" y="474"/>
                  </a:lnTo>
                  <a:lnTo>
                    <a:pt x="589" y="474"/>
                  </a:lnTo>
                  <a:lnTo>
                    <a:pt x="589" y="474"/>
                  </a:lnTo>
                  <a:lnTo>
                    <a:pt x="589" y="474"/>
                  </a:lnTo>
                  <a:lnTo>
                    <a:pt x="593" y="474"/>
                  </a:lnTo>
                  <a:lnTo>
                    <a:pt x="593" y="478"/>
                  </a:lnTo>
                  <a:lnTo>
                    <a:pt x="593" y="478"/>
                  </a:lnTo>
                  <a:lnTo>
                    <a:pt x="593" y="478"/>
                  </a:lnTo>
                  <a:lnTo>
                    <a:pt x="593" y="474"/>
                  </a:lnTo>
                  <a:lnTo>
                    <a:pt x="593" y="474"/>
                  </a:lnTo>
                  <a:lnTo>
                    <a:pt x="593" y="474"/>
                  </a:lnTo>
                  <a:lnTo>
                    <a:pt x="593" y="474"/>
                  </a:lnTo>
                  <a:lnTo>
                    <a:pt x="589" y="469"/>
                  </a:lnTo>
                  <a:lnTo>
                    <a:pt x="589" y="469"/>
                  </a:lnTo>
                  <a:lnTo>
                    <a:pt x="589" y="469"/>
                  </a:lnTo>
                  <a:lnTo>
                    <a:pt x="593" y="465"/>
                  </a:lnTo>
                  <a:lnTo>
                    <a:pt x="593" y="465"/>
                  </a:lnTo>
                  <a:lnTo>
                    <a:pt x="589" y="465"/>
                  </a:lnTo>
                  <a:lnTo>
                    <a:pt x="589" y="465"/>
                  </a:lnTo>
                  <a:lnTo>
                    <a:pt x="589" y="465"/>
                  </a:lnTo>
                  <a:lnTo>
                    <a:pt x="589" y="461"/>
                  </a:lnTo>
                  <a:lnTo>
                    <a:pt x="589" y="461"/>
                  </a:lnTo>
                  <a:lnTo>
                    <a:pt x="589" y="461"/>
                  </a:lnTo>
                  <a:lnTo>
                    <a:pt x="589" y="465"/>
                  </a:lnTo>
                  <a:lnTo>
                    <a:pt x="589" y="465"/>
                  </a:lnTo>
                  <a:lnTo>
                    <a:pt x="589" y="465"/>
                  </a:lnTo>
                  <a:lnTo>
                    <a:pt x="589" y="469"/>
                  </a:lnTo>
                  <a:lnTo>
                    <a:pt x="584" y="469"/>
                  </a:lnTo>
                  <a:lnTo>
                    <a:pt x="584" y="469"/>
                  </a:lnTo>
                  <a:lnTo>
                    <a:pt x="584" y="465"/>
                  </a:lnTo>
                  <a:lnTo>
                    <a:pt x="589" y="465"/>
                  </a:lnTo>
                  <a:lnTo>
                    <a:pt x="589" y="465"/>
                  </a:lnTo>
                  <a:lnTo>
                    <a:pt x="584" y="465"/>
                  </a:lnTo>
                  <a:lnTo>
                    <a:pt x="584" y="461"/>
                  </a:lnTo>
                  <a:lnTo>
                    <a:pt x="584" y="461"/>
                  </a:lnTo>
                  <a:lnTo>
                    <a:pt x="589" y="461"/>
                  </a:lnTo>
                  <a:lnTo>
                    <a:pt x="584" y="461"/>
                  </a:lnTo>
                  <a:lnTo>
                    <a:pt x="584" y="461"/>
                  </a:lnTo>
                  <a:lnTo>
                    <a:pt x="589" y="456"/>
                  </a:lnTo>
                  <a:lnTo>
                    <a:pt x="589" y="456"/>
                  </a:lnTo>
                  <a:lnTo>
                    <a:pt x="589" y="461"/>
                  </a:lnTo>
                  <a:lnTo>
                    <a:pt x="589" y="461"/>
                  </a:lnTo>
                  <a:lnTo>
                    <a:pt x="593" y="461"/>
                  </a:lnTo>
                  <a:lnTo>
                    <a:pt x="593" y="461"/>
                  </a:lnTo>
                  <a:lnTo>
                    <a:pt x="593" y="461"/>
                  </a:lnTo>
                  <a:lnTo>
                    <a:pt x="593" y="461"/>
                  </a:lnTo>
                  <a:lnTo>
                    <a:pt x="593" y="456"/>
                  </a:lnTo>
                  <a:lnTo>
                    <a:pt x="593" y="456"/>
                  </a:lnTo>
                  <a:lnTo>
                    <a:pt x="589" y="456"/>
                  </a:lnTo>
                  <a:lnTo>
                    <a:pt x="589" y="452"/>
                  </a:lnTo>
                  <a:lnTo>
                    <a:pt x="584" y="452"/>
                  </a:lnTo>
                  <a:lnTo>
                    <a:pt x="584" y="452"/>
                  </a:lnTo>
                  <a:lnTo>
                    <a:pt x="584" y="452"/>
                  </a:lnTo>
                  <a:lnTo>
                    <a:pt x="584" y="452"/>
                  </a:lnTo>
                  <a:lnTo>
                    <a:pt x="589" y="452"/>
                  </a:lnTo>
                  <a:lnTo>
                    <a:pt x="589" y="452"/>
                  </a:lnTo>
                  <a:lnTo>
                    <a:pt x="593" y="452"/>
                  </a:lnTo>
                  <a:lnTo>
                    <a:pt x="589" y="447"/>
                  </a:lnTo>
                  <a:lnTo>
                    <a:pt x="589" y="447"/>
                  </a:lnTo>
                  <a:lnTo>
                    <a:pt x="589" y="443"/>
                  </a:lnTo>
                  <a:lnTo>
                    <a:pt x="593" y="447"/>
                  </a:lnTo>
                  <a:lnTo>
                    <a:pt x="593" y="447"/>
                  </a:lnTo>
                  <a:lnTo>
                    <a:pt x="593" y="443"/>
                  </a:lnTo>
                  <a:lnTo>
                    <a:pt x="589" y="438"/>
                  </a:lnTo>
                  <a:lnTo>
                    <a:pt x="593" y="438"/>
                  </a:lnTo>
                  <a:lnTo>
                    <a:pt x="593" y="438"/>
                  </a:lnTo>
                  <a:lnTo>
                    <a:pt x="593" y="438"/>
                  </a:lnTo>
                  <a:lnTo>
                    <a:pt x="598" y="438"/>
                  </a:lnTo>
                  <a:lnTo>
                    <a:pt x="598" y="438"/>
                  </a:lnTo>
                  <a:lnTo>
                    <a:pt x="598" y="438"/>
                  </a:lnTo>
                  <a:lnTo>
                    <a:pt x="598" y="443"/>
                  </a:lnTo>
                  <a:lnTo>
                    <a:pt x="602" y="443"/>
                  </a:lnTo>
                  <a:lnTo>
                    <a:pt x="602" y="443"/>
                  </a:lnTo>
                  <a:lnTo>
                    <a:pt x="602" y="443"/>
                  </a:lnTo>
                  <a:lnTo>
                    <a:pt x="598" y="447"/>
                  </a:lnTo>
                  <a:lnTo>
                    <a:pt x="598" y="447"/>
                  </a:lnTo>
                  <a:lnTo>
                    <a:pt x="598" y="447"/>
                  </a:lnTo>
                  <a:lnTo>
                    <a:pt x="602" y="447"/>
                  </a:lnTo>
                  <a:lnTo>
                    <a:pt x="602" y="447"/>
                  </a:lnTo>
                  <a:lnTo>
                    <a:pt x="602" y="447"/>
                  </a:lnTo>
                  <a:lnTo>
                    <a:pt x="607" y="447"/>
                  </a:lnTo>
                  <a:lnTo>
                    <a:pt x="607" y="447"/>
                  </a:lnTo>
                  <a:lnTo>
                    <a:pt x="607" y="452"/>
                  </a:lnTo>
                  <a:lnTo>
                    <a:pt x="607" y="452"/>
                  </a:lnTo>
                  <a:lnTo>
                    <a:pt x="607" y="447"/>
                  </a:lnTo>
                  <a:lnTo>
                    <a:pt x="611" y="447"/>
                  </a:lnTo>
                  <a:lnTo>
                    <a:pt x="611" y="447"/>
                  </a:lnTo>
                  <a:lnTo>
                    <a:pt x="611" y="443"/>
                  </a:lnTo>
                  <a:lnTo>
                    <a:pt x="611" y="443"/>
                  </a:lnTo>
                  <a:lnTo>
                    <a:pt x="611" y="443"/>
                  </a:lnTo>
                  <a:lnTo>
                    <a:pt x="611" y="438"/>
                  </a:lnTo>
                  <a:lnTo>
                    <a:pt x="607" y="438"/>
                  </a:lnTo>
                  <a:lnTo>
                    <a:pt x="607" y="434"/>
                  </a:lnTo>
                  <a:lnTo>
                    <a:pt x="607" y="434"/>
                  </a:lnTo>
                  <a:lnTo>
                    <a:pt x="607" y="434"/>
                  </a:lnTo>
                  <a:lnTo>
                    <a:pt x="607" y="430"/>
                  </a:lnTo>
                  <a:lnTo>
                    <a:pt x="607" y="430"/>
                  </a:lnTo>
                  <a:lnTo>
                    <a:pt x="607" y="430"/>
                  </a:lnTo>
                  <a:lnTo>
                    <a:pt x="615" y="438"/>
                  </a:lnTo>
                  <a:lnTo>
                    <a:pt x="615" y="438"/>
                  </a:lnTo>
                  <a:lnTo>
                    <a:pt x="615" y="443"/>
                  </a:lnTo>
                  <a:lnTo>
                    <a:pt x="620" y="447"/>
                  </a:lnTo>
                  <a:lnTo>
                    <a:pt x="620" y="447"/>
                  </a:lnTo>
                  <a:lnTo>
                    <a:pt x="620" y="443"/>
                  </a:lnTo>
                  <a:lnTo>
                    <a:pt x="620" y="447"/>
                  </a:lnTo>
                  <a:lnTo>
                    <a:pt x="620" y="447"/>
                  </a:lnTo>
                  <a:lnTo>
                    <a:pt x="624" y="447"/>
                  </a:lnTo>
                  <a:lnTo>
                    <a:pt x="624" y="447"/>
                  </a:lnTo>
                  <a:lnTo>
                    <a:pt x="629" y="452"/>
                  </a:lnTo>
                  <a:lnTo>
                    <a:pt x="629" y="452"/>
                  </a:lnTo>
                  <a:lnTo>
                    <a:pt x="629" y="456"/>
                  </a:lnTo>
                  <a:lnTo>
                    <a:pt x="629" y="456"/>
                  </a:lnTo>
                  <a:lnTo>
                    <a:pt x="629" y="456"/>
                  </a:lnTo>
                  <a:lnTo>
                    <a:pt x="633" y="456"/>
                  </a:lnTo>
                  <a:lnTo>
                    <a:pt x="633" y="452"/>
                  </a:lnTo>
                  <a:lnTo>
                    <a:pt x="633" y="452"/>
                  </a:lnTo>
                  <a:lnTo>
                    <a:pt x="633" y="452"/>
                  </a:lnTo>
                  <a:lnTo>
                    <a:pt x="637" y="452"/>
                  </a:lnTo>
                  <a:lnTo>
                    <a:pt x="637" y="447"/>
                  </a:lnTo>
                  <a:lnTo>
                    <a:pt x="637" y="447"/>
                  </a:lnTo>
                  <a:lnTo>
                    <a:pt x="637" y="447"/>
                  </a:lnTo>
                  <a:lnTo>
                    <a:pt x="633" y="443"/>
                  </a:lnTo>
                  <a:lnTo>
                    <a:pt x="633" y="443"/>
                  </a:lnTo>
                  <a:lnTo>
                    <a:pt x="637" y="443"/>
                  </a:lnTo>
                  <a:lnTo>
                    <a:pt x="637" y="443"/>
                  </a:lnTo>
                  <a:lnTo>
                    <a:pt x="637" y="443"/>
                  </a:lnTo>
                  <a:lnTo>
                    <a:pt x="637" y="443"/>
                  </a:lnTo>
                  <a:lnTo>
                    <a:pt x="642" y="447"/>
                  </a:lnTo>
                  <a:lnTo>
                    <a:pt x="642" y="447"/>
                  </a:lnTo>
                  <a:lnTo>
                    <a:pt x="642" y="443"/>
                  </a:lnTo>
                  <a:lnTo>
                    <a:pt x="642" y="443"/>
                  </a:lnTo>
                  <a:lnTo>
                    <a:pt x="642" y="443"/>
                  </a:lnTo>
                  <a:lnTo>
                    <a:pt x="646" y="443"/>
                  </a:lnTo>
                  <a:lnTo>
                    <a:pt x="646" y="443"/>
                  </a:lnTo>
                  <a:lnTo>
                    <a:pt x="646" y="447"/>
                  </a:lnTo>
                  <a:lnTo>
                    <a:pt x="646" y="447"/>
                  </a:lnTo>
                  <a:lnTo>
                    <a:pt x="646" y="447"/>
                  </a:lnTo>
                  <a:lnTo>
                    <a:pt x="646" y="447"/>
                  </a:lnTo>
                  <a:lnTo>
                    <a:pt x="646" y="447"/>
                  </a:lnTo>
                  <a:lnTo>
                    <a:pt x="646" y="447"/>
                  </a:lnTo>
                  <a:lnTo>
                    <a:pt x="646" y="447"/>
                  </a:lnTo>
                  <a:lnTo>
                    <a:pt x="646" y="447"/>
                  </a:lnTo>
                  <a:lnTo>
                    <a:pt x="646" y="447"/>
                  </a:lnTo>
                  <a:lnTo>
                    <a:pt x="646" y="447"/>
                  </a:lnTo>
                  <a:lnTo>
                    <a:pt x="646" y="443"/>
                  </a:lnTo>
                  <a:lnTo>
                    <a:pt x="646" y="443"/>
                  </a:lnTo>
                  <a:lnTo>
                    <a:pt x="646" y="443"/>
                  </a:lnTo>
                  <a:lnTo>
                    <a:pt x="651" y="443"/>
                  </a:lnTo>
                  <a:lnTo>
                    <a:pt x="651" y="443"/>
                  </a:lnTo>
                  <a:lnTo>
                    <a:pt x="651" y="443"/>
                  </a:lnTo>
                  <a:lnTo>
                    <a:pt x="651" y="443"/>
                  </a:lnTo>
                  <a:lnTo>
                    <a:pt x="651" y="438"/>
                  </a:lnTo>
                  <a:lnTo>
                    <a:pt x="651" y="438"/>
                  </a:lnTo>
                  <a:lnTo>
                    <a:pt x="651" y="443"/>
                  </a:lnTo>
                  <a:lnTo>
                    <a:pt x="651" y="443"/>
                  </a:lnTo>
                  <a:lnTo>
                    <a:pt x="655" y="443"/>
                  </a:lnTo>
                  <a:lnTo>
                    <a:pt x="655" y="443"/>
                  </a:lnTo>
                  <a:lnTo>
                    <a:pt x="660" y="443"/>
                  </a:lnTo>
                  <a:lnTo>
                    <a:pt x="660" y="443"/>
                  </a:lnTo>
                  <a:lnTo>
                    <a:pt x="660" y="447"/>
                  </a:lnTo>
                  <a:lnTo>
                    <a:pt x="660" y="447"/>
                  </a:lnTo>
                  <a:lnTo>
                    <a:pt x="660" y="443"/>
                  </a:lnTo>
                  <a:lnTo>
                    <a:pt x="660" y="443"/>
                  </a:lnTo>
                  <a:lnTo>
                    <a:pt x="660" y="443"/>
                  </a:lnTo>
                  <a:lnTo>
                    <a:pt x="664" y="443"/>
                  </a:lnTo>
                  <a:lnTo>
                    <a:pt x="664" y="443"/>
                  </a:lnTo>
                  <a:lnTo>
                    <a:pt x="664" y="443"/>
                  </a:lnTo>
                  <a:lnTo>
                    <a:pt x="668" y="447"/>
                  </a:lnTo>
                  <a:lnTo>
                    <a:pt x="668" y="447"/>
                  </a:lnTo>
                  <a:lnTo>
                    <a:pt x="668" y="447"/>
                  </a:lnTo>
                  <a:lnTo>
                    <a:pt x="673" y="447"/>
                  </a:lnTo>
                  <a:lnTo>
                    <a:pt x="673" y="447"/>
                  </a:lnTo>
                  <a:lnTo>
                    <a:pt x="673" y="447"/>
                  </a:lnTo>
                  <a:lnTo>
                    <a:pt x="673" y="447"/>
                  </a:lnTo>
                  <a:lnTo>
                    <a:pt x="673" y="447"/>
                  </a:lnTo>
                  <a:lnTo>
                    <a:pt x="673" y="447"/>
                  </a:lnTo>
                  <a:lnTo>
                    <a:pt x="673" y="447"/>
                  </a:lnTo>
                  <a:lnTo>
                    <a:pt x="673" y="452"/>
                  </a:lnTo>
                  <a:lnTo>
                    <a:pt x="673" y="452"/>
                  </a:lnTo>
                  <a:lnTo>
                    <a:pt x="673" y="452"/>
                  </a:lnTo>
                  <a:lnTo>
                    <a:pt x="673" y="447"/>
                  </a:lnTo>
                  <a:lnTo>
                    <a:pt x="677" y="447"/>
                  </a:lnTo>
                  <a:lnTo>
                    <a:pt x="677" y="447"/>
                  </a:lnTo>
                  <a:lnTo>
                    <a:pt x="677" y="447"/>
                  </a:lnTo>
                  <a:lnTo>
                    <a:pt x="677" y="447"/>
                  </a:lnTo>
                  <a:lnTo>
                    <a:pt x="682" y="447"/>
                  </a:lnTo>
                  <a:lnTo>
                    <a:pt x="682" y="443"/>
                  </a:lnTo>
                  <a:lnTo>
                    <a:pt x="682" y="443"/>
                  </a:lnTo>
                  <a:lnTo>
                    <a:pt x="682" y="443"/>
                  </a:lnTo>
                  <a:lnTo>
                    <a:pt x="682" y="443"/>
                  </a:lnTo>
                  <a:lnTo>
                    <a:pt x="682" y="443"/>
                  </a:lnTo>
                  <a:lnTo>
                    <a:pt x="686" y="443"/>
                  </a:lnTo>
                  <a:lnTo>
                    <a:pt x="686" y="443"/>
                  </a:lnTo>
                  <a:lnTo>
                    <a:pt x="686" y="438"/>
                  </a:lnTo>
                  <a:lnTo>
                    <a:pt x="686" y="43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80" name="Freeform 11"/>
            <p:cNvSpPr>
              <a:spLocks noEditPoints="1"/>
            </p:cNvSpPr>
            <p:nvPr/>
          </p:nvSpPr>
          <p:spPr bwMode="auto">
            <a:xfrm>
              <a:off x="1716088" y="5384801"/>
              <a:ext cx="1052512" cy="865188"/>
            </a:xfrm>
            <a:custGeom>
              <a:avLst/>
              <a:gdLst>
                <a:gd name="T0" fmla="*/ 447 w 663"/>
                <a:gd name="T1" fmla="*/ 421 h 545"/>
                <a:gd name="T2" fmla="*/ 655 w 663"/>
                <a:gd name="T3" fmla="*/ 138 h 545"/>
                <a:gd name="T4" fmla="*/ 659 w 663"/>
                <a:gd name="T5" fmla="*/ 107 h 545"/>
                <a:gd name="T6" fmla="*/ 628 w 663"/>
                <a:gd name="T7" fmla="*/ 102 h 545"/>
                <a:gd name="T8" fmla="*/ 597 w 663"/>
                <a:gd name="T9" fmla="*/ 102 h 545"/>
                <a:gd name="T10" fmla="*/ 566 w 663"/>
                <a:gd name="T11" fmla="*/ 98 h 545"/>
                <a:gd name="T12" fmla="*/ 540 w 663"/>
                <a:gd name="T13" fmla="*/ 76 h 545"/>
                <a:gd name="T14" fmla="*/ 513 w 663"/>
                <a:gd name="T15" fmla="*/ 80 h 545"/>
                <a:gd name="T16" fmla="*/ 478 w 663"/>
                <a:gd name="T17" fmla="*/ 71 h 545"/>
                <a:gd name="T18" fmla="*/ 451 w 663"/>
                <a:gd name="T19" fmla="*/ 67 h 545"/>
                <a:gd name="T20" fmla="*/ 416 w 663"/>
                <a:gd name="T21" fmla="*/ 53 h 545"/>
                <a:gd name="T22" fmla="*/ 398 w 663"/>
                <a:gd name="T23" fmla="*/ 36 h 545"/>
                <a:gd name="T24" fmla="*/ 376 w 663"/>
                <a:gd name="T25" fmla="*/ 36 h 545"/>
                <a:gd name="T26" fmla="*/ 332 w 663"/>
                <a:gd name="T27" fmla="*/ 27 h 545"/>
                <a:gd name="T28" fmla="*/ 305 w 663"/>
                <a:gd name="T29" fmla="*/ 27 h 545"/>
                <a:gd name="T30" fmla="*/ 292 w 663"/>
                <a:gd name="T31" fmla="*/ 22 h 545"/>
                <a:gd name="T32" fmla="*/ 278 w 663"/>
                <a:gd name="T33" fmla="*/ 27 h 545"/>
                <a:gd name="T34" fmla="*/ 221 w 663"/>
                <a:gd name="T35" fmla="*/ 22 h 545"/>
                <a:gd name="T36" fmla="*/ 177 w 663"/>
                <a:gd name="T37" fmla="*/ 14 h 545"/>
                <a:gd name="T38" fmla="*/ 141 w 663"/>
                <a:gd name="T39" fmla="*/ 18 h 545"/>
                <a:gd name="T40" fmla="*/ 106 w 663"/>
                <a:gd name="T41" fmla="*/ 18 h 545"/>
                <a:gd name="T42" fmla="*/ 79 w 663"/>
                <a:gd name="T43" fmla="*/ 5 h 545"/>
                <a:gd name="T44" fmla="*/ 70 w 663"/>
                <a:gd name="T45" fmla="*/ 5 h 545"/>
                <a:gd name="T46" fmla="*/ 53 w 663"/>
                <a:gd name="T47" fmla="*/ 22 h 545"/>
                <a:gd name="T48" fmla="*/ 53 w 663"/>
                <a:gd name="T49" fmla="*/ 31 h 545"/>
                <a:gd name="T50" fmla="*/ 17 w 663"/>
                <a:gd name="T51" fmla="*/ 36 h 545"/>
                <a:gd name="T52" fmla="*/ 4 w 663"/>
                <a:gd name="T53" fmla="*/ 49 h 545"/>
                <a:gd name="T54" fmla="*/ 4 w 663"/>
                <a:gd name="T55" fmla="*/ 62 h 545"/>
                <a:gd name="T56" fmla="*/ 13 w 663"/>
                <a:gd name="T57" fmla="*/ 71 h 545"/>
                <a:gd name="T58" fmla="*/ 17 w 663"/>
                <a:gd name="T59" fmla="*/ 89 h 545"/>
                <a:gd name="T60" fmla="*/ 22 w 663"/>
                <a:gd name="T61" fmla="*/ 98 h 545"/>
                <a:gd name="T62" fmla="*/ 26 w 663"/>
                <a:gd name="T63" fmla="*/ 107 h 545"/>
                <a:gd name="T64" fmla="*/ 26 w 663"/>
                <a:gd name="T65" fmla="*/ 111 h 545"/>
                <a:gd name="T66" fmla="*/ 35 w 663"/>
                <a:gd name="T67" fmla="*/ 124 h 545"/>
                <a:gd name="T68" fmla="*/ 57 w 663"/>
                <a:gd name="T69" fmla="*/ 142 h 545"/>
                <a:gd name="T70" fmla="*/ 88 w 663"/>
                <a:gd name="T71" fmla="*/ 142 h 545"/>
                <a:gd name="T72" fmla="*/ 119 w 663"/>
                <a:gd name="T73" fmla="*/ 133 h 545"/>
                <a:gd name="T74" fmla="*/ 146 w 663"/>
                <a:gd name="T75" fmla="*/ 151 h 545"/>
                <a:gd name="T76" fmla="*/ 137 w 663"/>
                <a:gd name="T77" fmla="*/ 182 h 545"/>
                <a:gd name="T78" fmla="*/ 128 w 663"/>
                <a:gd name="T79" fmla="*/ 217 h 545"/>
                <a:gd name="T80" fmla="*/ 119 w 663"/>
                <a:gd name="T81" fmla="*/ 253 h 545"/>
                <a:gd name="T82" fmla="*/ 119 w 663"/>
                <a:gd name="T83" fmla="*/ 284 h 545"/>
                <a:gd name="T84" fmla="*/ 101 w 663"/>
                <a:gd name="T85" fmla="*/ 315 h 545"/>
                <a:gd name="T86" fmla="*/ 115 w 663"/>
                <a:gd name="T87" fmla="*/ 346 h 545"/>
                <a:gd name="T88" fmla="*/ 106 w 663"/>
                <a:gd name="T89" fmla="*/ 381 h 545"/>
                <a:gd name="T90" fmla="*/ 110 w 663"/>
                <a:gd name="T91" fmla="*/ 403 h 545"/>
                <a:gd name="T92" fmla="*/ 93 w 663"/>
                <a:gd name="T93" fmla="*/ 434 h 545"/>
                <a:gd name="T94" fmla="*/ 124 w 663"/>
                <a:gd name="T95" fmla="*/ 456 h 545"/>
                <a:gd name="T96" fmla="*/ 150 w 663"/>
                <a:gd name="T97" fmla="*/ 487 h 545"/>
                <a:gd name="T98" fmla="*/ 163 w 663"/>
                <a:gd name="T99" fmla="*/ 514 h 545"/>
                <a:gd name="T100" fmla="*/ 203 w 663"/>
                <a:gd name="T101" fmla="*/ 523 h 545"/>
                <a:gd name="T102" fmla="*/ 243 w 663"/>
                <a:gd name="T103" fmla="*/ 501 h 545"/>
                <a:gd name="T104" fmla="*/ 314 w 663"/>
                <a:gd name="T105" fmla="*/ 487 h 545"/>
                <a:gd name="T106" fmla="*/ 367 w 663"/>
                <a:gd name="T107" fmla="*/ 483 h 545"/>
                <a:gd name="T108" fmla="*/ 394 w 663"/>
                <a:gd name="T109" fmla="*/ 456 h 545"/>
                <a:gd name="T110" fmla="*/ 420 w 663"/>
                <a:gd name="T111" fmla="*/ 434 h 545"/>
                <a:gd name="T112" fmla="*/ 451 w 663"/>
                <a:gd name="T113" fmla="*/ 425 h 545"/>
                <a:gd name="T114" fmla="*/ 464 w 663"/>
                <a:gd name="T115" fmla="*/ 381 h 545"/>
                <a:gd name="T116" fmla="*/ 495 w 663"/>
                <a:gd name="T117" fmla="*/ 359 h 545"/>
                <a:gd name="T118" fmla="*/ 478 w 663"/>
                <a:gd name="T119" fmla="*/ 323 h 545"/>
                <a:gd name="T120" fmla="*/ 513 w 663"/>
                <a:gd name="T121" fmla="*/ 235 h 545"/>
                <a:gd name="T122" fmla="*/ 526 w 663"/>
                <a:gd name="T123" fmla="*/ 217 h 545"/>
                <a:gd name="T124" fmla="*/ 615 w 663"/>
                <a:gd name="T125" fmla="*/ 164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3" h="545">
                  <a:moveTo>
                    <a:pt x="203" y="540"/>
                  </a:moveTo>
                  <a:lnTo>
                    <a:pt x="203" y="540"/>
                  </a:lnTo>
                  <a:lnTo>
                    <a:pt x="203" y="540"/>
                  </a:lnTo>
                  <a:lnTo>
                    <a:pt x="203" y="540"/>
                  </a:lnTo>
                  <a:lnTo>
                    <a:pt x="203" y="540"/>
                  </a:lnTo>
                  <a:lnTo>
                    <a:pt x="203" y="540"/>
                  </a:lnTo>
                  <a:close/>
                  <a:moveTo>
                    <a:pt x="208" y="540"/>
                  </a:moveTo>
                  <a:lnTo>
                    <a:pt x="208" y="540"/>
                  </a:lnTo>
                  <a:lnTo>
                    <a:pt x="203" y="540"/>
                  </a:lnTo>
                  <a:lnTo>
                    <a:pt x="203" y="540"/>
                  </a:lnTo>
                  <a:lnTo>
                    <a:pt x="203" y="540"/>
                  </a:lnTo>
                  <a:lnTo>
                    <a:pt x="203" y="540"/>
                  </a:lnTo>
                  <a:lnTo>
                    <a:pt x="203" y="540"/>
                  </a:lnTo>
                  <a:lnTo>
                    <a:pt x="203" y="540"/>
                  </a:lnTo>
                  <a:lnTo>
                    <a:pt x="203" y="545"/>
                  </a:lnTo>
                  <a:lnTo>
                    <a:pt x="208" y="545"/>
                  </a:lnTo>
                  <a:lnTo>
                    <a:pt x="208" y="545"/>
                  </a:lnTo>
                  <a:lnTo>
                    <a:pt x="208" y="540"/>
                  </a:lnTo>
                  <a:lnTo>
                    <a:pt x="208" y="540"/>
                  </a:lnTo>
                  <a:lnTo>
                    <a:pt x="208" y="540"/>
                  </a:lnTo>
                  <a:lnTo>
                    <a:pt x="208" y="540"/>
                  </a:lnTo>
                  <a:close/>
                  <a:moveTo>
                    <a:pt x="447" y="425"/>
                  </a:moveTo>
                  <a:lnTo>
                    <a:pt x="451" y="425"/>
                  </a:lnTo>
                  <a:lnTo>
                    <a:pt x="447" y="421"/>
                  </a:lnTo>
                  <a:lnTo>
                    <a:pt x="447" y="421"/>
                  </a:lnTo>
                  <a:lnTo>
                    <a:pt x="451" y="421"/>
                  </a:lnTo>
                  <a:lnTo>
                    <a:pt x="451" y="421"/>
                  </a:lnTo>
                  <a:lnTo>
                    <a:pt x="447" y="421"/>
                  </a:lnTo>
                  <a:lnTo>
                    <a:pt x="447" y="416"/>
                  </a:lnTo>
                  <a:lnTo>
                    <a:pt x="447" y="416"/>
                  </a:lnTo>
                  <a:lnTo>
                    <a:pt x="447" y="416"/>
                  </a:lnTo>
                  <a:lnTo>
                    <a:pt x="447" y="416"/>
                  </a:lnTo>
                  <a:lnTo>
                    <a:pt x="447" y="416"/>
                  </a:lnTo>
                  <a:lnTo>
                    <a:pt x="447" y="421"/>
                  </a:lnTo>
                  <a:lnTo>
                    <a:pt x="447" y="421"/>
                  </a:lnTo>
                  <a:lnTo>
                    <a:pt x="447" y="425"/>
                  </a:lnTo>
                  <a:close/>
                  <a:moveTo>
                    <a:pt x="593" y="98"/>
                  </a:moveTo>
                  <a:lnTo>
                    <a:pt x="593" y="98"/>
                  </a:lnTo>
                  <a:lnTo>
                    <a:pt x="593" y="98"/>
                  </a:lnTo>
                  <a:lnTo>
                    <a:pt x="593" y="98"/>
                  </a:lnTo>
                  <a:lnTo>
                    <a:pt x="593" y="98"/>
                  </a:lnTo>
                  <a:lnTo>
                    <a:pt x="593" y="98"/>
                  </a:lnTo>
                  <a:lnTo>
                    <a:pt x="593" y="93"/>
                  </a:lnTo>
                  <a:lnTo>
                    <a:pt x="593" y="93"/>
                  </a:lnTo>
                  <a:lnTo>
                    <a:pt x="593" y="93"/>
                  </a:lnTo>
                  <a:lnTo>
                    <a:pt x="588" y="98"/>
                  </a:lnTo>
                  <a:lnTo>
                    <a:pt x="593" y="98"/>
                  </a:lnTo>
                  <a:lnTo>
                    <a:pt x="593" y="98"/>
                  </a:lnTo>
                  <a:close/>
                  <a:moveTo>
                    <a:pt x="615" y="164"/>
                  </a:moveTo>
                  <a:lnTo>
                    <a:pt x="615" y="160"/>
                  </a:lnTo>
                  <a:lnTo>
                    <a:pt x="628" y="155"/>
                  </a:lnTo>
                  <a:lnTo>
                    <a:pt x="633" y="155"/>
                  </a:lnTo>
                  <a:lnTo>
                    <a:pt x="637" y="151"/>
                  </a:lnTo>
                  <a:lnTo>
                    <a:pt x="637" y="151"/>
                  </a:lnTo>
                  <a:lnTo>
                    <a:pt x="637" y="151"/>
                  </a:lnTo>
                  <a:lnTo>
                    <a:pt x="637" y="151"/>
                  </a:lnTo>
                  <a:lnTo>
                    <a:pt x="637" y="151"/>
                  </a:lnTo>
                  <a:lnTo>
                    <a:pt x="637" y="151"/>
                  </a:lnTo>
                  <a:lnTo>
                    <a:pt x="637" y="151"/>
                  </a:lnTo>
                  <a:lnTo>
                    <a:pt x="637" y="151"/>
                  </a:lnTo>
                  <a:lnTo>
                    <a:pt x="641" y="151"/>
                  </a:lnTo>
                  <a:lnTo>
                    <a:pt x="641" y="151"/>
                  </a:lnTo>
                  <a:lnTo>
                    <a:pt x="641" y="151"/>
                  </a:lnTo>
                  <a:lnTo>
                    <a:pt x="641" y="146"/>
                  </a:lnTo>
                  <a:lnTo>
                    <a:pt x="650" y="142"/>
                  </a:lnTo>
                  <a:lnTo>
                    <a:pt x="650" y="142"/>
                  </a:lnTo>
                  <a:lnTo>
                    <a:pt x="650" y="142"/>
                  </a:lnTo>
                  <a:lnTo>
                    <a:pt x="650" y="138"/>
                  </a:lnTo>
                  <a:lnTo>
                    <a:pt x="655" y="142"/>
                  </a:lnTo>
                  <a:lnTo>
                    <a:pt x="655" y="138"/>
                  </a:lnTo>
                  <a:lnTo>
                    <a:pt x="655" y="138"/>
                  </a:lnTo>
                  <a:lnTo>
                    <a:pt x="659" y="133"/>
                  </a:lnTo>
                  <a:lnTo>
                    <a:pt x="659" y="133"/>
                  </a:lnTo>
                  <a:lnTo>
                    <a:pt x="659" y="133"/>
                  </a:lnTo>
                  <a:lnTo>
                    <a:pt x="659" y="129"/>
                  </a:lnTo>
                  <a:lnTo>
                    <a:pt x="659" y="129"/>
                  </a:lnTo>
                  <a:lnTo>
                    <a:pt x="659" y="129"/>
                  </a:lnTo>
                  <a:lnTo>
                    <a:pt x="659" y="129"/>
                  </a:lnTo>
                  <a:lnTo>
                    <a:pt x="655" y="129"/>
                  </a:lnTo>
                  <a:lnTo>
                    <a:pt x="655" y="129"/>
                  </a:lnTo>
                  <a:lnTo>
                    <a:pt x="655" y="124"/>
                  </a:lnTo>
                  <a:lnTo>
                    <a:pt x="659" y="124"/>
                  </a:lnTo>
                  <a:lnTo>
                    <a:pt x="659" y="124"/>
                  </a:lnTo>
                  <a:lnTo>
                    <a:pt x="655" y="124"/>
                  </a:lnTo>
                  <a:lnTo>
                    <a:pt x="655" y="120"/>
                  </a:lnTo>
                  <a:lnTo>
                    <a:pt x="655" y="120"/>
                  </a:lnTo>
                  <a:lnTo>
                    <a:pt x="655" y="120"/>
                  </a:lnTo>
                  <a:lnTo>
                    <a:pt x="650" y="120"/>
                  </a:lnTo>
                  <a:lnTo>
                    <a:pt x="650" y="115"/>
                  </a:lnTo>
                  <a:lnTo>
                    <a:pt x="650" y="115"/>
                  </a:lnTo>
                  <a:lnTo>
                    <a:pt x="655" y="111"/>
                  </a:lnTo>
                  <a:lnTo>
                    <a:pt x="655" y="111"/>
                  </a:lnTo>
                  <a:lnTo>
                    <a:pt x="655" y="111"/>
                  </a:lnTo>
                  <a:lnTo>
                    <a:pt x="655" y="111"/>
                  </a:lnTo>
                  <a:lnTo>
                    <a:pt x="659" y="111"/>
                  </a:lnTo>
                  <a:lnTo>
                    <a:pt x="659" y="111"/>
                  </a:lnTo>
                  <a:lnTo>
                    <a:pt x="659" y="111"/>
                  </a:lnTo>
                  <a:lnTo>
                    <a:pt x="659" y="111"/>
                  </a:lnTo>
                  <a:lnTo>
                    <a:pt x="659" y="111"/>
                  </a:lnTo>
                  <a:lnTo>
                    <a:pt x="659" y="111"/>
                  </a:lnTo>
                  <a:lnTo>
                    <a:pt x="663" y="111"/>
                  </a:lnTo>
                  <a:lnTo>
                    <a:pt x="663" y="107"/>
                  </a:lnTo>
                  <a:lnTo>
                    <a:pt x="663" y="107"/>
                  </a:lnTo>
                  <a:lnTo>
                    <a:pt x="663" y="107"/>
                  </a:lnTo>
                  <a:lnTo>
                    <a:pt x="659" y="107"/>
                  </a:lnTo>
                  <a:lnTo>
                    <a:pt x="659" y="107"/>
                  </a:lnTo>
                  <a:lnTo>
                    <a:pt x="659" y="107"/>
                  </a:lnTo>
                  <a:lnTo>
                    <a:pt x="659" y="107"/>
                  </a:lnTo>
                  <a:lnTo>
                    <a:pt x="659" y="107"/>
                  </a:lnTo>
                  <a:lnTo>
                    <a:pt x="655" y="107"/>
                  </a:lnTo>
                  <a:lnTo>
                    <a:pt x="655" y="102"/>
                  </a:lnTo>
                  <a:lnTo>
                    <a:pt x="655" y="102"/>
                  </a:lnTo>
                  <a:lnTo>
                    <a:pt x="655" y="102"/>
                  </a:lnTo>
                  <a:lnTo>
                    <a:pt x="655" y="102"/>
                  </a:lnTo>
                  <a:lnTo>
                    <a:pt x="655" y="98"/>
                  </a:lnTo>
                  <a:lnTo>
                    <a:pt x="655" y="98"/>
                  </a:lnTo>
                  <a:lnTo>
                    <a:pt x="655" y="98"/>
                  </a:lnTo>
                  <a:lnTo>
                    <a:pt x="650" y="98"/>
                  </a:lnTo>
                  <a:lnTo>
                    <a:pt x="650" y="98"/>
                  </a:lnTo>
                  <a:lnTo>
                    <a:pt x="650" y="98"/>
                  </a:lnTo>
                  <a:lnTo>
                    <a:pt x="650" y="98"/>
                  </a:lnTo>
                  <a:lnTo>
                    <a:pt x="650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1" y="98"/>
                  </a:lnTo>
                  <a:lnTo>
                    <a:pt x="641" y="98"/>
                  </a:lnTo>
                  <a:lnTo>
                    <a:pt x="641" y="98"/>
                  </a:lnTo>
                  <a:lnTo>
                    <a:pt x="637" y="98"/>
                  </a:lnTo>
                  <a:lnTo>
                    <a:pt x="637" y="98"/>
                  </a:lnTo>
                  <a:lnTo>
                    <a:pt x="637" y="98"/>
                  </a:lnTo>
                  <a:lnTo>
                    <a:pt x="637" y="98"/>
                  </a:lnTo>
                  <a:lnTo>
                    <a:pt x="637" y="98"/>
                  </a:lnTo>
                  <a:lnTo>
                    <a:pt x="633" y="98"/>
                  </a:lnTo>
                  <a:lnTo>
                    <a:pt x="633" y="98"/>
                  </a:lnTo>
                  <a:lnTo>
                    <a:pt x="633" y="98"/>
                  </a:lnTo>
                  <a:lnTo>
                    <a:pt x="628" y="102"/>
                  </a:lnTo>
                  <a:lnTo>
                    <a:pt x="628" y="102"/>
                  </a:lnTo>
                  <a:lnTo>
                    <a:pt x="628" y="102"/>
                  </a:lnTo>
                  <a:lnTo>
                    <a:pt x="628" y="102"/>
                  </a:lnTo>
                  <a:lnTo>
                    <a:pt x="628" y="107"/>
                  </a:lnTo>
                  <a:lnTo>
                    <a:pt x="628" y="107"/>
                  </a:lnTo>
                  <a:lnTo>
                    <a:pt x="628" y="107"/>
                  </a:lnTo>
                  <a:lnTo>
                    <a:pt x="624" y="107"/>
                  </a:lnTo>
                  <a:lnTo>
                    <a:pt x="624" y="102"/>
                  </a:lnTo>
                  <a:lnTo>
                    <a:pt x="624" y="102"/>
                  </a:lnTo>
                  <a:lnTo>
                    <a:pt x="624" y="102"/>
                  </a:lnTo>
                  <a:lnTo>
                    <a:pt x="619" y="107"/>
                  </a:lnTo>
                  <a:lnTo>
                    <a:pt x="619" y="107"/>
                  </a:lnTo>
                  <a:lnTo>
                    <a:pt x="619" y="107"/>
                  </a:lnTo>
                  <a:lnTo>
                    <a:pt x="619" y="107"/>
                  </a:lnTo>
                  <a:lnTo>
                    <a:pt x="619" y="107"/>
                  </a:lnTo>
                  <a:lnTo>
                    <a:pt x="619" y="107"/>
                  </a:lnTo>
                  <a:lnTo>
                    <a:pt x="615" y="102"/>
                  </a:lnTo>
                  <a:lnTo>
                    <a:pt x="615" y="102"/>
                  </a:lnTo>
                  <a:lnTo>
                    <a:pt x="615" y="102"/>
                  </a:lnTo>
                  <a:lnTo>
                    <a:pt x="615" y="102"/>
                  </a:lnTo>
                  <a:lnTo>
                    <a:pt x="615" y="102"/>
                  </a:lnTo>
                  <a:lnTo>
                    <a:pt x="610" y="98"/>
                  </a:lnTo>
                  <a:lnTo>
                    <a:pt x="610" y="98"/>
                  </a:lnTo>
                  <a:lnTo>
                    <a:pt x="606" y="98"/>
                  </a:lnTo>
                  <a:lnTo>
                    <a:pt x="606" y="98"/>
                  </a:lnTo>
                  <a:lnTo>
                    <a:pt x="602" y="98"/>
                  </a:lnTo>
                  <a:lnTo>
                    <a:pt x="602" y="98"/>
                  </a:lnTo>
                  <a:lnTo>
                    <a:pt x="602" y="98"/>
                  </a:lnTo>
                  <a:lnTo>
                    <a:pt x="602" y="102"/>
                  </a:lnTo>
                  <a:lnTo>
                    <a:pt x="597" y="102"/>
                  </a:lnTo>
                  <a:lnTo>
                    <a:pt x="597" y="102"/>
                  </a:lnTo>
                  <a:lnTo>
                    <a:pt x="597" y="102"/>
                  </a:lnTo>
                  <a:lnTo>
                    <a:pt x="597" y="102"/>
                  </a:lnTo>
                  <a:lnTo>
                    <a:pt x="597" y="102"/>
                  </a:lnTo>
                  <a:lnTo>
                    <a:pt x="597" y="102"/>
                  </a:lnTo>
                  <a:lnTo>
                    <a:pt x="593" y="102"/>
                  </a:lnTo>
                  <a:lnTo>
                    <a:pt x="593" y="102"/>
                  </a:lnTo>
                  <a:lnTo>
                    <a:pt x="593" y="102"/>
                  </a:lnTo>
                  <a:lnTo>
                    <a:pt x="593" y="102"/>
                  </a:lnTo>
                  <a:lnTo>
                    <a:pt x="593" y="102"/>
                  </a:lnTo>
                  <a:lnTo>
                    <a:pt x="588" y="98"/>
                  </a:lnTo>
                  <a:lnTo>
                    <a:pt x="588" y="98"/>
                  </a:lnTo>
                  <a:lnTo>
                    <a:pt x="588" y="98"/>
                  </a:lnTo>
                  <a:lnTo>
                    <a:pt x="588" y="98"/>
                  </a:lnTo>
                  <a:lnTo>
                    <a:pt x="588" y="98"/>
                  </a:lnTo>
                  <a:lnTo>
                    <a:pt x="584" y="93"/>
                  </a:lnTo>
                  <a:lnTo>
                    <a:pt x="584" y="93"/>
                  </a:lnTo>
                  <a:lnTo>
                    <a:pt x="579" y="93"/>
                  </a:lnTo>
                  <a:lnTo>
                    <a:pt x="579" y="93"/>
                  </a:lnTo>
                  <a:lnTo>
                    <a:pt x="579" y="93"/>
                  </a:lnTo>
                  <a:lnTo>
                    <a:pt x="579" y="93"/>
                  </a:lnTo>
                  <a:lnTo>
                    <a:pt x="579" y="93"/>
                  </a:lnTo>
                  <a:lnTo>
                    <a:pt x="579" y="93"/>
                  </a:lnTo>
                  <a:lnTo>
                    <a:pt x="579" y="93"/>
                  </a:lnTo>
                  <a:lnTo>
                    <a:pt x="575" y="93"/>
                  </a:lnTo>
                  <a:lnTo>
                    <a:pt x="575" y="93"/>
                  </a:lnTo>
                  <a:lnTo>
                    <a:pt x="575" y="93"/>
                  </a:lnTo>
                  <a:lnTo>
                    <a:pt x="575" y="93"/>
                  </a:lnTo>
                  <a:lnTo>
                    <a:pt x="575" y="93"/>
                  </a:lnTo>
                  <a:lnTo>
                    <a:pt x="575" y="93"/>
                  </a:lnTo>
                  <a:lnTo>
                    <a:pt x="575" y="93"/>
                  </a:lnTo>
                  <a:lnTo>
                    <a:pt x="575" y="98"/>
                  </a:lnTo>
                  <a:lnTo>
                    <a:pt x="571" y="98"/>
                  </a:lnTo>
                  <a:lnTo>
                    <a:pt x="571" y="98"/>
                  </a:lnTo>
                  <a:lnTo>
                    <a:pt x="571" y="98"/>
                  </a:lnTo>
                  <a:lnTo>
                    <a:pt x="571" y="98"/>
                  </a:lnTo>
                  <a:lnTo>
                    <a:pt x="571" y="98"/>
                  </a:lnTo>
                  <a:lnTo>
                    <a:pt x="566" y="98"/>
                  </a:lnTo>
                  <a:lnTo>
                    <a:pt x="566" y="98"/>
                  </a:lnTo>
                  <a:lnTo>
                    <a:pt x="566" y="98"/>
                  </a:lnTo>
                  <a:lnTo>
                    <a:pt x="562" y="98"/>
                  </a:lnTo>
                  <a:lnTo>
                    <a:pt x="562" y="98"/>
                  </a:lnTo>
                  <a:lnTo>
                    <a:pt x="562" y="93"/>
                  </a:lnTo>
                  <a:lnTo>
                    <a:pt x="562" y="93"/>
                  </a:lnTo>
                  <a:lnTo>
                    <a:pt x="562" y="93"/>
                  </a:lnTo>
                  <a:lnTo>
                    <a:pt x="566" y="93"/>
                  </a:lnTo>
                  <a:lnTo>
                    <a:pt x="566" y="93"/>
                  </a:lnTo>
                  <a:lnTo>
                    <a:pt x="562" y="93"/>
                  </a:lnTo>
                  <a:lnTo>
                    <a:pt x="562" y="93"/>
                  </a:lnTo>
                  <a:lnTo>
                    <a:pt x="562" y="89"/>
                  </a:lnTo>
                  <a:lnTo>
                    <a:pt x="562" y="89"/>
                  </a:lnTo>
                  <a:lnTo>
                    <a:pt x="562" y="89"/>
                  </a:lnTo>
                  <a:lnTo>
                    <a:pt x="562" y="89"/>
                  </a:lnTo>
                  <a:lnTo>
                    <a:pt x="562" y="89"/>
                  </a:lnTo>
                  <a:lnTo>
                    <a:pt x="562" y="89"/>
                  </a:lnTo>
                  <a:lnTo>
                    <a:pt x="562" y="84"/>
                  </a:lnTo>
                  <a:lnTo>
                    <a:pt x="562" y="84"/>
                  </a:lnTo>
                  <a:lnTo>
                    <a:pt x="562" y="84"/>
                  </a:lnTo>
                  <a:lnTo>
                    <a:pt x="562" y="80"/>
                  </a:lnTo>
                  <a:lnTo>
                    <a:pt x="562" y="80"/>
                  </a:lnTo>
                  <a:lnTo>
                    <a:pt x="557" y="80"/>
                  </a:lnTo>
                  <a:lnTo>
                    <a:pt x="557" y="80"/>
                  </a:lnTo>
                  <a:lnTo>
                    <a:pt x="557" y="80"/>
                  </a:lnTo>
                  <a:lnTo>
                    <a:pt x="557" y="80"/>
                  </a:lnTo>
                  <a:lnTo>
                    <a:pt x="557" y="80"/>
                  </a:lnTo>
                  <a:lnTo>
                    <a:pt x="553" y="80"/>
                  </a:lnTo>
                  <a:lnTo>
                    <a:pt x="548" y="80"/>
                  </a:lnTo>
                  <a:lnTo>
                    <a:pt x="548" y="80"/>
                  </a:lnTo>
                  <a:lnTo>
                    <a:pt x="548" y="80"/>
                  </a:lnTo>
                  <a:lnTo>
                    <a:pt x="548" y="76"/>
                  </a:lnTo>
                  <a:lnTo>
                    <a:pt x="548" y="76"/>
                  </a:lnTo>
                  <a:lnTo>
                    <a:pt x="544" y="76"/>
                  </a:lnTo>
                  <a:lnTo>
                    <a:pt x="544" y="76"/>
                  </a:lnTo>
                  <a:lnTo>
                    <a:pt x="544" y="76"/>
                  </a:lnTo>
                  <a:lnTo>
                    <a:pt x="540" y="76"/>
                  </a:lnTo>
                  <a:lnTo>
                    <a:pt x="540" y="71"/>
                  </a:lnTo>
                  <a:lnTo>
                    <a:pt x="540" y="71"/>
                  </a:lnTo>
                  <a:lnTo>
                    <a:pt x="540" y="71"/>
                  </a:lnTo>
                  <a:lnTo>
                    <a:pt x="540" y="71"/>
                  </a:lnTo>
                  <a:lnTo>
                    <a:pt x="535" y="71"/>
                  </a:lnTo>
                  <a:lnTo>
                    <a:pt x="535" y="71"/>
                  </a:lnTo>
                  <a:lnTo>
                    <a:pt x="535" y="71"/>
                  </a:lnTo>
                  <a:lnTo>
                    <a:pt x="535" y="71"/>
                  </a:lnTo>
                  <a:lnTo>
                    <a:pt x="535" y="71"/>
                  </a:lnTo>
                  <a:lnTo>
                    <a:pt x="535" y="71"/>
                  </a:lnTo>
                  <a:lnTo>
                    <a:pt x="531" y="71"/>
                  </a:lnTo>
                  <a:lnTo>
                    <a:pt x="531" y="71"/>
                  </a:lnTo>
                  <a:lnTo>
                    <a:pt x="531" y="71"/>
                  </a:lnTo>
                  <a:lnTo>
                    <a:pt x="526" y="71"/>
                  </a:lnTo>
                  <a:lnTo>
                    <a:pt x="526" y="67"/>
                  </a:lnTo>
                  <a:lnTo>
                    <a:pt x="526" y="67"/>
                  </a:lnTo>
                  <a:lnTo>
                    <a:pt x="522" y="67"/>
                  </a:lnTo>
                  <a:lnTo>
                    <a:pt x="522" y="71"/>
                  </a:lnTo>
                  <a:lnTo>
                    <a:pt x="522" y="71"/>
                  </a:lnTo>
                  <a:lnTo>
                    <a:pt x="522" y="71"/>
                  </a:lnTo>
                  <a:lnTo>
                    <a:pt x="522" y="76"/>
                  </a:lnTo>
                  <a:lnTo>
                    <a:pt x="522" y="76"/>
                  </a:lnTo>
                  <a:lnTo>
                    <a:pt x="522" y="76"/>
                  </a:lnTo>
                  <a:lnTo>
                    <a:pt x="522" y="76"/>
                  </a:lnTo>
                  <a:lnTo>
                    <a:pt x="522" y="76"/>
                  </a:lnTo>
                  <a:lnTo>
                    <a:pt x="522" y="76"/>
                  </a:lnTo>
                  <a:lnTo>
                    <a:pt x="522" y="76"/>
                  </a:lnTo>
                  <a:lnTo>
                    <a:pt x="522" y="80"/>
                  </a:lnTo>
                  <a:lnTo>
                    <a:pt x="522" y="80"/>
                  </a:lnTo>
                  <a:lnTo>
                    <a:pt x="522" y="80"/>
                  </a:lnTo>
                  <a:lnTo>
                    <a:pt x="522" y="80"/>
                  </a:lnTo>
                  <a:lnTo>
                    <a:pt x="522" y="80"/>
                  </a:lnTo>
                  <a:lnTo>
                    <a:pt x="522" y="80"/>
                  </a:lnTo>
                  <a:lnTo>
                    <a:pt x="513" y="80"/>
                  </a:lnTo>
                  <a:lnTo>
                    <a:pt x="513" y="80"/>
                  </a:lnTo>
                  <a:lnTo>
                    <a:pt x="509" y="80"/>
                  </a:lnTo>
                  <a:lnTo>
                    <a:pt x="509" y="80"/>
                  </a:lnTo>
                  <a:lnTo>
                    <a:pt x="509" y="80"/>
                  </a:lnTo>
                  <a:lnTo>
                    <a:pt x="509" y="80"/>
                  </a:lnTo>
                  <a:lnTo>
                    <a:pt x="509" y="80"/>
                  </a:lnTo>
                  <a:lnTo>
                    <a:pt x="509" y="80"/>
                  </a:lnTo>
                  <a:lnTo>
                    <a:pt x="509" y="80"/>
                  </a:lnTo>
                  <a:lnTo>
                    <a:pt x="509" y="80"/>
                  </a:lnTo>
                  <a:lnTo>
                    <a:pt x="504" y="80"/>
                  </a:lnTo>
                  <a:lnTo>
                    <a:pt x="504" y="80"/>
                  </a:lnTo>
                  <a:lnTo>
                    <a:pt x="504" y="80"/>
                  </a:lnTo>
                  <a:lnTo>
                    <a:pt x="504" y="80"/>
                  </a:lnTo>
                  <a:lnTo>
                    <a:pt x="500" y="80"/>
                  </a:lnTo>
                  <a:lnTo>
                    <a:pt x="500" y="80"/>
                  </a:lnTo>
                  <a:lnTo>
                    <a:pt x="500" y="80"/>
                  </a:lnTo>
                  <a:lnTo>
                    <a:pt x="495" y="76"/>
                  </a:lnTo>
                  <a:lnTo>
                    <a:pt x="495" y="76"/>
                  </a:lnTo>
                  <a:lnTo>
                    <a:pt x="495" y="80"/>
                  </a:lnTo>
                  <a:lnTo>
                    <a:pt x="491" y="80"/>
                  </a:lnTo>
                  <a:lnTo>
                    <a:pt x="486" y="80"/>
                  </a:lnTo>
                  <a:lnTo>
                    <a:pt x="486" y="80"/>
                  </a:lnTo>
                  <a:lnTo>
                    <a:pt x="482" y="80"/>
                  </a:lnTo>
                  <a:lnTo>
                    <a:pt x="482" y="80"/>
                  </a:lnTo>
                  <a:lnTo>
                    <a:pt x="482" y="80"/>
                  </a:lnTo>
                  <a:lnTo>
                    <a:pt x="482" y="80"/>
                  </a:lnTo>
                  <a:lnTo>
                    <a:pt x="482" y="80"/>
                  </a:lnTo>
                  <a:lnTo>
                    <a:pt x="482" y="80"/>
                  </a:lnTo>
                  <a:lnTo>
                    <a:pt x="482" y="76"/>
                  </a:lnTo>
                  <a:lnTo>
                    <a:pt x="482" y="76"/>
                  </a:lnTo>
                  <a:lnTo>
                    <a:pt x="482" y="76"/>
                  </a:lnTo>
                  <a:lnTo>
                    <a:pt x="482" y="76"/>
                  </a:lnTo>
                  <a:lnTo>
                    <a:pt x="478" y="76"/>
                  </a:lnTo>
                  <a:lnTo>
                    <a:pt x="478" y="76"/>
                  </a:lnTo>
                  <a:lnTo>
                    <a:pt x="478" y="71"/>
                  </a:lnTo>
                  <a:lnTo>
                    <a:pt x="478" y="71"/>
                  </a:lnTo>
                  <a:lnTo>
                    <a:pt x="478" y="71"/>
                  </a:lnTo>
                  <a:lnTo>
                    <a:pt x="478" y="71"/>
                  </a:lnTo>
                  <a:lnTo>
                    <a:pt x="473" y="71"/>
                  </a:lnTo>
                  <a:lnTo>
                    <a:pt x="473" y="71"/>
                  </a:lnTo>
                  <a:lnTo>
                    <a:pt x="473" y="71"/>
                  </a:lnTo>
                  <a:lnTo>
                    <a:pt x="469" y="67"/>
                  </a:lnTo>
                  <a:lnTo>
                    <a:pt x="469" y="71"/>
                  </a:lnTo>
                  <a:lnTo>
                    <a:pt x="469" y="71"/>
                  </a:lnTo>
                  <a:lnTo>
                    <a:pt x="469" y="71"/>
                  </a:lnTo>
                  <a:lnTo>
                    <a:pt x="469" y="71"/>
                  </a:lnTo>
                  <a:lnTo>
                    <a:pt x="469" y="71"/>
                  </a:lnTo>
                  <a:lnTo>
                    <a:pt x="464" y="71"/>
                  </a:lnTo>
                  <a:lnTo>
                    <a:pt x="464" y="71"/>
                  </a:lnTo>
                  <a:lnTo>
                    <a:pt x="460" y="71"/>
                  </a:lnTo>
                  <a:lnTo>
                    <a:pt x="460" y="71"/>
                  </a:lnTo>
                  <a:lnTo>
                    <a:pt x="460" y="71"/>
                  </a:lnTo>
                  <a:lnTo>
                    <a:pt x="460" y="71"/>
                  </a:lnTo>
                  <a:lnTo>
                    <a:pt x="460" y="76"/>
                  </a:lnTo>
                  <a:lnTo>
                    <a:pt x="460" y="76"/>
                  </a:lnTo>
                  <a:lnTo>
                    <a:pt x="455" y="76"/>
                  </a:lnTo>
                  <a:lnTo>
                    <a:pt x="455" y="71"/>
                  </a:lnTo>
                  <a:lnTo>
                    <a:pt x="455" y="71"/>
                  </a:lnTo>
                  <a:lnTo>
                    <a:pt x="455" y="71"/>
                  </a:lnTo>
                  <a:lnTo>
                    <a:pt x="455" y="71"/>
                  </a:lnTo>
                  <a:lnTo>
                    <a:pt x="455" y="71"/>
                  </a:lnTo>
                  <a:lnTo>
                    <a:pt x="455" y="71"/>
                  </a:lnTo>
                  <a:lnTo>
                    <a:pt x="455" y="71"/>
                  </a:lnTo>
                  <a:lnTo>
                    <a:pt x="455" y="71"/>
                  </a:lnTo>
                  <a:lnTo>
                    <a:pt x="455" y="71"/>
                  </a:lnTo>
                  <a:lnTo>
                    <a:pt x="455" y="67"/>
                  </a:lnTo>
                  <a:lnTo>
                    <a:pt x="451" y="67"/>
                  </a:lnTo>
                  <a:lnTo>
                    <a:pt x="451" y="67"/>
                  </a:lnTo>
                  <a:lnTo>
                    <a:pt x="451" y="67"/>
                  </a:lnTo>
                  <a:lnTo>
                    <a:pt x="451" y="67"/>
                  </a:lnTo>
                  <a:lnTo>
                    <a:pt x="451" y="67"/>
                  </a:lnTo>
                  <a:lnTo>
                    <a:pt x="447" y="67"/>
                  </a:lnTo>
                  <a:lnTo>
                    <a:pt x="447" y="67"/>
                  </a:lnTo>
                  <a:lnTo>
                    <a:pt x="447" y="67"/>
                  </a:lnTo>
                  <a:lnTo>
                    <a:pt x="447" y="67"/>
                  </a:lnTo>
                  <a:lnTo>
                    <a:pt x="447" y="62"/>
                  </a:lnTo>
                  <a:lnTo>
                    <a:pt x="447" y="62"/>
                  </a:lnTo>
                  <a:lnTo>
                    <a:pt x="447" y="62"/>
                  </a:lnTo>
                  <a:lnTo>
                    <a:pt x="447" y="62"/>
                  </a:lnTo>
                  <a:lnTo>
                    <a:pt x="442" y="62"/>
                  </a:lnTo>
                  <a:lnTo>
                    <a:pt x="438" y="62"/>
                  </a:lnTo>
                  <a:lnTo>
                    <a:pt x="438" y="62"/>
                  </a:lnTo>
                  <a:lnTo>
                    <a:pt x="433" y="58"/>
                  </a:lnTo>
                  <a:lnTo>
                    <a:pt x="433" y="58"/>
                  </a:lnTo>
                  <a:lnTo>
                    <a:pt x="433" y="58"/>
                  </a:lnTo>
                  <a:lnTo>
                    <a:pt x="429" y="58"/>
                  </a:lnTo>
                  <a:lnTo>
                    <a:pt x="429" y="58"/>
                  </a:lnTo>
                  <a:lnTo>
                    <a:pt x="429" y="58"/>
                  </a:lnTo>
                  <a:lnTo>
                    <a:pt x="429" y="58"/>
                  </a:lnTo>
                  <a:lnTo>
                    <a:pt x="429" y="58"/>
                  </a:lnTo>
                  <a:lnTo>
                    <a:pt x="424" y="58"/>
                  </a:lnTo>
                  <a:lnTo>
                    <a:pt x="424" y="53"/>
                  </a:lnTo>
                  <a:lnTo>
                    <a:pt x="420" y="53"/>
                  </a:lnTo>
                  <a:lnTo>
                    <a:pt x="420" y="53"/>
                  </a:lnTo>
                  <a:lnTo>
                    <a:pt x="420" y="53"/>
                  </a:lnTo>
                  <a:lnTo>
                    <a:pt x="420" y="53"/>
                  </a:lnTo>
                  <a:lnTo>
                    <a:pt x="420" y="49"/>
                  </a:lnTo>
                  <a:lnTo>
                    <a:pt x="420" y="49"/>
                  </a:lnTo>
                  <a:lnTo>
                    <a:pt x="420" y="49"/>
                  </a:lnTo>
                  <a:lnTo>
                    <a:pt x="416" y="49"/>
                  </a:lnTo>
                  <a:lnTo>
                    <a:pt x="416" y="49"/>
                  </a:lnTo>
                  <a:lnTo>
                    <a:pt x="416" y="53"/>
                  </a:lnTo>
                  <a:lnTo>
                    <a:pt x="416" y="53"/>
                  </a:lnTo>
                  <a:lnTo>
                    <a:pt x="416" y="53"/>
                  </a:lnTo>
                  <a:lnTo>
                    <a:pt x="416" y="53"/>
                  </a:lnTo>
                  <a:lnTo>
                    <a:pt x="416" y="53"/>
                  </a:lnTo>
                  <a:lnTo>
                    <a:pt x="411" y="53"/>
                  </a:lnTo>
                  <a:lnTo>
                    <a:pt x="411" y="53"/>
                  </a:lnTo>
                  <a:lnTo>
                    <a:pt x="411" y="53"/>
                  </a:lnTo>
                  <a:lnTo>
                    <a:pt x="411" y="53"/>
                  </a:lnTo>
                  <a:lnTo>
                    <a:pt x="411" y="49"/>
                  </a:lnTo>
                  <a:lnTo>
                    <a:pt x="411" y="49"/>
                  </a:lnTo>
                  <a:lnTo>
                    <a:pt x="411" y="49"/>
                  </a:lnTo>
                  <a:lnTo>
                    <a:pt x="416" y="45"/>
                  </a:lnTo>
                  <a:lnTo>
                    <a:pt x="416" y="45"/>
                  </a:lnTo>
                  <a:lnTo>
                    <a:pt x="416" y="40"/>
                  </a:lnTo>
                  <a:lnTo>
                    <a:pt x="411" y="40"/>
                  </a:lnTo>
                  <a:lnTo>
                    <a:pt x="411" y="40"/>
                  </a:lnTo>
                  <a:lnTo>
                    <a:pt x="411" y="40"/>
                  </a:lnTo>
                  <a:lnTo>
                    <a:pt x="411" y="40"/>
                  </a:lnTo>
                  <a:lnTo>
                    <a:pt x="407" y="36"/>
                  </a:lnTo>
                  <a:lnTo>
                    <a:pt x="407" y="36"/>
                  </a:lnTo>
                  <a:lnTo>
                    <a:pt x="407" y="36"/>
                  </a:lnTo>
                  <a:lnTo>
                    <a:pt x="407" y="36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36"/>
                  </a:lnTo>
                  <a:lnTo>
                    <a:pt x="402" y="36"/>
                  </a:lnTo>
                  <a:lnTo>
                    <a:pt x="402" y="36"/>
                  </a:lnTo>
                  <a:lnTo>
                    <a:pt x="402" y="36"/>
                  </a:lnTo>
                  <a:lnTo>
                    <a:pt x="398" y="36"/>
                  </a:lnTo>
                  <a:lnTo>
                    <a:pt x="398" y="36"/>
                  </a:lnTo>
                  <a:lnTo>
                    <a:pt x="398" y="36"/>
                  </a:lnTo>
                  <a:lnTo>
                    <a:pt x="398" y="36"/>
                  </a:lnTo>
                  <a:lnTo>
                    <a:pt x="398" y="36"/>
                  </a:lnTo>
                  <a:lnTo>
                    <a:pt x="398" y="36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4" y="31"/>
                  </a:lnTo>
                  <a:lnTo>
                    <a:pt x="394" y="31"/>
                  </a:lnTo>
                  <a:lnTo>
                    <a:pt x="394" y="31"/>
                  </a:lnTo>
                  <a:lnTo>
                    <a:pt x="394" y="31"/>
                  </a:lnTo>
                  <a:lnTo>
                    <a:pt x="394" y="31"/>
                  </a:lnTo>
                  <a:lnTo>
                    <a:pt x="389" y="31"/>
                  </a:lnTo>
                  <a:lnTo>
                    <a:pt x="389" y="31"/>
                  </a:lnTo>
                  <a:lnTo>
                    <a:pt x="385" y="31"/>
                  </a:lnTo>
                  <a:lnTo>
                    <a:pt x="385" y="31"/>
                  </a:lnTo>
                  <a:lnTo>
                    <a:pt x="389" y="36"/>
                  </a:lnTo>
                  <a:lnTo>
                    <a:pt x="389" y="36"/>
                  </a:lnTo>
                  <a:lnTo>
                    <a:pt x="385" y="36"/>
                  </a:lnTo>
                  <a:lnTo>
                    <a:pt x="385" y="36"/>
                  </a:lnTo>
                  <a:lnTo>
                    <a:pt x="385" y="31"/>
                  </a:lnTo>
                  <a:lnTo>
                    <a:pt x="385" y="31"/>
                  </a:lnTo>
                  <a:lnTo>
                    <a:pt x="385" y="31"/>
                  </a:lnTo>
                  <a:lnTo>
                    <a:pt x="385" y="31"/>
                  </a:lnTo>
                  <a:lnTo>
                    <a:pt x="385" y="36"/>
                  </a:lnTo>
                  <a:lnTo>
                    <a:pt x="380" y="36"/>
                  </a:lnTo>
                  <a:lnTo>
                    <a:pt x="376" y="36"/>
                  </a:lnTo>
                  <a:lnTo>
                    <a:pt x="376" y="36"/>
                  </a:lnTo>
                  <a:lnTo>
                    <a:pt x="376" y="36"/>
                  </a:lnTo>
                  <a:lnTo>
                    <a:pt x="376" y="36"/>
                  </a:lnTo>
                  <a:lnTo>
                    <a:pt x="376" y="36"/>
                  </a:lnTo>
                  <a:lnTo>
                    <a:pt x="376" y="36"/>
                  </a:lnTo>
                  <a:lnTo>
                    <a:pt x="376" y="36"/>
                  </a:lnTo>
                  <a:lnTo>
                    <a:pt x="376" y="36"/>
                  </a:lnTo>
                  <a:lnTo>
                    <a:pt x="376" y="36"/>
                  </a:lnTo>
                  <a:lnTo>
                    <a:pt x="376" y="36"/>
                  </a:lnTo>
                  <a:lnTo>
                    <a:pt x="376" y="36"/>
                  </a:lnTo>
                  <a:lnTo>
                    <a:pt x="371" y="36"/>
                  </a:lnTo>
                  <a:lnTo>
                    <a:pt x="371" y="36"/>
                  </a:lnTo>
                  <a:lnTo>
                    <a:pt x="371" y="36"/>
                  </a:lnTo>
                  <a:lnTo>
                    <a:pt x="371" y="36"/>
                  </a:lnTo>
                  <a:lnTo>
                    <a:pt x="371" y="36"/>
                  </a:lnTo>
                  <a:lnTo>
                    <a:pt x="371" y="36"/>
                  </a:lnTo>
                  <a:lnTo>
                    <a:pt x="367" y="36"/>
                  </a:lnTo>
                  <a:lnTo>
                    <a:pt x="367" y="36"/>
                  </a:lnTo>
                  <a:lnTo>
                    <a:pt x="363" y="36"/>
                  </a:lnTo>
                  <a:lnTo>
                    <a:pt x="358" y="31"/>
                  </a:lnTo>
                  <a:lnTo>
                    <a:pt x="358" y="31"/>
                  </a:lnTo>
                  <a:lnTo>
                    <a:pt x="354" y="31"/>
                  </a:lnTo>
                  <a:lnTo>
                    <a:pt x="354" y="31"/>
                  </a:lnTo>
                  <a:lnTo>
                    <a:pt x="349" y="27"/>
                  </a:lnTo>
                  <a:lnTo>
                    <a:pt x="349" y="27"/>
                  </a:lnTo>
                  <a:lnTo>
                    <a:pt x="349" y="27"/>
                  </a:lnTo>
                  <a:lnTo>
                    <a:pt x="349" y="27"/>
                  </a:lnTo>
                  <a:lnTo>
                    <a:pt x="345" y="27"/>
                  </a:lnTo>
                  <a:lnTo>
                    <a:pt x="345" y="27"/>
                  </a:lnTo>
                  <a:lnTo>
                    <a:pt x="345" y="27"/>
                  </a:lnTo>
                  <a:lnTo>
                    <a:pt x="345" y="31"/>
                  </a:lnTo>
                  <a:lnTo>
                    <a:pt x="345" y="31"/>
                  </a:lnTo>
                  <a:lnTo>
                    <a:pt x="345" y="31"/>
                  </a:lnTo>
                  <a:lnTo>
                    <a:pt x="345" y="31"/>
                  </a:lnTo>
                  <a:lnTo>
                    <a:pt x="345" y="31"/>
                  </a:lnTo>
                  <a:lnTo>
                    <a:pt x="345" y="27"/>
                  </a:lnTo>
                  <a:lnTo>
                    <a:pt x="345" y="27"/>
                  </a:lnTo>
                  <a:lnTo>
                    <a:pt x="345" y="27"/>
                  </a:lnTo>
                  <a:lnTo>
                    <a:pt x="340" y="27"/>
                  </a:lnTo>
                  <a:lnTo>
                    <a:pt x="340" y="27"/>
                  </a:lnTo>
                  <a:lnTo>
                    <a:pt x="340" y="27"/>
                  </a:lnTo>
                  <a:lnTo>
                    <a:pt x="340" y="27"/>
                  </a:lnTo>
                  <a:lnTo>
                    <a:pt x="336" y="27"/>
                  </a:lnTo>
                  <a:lnTo>
                    <a:pt x="336" y="27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2" y="31"/>
                  </a:lnTo>
                  <a:lnTo>
                    <a:pt x="327" y="31"/>
                  </a:lnTo>
                  <a:lnTo>
                    <a:pt x="327" y="31"/>
                  </a:lnTo>
                  <a:lnTo>
                    <a:pt x="327" y="31"/>
                  </a:lnTo>
                  <a:lnTo>
                    <a:pt x="327" y="31"/>
                  </a:lnTo>
                  <a:lnTo>
                    <a:pt x="327" y="31"/>
                  </a:lnTo>
                  <a:lnTo>
                    <a:pt x="327" y="31"/>
                  </a:lnTo>
                  <a:lnTo>
                    <a:pt x="327" y="36"/>
                  </a:lnTo>
                  <a:lnTo>
                    <a:pt x="327" y="36"/>
                  </a:lnTo>
                  <a:lnTo>
                    <a:pt x="327" y="31"/>
                  </a:lnTo>
                  <a:lnTo>
                    <a:pt x="327" y="31"/>
                  </a:lnTo>
                  <a:lnTo>
                    <a:pt x="323" y="31"/>
                  </a:lnTo>
                  <a:lnTo>
                    <a:pt x="323" y="31"/>
                  </a:lnTo>
                  <a:lnTo>
                    <a:pt x="323" y="31"/>
                  </a:lnTo>
                  <a:lnTo>
                    <a:pt x="318" y="31"/>
                  </a:lnTo>
                  <a:lnTo>
                    <a:pt x="318" y="31"/>
                  </a:lnTo>
                  <a:lnTo>
                    <a:pt x="318" y="31"/>
                  </a:lnTo>
                  <a:lnTo>
                    <a:pt x="318" y="31"/>
                  </a:lnTo>
                  <a:lnTo>
                    <a:pt x="314" y="27"/>
                  </a:lnTo>
                  <a:lnTo>
                    <a:pt x="314" y="27"/>
                  </a:lnTo>
                  <a:lnTo>
                    <a:pt x="309" y="27"/>
                  </a:lnTo>
                  <a:lnTo>
                    <a:pt x="309" y="27"/>
                  </a:lnTo>
                  <a:lnTo>
                    <a:pt x="309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2"/>
                  </a:lnTo>
                  <a:lnTo>
                    <a:pt x="305" y="22"/>
                  </a:lnTo>
                  <a:lnTo>
                    <a:pt x="305" y="22"/>
                  </a:lnTo>
                  <a:lnTo>
                    <a:pt x="305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18"/>
                  </a:lnTo>
                  <a:lnTo>
                    <a:pt x="296" y="22"/>
                  </a:lnTo>
                  <a:lnTo>
                    <a:pt x="296" y="22"/>
                  </a:lnTo>
                  <a:lnTo>
                    <a:pt x="296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7"/>
                  </a:lnTo>
                  <a:lnTo>
                    <a:pt x="292" y="27"/>
                  </a:lnTo>
                  <a:lnTo>
                    <a:pt x="292" y="27"/>
                  </a:lnTo>
                  <a:lnTo>
                    <a:pt x="292" y="27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87" y="27"/>
                  </a:lnTo>
                  <a:lnTo>
                    <a:pt x="287" y="22"/>
                  </a:lnTo>
                  <a:lnTo>
                    <a:pt x="287" y="22"/>
                  </a:lnTo>
                  <a:lnTo>
                    <a:pt x="287" y="22"/>
                  </a:lnTo>
                  <a:lnTo>
                    <a:pt x="287" y="22"/>
                  </a:lnTo>
                  <a:lnTo>
                    <a:pt x="283" y="22"/>
                  </a:lnTo>
                  <a:lnTo>
                    <a:pt x="283" y="22"/>
                  </a:lnTo>
                  <a:lnTo>
                    <a:pt x="283" y="22"/>
                  </a:lnTo>
                  <a:lnTo>
                    <a:pt x="283" y="22"/>
                  </a:lnTo>
                  <a:lnTo>
                    <a:pt x="283" y="22"/>
                  </a:lnTo>
                  <a:lnTo>
                    <a:pt x="283" y="22"/>
                  </a:lnTo>
                  <a:lnTo>
                    <a:pt x="278" y="22"/>
                  </a:lnTo>
                  <a:lnTo>
                    <a:pt x="278" y="22"/>
                  </a:lnTo>
                  <a:lnTo>
                    <a:pt x="278" y="27"/>
                  </a:lnTo>
                  <a:lnTo>
                    <a:pt x="278" y="27"/>
                  </a:lnTo>
                  <a:lnTo>
                    <a:pt x="278" y="27"/>
                  </a:lnTo>
                  <a:lnTo>
                    <a:pt x="278" y="27"/>
                  </a:lnTo>
                  <a:lnTo>
                    <a:pt x="278" y="27"/>
                  </a:lnTo>
                  <a:lnTo>
                    <a:pt x="278" y="27"/>
                  </a:lnTo>
                  <a:lnTo>
                    <a:pt x="278" y="27"/>
                  </a:lnTo>
                  <a:lnTo>
                    <a:pt x="278" y="27"/>
                  </a:lnTo>
                  <a:lnTo>
                    <a:pt x="278" y="27"/>
                  </a:lnTo>
                  <a:lnTo>
                    <a:pt x="274" y="27"/>
                  </a:lnTo>
                  <a:lnTo>
                    <a:pt x="274" y="27"/>
                  </a:lnTo>
                  <a:lnTo>
                    <a:pt x="274" y="27"/>
                  </a:lnTo>
                  <a:lnTo>
                    <a:pt x="274" y="27"/>
                  </a:lnTo>
                  <a:lnTo>
                    <a:pt x="274" y="27"/>
                  </a:lnTo>
                  <a:lnTo>
                    <a:pt x="274" y="27"/>
                  </a:lnTo>
                  <a:lnTo>
                    <a:pt x="270" y="27"/>
                  </a:lnTo>
                  <a:lnTo>
                    <a:pt x="265" y="27"/>
                  </a:lnTo>
                  <a:lnTo>
                    <a:pt x="261" y="31"/>
                  </a:lnTo>
                  <a:lnTo>
                    <a:pt x="256" y="27"/>
                  </a:lnTo>
                  <a:lnTo>
                    <a:pt x="256" y="27"/>
                  </a:lnTo>
                  <a:lnTo>
                    <a:pt x="256" y="31"/>
                  </a:lnTo>
                  <a:lnTo>
                    <a:pt x="256" y="31"/>
                  </a:lnTo>
                  <a:lnTo>
                    <a:pt x="256" y="27"/>
                  </a:lnTo>
                  <a:lnTo>
                    <a:pt x="256" y="27"/>
                  </a:lnTo>
                  <a:lnTo>
                    <a:pt x="252" y="27"/>
                  </a:lnTo>
                  <a:lnTo>
                    <a:pt x="252" y="31"/>
                  </a:lnTo>
                  <a:lnTo>
                    <a:pt x="252" y="27"/>
                  </a:lnTo>
                  <a:lnTo>
                    <a:pt x="252" y="27"/>
                  </a:lnTo>
                  <a:lnTo>
                    <a:pt x="239" y="27"/>
                  </a:lnTo>
                  <a:lnTo>
                    <a:pt x="239" y="27"/>
                  </a:lnTo>
                  <a:lnTo>
                    <a:pt x="234" y="27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25" y="22"/>
                  </a:lnTo>
                  <a:lnTo>
                    <a:pt x="225" y="22"/>
                  </a:lnTo>
                  <a:lnTo>
                    <a:pt x="225" y="22"/>
                  </a:lnTo>
                  <a:lnTo>
                    <a:pt x="225" y="22"/>
                  </a:lnTo>
                  <a:lnTo>
                    <a:pt x="221" y="22"/>
                  </a:lnTo>
                  <a:lnTo>
                    <a:pt x="221" y="22"/>
                  </a:lnTo>
                  <a:lnTo>
                    <a:pt x="221" y="22"/>
                  </a:lnTo>
                  <a:lnTo>
                    <a:pt x="221" y="22"/>
                  </a:lnTo>
                  <a:lnTo>
                    <a:pt x="216" y="22"/>
                  </a:lnTo>
                  <a:lnTo>
                    <a:pt x="212" y="22"/>
                  </a:lnTo>
                  <a:lnTo>
                    <a:pt x="208" y="18"/>
                  </a:lnTo>
                  <a:lnTo>
                    <a:pt x="208" y="18"/>
                  </a:lnTo>
                  <a:lnTo>
                    <a:pt x="208" y="18"/>
                  </a:lnTo>
                  <a:lnTo>
                    <a:pt x="208" y="18"/>
                  </a:lnTo>
                  <a:lnTo>
                    <a:pt x="203" y="18"/>
                  </a:lnTo>
                  <a:lnTo>
                    <a:pt x="203" y="18"/>
                  </a:lnTo>
                  <a:lnTo>
                    <a:pt x="203" y="18"/>
                  </a:lnTo>
                  <a:lnTo>
                    <a:pt x="203" y="22"/>
                  </a:lnTo>
                  <a:lnTo>
                    <a:pt x="203" y="22"/>
                  </a:lnTo>
                  <a:lnTo>
                    <a:pt x="203" y="22"/>
                  </a:lnTo>
                  <a:lnTo>
                    <a:pt x="203" y="22"/>
                  </a:lnTo>
                  <a:lnTo>
                    <a:pt x="203" y="18"/>
                  </a:lnTo>
                  <a:lnTo>
                    <a:pt x="203" y="18"/>
                  </a:lnTo>
                  <a:lnTo>
                    <a:pt x="203" y="18"/>
                  </a:lnTo>
                  <a:lnTo>
                    <a:pt x="203" y="18"/>
                  </a:lnTo>
                  <a:lnTo>
                    <a:pt x="190" y="18"/>
                  </a:lnTo>
                  <a:lnTo>
                    <a:pt x="190" y="18"/>
                  </a:lnTo>
                  <a:lnTo>
                    <a:pt x="190" y="18"/>
                  </a:lnTo>
                  <a:lnTo>
                    <a:pt x="185" y="14"/>
                  </a:lnTo>
                  <a:lnTo>
                    <a:pt x="185" y="18"/>
                  </a:lnTo>
                  <a:lnTo>
                    <a:pt x="185" y="18"/>
                  </a:lnTo>
                  <a:lnTo>
                    <a:pt x="185" y="14"/>
                  </a:lnTo>
                  <a:lnTo>
                    <a:pt x="181" y="14"/>
                  </a:lnTo>
                  <a:lnTo>
                    <a:pt x="181" y="9"/>
                  </a:lnTo>
                  <a:lnTo>
                    <a:pt x="181" y="9"/>
                  </a:lnTo>
                  <a:lnTo>
                    <a:pt x="181" y="9"/>
                  </a:lnTo>
                  <a:lnTo>
                    <a:pt x="181" y="9"/>
                  </a:lnTo>
                  <a:lnTo>
                    <a:pt x="177" y="9"/>
                  </a:lnTo>
                  <a:lnTo>
                    <a:pt x="177" y="14"/>
                  </a:lnTo>
                  <a:lnTo>
                    <a:pt x="177" y="14"/>
                  </a:lnTo>
                  <a:lnTo>
                    <a:pt x="177" y="14"/>
                  </a:lnTo>
                  <a:lnTo>
                    <a:pt x="177" y="14"/>
                  </a:lnTo>
                  <a:lnTo>
                    <a:pt x="177" y="14"/>
                  </a:lnTo>
                  <a:lnTo>
                    <a:pt x="177" y="14"/>
                  </a:lnTo>
                  <a:lnTo>
                    <a:pt x="177" y="14"/>
                  </a:lnTo>
                  <a:lnTo>
                    <a:pt x="177" y="14"/>
                  </a:lnTo>
                  <a:lnTo>
                    <a:pt x="177" y="14"/>
                  </a:lnTo>
                  <a:lnTo>
                    <a:pt x="172" y="14"/>
                  </a:lnTo>
                  <a:lnTo>
                    <a:pt x="168" y="14"/>
                  </a:lnTo>
                  <a:lnTo>
                    <a:pt x="168" y="18"/>
                  </a:lnTo>
                  <a:lnTo>
                    <a:pt x="168" y="18"/>
                  </a:lnTo>
                  <a:lnTo>
                    <a:pt x="168" y="18"/>
                  </a:lnTo>
                  <a:lnTo>
                    <a:pt x="168" y="18"/>
                  </a:lnTo>
                  <a:lnTo>
                    <a:pt x="163" y="18"/>
                  </a:lnTo>
                  <a:lnTo>
                    <a:pt x="163" y="18"/>
                  </a:lnTo>
                  <a:lnTo>
                    <a:pt x="159" y="14"/>
                  </a:lnTo>
                  <a:lnTo>
                    <a:pt x="159" y="14"/>
                  </a:lnTo>
                  <a:lnTo>
                    <a:pt x="159" y="14"/>
                  </a:lnTo>
                  <a:lnTo>
                    <a:pt x="159" y="14"/>
                  </a:lnTo>
                  <a:lnTo>
                    <a:pt x="159" y="14"/>
                  </a:lnTo>
                  <a:lnTo>
                    <a:pt x="154" y="18"/>
                  </a:lnTo>
                  <a:lnTo>
                    <a:pt x="154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37" y="18"/>
                  </a:lnTo>
                  <a:lnTo>
                    <a:pt x="132" y="18"/>
                  </a:lnTo>
                  <a:lnTo>
                    <a:pt x="132" y="18"/>
                  </a:lnTo>
                  <a:lnTo>
                    <a:pt x="132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4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5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0" y="18"/>
                  </a:lnTo>
                  <a:lnTo>
                    <a:pt x="110" y="18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4"/>
                  </a:lnTo>
                  <a:lnTo>
                    <a:pt x="101" y="14"/>
                  </a:lnTo>
                  <a:lnTo>
                    <a:pt x="101" y="9"/>
                  </a:lnTo>
                  <a:lnTo>
                    <a:pt x="97" y="9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5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5"/>
                  </a:lnTo>
                  <a:lnTo>
                    <a:pt x="70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2" y="5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53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3" y="22"/>
                  </a:lnTo>
                  <a:lnTo>
                    <a:pt x="48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3" y="36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6"/>
                  </a:lnTo>
                  <a:lnTo>
                    <a:pt x="35" y="36"/>
                  </a:lnTo>
                  <a:lnTo>
                    <a:pt x="35" y="36"/>
                  </a:lnTo>
                  <a:lnTo>
                    <a:pt x="35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8" y="49"/>
                  </a:lnTo>
                  <a:lnTo>
                    <a:pt x="8" y="49"/>
                  </a:lnTo>
                  <a:lnTo>
                    <a:pt x="8" y="49"/>
                  </a:lnTo>
                  <a:lnTo>
                    <a:pt x="8" y="49"/>
                  </a:lnTo>
                  <a:lnTo>
                    <a:pt x="8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3" y="76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3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93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7" y="89"/>
                  </a:lnTo>
                  <a:lnTo>
                    <a:pt x="17" y="89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8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4"/>
                  </a:lnTo>
                  <a:lnTo>
                    <a:pt x="26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7"/>
                  </a:lnTo>
                  <a:lnTo>
                    <a:pt x="26" y="107"/>
                  </a:lnTo>
                  <a:lnTo>
                    <a:pt x="22" y="102"/>
                  </a:lnTo>
                  <a:lnTo>
                    <a:pt x="22" y="107"/>
                  </a:lnTo>
                  <a:lnTo>
                    <a:pt x="22" y="107"/>
                  </a:lnTo>
                  <a:lnTo>
                    <a:pt x="22" y="107"/>
                  </a:lnTo>
                  <a:lnTo>
                    <a:pt x="22" y="107"/>
                  </a:lnTo>
                  <a:lnTo>
                    <a:pt x="22" y="107"/>
                  </a:lnTo>
                  <a:lnTo>
                    <a:pt x="22" y="107"/>
                  </a:lnTo>
                  <a:lnTo>
                    <a:pt x="22" y="107"/>
                  </a:lnTo>
                  <a:lnTo>
                    <a:pt x="22" y="107"/>
                  </a:lnTo>
                  <a:lnTo>
                    <a:pt x="22" y="107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6" y="107"/>
                  </a:lnTo>
                  <a:lnTo>
                    <a:pt x="31" y="107"/>
                  </a:lnTo>
                  <a:lnTo>
                    <a:pt x="31" y="107"/>
                  </a:lnTo>
                  <a:lnTo>
                    <a:pt x="31" y="107"/>
                  </a:lnTo>
                  <a:lnTo>
                    <a:pt x="31" y="107"/>
                  </a:lnTo>
                  <a:lnTo>
                    <a:pt x="31" y="102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5" y="107"/>
                  </a:lnTo>
                  <a:lnTo>
                    <a:pt x="35" y="107"/>
                  </a:lnTo>
                  <a:lnTo>
                    <a:pt x="35" y="107"/>
                  </a:lnTo>
                  <a:lnTo>
                    <a:pt x="35" y="107"/>
                  </a:lnTo>
                  <a:lnTo>
                    <a:pt x="31" y="107"/>
                  </a:lnTo>
                  <a:lnTo>
                    <a:pt x="31" y="111"/>
                  </a:lnTo>
                  <a:lnTo>
                    <a:pt x="31" y="111"/>
                  </a:lnTo>
                  <a:lnTo>
                    <a:pt x="31" y="111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17" y="120"/>
                  </a:lnTo>
                  <a:lnTo>
                    <a:pt x="17" y="120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3"/>
                  </a:lnTo>
                  <a:lnTo>
                    <a:pt x="22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31" y="129"/>
                  </a:lnTo>
                  <a:lnTo>
                    <a:pt x="31" y="129"/>
                  </a:lnTo>
                  <a:lnTo>
                    <a:pt x="31" y="129"/>
                  </a:lnTo>
                  <a:lnTo>
                    <a:pt x="31" y="129"/>
                  </a:lnTo>
                  <a:lnTo>
                    <a:pt x="31" y="124"/>
                  </a:lnTo>
                  <a:lnTo>
                    <a:pt x="35" y="124"/>
                  </a:lnTo>
                  <a:lnTo>
                    <a:pt x="35" y="124"/>
                  </a:lnTo>
                  <a:lnTo>
                    <a:pt x="35" y="124"/>
                  </a:lnTo>
                  <a:lnTo>
                    <a:pt x="35" y="124"/>
                  </a:lnTo>
                  <a:lnTo>
                    <a:pt x="39" y="124"/>
                  </a:lnTo>
                  <a:lnTo>
                    <a:pt x="39" y="124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53" y="120"/>
                  </a:lnTo>
                  <a:lnTo>
                    <a:pt x="53" y="120"/>
                  </a:lnTo>
                  <a:lnTo>
                    <a:pt x="53" y="120"/>
                  </a:lnTo>
                  <a:lnTo>
                    <a:pt x="53" y="120"/>
                  </a:lnTo>
                  <a:lnTo>
                    <a:pt x="53" y="120"/>
                  </a:lnTo>
                  <a:lnTo>
                    <a:pt x="53" y="120"/>
                  </a:lnTo>
                  <a:lnTo>
                    <a:pt x="57" y="120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62" y="124"/>
                  </a:lnTo>
                  <a:lnTo>
                    <a:pt x="62" y="124"/>
                  </a:lnTo>
                  <a:lnTo>
                    <a:pt x="62" y="124"/>
                  </a:lnTo>
                  <a:lnTo>
                    <a:pt x="62" y="129"/>
                  </a:lnTo>
                  <a:lnTo>
                    <a:pt x="62" y="129"/>
                  </a:lnTo>
                  <a:lnTo>
                    <a:pt x="62" y="129"/>
                  </a:lnTo>
                  <a:lnTo>
                    <a:pt x="57" y="129"/>
                  </a:lnTo>
                  <a:lnTo>
                    <a:pt x="57" y="133"/>
                  </a:lnTo>
                  <a:lnTo>
                    <a:pt x="53" y="133"/>
                  </a:lnTo>
                  <a:lnTo>
                    <a:pt x="53" y="138"/>
                  </a:lnTo>
                  <a:lnTo>
                    <a:pt x="53" y="138"/>
                  </a:lnTo>
                  <a:lnTo>
                    <a:pt x="53" y="138"/>
                  </a:lnTo>
                  <a:lnTo>
                    <a:pt x="57" y="138"/>
                  </a:lnTo>
                  <a:lnTo>
                    <a:pt x="57" y="138"/>
                  </a:lnTo>
                  <a:lnTo>
                    <a:pt x="57" y="142"/>
                  </a:lnTo>
                  <a:lnTo>
                    <a:pt x="57" y="142"/>
                  </a:lnTo>
                  <a:lnTo>
                    <a:pt x="57" y="142"/>
                  </a:lnTo>
                  <a:lnTo>
                    <a:pt x="62" y="142"/>
                  </a:lnTo>
                  <a:lnTo>
                    <a:pt x="62" y="142"/>
                  </a:lnTo>
                  <a:lnTo>
                    <a:pt x="62" y="142"/>
                  </a:lnTo>
                  <a:lnTo>
                    <a:pt x="66" y="142"/>
                  </a:lnTo>
                  <a:lnTo>
                    <a:pt x="66" y="138"/>
                  </a:lnTo>
                  <a:lnTo>
                    <a:pt x="66" y="138"/>
                  </a:lnTo>
                  <a:lnTo>
                    <a:pt x="66" y="138"/>
                  </a:lnTo>
                  <a:lnTo>
                    <a:pt x="66" y="138"/>
                  </a:lnTo>
                  <a:lnTo>
                    <a:pt x="70" y="138"/>
                  </a:lnTo>
                  <a:lnTo>
                    <a:pt x="70" y="138"/>
                  </a:lnTo>
                  <a:lnTo>
                    <a:pt x="70" y="138"/>
                  </a:lnTo>
                  <a:lnTo>
                    <a:pt x="70" y="138"/>
                  </a:lnTo>
                  <a:lnTo>
                    <a:pt x="70" y="133"/>
                  </a:lnTo>
                  <a:lnTo>
                    <a:pt x="70" y="138"/>
                  </a:lnTo>
                  <a:lnTo>
                    <a:pt x="70" y="138"/>
                  </a:lnTo>
                  <a:lnTo>
                    <a:pt x="75" y="138"/>
                  </a:lnTo>
                  <a:lnTo>
                    <a:pt x="75" y="138"/>
                  </a:lnTo>
                  <a:lnTo>
                    <a:pt x="75" y="138"/>
                  </a:lnTo>
                  <a:lnTo>
                    <a:pt x="75" y="138"/>
                  </a:lnTo>
                  <a:lnTo>
                    <a:pt x="75" y="138"/>
                  </a:lnTo>
                  <a:lnTo>
                    <a:pt x="75" y="138"/>
                  </a:lnTo>
                  <a:lnTo>
                    <a:pt x="79" y="138"/>
                  </a:lnTo>
                  <a:lnTo>
                    <a:pt x="79" y="138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88" y="138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93" y="142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7" y="142"/>
                  </a:lnTo>
                  <a:lnTo>
                    <a:pt x="97" y="142"/>
                  </a:lnTo>
                  <a:lnTo>
                    <a:pt x="97" y="142"/>
                  </a:lnTo>
                  <a:lnTo>
                    <a:pt x="97" y="142"/>
                  </a:lnTo>
                  <a:lnTo>
                    <a:pt x="97" y="142"/>
                  </a:lnTo>
                  <a:lnTo>
                    <a:pt x="97" y="142"/>
                  </a:lnTo>
                  <a:lnTo>
                    <a:pt x="97" y="142"/>
                  </a:lnTo>
                  <a:lnTo>
                    <a:pt x="101" y="142"/>
                  </a:lnTo>
                  <a:lnTo>
                    <a:pt x="101" y="142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10" y="138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29"/>
                  </a:lnTo>
                  <a:lnTo>
                    <a:pt x="110" y="129"/>
                  </a:lnTo>
                  <a:lnTo>
                    <a:pt x="110" y="129"/>
                  </a:lnTo>
                  <a:lnTo>
                    <a:pt x="115" y="129"/>
                  </a:lnTo>
                  <a:lnTo>
                    <a:pt x="115" y="133"/>
                  </a:lnTo>
                  <a:lnTo>
                    <a:pt x="115" y="133"/>
                  </a:lnTo>
                  <a:lnTo>
                    <a:pt x="119" y="133"/>
                  </a:lnTo>
                  <a:lnTo>
                    <a:pt x="119" y="133"/>
                  </a:lnTo>
                  <a:lnTo>
                    <a:pt x="119" y="133"/>
                  </a:lnTo>
                  <a:lnTo>
                    <a:pt x="119" y="133"/>
                  </a:lnTo>
                  <a:lnTo>
                    <a:pt x="124" y="133"/>
                  </a:lnTo>
                  <a:lnTo>
                    <a:pt x="124" y="133"/>
                  </a:lnTo>
                  <a:lnTo>
                    <a:pt x="128" y="133"/>
                  </a:lnTo>
                  <a:lnTo>
                    <a:pt x="128" y="133"/>
                  </a:lnTo>
                  <a:lnTo>
                    <a:pt x="128" y="129"/>
                  </a:lnTo>
                  <a:lnTo>
                    <a:pt x="128" y="129"/>
                  </a:lnTo>
                  <a:lnTo>
                    <a:pt x="132" y="133"/>
                  </a:lnTo>
                  <a:lnTo>
                    <a:pt x="132" y="133"/>
                  </a:lnTo>
                  <a:lnTo>
                    <a:pt x="137" y="133"/>
                  </a:lnTo>
                  <a:lnTo>
                    <a:pt x="137" y="133"/>
                  </a:lnTo>
                  <a:lnTo>
                    <a:pt x="141" y="133"/>
                  </a:lnTo>
                  <a:lnTo>
                    <a:pt x="141" y="133"/>
                  </a:lnTo>
                  <a:lnTo>
                    <a:pt x="141" y="133"/>
                  </a:lnTo>
                  <a:lnTo>
                    <a:pt x="141" y="133"/>
                  </a:lnTo>
                  <a:lnTo>
                    <a:pt x="141" y="138"/>
                  </a:lnTo>
                  <a:lnTo>
                    <a:pt x="141" y="138"/>
                  </a:lnTo>
                  <a:lnTo>
                    <a:pt x="141" y="138"/>
                  </a:lnTo>
                  <a:lnTo>
                    <a:pt x="146" y="138"/>
                  </a:lnTo>
                  <a:lnTo>
                    <a:pt x="141" y="138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1" y="151"/>
                  </a:lnTo>
                  <a:lnTo>
                    <a:pt x="141" y="151"/>
                  </a:lnTo>
                  <a:lnTo>
                    <a:pt x="141" y="151"/>
                  </a:lnTo>
                  <a:lnTo>
                    <a:pt x="141" y="151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50" y="151"/>
                  </a:lnTo>
                  <a:lnTo>
                    <a:pt x="150" y="151"/>
                  </a:lnTo>
                  <a:lnTo>
                    <a:pt x="154" y="155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4" y="164"/>
                  </a:lnTo>
                  <a:lnTo>
                    <a:pt x="154" y="164"/>
                  </a:lnTo>
                  <a:lnTo>
                    <a:pt x="154" y="164"/>
                  </a:lnTo>
                  <a:lnTo>
                    <a:pt x="154" y="168"/>
                  </a:lnTo>
                  <a:lnTo>
                    <a:pt x="154" y="168"/>
                  </a:lnTo>
                  <a:lnTo>
                    <a:pt x="154" y="168"/>
                  </a:lnTo>
                  <a:lnTo>
                    <a:pt x="154" y="168"/>
                  </a:lnTo>
                  <a:lnTo>
                    <a:pt x="150" y="168"/>
                  </a:lnTo>
                  <a:lnTo>
                    <a:pt x="150" y="173"/>
                  </a:lnTo>
                  <a:lnTo>
                    <a:pt x="150" y="173"/>
                  </a:lnTo>
                  <a:lnTo>
                    <a:pt x="150" y="173"/>
                  </a:lnTo>
                  <a:lnTo>
                    <a:pt x="150" y="173"/>
                  </a:lnTo>
                  <a:lnTo>
                    <a:pt x="150" y="173"/>
                  </a:lnTo>
                  <a:lnTo>
                    <a:pt x="150" y="173"/>
                  </a:lnTo>
                  <a:lnTo>
                    <a:pt x="150" y="173"/>
                  </a:lnTo>
                  <a:lnTo>
                    <a:pt x="150" y="173"/>
                  </a:lnTo>
                  <a:lnTo>
                    <a:pt x="150" y="177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1" y="182"/>
                  </a:lnTo>
                  <a:lnTo>
                    <a:pt x="141" y="182"/>
                  </a:lnTo>
                  <a:lnTo>
                    <a:pt x="137" y="182"/>
                  </a:lnTo>
                  <a:lnTo>
                    <a:pt x="137" y="182"/>
                  </a:lnTo>
                  <a:lnTo>
                    <a:pt x="137" y="182"/>
                  </a:lnTo>
                  <a:lnTo>
                    <a:pt x="137" y="182"/>
                  </a:lnTo>
                  <a:lnTo>
                    <a:pt x="137" y="186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28" y="195"/>
                  </a:lnTo>
                  <a:lnTo>
                    <a:pt x="128" y="195"/>
                  </a:lnTo>
                  <a:lnTo>
                    <a:pt x="128" y="195"/>
                  </a:lnTo>
                  <a:lnTo>
                    <a:pt x="124" y="195"/>
                  </a:lnTo>
                  <a:lnTo>
                    <a:pt x="124" y="195"/>
                  </a:lnTo>
                  <a:lnTo>
                    <a:pt x="124" y="195"/>
                  </a:lnTo>
                  <a:lnTo>
                    <a:pt x="124" y="195"/>
                  </a:lnTo>
                  <a:lnTo>
                    <a:pt x="124" y="199"/>
                  </a:lnTo>
                  <a:lnTo>
                    <a:pt x="124" y="199"/>
                  </a:lnTo>
                  <a:lnTo>
                    <a:pt x="124" y="199"/>
                  </a:lnTo>
                  <a:lnTo>
                    <a:pt x="124" y="199"/>
                  </a:lnTo>
                  <a:lnTo>
                    <a:pt x="124" y="204"/>
                  </a:lnTo>
                  <a:lnTo>
                    <a:pt x="128" y="204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22"/>
                  </a:lnTo>
                  <a:lnTo>
                    <a:pt x="128" y="222"/>
                  </a:lnTo>
                  <a:lnTo>
                    <a:pt x="128" y="222"/>
                  </a:lnTo>
                  <a:lnTo>
                    <a:pt x="128" y="226"/>
                  </a:lnTo>
                  <a:lnTo>
                    <a:pt x="128" y="226"/>
                  </a:lnTo>
                  <a:lnTo>
                    <a:pt x="128" y="226"/>
                  </a:lnTo>
                  <a:lnTo>
                    <a:pt x="128" y="230"/>
                  </a:lnTo>
                  <a:lnTo>
                    <a:pt x="128" y="230"/>
                  </a:lnTo>
                  <a:lnTo>
                    <a:pt x="128" y="230"/>
                  </a:lnTo>
                  <a:lnTo>
                    <a:pt x="128" y="230"/>
                  </a:lnTo>
                  <a:lnTo>
                    <a:pt x="128" y="230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9"/>
                  </a:lnTo>
                  <a:lnTo>
                    <a:pt x="128" y="239"/>
                  </a:lnTo>
                  <a:lnTo>
                    <a:pt x="128" y="244"/>
                  </a:lnTo>
                  <a:lnTo>
                    <a:pt x="128" y="244"/>
                  </a:lnTo>
                  <a:lnTo>
                    <a:pt x="128" y="244"/>
                  </a:lnTo>
                  <a:lnTo>
                    <a:pt x="128" y="244"/>
                  </a:lnTo>
                  <a:lnTo>
                    <a:pt x="128" y="248"/>
                  </a:lnTo>
                  <a:lnTo>
                    <a:pt x="124" y="248"/>
                  </a:lnTo>
                  <a:lnTo>
                    <a:pt x="124" y="248"/>
                  </a:lnTo>
                  <a:lnTo>
                    <a:pt x="124" y="248"/>
                  </a:lnTo>
                  <a:lnTo>
                    <a:pt x="124" y="248"/>
                  </a:lnTo>
                  <a:lnTo>
                    <a:pt x="124" y="248"/>
                  </a:lnTo>
                  <a:lnTo>
                    <a:pt x="124" y="253"/>
                  </a:lnTo>
                  <a:lnTo>
                    <a:pt x="124" y="253"/>
                  </a:lnTo>
                  <a:lnTo>
                    <a:pt x="124" y="253"/>
                  </a:lnTo>
                  <a:lnTo>
                    <a:pt x="124" y="253"/>
                  </a:lnTo>
                  <a:lnTo>
                    <a:pt x="119" y="253"/>
                  </a:lnTo>
                  <a:lnTo>
                    <a:pt x="119" y="253"/>
                  </a:lnTo>
                  <a:lnTo>
                    <a:pt x="119" y="253"/>
                  </a:lnTo>
                  <a:lnTo>
                    <a:pt x="119" y="253"/>
                  </a:lnTo>
                  <a:lnTo>
                    <a:pt x="119" y="253"/>
                  </a:lnTo>
                  <a:lnTo>
                    <a:pt x="115" y="257"/>
                  </a:lnTo>
                  <a:lnTo>
                    <a:pt x="119" y="257"/>
                  </a:lnTo>
                  <a:lnTo>
                    <a:pt x="119" y="257"/>
                  </a:lnTo>
                  <a:lnTo>
                    <a:pt x="119" y="261"/>
                  </a:lnTo>
                  <a:lnTo>
                    <a:pt x="119" y="261"/>
                  </a:lnTo>
                  <a:lnTo>
                    <a:pt x="119" y="261"/>
                  </a:lnTo>
                  <a:lnTo>
                    <a:pt x="119" y="261"/>
                  </a:lnTo>
                  <a:lnTo>
                    <a:pt x="119" y="261"/>
                  </a:lnTo>
                  <a:lnTo>
                    <a:pt x="124" y="261"/>
                  </a:lnTo>
                  <a:lnTo>
                    <a:pt x="124" y="261"/>
                  </a:lnTo>
                  <a:lnTo>
                    <a:pt x="124" y="266"/>
                  </a:lnTo>
                  <a:lnTo>
                    <a:pt x="124" y="270"/>
                  </a:lnTo>
                  <a:lnTo>
                    <a:pt x="124" y="270"/>
                  </a:lnTo>
                  <a:lnTo>
                    <a:pt x="124" y="270"/>
                  </a:lnTo>
                  <a:lnTo>
                    <a:pt x="124" y="270"/>
                  </a:lnTo>
                  <a:lnTo>
                    <a:pt x="124" y="275"/>
                  </a:lnTo>
                  <a:lnTo>
                    <a:pt x="124" y="275"/>
                  </a:lnTo>
                  <a:lnTo>
                    <a:pt x="124" y="275"/>
                  </a:lnTo>
                  <a:lnTo>
                    <a:pt x="124" y="275"/>
                  </a:lnTo>
                  <a:lnTo>
                    <a:pt x="124" y="275"/>
                  </a:lnTo>
                  <a:lnTo>
                    <a:pt x="124" y="275"/>
                  </a:lnTo>
                  <a:lnTo>
                    <a:pt x="124" y="275"/>
                  </a:lnTo>
                  <a:lnTo>
                    <a:pt x="124" y="275"/>
                  </a:lnTo>
                  <a:lnTo>
                    <a:pt x="124" y="275"/>
                  </a:lnTo>
                  <a:lnTo>
                    <a:pt x="124" y="279"/>
                  </a:lnTo>
                  <a:lnTo>
                    <a:pt x="124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84"/>
                  </a:lnTo>
                  <a:lnTo>
                    <a:pt x="119" y="284"/>
                  </a:lnTo>
                  <a:lnTo>
                    <a:pt x="119" y="284"/>
                  </a:lnTo>
                  <a:lnTo>
                    <a:pt x="119" y="284"/>
                  </a:lnTo>
                  <a:lnTo>
                    <a:pt x="119" y="284"/>
                  </a:lnTo>
                  <a:lnTo>
                    <a:pt x="119" y="284"/>
                  </a:lnTo>
                  <a:lnTo>
                    <a:pt x="119" y="288"/>
                  </a:lnTo>
                  <a:lnTo>
                    <a:pt x="119" y="288"/>
                  </a:lnTo>
                  <a:lnTo>
                    <a:pt x="119" y="288"/>
                  </a:lnTo>
                  <a:lnTo>
                    <a:pt x="119" y="288"/>
                  </a:lnTo>
                  <a:lnTo>
                    <a:pt x="119" y="288"/>
                  </a:lnTo>
                  <a:lnTo>
                    <a:pt x="119" y="288"/>
                  </a:lnTo>
                  <a:lnTo>
                    <a:pt x="110" y="292"/>
                  </a:lnTo>
                  <a:lnTo>
                    <a:pt x="106" y="288"/>
                  </a:lnTo>
                  <a:lnTo>
                    <a:pt x="106" y="288"/>
                  </a:lnTo>
                  <a:lnTo>
                    <a:pt x="106" y="288"/>
                  </a:lnTo>
                  <a:lnTo>
                    <a:pt x="101" y="288"/>
                  </a:lnTo>
                  <a:lnTo>
                    <a:pt x="101" y="288"/>
                  </a:lnTo>
                  <a:lnTo>
                    <a:pt x="101" y="292"/>
                  </a:lnTo>
                  <a:lnTo>
                    <a:pt x="101" y="292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92"/>
                  </a:lnTo>
                  <a:lnTo>
                    <a:pt x="93" y="297"/>
                  </a:lnTo>
                  <a:lnTo>
                    <a:pt x="93" y="297"/>
                  </a:lnTo>
                  <a:lnTo>
                    <a:pt x="93" y="297"/>
                  </a:lnTo>
                  <a:lnTo>
                    <a:pt x="97" y="301"/>
                  </a:lnTo>
                  <a:lnTo>
                    <a:pt x="97" y="301"/>
                  </a:lnTo>
                  <a:lnTo>
                    <a:pt x="97" y="301"/>
                  </a:lnTo>
                  <a:lnTo>
                    <a:pt x="97" y="301"/>
                  </a:lnTo>
                  <a:lnTo>
                    <a:pt x="97" y="301"/>
                  </a:lnTo>
                  <a:lnTo>
                    <a:pt x="101" y="306"/>
                  </a:lnTo>
                  <a:lnTo>
                    <a:pt x="101" y="306"/>
                  </a:lnTo>
                  <a:lnTo>
                    <a:pt x="101" y="306"/>
                  </a:lnTo>
                  <a:lnTo>
                    <a:pt x="101" y="306"/>
                  </a:lnTo>
                  <a:lnTo>
                    <a:pt x="101" y="310"/>
                  </a:lnTo>
                  <a:lnTo>
                    <a:pt x="101" y="310"/>
                  </a:lnTo>
                  <a:lnTo>
                    <a:pt x="101" y="310"/>
                  </a:lnTo>
                  <a:lnTo>
                    <a:pt x="101" y="310"/>
                  </a:lnTo>
                  <a:lnTo>
                    <a:pt x="101" y="315"/>
                  </a:lnTo>
                  <a:lnTo>
                    <a:pt x="101" y="315"/>
                  </a:lnTo>
                  <a:lnTo>
                    <a:pt x="101" y="315"/>
                  </a:lnTo>
                  <a:lnTo>
                    <a:pt x="106" y="319"/>
                  </a:lnTo>
                  <a:lnTo>
                    <a:pt x="106" y="319"/>
                  </a:lnTo>
                  <a:lnTo>
                    <a:pt x="106" y="319"/>
                  </a:lnTo>
                  <a:lnTo>
                    <a:pt x="106" y="323"/>
                  </a:lnTo>
                  <a:lnTo>
                    <a:pt x="106" y="323"/>
                  </a:lnTo>
                  <a:lnTo>
                    <a:pt x="106" y="323"/>
                  </a:lnTo>
                  <a:lnTo>
                    <a:pt x="110" y="323"/>
                  </a:lnTo>
                  <a:lnTo>
                    <a:pt x="110" y="323"/>
                  </a:lnTo>
                  <a:lnTo>
                    <a:pt x="110" y="328"/>
                  </a:lnTo>
                  <a:lnTo>
                    <a:pt x="110" y="328"/>
                  </a:lnTo>
                  <a:lnTo>
                    <a:pt x="110" y="328"/>
                  </a:lnTo>
                  <a:lnTo>
                    <a:pt x="110" y="328"/>
                  </a:lnTo>
                  <a:lnTo>
                    <a:pt x="110" y="328"/>
                  </a:lnTo>
                  <a:lnTo>
                    <a:pt x="110" y="328"/>
                  </a:lnTo>
                  <a:lnTo>
                    <a:pt x="110" y="328"/>
                  </a:lnTo>
                  <a:lnTo>
                    <a:pt x="115" y="328"/>
                  </a:lnTo>
                  <a:lnTo>
                    <a:pt x="115" y="328"/>
                  </a:lnTo>
                  <a:lnTo>
                    <a:pt x="115" y="328"/>
                  </a:lnTo>
                  <a:lnTo>
                    <a:pt x="115" y="328"/>
                  </a:lnTo>
                  <a:lnTo>
                    <a:pt x="119" y="328"/>
                  </a:lnTo>
                  <a:lnTo>
                    <a:pt x="119" y="332"/>
                  </a:lnTo>
                  <a:lnTo>
                    <a:pt x="119" y="332"/>
                  </a:lnTo>
                  <a:lnTo>
                    <a:pt x="119" y="332"/>
                  </a:lnTo>
                  <a:lnTo>
                    <a:pt x="119" y="332"/>
                  </a:lnTo>
                  <a:lnTo>
                    <a:pt x="119" y="337"/>
                  </a:lnTo>
                  <a:lnTo>
                    <a:pt x="119" y="337"/>
                  </a:lnTo>
                  <a:lnTo>
                    <a:pt x="119" y="337"/>
                  </a:lnTo>
                  <a:lnTo>
                    <a:pt x="119" y="337"/>
                  </a:lnTo>
                  <a:lnTo>
                    <a:pt x="119" y="341"/>
                  </a:lnTo>
                  <a:lnTo>
                    <a:pt x="115" y="341"/>
                  </a:lnTo>
                  <a:lnTo>
                    <a:pt x="115" y="341"/>
                  </a:lnTo>
                  <a:lnTo>
                    <a:pt x="115" y="346"/>
                  </a:lnTo>
                  <a:lnTo>
                    <a:pt x="115" y="346"/>
                  </a:lnTo>
                  <a:lnTo>
                    <a:pt x="115" y="346"/>
                  </a:lnTo>
                  <a:lnTo>
                    <a:pt x="115" y="346"/>
                  </a:lnTo>
                  <a:lnTo>
                    <a:pt x="115" y="346"/>
                  </a:lnTo>
                  <a:lnTo>
                    <a:pt x="115" y="346"/>
                  </a:lnTo>
                  <a:lnTo>
                    <a:pt x="115" y="346"/>
                  </a:lnTo>
                  <a:lnTo>
                    <a:pt x="110" y="350"/>
                  </a:lnTo>
                  <a:lnTo>
                    <a:pt x="110" y="350"/>
                  </a:lnTo>
                  <a:lnTo>
                    <a:pt x="110" y="350"/>
                  </a:lnTo>
                  <a:lnTo>
                    <a:pt x="110" y="350"/>
                  </a:lnTo>
                  <a:lnTo>
                    <a:pt x="110" y="350"/>
                  </a:lnTo>
                  <a:lnTo>
                    <a:pt x="106" y="350"/>
                  </a:lnTo>
                  <a:lnTo>
                    <a:pt x="106" y="350"/>
                  </a:lnTo>
                  <a:lnTo>
                    <a:pt x="106" y="354"/>
                  </a:lnTo>
                  <a:lnTo>
                    <a:pt x="106" y="354"/>
                  </a:lnTo>
                  <a:lnTo>
                    <a:pt x="106" y="354"/>
                  </a:lnTo>
                  <a:lnTo>
                    <a:pt x="106" y="354"/>
                  </a:lnTo>
                  <a:lnTo>
                    <a:pt x="101" y="359"/>
                  </a:lnTo>
                  <a:lnTo>
                    <a:pt x="101" y="359"/>
                  </a:lnTo>
                  <a:lnTo>
                    <a:pt x="101" y="359"/>
                  </a:lnTo>
                  <a:lnTo>
                    <a:pt x="101" y="359"/>
                  </a:lnTo>
                  <a:lnTo>
                    <a:pt x="106" y="359"/>
                  </a:lnTo>
                  <a:lnTo>
                    <a:pt x="106" y="363"/>
                  </a:lnTo>
                  <a:lnTo>
                    <a:pt x="106" y="363"/>
                  </a:lnTo>
                  <a:lnTo>
                    <a:pt x="106" y="363"/>
                  </a:lnTo>
                  <a:lnTo>
                    <a:pt x="106" y="363"/>
                  </a:lnTo>
                  <a:lnTo>
                    <a:pt x="101" y="368"/>
                  </a:lnTo>
                  <a:lnTo>
                    <a:pt x="101" y="368"/>
                  </a:lnTo>
                  <a:lnTo>
                    <a:pt x="101" y="372"/>
                  </a:lnTo>
                  <a:lnTo>
                    <a:pt x="101" y="372"/>
                  </a:lnTo>
                  <a:lnTo>
                    <a:pt x="101" y="372"/>
                  </a:lnTo>
                  <a:lnTo>
                    <a:pt x="101" y="372"/>
                  </a:lnTo>
                  <a:lnTo>
                    <a:pt x="101" y="372"/>
                  </a:lnTo>
                  <a:lnTo>
                    <a:pt x="101" y="372"/>
                  </a:lnTo>
                  <a:lnTo>
                    <a:pt x="101" y="377"/>
                  </a:lnTo>
                  <a:lnTo>
                    <a:pt x="106" y="381"/>
                  </a:lnTo>
                  <a:lnTo>
                    <a:pt x="106" y="381"/>
                  </a:lnTo>
                  <a:lnTo>
                    <a:pt x="110" y="385"/>
                  </a:lnTo>
                  <a:lnTo>
                    <a:pt x="110" y="385"/>
                  </a:lnTo>
                  <a:lnTo>
                    <a:pt x="110" y="385"/>
                  </a:lnTo>
                  <a:lnTo>
                    <a:pt x="110" y="385"/>
                  </a:lnTo>
                  <a:lnTo>
                    <a:pt x="110" y="385"/>
                  </a:lnTo>
                  <a:lnTo>
                    <a:pt x="110" y="390"/>
                  </a:lnTo>
                  <a:lnTo>
                    <a:pt x="115" y="390"/>
                  </a:lnTo>
                  <a:lnTo>
                    <a:pt x="115" y="390"/>
                  </a:lnTo>
                  <a:lnTo>
                    <a:pt x="115" y="390"/>
                  </a:lnTo>
                  <a:lnTo>
                    <a:pt x="115" y="390"/>
                  </a:lnTo>
                  <a:lnTo>
                    <a:pt x="115" y="390"/>
                  </a:lnTo>
                  <a:lnTo>
                    <a:pt x="119" y="390"/>
                  </a:lnTo>
                  <a:lnTo>
                    <a:pt x="119" y="390"/>
                  </a:lnTo>
                  <a:lnTo>
                    <a:pt x="119" y="390"/>
                  </a:lnTo>
                  <a:lnTo>
                    <a:pt x="119" y="390"/>
                  </a:lnTo>
                  <a:lnTo>
                    <a:pt x="119" y="390"/>
                  </a:lnTo>
                  <a:lnTo>
                    <a:pt x="124" y="390"/>
                  </a:lnTo>
                  <a:lnTo>
                    <a:pt x="124" y="390"/>
                  </a:lnTo>
                  <a:lnTo>
                    <a:pt x="119" y="390"/>
                  </a:lnTo>
                  <a:lnTo>
                    <a:pt x="119" y="394"/>
                  </a:lnTo>
                  <a:lnTo>
                    <a:pt x="119" y="394"/>
                  </a:lnTo>
                  <a:lnTo>
                    <a:pt x="119" y="399"/>
                  </a:lnTo>
                  <a:lnTo>
                    <a:pt x="119" y="399"/>
                  </a:lnTo>
                  <a:lnTo>
                    <a:pt x="119" y="399"/>
                  </a:lnTo>
                  <a:lnTo>
                    <a:pt x="119" y="403"/>
                  </a:lnTo>
                  <a:lnTo>
                    <a:pt x="115" y="403"/>
                  </a:lnTo>
                  <a:lnTo>
                    <a:pt x="115" y="399"/>
                  </a:lnTo>
                  <a:lnTo>
                    <a:pt x="110" y="399"/>
                  </a:lnTo>
                  <a:lnTo>
                    <a:pt x="110" y="403"/>
                  </a:lnTo>
                  <a:lnTo>
                    <a:pt x="110" y="403"/>
                  </a:lnTo>
                  <a:lnTo>
                    <a:pt x="110" y="403"/>
                  </a:lnTo>
                  <a:lnTo>
                    <a:pt x="110" y="403"/>
                  </a:lnTo>
                  <a:lnTo>
                    <a:pt x="110" y="403"/>
                  </a:lnTo>
                  <a:lnTo>
                    <a:pt x="110" y="403"/>
                  </a:lnTo>
                  <a:lnTo>
                    <a:pt x="110" y="403"/>
                  </a:lnTo>
                  <a:lnTo>
                    <a:pt x="106" y="403"/>
                  </a:lnTo>
                  <a:lnTo>
                    <a:pt x="106" y="403"/>
                  </a:lnTo>
                  <a:lnTo>
                    <a:pt x="106" y="403"/>
                  </a:lnTo>
                  <a:lnTo>
                    <a:pt x="106" y="403"/>
                  </a:lnTo>
                  <a:lnTo>
                    <a:pt x="106" y="403"/>
                  </a:lnTo>
                  <a:lnTo>
                    <a:pt x="106" y="403"/>
                  </a:lnTo>
                  <a:lnTo>
                    <a:pt x="106" y="408"/>
                  </a:lnTo>
                  <a:lnTo>
                    <a:pt x="106" y="408"/>
                  </a:lnTo>
                  <a:lnTo>
                    <a:pt x="106" y="408"/>
                  </a:lnTo>
                  <a:lnTo>
                    <a:pt x="101" y="412"/>
                  </a:lnTo>
                  <a:lnTo>
                    <a:pt x="101" y="412"/>
                  </a:lnTo>
                  <a:lnTo>
                    <a:pt x="101" y="416"/>
                  </a:lnTo>
                  <a:lnTo>
                    <a:pt x="97" y="421"/>
                  </a:lnTo>
                  <a:lnTo>
                    <a:pt x="97" y="421"/>
                  </a:lnTo>
                  <a:lnTo>
                    <a:pt x="93" y="425"/>
                  </a:lnTo>
                  <a:lnTo>
                    <a:pt x="93" y="425"/>
                  </a:lnTo>
                  <a:lnTo>
                    <a:pt x="93" y="425"/>
                  </a:lnTo>
                  <a:lnTo>
                    <a:pt x="93" y="430"/>
                  </a:lnTo>
                  <a:lnTo>
                    <a:pt x="93" y="430"/>
                  </a:lnTo>
                  <a:lnTo>
                    <a:pt x="93" y="430"/>
                  </a:lnTo>
                  <a:lnTo>
                    <a:pt x="93" y="430"/>
                  </a:lnTo>
                  <a:lnTo>
                    <a:pt x="93" y="430"/>
                  </a:lnTo>
                  <a:lnTo>
                    <a:pt x="93" y="430"/>
                  </a:lnTo>
                  <a:lnTo>
                    <a:pt x="93" y="430"/>
                  </a:lnTo>
                  <a:lnTo>
                    <a:pt x="93" y="430"/>
                  </a:lnTo>
                  <a:lnTo>
                    <a:pt x="93" y="434"/>
                  </a:lnTo>
                  <a:lnTo>
                    <a:pt x="93" y="434"/>
                  </a:lnTo>
                  <a:lnTo>
                    <a:pt x="93" y="434"/>
                  </a:lnTo>
                  <a:lnTo>
                    <a:pt x="93" y="434"/>
                  </a:lnTo>
                  <a:lnTo>
                    <a:pt x="93" y="434"/>
                  </a:lnTo>
                  <a:lnTo>
                    <a:pt x="93" y="434"/>
                  </a:lnTo>
                  <a:lnTo>
                    <a:pt x="93" y="434"/>
                  </a:lnTo>
                  <a:lnTo>
                    <a:pt x="93" y="434"/>
                  </a:lnTo>
                  <a:lnTo>
                    <a:pt x="93" y="434"/>
                  </a:lnTo>
                  <a:lnTo>
                    <a:pt x="93" y="434"/>
                  </a:lnTo>
                  <a:lnTo>
                    <a:pt x="93" y="439"/>
                  </a:lnTo>
                  <a:lnTo>
                    <a:pt x="93" y="439"/>
                  </a:lnTo>
                  <a:lnTo>
                    <a:pt x="93" y="439"/>
                  </a:lnTo>
                  <a:lnTo>
                    <a:pt x="93" y="439"/>
                  </a:lnTo>
                  <a:lnTo>
                    <a:pt x="93" y="443"/>
                  </a:lnTo>
                  <a:lnTo>
                    <a:pt x="93" y="443"/>
                  </a:lnTo>
                  <a:lnTo>
                    <a:pt x="97" y="443"/>
                  </a:lnTo>
                  <a:lnTo>
                    <a:pt x="97" y="447"/>
                  </a:lnTo>
                  <a:lnTo>
                    <a:pt x="97" y="452"/>
                  </a:lnTo>
                  <a:lnTo>
                    <a:pt x="97" y="452"/>
                  </a:lnTo>
                  <a:lnTo>
                    <a:pt x="97" y="452"/>
                  </a:lnTo>
                  <a:lnTo>
                    <a:pt x="97" y="456"/>
                  </a:lnTo>
                  <a:lnTo>
                    <a:pt x="97" y="456"/>
                  </a:lnTo>
                  <a:lnTo>
                    <a:pt x="97" y="456"/>
                  </a:lnTo>
                  <a:lnTo>
                    <a:pt x="101" y="456"/>
                  </a:lnTo>
                  <a:lnTo>
                    <a:pt x="101" y="456"/>
                  </a:lnTo>
                  <a:lnTo>
                    <a:pt x="101" y="456"/>
                  </a:lnTo>
                  <a:lnTo>
                    <a:pt x="115" y="456"/>
                  </a:lnTo>
                  <a:lnTo>
                    <a:pt x="115" y="456"/>
                  </a:lnTo>
                  <a:lnTo>
                    <a:pt x="110" y="456"/>
                  </a:lnTo>
                  <a:lnTo>
                    <a:pt x="115" y="456"/>
                  </a:lnTo>
                  <a:lnTo>
                    <a:pt x="115" y="456"/>
                  </a:lnTo>
                  <a:lnTo>
                    <a:pt x="119" y="456"/>
                  </a:lnTo>
                  <a:lnTo>
                    <a:pt x="124" y="456"/>
                  </a:lnTo>
                  <a:lnTo>
                    <a:pt x="124" y="456"/>
                  </a:lnTo>
                  <a:lnTo>
                    <a:pt x="124" y="456"/>
                  </a:lnTo>
                  <a:lnTo>
                    <a:pt x="124" y="456"/>
                  </a:lnTo>
                  <a:lnTo>
                    <a:pt x="119" y="456"/>
                  </a:lnTo>
                  <a:lnTo>
                    <a:pt x="119" y="452"/>
                  </a:lnTo>
                  <a:lnTo>
                    <a:pt x="124" y="452"/>
                  </a:lnTo>
                  <a:lnTo>
                    <a:pt x="124" y="452"/>
                  </a:lnTo>
                  <a:lnTo>
                    <a:pt x="128" y="452"/>
                  </a:lnTo>
                  <a:lnTo>
                    <a:pt x="128" y="452"/>
                  </a:lnTo>
                  <a:lnTo>
                    <a:pt x="124" y="452"/>
                  </a:lnTo>
                  <a:lnTo>
                    <a:pt x="124" y="456"/>
                  </a:lnTo>
                  <a:lnTo>
                    <a:pt x="124" y="456"/>
                  </a:lnTo>
                  <a:lnTo>
                    <a:pt x="124" y="456"/>
                  </a:lnTo>
                  <a:lnTo>
                    <a:pt x="124" y="456"/>
                  </a:lnTo>
                  <a:lnTo>
                    <a:pt x="124" y="461"/>
                  </a:lnTo>
                  <a:lnTo>
                    <a:pt x="128" y="461"/>
                  </a:lnTo>
                  <a:lnTo>
                    <a:pt x="128" y="461"/>
                  </a:lnTo>
                  <a:lnTo>
                    <a:pt x="128" y="461"/>
                  </a:lnTo>
                  <a:lnTo>
                    <a:pt x="132" y="461"/>
                  </a:lnTo>
                  <a:lnTo>
                    <a:pt x="132" y="461"/>
                  </a:lnTo>
                  <a:lnTo>
                    <a:pt x="146" y="474"/>
                  </a:lnTo>
                  <a:lnTo>
                    <a:pt x="146" y="474"/>
                  </a:lnTo>
                  <a:lnTo>
                    <a:pt x="150" y="474"/>
                  </a:lnTo>
                  <a:lnTo>
                    <a:pt x="150" y="478"/>
                  </a:lnTo>
                  <a:lnTo>
                    <a:pt x="150" y="483"/>
                  </a:lnTo>
                  <a:lnTo>
                    <a:pt x="154" y="483"/>
                  </a:lnTo>
                  <a:lnTo>
                    <a:pt x="154" y="483"/>
                  </a:lnTo>
                  <a:lnTo>
                    <a:pt x="154" y="478"/>
                  </a:lnTo>
                  <a:lnTo>
                    <a:pt x="154" y="474"/>
                  </a:lnTo>
                  <a:lnTo>
                    <a:pt x="154" y="474"/>
                  </a:lnTo>
                  <a:lnTo>
                    <a:pt x="154" y="474"/>
                  </a:lnTo>
                  <a:lnTo>
                    <a:pt x="159" y="474"/>
                  </a:lnTo>
                  <a:lnTo>
                    <a:pt x="159" y="474"/>
                  </a:lnTo>
                  <a:lnTo>
                    <a:pt x="159" y="474"/>
                  </a:lnTo>
                  <a:lnTo>
                    <a:pt x="163" y="474"/>
                  </a:lnTo>
                  <a:lnTo>
                    <a:pt x="159" y="474"/>
                  </a:lnTo>
                  <a:lnTo>
                    <a:pt x="154" y="474"/>
                  </a:lnTo>
                  <a:lnTo>
                    <a:pt x="154" y="478"/>
                  </a:lnTo>
                  <a:lnTo>
                    <a:pt x="154" y="478"/>
                  </a:lnTo>
                  <a:lnTo>
                    <a:pt x="154" y="483"/>
                  </a:lnTo>
                  <a:lnTo>
                    <a:pt x="154" y="483"/>
                  </a:lnTo>
                  <a:lnTo>
                    <a:pt x="154" y="483"/>
                  </a:lnTo>
                  <a:lnTo>
                    <a:pt x="150" y="483"/>
                  </a:lnTo>
                  <a:lnTo>
                    <a:pt x="150" y="483"/>
                  </a:lnTo>
                  <a:lnTo>
                    <a:pt x="150" y="487"/>
                  </a:lnTo>
                  <a:lnTo>
                    <a:pt x="150" y="487"/>
                  </a:lnTo>
                  <a:lnTo>
                    <a:pt x="150" y="487"/>
                  </a:lnTo>
                  <a:lnTo>
                    <a:pt x="150" y="487"/>
                  </a:lnTo>
                  <a:lnTo>
                    <a:pt x="150" y="492"/>
                  </a:lnTo>
                  <a:lnTo>
                    <a:pt x="150" y="492"/>
                  </a:lnTo>
                  <a:lnTo>
                    <a:pt x="150" y="496"/>
                  </a:lnTo>
                  <a:lnTo>
                    <a:pt x="154" y="496"/>
                  </a:lnTo>
                  <a:lnTo>
                    <a:pt x="154" y="496"/>
                  </a:lnTo>
                  <a:lnTo>
                    <a:pt x="154" y="496"/>
                  </a:lnTo>
                  <a:lnTo>
                    <a:pt x="159" y="496"/>
                  </a:lnTo>
                  <a:lnTo>
                    <a:pt x="159" y="501"/>
                  </a:lnTo>
                  <a:lnTo>
                    <a:pt x="159" y="501"/>
                  </a:lnTo>
                  <a:lnTo>
                    <a:pt x="159" y="501"/>
                  </a:lnTo>
                  <a:lnTo>
                    <a:pt x="159" y="501"/>
                  </a:lnTo>
                  <a:lnTo>
                    <a:pt x="163" y="501"/>
                  </a:lnTo>
                  <a:lnTo>
                    <a:pt x="163" y="501"/>
                  </a:lnTo>
                  <a:lnTo>
                    <a:pt x="159" y="501"/>
                  </a:lnTo>
                  <a:lnTo>
                    <a:pt x="159" y="505"/>
                  </a:lnTo>
                  <a:lnTo>
                    <a:pt x="159" y="505"/>
                  </a:lnTo>
                  <a:lnTo>
                    <a:pt x="159" y="505"/>
                  </a:lnTo>
                  <a:lnTo>
                    <a:pt x="159" y="505"/>
                  </a:lnTo>
                  <a:lnTo>
                    <a:pt x="159" y="501"/>
                  </a:lnTo>
                  <a:lnTo>
                    <a:pt x="159" y="501"/>
                  </a:lnTo>
                  <a:lnTo>
                    <a:pt x="159" y="501"/>
                  </a:lnTo>
                  <a:lnTo>
                    <a:pt x="154" y="501"/>
                  </a:lnTo>
                  <a:lnTo>
                    <a:pt x="154" y="501"/>
                  </a:lnTo>
                  <a:lnTo>
                    <a:pt x="154" y="501"/>
                  </a:lnTo>
                  <a:lnTo>
                    <a:pt x="154" y="501"/>
                  </a:lnTo>
                  <a:lnTo>
                    <a:pt x="159" y="501"/>
                  </a:lnTo>
                  <a:lnTo>
                    <a:pt x="159" y="505"/>
                  </a:lnTo>
                  <a:lnTo>
                    <a:pt x="159" y="505"/>
                  </a:lnTo>
                  <a:lnTo>
                    <a:pt x="159" y="509"/>
                  </a:lnTo>
                  <a:lnTo>
                    <a:pt x="163" y="509"/>
                  </a:lnTo>
                  <a:lnTo>
                    <a:pt x="163" y="514"/>
                  </a:lnTo>
                  <a:lnTo>
                    <a:pt x="163" y="514"/>
                  </a:lnTo>
                  <a:lnTo>
                    <a:pt x="163" y="514"/>
                  </a:lnTo>
                  <a:lnTo>
                    <a:pt x="163" y="514"/>
                  </a:lnTo>
                  <a:lnTo>
                    <a:pt x="168" y="518"/>
                  </a:lnTo>
                  <a:lnTo>
                    <a:pt x="168" y="518"/>
                  </a:lnTo>
                  <a:lnTo>
                    <a:pt x="168" y="523"/>
                  </a:lnTo>
                  <a:lnTo>
                    <a:pt x="168" y="523"/>
                  </a:lnTo>
                  <a:lnTo>
                    <a:pt x="172" y="523"/>
                  </a:lnTo>
                  <a:lnTo>
                    <a:pt x="177" y="523"/>
                  </a:lnTo>
                  <a:lnTo>
                    <a:pt x="177" y="523"/>
                  </a:lnTo>
                  <a:lnTo>
                    <a:pt x="177" y="523"/>
                  </a:lnTo>
                  <a:lnTo>
                    <a:pt x="181" y="527"/>
                  </a:lnTo>
                  <a:lnTo>
                    <a:pt x="181" y="527"/>
                  </a:lnTo>
                  <a:lnTo>
                    <a:pt x="181" y="527"/>
                  </a:lnTo>
                  <a:lnTo>
                    <a:pt x="185" y="532"/>
                  </a:lnTo>
                  <a:lnTo>
                    <a:pt x="185" y="532"/>
                  </a:lnTo>
                  <a:lnTo>
                    <a:pt x="185" y="532"/>
                  </a:lnTo>
                  <a:lnTo>
                    <a:pt x="190" y="532"/>
                  </a:lnTo>
                  <a:lnTo>
                    <a:pt x="190" y="532"/>
                  </a:lnTo>
                  <a:lnTo>
                    <a:pt x="190" y="532"/>
                  </a:lnTo>
                  <a:lnTo>
                    <a:pt x="190" y="536"/>
                  </a:lnTo>
                  <a:lnTo>
                    <a:pt x="194" y="536"/>
                  </a:lnTo>
                  <a:lnTo>
                    <a:pt x="194" y="532"/>
                  </a:lnTo>
                  <a:lnTo>
                    <a:pt x="199" y="532"/>
                  </a:lnTo>
                  <a:lnTo>
                    <a:pt x="199" y="532"/>
                  </a:lnTo>
                  <a:lnTo>
                    <a:pt x="203" y="532"/>
                  </a:lnTo>
                  <a:lnTo>
                    <a:pt x="203" y="532"/>
                  </a:lnTo>
                  <a:lnTo>
                    <a:pt x="203" y="532"/>
                  </a:lnTo>
                  <a:lnTo>
                    <a:pt x="203" y="527"/>
                  </a:lnTo>
                  <a:lnTo>
                    <a:pt x="203" y="527"/>
                  </a:lnTo>
                  <a:lnTo>
                    <a:pt x="203" y="527"/>
                  </a:lnTo>
                  <a:lnTo>
                    <a:pt x="203" y="527"/>
                  </a:lnTo>
                  <a:lnTo>
                    <a:pt x="203" y="527"/>
                  </a:lnTo>
                  <a:lnTo>
                    <a:pt x="199" y="527"/>
                  </a:lnTo>
                  <a:lnTo>
                    <a:pt x="203" y="523"/>
                  </a:lnTo>
                  <a:lnTo>
                    <a:pt x="203" y="523"/>
                  </a:lnTo>
                  <a:lnTo>
                    <a:pt x="203" y="523"/>
                  </a:lnTo>
                  <a:lnTo>
                    <a:pt x="203" y="523"/>
                  </a:lnTo>
                  <a:lnTo>
                    <a:pt x="203" y="523"/>
                  </a:lnTo>
                  <a:lnTo>
                    <a:pt x="203" y="523"/>
                  </a:lnTo>
                  <a:lnTo>
                    <a:pt x="203" y="527"/>
                  </a:lnTo>
                  <a:lnTo>
                    <a:pt x="208" y="527"/>
                  </a:lnTo>
                  <a:lnTo>
                    <a:pt x="208" y="523"/>
                  </a:lnTo>
                  <a:lnTo>
                    <a:pt x="208" y="523"/>
                  </a:lnTo>
                  <a:lnTo>
                    <a:pt x="208" y="518"/>
                  </a:lnTo>
                  <a:lnTo>
                    <a:pt x="208" y="518"/>
                  </a:lnTo>
                  <a:lnTo>
                    <a:pt x="208" y="518"/>
                  </a:lnTo>
                  <a:lnTo>
                    <a:pt x="208" y="518"/>
                  </a:lnTo>
                  <a:lnTo>
                    <a:pt x="212" y="518"/>
                  </a:lnTo>
                  <a:lnTo>
                    <a:pt x="212" y="518"/>
                  </a:lnTo>
                  <a:lnTo>
                    <a:pt x="212" y="514"/>
                  </a:lnTo>
                  <a:lnTo>
                    <a:pt x="212" y="514"/>
                  </a:lnTo>
                  <a:lnTo>
                    <a:pt x="212" y="514"/>
                  </a:lnTo>
                  <a:lnTo>
                    <a:pt x="212" y="514"/>
                  </a:lnTo>
                  <a:lnTo>
                    <a:pt x="212" y="509"/>
                  </a:lnTo>
                  <a:lnTo>
                    <a:pt x="212" y="509"/>
                  </a:lnTo>
                  <a:lnTo>
                    <a:pt x="216" y="509"/>
                  </a:lnTo>
                  <a:lnTo>
                    <a:pt x="216" y="509"/>
                  </a:lnTo>
                  <a:lnTo>
                    <a:pt x="216" y="509"/>
                  </a:lnTo>
                  <a:lnTo>
                    <a:pt x="216" y="505"/>
                  </a:lnTo>
                  <a:lnTo>
                    <a:pt x="216" y="505"/>
                  </a:lnTo>
                  <a:lnTo>
                    <a:pt x="221" y="505"/>
                  </a:lnTo>
                  <a:lnTo>
                    <a:pt x="225" y="505"/>
                  </a:lnTo>
                  <a:lnTo>
                    <a:pt x="230" y="501"/>
                  </a:lnTo>
                  <a:lnTo>
                    <a:pt x="230" y="501"/>
                  </a:lnTo>
                  <a:lnTo>
                    <a:pt x="230" y="501"/>
                  </a:lnTo>
                  <a:lnTo>
                    <a:pt x="230" y="501"/>
                  </a:lnTo>
                  <a:lnTo>
                    <a:pt x="239" y="501"/>
                  </a:lnTo>
                  <a:lnTo>
                    <a:pt x="239" y="501"/>
                  </a:lnTo>
                  <a:lnTo>
                    <a:pt x="243" y="501"/>
                  </a:lnTo>
                  <a:lnTo>
                    <a:pt x="243" y="501"/>
                  </a:lnTo>
                  <a:lnTo>
                    <a:pt x="243" y="501"/>
                  </a:lnTo>
                  <a:lnTo>
                    <a:pt x="243" y="501"/>
                  </a:lnTo>
                  <a:lnTo>
                    <a:pt x="247" y="496"/>
                  </a:lnTo>
                  <a:lnTo>
                    <a:pt x="247" y="496"/>
                  </a:lnTo>
                  <a:lnTo>
                    <a:pt x="252" y="496"/>
                  </a:lnTo>
                  <a:lnTo>
                    <a:pt x="252" y="492"/>
                  </a:lnTo>
                  <a:lnTo>
                    <a:pt x="252" y="492"/>
                  </a:lnTo>
                  <a:lnTo>
                    <a:pt x="252" y="492"/>
                  </a:lnTo>
                  <a:lnTo>
                    <a:pt x="252" y="492"/>
                  </a:lnTo>
                  <a:lnTo>
                    <a:pt x="256" y="487"/>
                  </a:lnTo>
                  <a:lnTo>
                    <a:pt x="256" y="487"/>
                  </a:lnTo>
                  <a:lnTo>
                    <a:pt x="256" y="487"/>
                  </a:lnTo>
                  <a:lnTo>
                    <a:pt x="265" y="487"/>
                  </a:lnTo>
                  <a:lnTo>
                    <a:pt x="265" y="487"/>
                  </a:lnTo>
                  <a:lnTo>
                    <a:pt x="270" y="487"/>
                  </a:lnTo>
                  <a:lnTo>
                    <a:pt x="274" y="487"/>
                  </a:lnTo>
                  <a:lnTo>
                    <a:pt x="274" y="487"/>
                  </a:lnTo>
                  <a:lnTo>
                    <a:pt x="278" y="487"/>
                  </a:lnTo>
                  <a:lnTo>
                    <a:pt x="283" y="487"/>
                  </a:lnTo>
                  <a:lnTo>
                    <a:pt x="287" y="487"/>
                  </a:lnTo>
                  <a:lnTo>
                    <a:pt x="287" y="487"/>
                  </a:lnTo>
                  <a:lnTo>
                    <a:pt x="292" y="487"/>
                  </a:lnTo>
                  <a:lnTo>
                    <a:pt x="292" y="487"/>
                  </a:lnTo>
                  <a:lnTo>
                    <a:pt x="296" y="487"/>
                  </a:lnTo>
                  <a:lnTo>
                    <a:pt x="296" y="487"/>
                  </a:lnTo>
                  <a:lnTo>
                    <a:pt x="296" y="487"/>
                  </a:lnTo>
                  <a:lnTo>
                    <a:pt x="301" y="487"/>
                  </a:lnTo>
                  <a:lnTo>
                    <a:pt x="301" y="487"/>
                  </a:lnTo>
                  <a:lnTo>
                    <a:pt x="301" y="487"/>
                  </a:lnTo>
                  <a:lnTo>
                    <a:pt x="301" y="487"/>
                  </a:lnTo>
                  <a:lnTo>
                    <a:pt x="305" y="487"/>
                  </a:lnTo>
                  <a:lnTo>
                    <a:pt x="309" y="487"/>
                  </a:lnTo>
                  <a:lnTo>
                    <a:pt x="309" y="487"/>
                  </a:lnTo>
                  <a:lnTo>
                    <a:pt x="309" y="487"/>
                  </a:lnTo>
                  <a:lnTo>
                    <a:pt x="309" y="487"/>
                  </a:lnTo>
                  <a:lnTo>
                    <a:pt x="314" y="487"/>
                  </a:lnTo>
                  <a:lnTo>
                    <a:pt x="318" y="487"/>
                  </a:lnTo>
                  <a:lnTo>
                    <a:pt x="323" y="487"/>
                  </a:lnTo>
                  <a:lnTo>
                    <a:pt x="327" y="487"/>
                  </a:lnTo>
                  <a:lnTo>
                    <a:pt x="332" y="487"/>
                  </a:lnTo>
                  <a:lnTo>
                    <a:pt x="332" y="487"/>
                  </a:lnTo>
                  <a:lnTo>
                    <a:pt x="336" y="487"/>
                  </a:lnTo>
                  <a:lnTo>
                    <a:pt x="336" y="487"/>
                  </a:lnTo>
                  <a:lnTo>
                    <a:pt x="336" y="487"/>
                  </a:lnTo>
                  <a:lnTo>
                    <a:pt x="336" y="487"/>
                  </a:lnTo>
                  <a:lnTo>
                    <a:pt x="340" y="487"/>
                  </a:lnTo>
                  <a:lnTo>
                    <a:pt x="340" y="487"/>
                  </a:lnTo>
                  <a:lnTo>
                    <a:pt x="340" y="487"/>
                  </a:lnTo>
                  <a:lnTo>
                    <a:pt x="340" y="487"/>
                  </a:lnTo>
                  <a:lnTo>
                    <a:pt x="340" y="487"/>
                  </a:lnTo>
                  <a:lnTo>
                    <a:pt x="340" y="492"/>
                  </a:lnTo>
                  <a:lnTo>
                    <a:pt x="345" y="492"/>
                  </a:lnTo>
                  <a:lnTo>
                    <a:pt x="345" y="492"/>
                  </a:lnTo>
                  <a:lnTo>
                    <a:pt x="345" y="492"/>
                  </a:lnTo>
                  <a:lnTo>
                    <a:pt x="349" y="487"/>
                  </a:lnTo>
                  <a:lnTo>
                    <a:pt x="349" y="487"/>
                  </a:lnTo>
                  <a:lnTo>
                    <a:pt x="349" y="487"/>
                  </a:lnTo>
                  <a:lnTo>
                    <a:pt x="349" y="487"/>
                  </a:lnTo>
                  <a:lnTo>
                    <a:pt x="349" y="483"/>
                  </a:lnTo>
                  <a:lnTo>
                    <a:pt x="354" y="483"/>
                  </a:lnTo>
                  <a:lnTo>
                    <a:pt x="354" y="483"/>
                  </a:lnTo>
                  <a:lnTo>
                    <a:pt x="358" y="478"/>
                  </a:lnTo>
                  <a:lnTo>
                    <a:pt x="358" y="483"/>
                  </a:lnTo>
                  <a:lnTo>
                    <a:pt x="358" y="483"/>
                  </a:lnTo>
                  <a:lnTo>
                    <a:pt x="358" y="483"/>
                  </a:lnTo>
                  <a:lnTo>
                    <a:pt x="363" y="483"/>
                  </a:lnTo>
                  <a:lnTo>
                    <a:pt x="363" y="478"/>
                  </a:lnTo>
                  <a:lnTo>
                    <a:pt x="363" y="478"/>
                  </a:lnTo>
                  <a:lnTo>
                    <a:pt x="363" y="478"/>
                  </a:lnTo>
                  <a:lnTo>
                    <a:pt x="367" y="483"/>
                  </a:lnTo>
                  <a:lnTo>
                    <a:pt x="367" y="483"/>
                  </a:lnTo>
                  <a:lnTo>
                    <a:pt x="367" y="483"/>
                  </a:lnTo>
                  <a:lnTo>
                    <a:pt x="371" y="487"/>
                  </a:lnTo>
                  <a:lnTo>
                    <a:pt x="371" y="487"/>
                  </a:lnTo>
                  <a:lnTo>
                    <a:pt x="376" y="487"/>
                  </a:lnTo>
                  <a:lnTo>
                    <a:pt x="376" y="487"/>
                  </a:lnTo>
                  <a:lnTo>
                    <a:pt x="376" y="487"/>
                  </a:lnTo>
                  <a:lnTo>
                    <a:pt x="376" y="487"/>
                  </a:lnTo>
                  <a:lnTo>
                    <a:pt x="376" y="483"/>
                  </a:lnTo>
                  <a:lnTo>
                    <a:pt x="376" y="483"/>
                  </a:lnTo>
                  <a:lnTo>
                    <a:pt x="380" y="483"/>
                  </a:lnTo>
                  <a:lnTo>
                    <a:pt x="380" y="483"/>
                  </a:lnTo>
                  <a:lnTo>
                    <a:pt x="380" y="483"/>
                  </a:lnTo>
                  <a:lnTo>
                    <a:pt x="380" y="483"/>
                  </a:lnTo>
                  <a:lnTo>
                    <a:pt x="380" y="483"/>
                  </a:lnTo>
                  <a:lnTo>
                    <a:pt x="380" y="483"/>
                  </a:lnTo>
                  <a:lnTo>
                    <a:pt x="380" y="478"/>
                  </a:lnTo>
                  <a:lnTo>
                    <a:pt x="380" y="478"/>
                  </a:lnTo>
                  <a:lnTo>
                    <a:pt x="380" y="478"/>
                  </a:lnTo>
                  <a:lnTo>
                    <a:pt x="385" y="474"/>
                  </a:lnTo>
                  <a:lnTo>
                    <a:pt x="385" y="474"/>
                  </a:lnTo>
                  <a:lnTo>
                    <a:pt x="385" y="474"/>
                  </a:lnTo>
                  <a:lnTo>
                    <a:pt x="385" y="474"/>
                  </a:lnTo>
                  <a:lnTo>
                    <a:pt x="389" y="474"/>
                  </a:lnTo>
                  <a:lnTo>
                    <a:pt x="389" y="474"/>
                  </a:lnTo>
                  <a:lnTo>
                    <a:pt x="389" y="474"/>
                  </a:lnTo>
                  <a:lnTo>
                    <a:pt x="389" y="474"/>
                  </a:lnTo>
                  <a:lnTo>
                    <a:pt x="389" y="474"/>
                  </a:lnTo>
                  <a:lnTo>
                    <a:pt x="389" y="470"/>
                  </a:lnTo>
                  <a:lnTo>
                    <a:pt x="389" y="470"/>
                  </a:lnTo>
                  <a:lnTo>
                    <a:pt x="389" y="470"/>
                  </a:lnTo>
                  <a:lnTo>
                    <a:pt x="389" y="470"/>
                  </a:lnTo>
                  <a:lnTo>
                    <a:pt x="389" y="465"/>
                  </a:lnTo>
                  <a:lnTo>
                    <a:pt x="389" y="461"/>
                  </a:lnTo>
                  <a:lnTo>
                    <a:pt x="389" y="461"/>
                  </a:lnTo>
                  <a:lnTo>
                    <a:pt x="394" y="456"/>
                  </a:lnTo>
                  <a:lnTo>
                    <a:pt x="394" y="456"/>
                  </a:lnTo>
                  <a:lnTo>
                    <a:pt x="394" y="452"/>
                  </a:lnTo>
                  <a:lnTo>
                    <a:pt x="398" y="452"/>
                  </a:lnTo>
                  <a:lnTo>
                    <a:pt x="398" y="447"/>
                  </a:lnTo>
                  <a:lnTo>
                    <a:pt x="398" y="447"/>
                  </a:lnTo>
                  <a:lnTo>
                    <a:pt x="398" y="447"/>
                  </a:lnTo>
                  <a:lnTo>
                    <a:pt x="398" y="447"/>
                  </a:lnTo>
                  <a:lnTo>
                    <a:pt x="402" y="447"/>
                  </a:lnTo>
                  <a:lnTo>
                    <a:pt x="402" y="443"/>
                  </a:lnTo>
                  <a:lnTo>
                    <a:pt x="402" y="443"/>
                  </a:lnTo>
                  <a:lnTo>
                    <a:pt x="402" y="443"/>
                  </a:lnTo>
                  <a:lnTo>
                    <a:pt x="407" y="443"/>
                  </a:lnTo>
                  <a:lnTo>
                    <a:pt x="407" y="443"/>
                  </a:lnTo>
                  <a:lnTo>
                    <a:pt x="407" y="443"/>
                  </a:lnTo>
                  <a:lnTo>
                    <a:pt x="407" y="443"/>
                  </a:lnTo>
                  <a:lnTo>
                    <a:pt x="407" y="443"/>
                  </a:lnTo>
                  <a:lnTo>
                    <a:pt x="407" y="443"/>
                  </a:lnTo>
                  <a:lnTo>
                    <a:pt x="407" y="443"/>
                  </a:lnTo>
                  <a:lnTo>
                    <a:pt x="407" y="443"/>
                  </a:lnTo>
                  <a:lnTo>
                    <a:pt x="411" y="443"/>
                  </a:lnTo>
                  <a:lnTo>
                    <a:pt x="411" y="439"/>
                  </a:lnTo>
                  <a:lnTo>
                    <a:pt x="411" y="439"/>
                  </a:lnTo>
                  <a:lnTo>
                    <a:pt x="411" y="439"/>
                  </a:lnTo>
                  <a:lnTo>
                    <a:pt x="411" y="439"/>
                  </a:lnTo>
                  <a:lnTo>
                    <a:pt x="411" y="439"/>
                  </a:lnTo>
                  <a:lnTo>
                    <a:pt x="411" y="439"/>
                  </a:lnTo>
                  <a:lnTo>
                    <a:pt x="411" y="439"/>
                  </a:lnTo>
                  <a:lnTo>
                    <a:pt x="411" y="439"/>
                  </a:lnTo>
                  <a:lnTo>
                    <a:pt x="411" y="434"/>
                  </a:lnTo>
                  <a:lnTo>
                    <a:pt x="416" y="434"/>
                  </a:lnTo>
                  <a:lnTo>
                    <a:pt x="416" y="434"/>
                  </a:lnTo>
                  <a:lnTo>
                    <a:pt x="420" y="434"/>
                  </a:lnTo>
                  <a:lnTo>
                    <a:pt x="420" y="434"/>
                  </a:lnTo>
                  <a:lnTo>
                    <a:pt x="420" y="434"/>
                  </a:lnTo>
                  <a:lnTo>
                    <a:pt x="420" y="434"/>
                  </a:lnTo>
                  <a:lnTo>
                    <a:pt x="424" y="430"/>
                  </a:lnTo>
                  <a:lnTo>
                    <a:pt x="424" y="430"/>
                  </a:lnTo>
                  <a:lnTo>
                    <a:pt x="424" y="434"/>
                  </a:lnTo>
                  <a:lnTo>
                    <a:pt x="424" y="434"/>
                  </a:lnTo>
                  <a:lnTo>
                    <a:pt x="424" y="434"/>
                  </a:lnTo>
                  <a:lnTo>
                    <a:pt x="424" y="434"/>
                  </a:lnTo>
                  <a:lnTo>
                    <a:pt x="429" y="434"/>
                  </a:lnTo>
                  <a:lnTo>
                    <a:pt x="429" y="434"/>
                  </a:lnTo>
                  <a:lnTo>
                    <a:pt x="429" y="434"/>
                  </a:lnTo>
                  <a:lnTo>
                    <a:pt x="429" y="434"/>
                  </a:lnTo>
                  <a:lnTo>
                    <a:pt x="429" y="430"/>
                  </a:lnTo>
                  <a:lnTo>
                    <a:pt x="429" y="430"/>
                  </a:lnTo>
                  <a:lnTo>
                    <a:pt x="429" y="430"/>
                  </a:lnTo>
                  <a:lnTo>
                    <a:pt x="433" y="430"/>
                  </a:lnTo>
                  <a:lnTo>
                    <a:pt x="433" y="430"/>
                  </a:lnTo>
                  <a:lnTo>
                    <a:pt x="438" y="430"/>
                  </a:lnTo>
                  <a:lnTo>
                    <a:pt x="438" y="434"/>
                  </a:lnTo>
                  <a:lnTo>
                    <a:pt x="438" y="434"/>
                  </a:lnTo>
                  <a:lnTo>
                    <a:pt x="442" y="430"/>
                  </a:lnTo>
                  <a:lnTo>
                    <a:pt x="442" y="430"/>
                  </a:lnTo>
                  <a:lnTo>
                    <a:pt x="442" y="430"/>
                  </a:lnTo>
                  <a:lnTo>
                    <a:pt x="442" y="430"/>
                  </a:lnTo>
                  <a:lnTo>
                    <a:pt x="447" y="430"/>
                  </a:lnTo>
                  <a:lnTo>
                    <a:pt x="447" y="430"/>
                  </a:lnTo>
                  <a:lnTo>
                    <a:pt x="447" y="430"/>
                  </a:lnTo>
                  <a:lnTo>
                    <a:pt x="447" y="430"/>
                  </a:lnTo>
                  <a:lnTo>
                    <a:pt x="447" y="430"/>
                  </a:lnTo>
                  <a:lnTo>
                    <a:pt x="451" y="430"/>
                  </a:lnTo>
                  <a:lnTo>
                    <a:pt x="451" y="430"/>
                  </a:lnTo>
                  <a:lnTo>
                    <a:pt x="451" y="430"/>
                  </a:lnTo>
                  <a:lnTo>
                    <a:pt x="451" y="430"/>
                  </a:lnTo>
                  <a:lnTo>
                    <a:pt x="451" y="430"/>
                  </a:lnTo>
                  <a:lnTo>
                    <a:pt x="451" y="425"/>
                  </a:lnTo>
                  <a:lnTo>
                    <a:pt x="451" y="425"/>
                  </a:lnTo>
                  <a:lnTo>
                    <a:pt x="451" y="425"/>
                  </a:lnTo>
                  <a:lnTo>
                    <a:pt x="447" y="425"/>
                  </a:lnTo>
                  <a:lnTo>
                    <a:pt x="447" y="425"/>
                  </a:lnTo>
                  <a:lnTo>
                    <a:pt x="447" y="425"/>
                  </a:lnTo>
                  <a:lnTo>
                    <a:pt x="447" y="425"/>
                  </a:lnTo>
                  <a:lnTo>
                    <a:pt x="442" y="421"/>
                  </a:lnTo>
                  <a:lnTo>
                    <a:pt x="442" y="421"/>
                  </a:lnTo>
                  <a:lnTo>
                    <a:pt x="442" y="421"/>
                  </a:lnTo>
                  <a:lnTo>
                    <a:pt x="442" y="421"/>
                  </a:lnTo>
                  <a:lnTo>
                    <a:pt x="447" y="416"/>
                  </a:lnTo>
                  <a:lnTo>
                    <a:pt x="447" y="416"/>
                  </a:lnTo>
                  <a:lnTo>
                    <a:pt x="447" y="416"/>
                  </a:lnTo>
                  <a:lnTo>
                    <a:pt x="447" y="416"/>
                  </a:lnTo>
                  <a:lnTo>
                    <a:pt x="447" y="412"/>
                  </a:lnTo>
                  <a:lnTo>
                    <a:pt x="447" y="412"/>
                  </a:lnTo>
                  <a:lnTo>
                    <a:pt x="447" y="412"/>
                  </a:lnTo>
                  <a:lnTo>
                    <a:pt x="451" y="408"/>
                  </a:lnTo>
                  <a:lnTo>
                    <a:pt x="451" y="408"/>
                  </a:lnTo>
                  <a:lnTo>
                    <a:pt x="451" y="403"/>
                  </a:lnTo>
                  <a:lnTo>
                    <a:pt x="451" y="403"/>
                  </a:lnTo>
                  <a:lnTo>
                    <a:pt x="455" y="403"/>
                  </a:lnTo>
                  <a:lnTo>
                    <a:pt x="455" y="403"/>
                  </a:lnTo>
                  <a:lnTo>
                    <a:pt x="455" y="399"/>
                  </a:lnTo>
                  <a:lnTo>
                    <a:pt x="455" y="394"/>
                  </a:lnTo>
                  <a:lnTo>
                    <a:pt x="455" y="394"/>
                  </a:lnTo>
                  <a:lnTo>
                    <a:pt x="455" y="394"/>
                  </a:lnTo>
                  <a:lnTo>
                    <a:pt x="455" y="394"/>
                  </a:lnTo>
                  <a:lnTo>
                    <a:pt x="455" y="390"/>
                  </a:lnTo>
                  <a:lnTo>
                    <a:pt x="455" y="390"/>
                  </a:lnTo>
                  <a:lnTo>
                    <a:pt x="460" y="390"/>
                  </a:lnTo>
                  <a:lnTo>
                    <a:pt x="460" y="390"/>
                  </a:lnTo>
                  <a:lnTo>
                    <a:pt x="460" y="390"/>
                  </a:lnTo>
                  <a:lnTo>
                    <a:pt x="460" y="390"/>
                  </a:lnTo>
                  <a:lnTo>
                    <a:pt x="460" y="385"/>
                  </a:lnTo>
                  <a:lnTo>
                    <a:pt x="460" y="381"/>
                  </a:lnTo>
                  <a:lnTo>
                    <a:pt x="464" y="381"/>
                  </a:lnTo>
                  <a:lnTo>
                    <a:pt x="464" y="381"/>
                  </a:lnTo>
                  <a:lnTo>
                    <a:pt x="464" y="381"/>
                  </a:lnTo>
                  <a:lnTo>
                    <a:pt x="464" y="381"/>
                  </a:lnTo>
                  <a:lnTo>
                    <a:pt x="464" y="381"/>
                  </a:lnTo>
                  <a:lnTo>
                    <a:pt x="464" y="377"/>
                  </a:lnTo>
                  <a:lnTo>
                    <a:pt x="464" y="377"/>
                  </a:lnTo>
                  <a:lnTo>
                    <a:pt x="464" y="377"/>
                  </a:lnTo>
                  <a:lnTo>
                    <a:pt x="469" y="377"/>
                  </a:lnTo>
                  <a:lnTo>
                    <a:pt x="469" y="372"/>
                  </a:lnTo>
                  <a:lnTo>
                    <a:pt x="469" y="372"/>
                  </a:lnTo>
                  <a:lnTo>
                    <a:pt x="469" y="372"/>
                  </a:lnTo>
                  <a:lnTo>
                    <a:pt x="469" y="372"/>
                  </a:lnTo>
                  <a:lnTo>
                    <a:pt x="478" y="368"/>
                  </a:lnTo>
                  <a:lnTo>
                    <a:pt x="478" y="368"/>
                  </a:lnTo>
                  <a:lnTo>
                    <a:pt x="478" y="368"/>
                  </a:lnTo>
                  <a:lnTo>
                    <a:pt x="482" y="368"/>
                  </a:lnTo>
                  <a:lnTo>
                    <a:pt x="482" y="368"/>
                  </a:lnTo>
                  <a:lnTo>
                    <a:pt x="482" y="368"/>
                  </a:lnTo>
                  <a:lnTo>
                    <a:pt x="486" y="368"/>
                  </a:lnTo>
                  <a:lnTo>
                    <a:pt x="486" y="363"/>
                  </a:lnTo>
                  <a:lnTo>
                    <a:pt x="486" y="363"/>
                  </a:lnTo>
                  <a:lnTo>
                    <a:pt x="486" y="363"/>
                  </a:lnTo>
                  <a:lnTo>
                    <a:pt x="486" y="363"/>
                  </a:lnTo>
                  <a:lnTo>
                    <a:pt x="486" y="363"/>
                  </a:lnTo>
                  <a:lnTo>
                    <a:pt x="486" y="363"/>
                  </a:lnTo>
                  <a:lnTo>
                    <a:pt x="486" y="363"/>
                  </a:lnTo>
                  <a:lnTo>
                    <a:pt x="491" y="363"/>
                  </a:lnTo>
                  <a:lnTo>
                    <a:pt x="491" y="359"/>
                  </a:lnTo>
                  <a:lnTo>
                    <a:pt x="491" y="359"/>
                  </a:lnTo>
                  <a:lnTo>
                    <a:pt x="491" y="359"/>
                  </a:lnTo>
                  <a:lnTo>
                    <a:pt x="491" y="359"/>
                  </a:lnTo>
                  <a:lnTo>
                    <a:pt x="491" y="359"/>
                  </a:lnTo>
                  <a:lnTo>
                    <a:pt x="491" y="359"/>
                  </a:lnTo>
                  <a:lnTo>
                    <a:pt x="495" y="359"/>
                  </a:lnTo>
                  <a:lnTo>
                    <a:pt x="495" y="359"/>
                  </a:lnTo>
                  <a:lnTo>
                    <a:pt x="495" y="359"/>
                  </a:lnTo>
                  <a:lnTo>
                    <a:pt x="495" y="359"/>
                  </a:lnTo>
                  <a:lnTo>
                    <a:pt x="495" y="359"/>
                  </a:lnTo>
                  <a:lnTo>
                    <a:pt x="495" y="359"/>
                  </a:lnTo>
                  <a:lnTo>
                    <a:pt x="495" y="354"/>
                  </a:lnTo>
                  <a:lnTo>
                    <a:pt x="495" y="354"/>
                  </a:lnTo>
                  <a:lnTo>
                    <a:pt x="500" y="354"/>
                  </a:lnTo>
                  <a:lnTo>
                    <a:pt x="500" y="354"/>
                  </a:lnTo>
                  <a:lnTo>
                    <a:pt x="500" y="354"/>
                  </a:lnTo>
                  <a:lnTo>
                    <a:pt x="500" y="354"/>
                  </a:lnTo>
                  <a:lnTo>
                    <a:pt x="500" y="354"/>
                  </a:lnTo>
                  <a:lnTo>
                    <a:pt x="500" y="350"/>
                  </a:lnTo>
                  <a:lnTo>
                    <a:pt x="500" y="350"/>
                  </a:lnTo>
                  <a:lnTo>
                    <a:pt x="500" y="350"/>
                  </a:lnTo>
                  <a:lnTo>
                    <a:pt x="495" y="350"/>
                  </a:lnTo>
                  <a:lnTo>
                    <a:pt x="495" y="350"/>
                  </a:lnTo>
                  <a:lnTo>
                    <a:pt x="495" y="350"/>
                  </a:lnTo>
                  <a:lnTo>
                    <a:pt x="500" y="350"/>
                  </a:lnTo>
                  <a:lnTo>
                    <a:pt x="495" y="346"/>
                  </a:lnTo>
                  <a:lnTo>
                    <a:pt x="495" y="346"/>
                  </a:lnTo>
                  <a:lnTo>
                    <a:pt x="491" y="346"/>
                  </a:lnTo>
                  <a:lnTo>
                    <a:pt x="491" y="346"/>
                  </a:lnTo>
                  <a:lnTo>
                    <a:pt x="486" y="346"/>
                  </a:lnTo>
                  <a:lnTo>
                    <a:pt x="486" y="346"/>
                  </a:lnTo>
                  <a:lnTo>
                    <a:pt x="482" y="341"/>
                  </a:lnTo>
                  <a:lnTo>
                    <a:pt x="482" y="341"/>
                  </a:lnTo>
                  <a:lnTo>
                    <a:pt x="482" y="341"/>
                  </a:lnTo>
                  <a:lnTo>
                    <a:pt x="478" y="337"/>
                  </a:lnTo>
                  <a:lnTo>
                    <a:pt x="478" y="332"/>
                  </a:lnTo>
                  <a:lnTo>
                    <a:pt x="478" y="332"/>
                  </a:lnTo>
                  <a:lnTo>
                    <a:pt x="478" y="328"/>
                  </a:lnTo>
                  <a:lnTo>
                    <a:pt x="473" y="328"/>
                  </a:lnTo>
                  <a:lnTo>
                    <a:pt x="473" y="323"/>
                  </a:lnTo>
                  <a:lnTo>
                    <a:pt x="478" y="323"/>
                  </a:lnTo>
                  <a:lnTo>
                    <a:pt x="478" y="323"/>
                  </a:lnTo>
                  <a:lnTo>
                    <a:pt x="478" y="323"/>
                  </a:lnTo>
                  <a:lnTo>
                    <a:pt x="473" y="323"/>
                  </a:lnTo>
                  <a:lnTo>
                    <a:pt x="473" y="315"/>
                  </a:lnTo>
                  <a:lnTo>
                    <a:pt x="469" y="310"/>
                  </a:lnTo>
                  <a:lnTo>
                    <a:pt x="469" y="306"/>
                  </a:lnTo>
                  <a:lnTo>
                    <a:pt x="469" y="306"/>
                  </a:lnTo>
                  <a:lnTo>
                    <a:pt x="469" y="301"/>
                  </a:lnTo>
                  <a:lnTo>
                    <a:pt x="473" y="301"/>
                  </a:lnTo>
                  <a:lnTo>
                    <a:pt x="473" y="297"/>
                  </a:lnTo>
                  <a:lnTo>
                    <a:pt x="473" y="297"/>
                  </a:lnTo>
                  <a:lnTo>
                    <a:pt x="473" y="297"/>
                  </a:lnTo>
                  <a:lnTo>
                    <a:pt x="473" y="292"/>
                  </a:lnTo>
                  <a:lnTo>
                    <a:pt x="473" y="292"/>
                  </a:lnTo>
                  <a:lnTo>
                    <a:pt x="478" y="292"/>
                  </a:lnTo>
                  <a:lnTo>
                    <a:pt x="478" y="292"/>
                  </a:lnTo>
                  <a:lnTo>
                    <a:pt x="478" y="288"/>
                  </a:lnTo>
                  <a:lnTo>
                    <a:pt x="478" y="288"/>
                  </a:lnTo>
                  <a:lnTo>
                    <a:pt x="478" y="288"/>
                  </a:lnTo>
                  <a:lnTo>
                    <a:pt x="482" y="279"/>
                  </a:lnTo>
                  <a:lnTo>
                    <a:pt x="486" y="275"/>
                  </a:lnTo>
                  <a:lnTo>
                    <a:pt x="486" y="275"/>
                  </a:lnTo>
                  <a:lnTo>
                    <a:pt x="491" y="266"/>
                  </a:lnTo>
                  <a:lnTo>
                    <a:pt x="491" y="266"/>
                  </a:lnTo>
                  <a:lnTo>
                    <a:pt x="495" y="266"/>
                  </a:lnTo>
                  <a:lnTo>
                    <a:pt x="495" y="261"/>
                  </a:lnTo>
                  <a:lnTo>
                    <a:pt x="500" y="257"/>
                  </a:lnTo>
                  <a:lnTo>
                    <a:pt x="500" y="253"/>
                  </a:lnTo>
                  <a:lnTo>
                    <a:pt x="504" y="253"/>
                  </a:lnTo>
                  <a:lnTo>
                    <a:pt x="504" y="248"/>
                  </a:lnTo>
                  <a:lnTo>
                    <a:pt x="504" y="248"/>
                  </a:lnTo>
                  <a:lnTo>
                    <a:pt x="504" y="248"/>
                  </a:lnTo>
                  <a:lnTo>
                    <a:pt x="509" y="239"/>
                  </a:lnTo>
                  <a:lnTo>
                    <a:pt x="513" y="239"/>
                  </a:lnTo>
                  <a:lnTo>
                    <a:pt x="513" y="239"/>
                  </a:lnTo>
                  <a:lnTo>
                    <a:pt x="513" y="235"/>
                  </a:lnTo>
                  <a:lnTo>
                    <a:pt x="513" y="235"/>
                  </a:lnTo>
                  <a:lnTo>
                    <a:pt x="513" y="235"/>
                  </a:lnTo>
                  <a:lnTo>
                    <a:pt x="513" y="230"/>
                  </a:lnTo>
                  <a:lnTo>
                    <a:pt x="517" y="230"/>
                  </a:lnTo>
                  <a:lnTo>
                    <a:pt x="517" y="226"/>
                  </a:lnTo>
                  <a:lnTo>
                    <a:pt x="517" y="226"/>
                  </a:lnTo>
                  <a:lnTo>
                    <a:pt x="517" y="226"/>
                  </a:lnTo>
                  <a:lnTo>
                    <a:pt x="522" y="226"/>
                  </a:lnTo>
                  <a:lnTo>
                    <a:pt x="526" y="226"/>
                  </a:lnTo>
                  <a:lnTo>
                    <a:pt x="526" y="226"/>
                  </a:lnTo>
                  <a:lnTo>
                    <a:pt x="526" y="226"/>
                  </a:lnTo>
                  <a:lnTo>
                    <a:pt x="522" y="230"/>
                  </a:lnTo>
                  <a:lnTo>
                    <a:pt x="522" y="226"/>
                  </a:lnTo>
                  <a:lnTo>
                    <a:pt x="517" y="226"/>
                  </a:lnTo>
                  <a:lnTo>
                    <a:pt x="522" y="230"/>
                  </a:lnTo>
                  <a:lnTo>
                    <a:pt x="522" y="230"/>
                  </a:lnTo>
                  <a:lnTo>
                    <a:pt x="522" y="230"/>
                  </a:lnTo>
                  <a:lnTo>
                    <a:pt x="526" y="226"/>
                  </a:lnTo>
                  <a:lnTo>
                    <a:pt x="526" y="222"/>
                  </a:lnTo>
                  <a:lnTo>
                    <a:pt x="531" y="222"/>
                  </a:lnTo>
                  <a:lnTo>
                    <a:pt x="531" y="222"/>
                  </a:lnTo>
                  <a:lnTo>
                    <a:pt x="535" y="222"/>
                  </a:lnTo>
                  <a:lnTo>
                    <a:pt x="535" y="217"/>
                  </a:lnTo>
                  <a:lnTo>
                    <a:pt x="535" y="217"/>
                  </a:lnTo>
                  <a:lnTo>
                    <a:pt x="531" y="217"/>
                  </a:lnTo>
                  <a:lnTo>
                    <a:pt x="531" y="217"/>
                  </a:lnTo>
                  <a:lnTo>
                    <a:pt x="531" y="217"/>
                  </a:lnTo>
                  <a:lnTo>
                    <a:pt x="531" y="213"/>
                  </a:lnTo>
                  <a:lnTo>
                    <a:pt x="531" y="213"/>
                  </a:lnTo>
                  <a:lnTo>
                    <a:pt x="526" y="213"/>
                  </a:lnTo>
                  <a:lnTo>
                    <a:pt x="526" y="213"/>
                  </a:lnTo>
                  <a:lnTo>
                    <a:pt x="526" y="213"/>
                  </a:lnTo>
                  <a:lnTo>
                    <a:pt x="526" y="213"/>
                  </a:lnTo>
                  <a:lnTo>
                    <a:pt x="526" y="217"/>
                  </a:lnTo>
                  <a:lnTo>
                    <a:pt x="526" y="217"/>
                  </a:lnTo>
                  <a:lnTo>
                    <a:pt x="526" y="213"/>
                  </a:lnTo>
                  <a:lnTo>
                    <a:pt x="526" y="213"/>
                  </a:lnTo>
                  <a:lnTo>
                    <a:pt x="526" y="213"/>
                  </a:lnTo>
                  <a:lnTo>
                    <a:pt x="531" y="204"/>
                  </a:lnTo>
                  <a:lnTo>
                    <a:pt x="535" y="204"/>
                  </a:lnTo>
                  <a:lnTo>
                    <a:pt x="540" y="195"/>
                  </a:lnTo>
                  <a:lnTo>
                    <a:pt x="540" y="195"/>
                  </a:lnTo>
                  <a:lnTo>
                    <a:pt x="544" y="195"/>
                  </a:lnTo>
                  <a:lnTo>
                    <a:pt x="544" y="195"/>
                  </a:lnTo>
                  <a:lnTo>
                    <a:pt x="548" y="195"/>
                  </a:lnTo>
                  <a:lnTo>
                    <a:pt x="548" y="195"/>
                  </a:lnTo>
                  <a:lnTo>
                    <a:pt x="548" y="195"/>
                  </a:lnTo>
                  <a:lnTo>
                    <a:pt x="548" y="195"/>
                  </a:lnTo>
                  <a:lnTo>
                    <a:pt x="548" y="195"/>
                  </a:lnTo>
                  <a:lnTo>
                    <a:pt x="553" y="195"/>
                  </a:lnTo>
                  <a:lnTo>
                    <a:pt x="553" y="191"/>
                  </a:lnTo>
                  <a:lnTo>
                    <a:pt x="553" y="191"/>
                  </a:lnTo>
                  <a:lnTo>
                    <a:pt x="557" y="191"/>
                  </a:lnTo>
                  <a:lnTo>
                    <a:pt x="571" y="186"/>
                  </a:lnTo>
                  <a:lnTo>
                    <a:pt x="575" y="186"/>
                  </a:lnTo>
                  <a:lnTo>
                    <a:pt x="584" y="182"/>
                  </a:lnTo>
                  <a:lnTo>
                    <a:pt x="584" y="182"/>
                  </a:lnTo>
                  <a:lnTo>
                    <a:pt x="588" y="182"/>
                  </a:lnTo>
                  <a:lnTo>
                    <a:pt x="588" y="182"/>
                  </a:lnTo>
                  <a:lnTo>
                    <a:pt x="593" y="182"/>
                  </a:lnTo>
                  <a:lnTo>
                    <a:pt x="593" y="182"/>
                  </a:lnTo>
                  <a:lnTo>
                    <a:pt x="597" y="182"/>
                  </a:lnTo>
                  <a:lnTo>
                    <a:pt x="602" y="177"/>
                  </a:lnTo>
                  <a:lnTo>
                    <a:pt x="602" y="177"/>
                  </a:lnTo>
                  <a:lnTo>
                    <a:pt x="602" y="173"/>
                  </a:lnTo>
                  <a:lnTo>
                    <a:pt x="606" y="168"/>
                  </a:lnTo>
                  <a:lnTo>
                    <a:pt x="606" y="168"/>
                  </a:lnTo>
                  <a:lnTo>
                    <a:pt x="610" y="168"/>
                  </a:lnTo>
                  <a:lnTo>
                    <a:pt x="615" y="164"/>
                  </a:lnTo>
                  <a:lnTo>
                    <a:pt x="615" y="164"/>
                  </a:lnTo>
                  <a:close/>
                </a:path>
              </a:pathLst>
            </a:custGeom>
            <a:solidFill>
              <a:srgbClr val="565A5C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81" name="Freeform 12"/>
            <p:cNvSpPr>
              <a:spLocks/>
            </p:cNvSpPr>
            <p:nvPr/>
          </p:nvSpPr>
          <p:spPr bwMode="auto">
            <a:xfrm>
              <a:off x="3529013" y="5364163"/>
              <a:ext cx="6350" cy="6350"/>
            </a:xfrm>
            <a:custGeom>
              <a:avLst/>
              <a:gdLst>
                <a:gd name="T0" fmla="*/ 4 w 4"/>
                <a:gd name="T1" fmla="*/ 0 h 4"/>
                <a:gd name="T2" fmla="*/ 4 w 4"/>
                <a:gd name="T3" fmla="*/ 0 h 4"/>
                <a:gd name="T4" fmla="*/ 4 w 4"/>
                <a:gd name="T5" fmla="*/ 0 h 4"/>
                <a:gd name="T6" fmla="*/ 0 w 4"/>
                <a:gd name="T7" fmla="*/ 0 h 4"/>
                <a:gd name="T8" fmla="*/ 0 w 4"/>
                <a:gd name="T9" fmla="*/ 0 h 4"/>
                <a:gd name="T10" fmla="*/ 0 w 4"/>
                <a:gd name="T11" fmla="*/ 0 h 4"/>
                <a:gd name="T12" fmla="*/ 0 w 4"/>
                <a:gd name="T13" fmla="*/ 4 h 4"/>
                <a:gd name="T14" fmla="*/ 0 w 4"/>
                <a:gd name="T15" fmla="*/ 4 h 4"/>
                <a:gd name="T16" fmla="*/ 0 w 4"/>
                <a:gd name="T17" fmla="*/ 4 h 4"/>
                <a:gd name="T18" fmla="*/ 4 w 4"/>
                <a:gd name="T19" fmla="*/ 4 h 4"/>
                <a:gd name="T20" fmla="*/ 4 w 4"/>
                <a:gd name="T21" fmla="*/ 4 h 4"/>
                <a:gd name="T22" fmla="*/ 4 w 4"/>
                <a:gd name="T23" fmla="*/ 4 h 4"/>
                <a:gd name="T24" fmla="*/ 4 w 4"/>
                <a:gd name="T25" fmla="*/ 4 h 4"/>
                <a:gd name="T26" fmla="*/ 4 w 4"/>
                <a:gd name="T27" fmla="*/ 4 h 4"/>
                <a:gd name="T28" fmla="*/ 4 w 4"/>
                <a:gd name="T29" fmla="*/ 4 h 4"/>
                <a:gd name="T30" fmla="*/ 4 w 4"/>
                <a:gd name="T31" fmla="*/ 4 h 4"/>
                <a:gd name="T32" fmla="*/ 4 w 4"/>
                <a:gd name="T33" fmla="*/ 4 h 4"/>
                <a:gd name="T34" fmla="*/ 4 w 4"/>
                <a:gd name="T35" fmla="*/ 0 h 4"/>
                <a:gd name="T36" fmla="*/ 4 w 4"/>
                <a:gd name="T3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" h="4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82" name="Freeform 13"/>
            <p:cNvSpPr>
              <a:spLocks/>
            </p:cNvSpPr>
            <p:nvPr/>
          </p:nvSpPr>
          <p:spPr bwMode="auto">
            <a:xfrm>
              <a:off x="3605213" y="5019676"/>
              <a:ext cx="266700" cy="176213"/>
            </a:xfrm>
            <a:custGeom>
              <a:avLst/>
              <a:gdLst>
                <a:gd name="T0" fmla="*/ 164 w 168"/>
                <a:gd name="T1" fmla="*/ 18 h 111"/>
                <a:gd name="T2" fmla="*/ 160 w 168"/>
                <a:gd name="T3" fmla="*/ 13 h 111"/>
                <a:gd name="T4" fmla="*/ 160 w 168"/>
                <a:gd name="T5" fmla="*/ 4 h 111"/>
                <a:gd name="T6" fmla="*/ 155 w 168"/>
                <a:gd name="T7" fmla="*/ 0 h 111"/>
                <a:gd name="T8" fmla="*/ 142 w 168"/>
                <a:gd name="T9" fmla="*/ 4 h 111"/>
                <a:gd name="T10" fmla="*/ 142 w 168"/>
                <a:gd name="T11" fmla="*/ 9 h 111"/>
                <a:gd name="T12" fmla="*/ 137 w 168"/>
                <a:gd name="T13" fmla="*/ 13 h 111"/>
                <a:gd name="T14" fmla="*/ 120 w 168"/>
                <a:gd name="T15" fmla="*/ 13 h 111"/>
                <a:gd name="T16" fmla="*/ 115 w 168"/>
                <a:gd name="T17" fmla="*/ 18 h 111"/>
                <a:gd name="T18" fmla="*/ 111 w 168"/>
                <a:gd name="T19" fmla="*/ 18 h 111"/>
                <a:gd name="T20" fmla="*/ 89 w 168"/>
                <a:gd name="T21" fmla="*/ 18 h 111"/>
                <a:gd name="T22" fmla="*/ 80 w 168"/>
                <a:gd name="T23" fmla="*/ 22 h 111"/>
                <a:gd name="T24" fmla="*/ 75 w 168"/>
                <a:gd name="T25" fmla="*/ 31 h 111"/>
                <a:gd name="T26" fmla="*/ 71 w 168"/>
                <a:gd name="T27" fmla="*/ 31 h 111"/>
                <a:gd name="T28" fmla="*/ 67 w 168"/>
                <a:gd name="T29" fmla="*/ 35 h 111"/>
                <a:gd name="T30" fmla="*/ 58 w 168"/>
                <a:gd name="T31" fmla="*/ 35 h 111"/>
                <a:gd name="T32" fmla="*/ 40 w 168"/>
                <a:gd name="T33" fmla="*/ 31 h 111"/>
                <a:gd name="T34" fmla="*/ 27 w 168"/>
                <a:gd name="T35" fmla="*/ 27 h 111"/>
                <a:gd name="T36" fmla="*/ 18 w 168"/>
                <a:gd name="T37" fmla="*/ 31 h 111"/>
                <a:gd name="T38" fmla="*/ 9 w 168"/>
                <a:gd name="T39" fmla="*/ 40 h 111"/>
                <a:gd name="T40" fmla="*/ 5 w 168"/>
                <a:gd name="T41" fmla="*/ 44 h 111"/>
                <a:gd name="T42" fmla="*/ 5 w 168"/>
                <a:gd name="T43" fmla="*/ 49 h 111"/>
                <a:gd name="T44" fmla="*/ 18 w 168"/>
                <a:gd name="T45" fmla="*/ 53 h 111"/>
                <a:gd name="T46" fmla="*/ 9 w 168"/>
                <a:gd name="T47" fmla="*/ 66 h 111"/>
                <a:gd name="T48" fmla="*/ 9 w 168"/>
                <a:gd name="T49" fmla="*/ 66 h 111"/>
                <a:gd name="T50" fmla="*/ 13 w 168"/>
                <a:gd name="T51" fmla="*/ 75 h 111"/>
                <a:gd name="T52" fmla="*/ 22 w 168"/>
                <a:gd name="T53" fmla="*/ 84 h 111"/>
                <a:gd name="T54" fmla="*/ 27 w 168"/>
                <a:gd name="T55" fmla="*/ 97 h 111"/>
                <a:gd name="T56" fmla="*/ 18 w 168"/>
                <a:gd name="T57" fmla="*/ 102 h 111"/>
                <a:gd name="T58" fmla="*/ 13 w 168"/>
                <a:gd name="T59" fmla="*/ 106 h 111"/>
                <a:gd name="T60" fmla="*/ 31 w 168"/>
                <a:gd name="T61" fmla="*/ 111 h 111"/>
                <a:gd name="T62" fmla="*/ 36 w 168"/>
                <a:gd name="T63" fmla="*/ 102 h 111"/>
                <a:gd name="T64" fmla="*/ 40 w 168"/>
                <a:gd name="T65" fmla="*/ 106 h 111"/>
                <a:gd name="T66" fmla="*/ 58 w 168"/>
                <a:gd name="T67" fmla="*/ 102 h 111"/>
                <a:gd name="T68" fmla="*/ 67 w 168"/>
                <a:gd name="T69" fmla="*/ 93 h 111"/>
                <a:gd name="T70" fmla="*/ 67 w 168"/>
                <a:gd name="T71" fmla="*/ 97 h 111"/>
                <a:gd name="T72" fmla="*/ 71 w 168"/>
                <a:gd name="T73" fmla="*/ 102 h 111"/>
                <a:gd name="T74" fmla="*/ 84 w 168"/>
                <a:gd name="T75" fmla="*/ 106 h 111"/>
                <a:gd name="T76" fmla="*/ 93 w 168"/>
                <a:gd name="T77" fmla="*/ 106 h 111"/>
                <a:gd name="T78" fmla="*/ 106 w 168"/>
                <a:gd name="T79" fmla="*/ 106 h 111"/>
                <a:gd name="T80" fmla="*/ 102 w 168"/>
                <a:gd name="T81" fmla="*/ 97 h 111"/>
                <a:gd name="T82" fmla="*/ 106 w 168"/>
                <a:gd name="T83" fmla="*/ 93 h 111"/>
                <a:gd name="T84" fmla="*/ 106 w 168"/>
                <a:gd name="T85" fmla="*/ 93 h 111"/>
                <a:gd name="T86" fmla="*/ 102 w 168"/>
                <a:gd name="T87" fmla="*/ 89 h 111"/>
                <a:gd name="T88" fmla="*/ 111 w 168"/>
                <a:gd name="T89" fmla="*/ 80 h 111"/>
                <a:gd name="T90" fmla="*/ 120 w 168"/>
                <a:gd name="T91" fmla="*/ 80 h 111"/>
                <a:gd name="T92" fmla="*/ 124 w 168"/>
                <a:gd name="T93" fmla="*/ 71 h 111"/>
                <a:gd name="T94" fmla="*/ 124 w 168"/>
                <a:gd name="T95" fmla="*/ 62 h 111"/>
                <a:gd name="T96" fmla="*/ 120 w 168"/>
                <a:gd name="T97" fmla="*/ 53 h 111"/>
                <a:gd name="T98" fmla="*/ 129 w 168"/>
                <a:gd name="T99" fmla="*/ 49 h 111"/>
                <a:gd name="T100" fmla="*/ 142 w 168"/>
                <a:gd name="T101" fmla="*/ 44 h 111"/>
                <a:gd name="T102" fmla="*/ 146 w 168"/>
                <a:gd name="T103" fmla="*/ 40 h 111"/>
                <a:gd name="T104" fmla="*/ 151 w 168"/>
                <a:gd name="T105" fmla="*/ 35 h 111"/>
                <a:gd name="T106" fmla="*/ 155 w 168"/>
                <a:gd name="T107" fmla="*/ 35 h 111"/>
                <a:gd name="T108" fmla="*/ 155 w 168"/>
                <a:gd name="T109" fmla="*/ 31 h 111"/>
                <a:gd name="T110" fmla="*/ 160 w 168"/>
                <a:gd name="T111" fmla="*/ 27 h 111"/>
                <a:gd name="T112" fmla="*/ 164 w 168"/>
                <a:gd name="T113" fmla="*/ 2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8" h="111">
                  <a:moveTo>
                    <a:pt x="168" y="27"/>
                  </a:moveTo>
                  <a:lnTo>
                    <a:pt x="164" y="22"/>
                  </a:lnTo>
                  <a:lnTo>
                    <a:pt x="164" y="22"/>
                  </a:lnTo>
                  <a:lnTo>
                    <a:pt x="164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0" y="13"/>
                  </a:lnTo>
                  <a:lnTo>
                    <a:pt x="160" y="13"/>
                  </a:lnTo>
                  <a:lnTo>
                    <a:pt x="160" y="13"/>
                  </a:lnTo>
                  <a:lnTo>
                    <a:pt x="160" y="13"/>
                  </a:lnTo>
                  <a:lnTo>
                    <a:pt x="160" y="13"/>
                  </a:lnTo>
                  <a:lnTo>
                    <a:pt x="160" y="13"/>
                  </a:lnTo>
                  <a:lnTo>
                    <a:pt x="160" y="13"/>
                  </a:lnTo>
                  <a:lnTo>
                    <a:pt x="160" y="9"/>
                  </a:lnTo>
                  <a:lnTo>
                    <a:pt x="160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4"/>
                  </a:lnTo>
                  <a:lnTo>
                    <a:pt x="160" y="4"/>
                  </a:lnTo>
                  <a:lnTo>
                    <a:pt x="160" y="4"/>
                  </a:lnTo>
                  <a:lnTo>
                    <a:pt x="160" y="4"/>
                  </a:lnTo>
                  <a:lnTo>
                    <a:pt x="160" y="4"/>
                  </a:lnTo>
                  <a:lnTo>
                    <a:pt x="160" y="4"/>
                  </a:lnTo>
                  <a:lnTo>
                    <a:pt x="160" y="4"/>
                  </a:lnTo>
                  <a:lnTo>
                    <a:pt x="160" y="4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1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37" y="13"/>
                  </a:lnTo>
                  <a:lnTo>
                    <a:pt x="133" y="13"/>
                  </a:lnTo>
                  <a:lnTo>
                    <a:pt x="133" y="13"/>
                  </a:lnTo>
                  <a:lnTo>
                    <a:pt x="133" y="13"/>
                  </a:lnTo>
                  <a:lnTo>
                    <a:pt x="129" y="13"/>
                  </a:lnTo>
                  <a:lnTo>
                    <a:pt x="129" y="13"/>
                  </a:lnTo>
                  <a:lnTo>
                    <a:pt x="129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15" y="13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06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89" y="18"/>
                  </a:lnTo>
                  <a:lnTo>
                    <a:pt x="89" y="22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5" y="31"/>
                  </a:lnTo>
                  <a:lnTo>
                    <a:pt x="75" y="27"/>
                  </a:lnTo>
                  <a:lnTo>
                    <a:pt x="75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67" y="31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2" y="40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3" y="35"/>
                  </a:lnTo>
                  <a:lnTo>
                    <a:pt x="49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1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3" y="31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9" y="35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0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3" y="58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71"/>
                  </a:lnTo>
                  <a:lnTo>
                    <a:pt x="13" y="71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8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8" y="80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31" y="93"/>
                  </a:lnTo>
                  <a:lnTo>
                    <a:pt x="31" y="93"/>
                  </a:lnTo>
                  <a:lnTo>
                    <a:pt x="31" y="93"/>
                  </a:lnTo>
                  <a:lnTo>
                    <a:pt x="31" y="93"/>
                  </a:lnTo>
                  <a:lnTo>
                    <a:pt x="31" y="93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18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6"/>
                  </a:lnTo>
                  <a:lnTo>
                    <a:pt x="13" y="106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22" y="106"/>
                  </a:lnTo>
                  <a:lnTo>
                    <a:pt x="27" y="106"/>
                  </a:lnTo>
                  <a:lnTo>
                    <a:pt x="27" y="111"/>
                  </a:lnTo>
                  <a:lnTo>
                    <a:pt x="27" y="111"/>
                  </a:lnTo>
                  <a:lnTo>
                    <a:pt x="31" y="111"/>
                  </a:lnTo>
                  <a:lnTo>
                    <a:pt x="31" y="111"/>
                  </a:lnTo>
                  <a:lnTo>
                    <a:pt x="31" y="111"/>
                  </a:lnTo>
                  <a:lnTo>
                    <a:pt x="31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8" y="106"/>
                  </a:lnTo>
                  <a:lnTo>
                    <a:pt x="58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2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7"/>
                  </a:lnTo>
                  <a:lnTo>
                    <a:pt x="67" y="97"/>
                  </a:lnTo>
                  <a:lnTo>
                    <a:pt x="67" y="97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4" y="106"/>
                  </a:lnTo>
                  <a:lnTo>
                    <a:pt x="84" y="106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9" y="106"/>
                  </a:lnTo>
                  <a:lnTo>
                    <a:pt x="89" y="106"/>
                  </a:lnTo>
                  <a:lnTo>
                    <a:pt x="89" y="106"/>
                  </a:lnTo>
                  <a:lnTo>
                    <a:pt x="89" y="106"/>
                  </a:lnTo>
                  <a:lnTo>
                    <a:pt x="89" y="106"/>
                  </a:lnTo>
                  <a:lnTo>
                    <a:pt x="93" y="106"/>
                  </a:lnTo>
                  <a:lnTo>
                    <a:pt x="93" y="106"/>
                  </a:lnTo>
                  <a:lnTo>
                    <a:pt x="98" y="111"/>
                  </a:lnTo>
                  <a:lnTo>
                    <a:pt x="98" y="111"/>
                  </a:lnTo>
                  <a:lnTo>
                    <a:pt x="102" y="111"/>
                  </a:lnTo>
                  <a:lnTo>
                    <a:pt x="102" y="106"/>
                  </a:lnTo>
                  <a:lnTo>
                    <a:pt x="106" y="106"/>
                  </a:lnTo>
                  <a:lnTo>
                    <a:pt x="106" y="106"/>
                  </a:lnTo>
                  <a:lnTo>
                    <a:pt x="106" y="106"/>
                  </a:lnTo>
                  <a:lnTo>
                    <a:pt x="106" y="106"/>
                  </a:lnTo>
                  <a:lnTo>
                    <a:pt x="106" y="106"/>
                  </a:lnTo>
                  <a:lnTo>
                    <a:pt x="106" y="102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2" y="97"/>
                  </a:lnTo>
                  <a:lnTo>
                    <a:pt x="102" y="97"/>
                  </a:lnTo>
                  <a:lnTo>
                    <a:pt x="102" y="97"/>
                  </a:lnTo>
                  <a:lnTo>
                    <a:pt x="102" y="97"/>
                  </a:lnTo>
                  <a:lnTo>
                    <a:pt x="102" y="97"/>
                  </a:lnTo>
                  <a:lnTo>
                    <a:pt x="102" y="97"/>
                  </a:lnTo>
                  <a:lnTo>
                    <a:pt x="102" y="97"/>
                  </a:lnTo>
                  <a:lnTo>
                    <a:pt x="102" y="97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6" y="89"/>
                  </a:lnTo>
                  <a:lnTo>
                    <a:pt x="106" y="89"/>
                  </a:lnTo>
                  <a:lnTo>
                    <a:pt x="106" y="89"/>
                  </a:lnTo>
                  <a:lnTo>
                    <a:pt x="106" y="89"/>
                  </a:lnTo>
                  <a:lnTo>
                    <a:pt x="106" y="89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2" y="93"/>
                  </a:lnTo>
                  <a:lnTo>
                    <a:pt x="102" y="89"/>
                  </a:lnTo>
                  <a:lnTo>
                    <a:pt x="102" y="89"/>
                  </a:lnTo>
                  <a:lnTo>
                    <a:pt x="102" y="89"/>
                  </a:lnTo>
                  <a:lnTo>
                    <a:pt x="102" y="89"/>
                  </a:lnTo>
                  <a:lnTo>
                    <a:pt x="102" y="89"/>
                  </a:lnTo>
                  <a:lnTo>
                    <a:pt x="102" y="89"/>
                  </a:lnTo>
                  <a:lnTo>
                    <a:pt x="102" y="89"/>
                  </a:lnTo>
                  <a:lnTo>
                    <a:pt x="102" y="89"/>
                  </a:lnTo>
                  <a:lnTo>
                    <a:pt x="102" y="89"/>
                  </a:lnTo>
                  <a:lnTo>
                    <a:pt x="106" y="84"/>
                  </a:lnTo>
                  <a:lnTo>
                    <a:pt x="106" y="84"/>
                  </a:lnTo>
                  <a:lnTo>
                    <a:pt x="111" y="84"/>
                  </a:lnTo>
                  <a:lnTo>
                    <a:pt x="111" y="84"/>
                  </a:lnTo>
                  <a:lnTo>
                    <a:pt x="111" y="84"/>
                  </a:lnTo>
                  <a:lnTo>
                    <a:pt x="111" y="84"/>
                  </a:lnTo>
                  <a:lnTo>
                    <a:pt x="111" y="80"/>
                  </a:lnTo>
                  <a:lnTo>
                    <a:pt x="111" y="80"/>
                  </a:lnTo>
                  <a:lnTo>
                    <a:pt x="111" y="80"/>
                  </a:lnTo>
                  <a:lnTo>
                    <a:pt x="111" y="80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24" y="80"/>
                  </a:lnTo>
                  <a:lnTo>
                    <a:pt x="124" y="80"/>
                  </a:lnTo>
                  <a:lnTo>
                    <a:pt x="124" y="80"/>
                  </a:lnTo>
                  <a:lnTo>
                    <a:pt x="124" y="75"/>
                  </a:lnTo>
                  <a:lnTo>
                    <a:pt x="124" y="75"/>
                  </a:lnTo>
                  <a:lnTo>
                    <a:pt x="124" y="75"/>
                  </a:lnTo>
                  <a:lnTo>
                    <a:pt x="124" y="75"/>
                  </a:lnTo>
                  <a:lnTo>
                    <a:pt x="124" y="71"/>
                  </a:lnTo>
                  <a:lnTo>
                    <a:pt x="124" y="71"/>
                  </a:lnTo>
                  <a:lnTo>
                    <a:pt x="124" y="71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0" y="62"/>
                  </a:lnTo>
                  <a:lnTo>
                    <a:pt x="120" y="62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4" y="49"/>
                  </a:lnTo>
                  <a:lnTo>
                    <a:pt x="124" y="49"/>
                  </a:lnTo>
                  <a:lnTo>
                    <a:pt x="124" y="49"/>
                  </a:lnTo>
                  <a:lnTo>
                    <a:pt x="129" y="49"/>
                  </a:lnTo>
                  <a:lnTo>
                    <a:pt x="129" y="49"/>
                  </a:lnTo>
                  <a:lnTo>
                    <a:pt x="129" y="49"/>
                  </a:lnTo>
                  <a:lnTo>
                    <a:pt x="129" y="49"/>
                  </a:lnTo>
                  <a:lnTo>
                    <a:pt x="133" y="49"/>
                  </a:lnTo>
                  <a:lnTo>
                    <a:pt x="133" y="49"/>
                  </a:lnTo>
                  <a:lnTo>
                    <a:pt x="133" y="49"/>
                  </a:lnTo>
                  <a:lnTo>
                    <a:pt x="133" y="49"/>
                  </a:lnTo>
                  <a:lnTo>
                    <a:pt x="133" y="49"/>
                  </a:lnTo>
                  <a:lnTo>
                    <a:pt x="133" y="49"/>
                  </a:lnTo>
                  <a:lnTo>
                    <a:pt x="137" y="44"/>
                  </a:lnTo>
                  <a:lnTo>
                    <a:pt x="137" y="44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35"/>
                  </a:lnTo>
                  <a:lnTo>
                    <a:pt x="146" y="35"/>
                  </a:lnTo>
                  <a:lnTo>
                    <a:pt x="151" y="35"/>
                  </a:lnTo>
                  <a:lnTo>
                    <a:pt x="151" y="35"/>
                  </a:lnTo>
                  <a:lnTo>
                    <a:pt x="151" y="40"/>
                  </a:lnTo>
                  <a:lnTo>
                    <a:pt x="151" y="40"/>
                  </a:lnTo>
                  <a:lnTo>
                    <a:pt x="151" y="40"/>
                  </a:lnTo>
                  <a:lnTo>
                    <a:pt x="151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35"/>
                  </a:lnTo>
                  <a:lnTo>
                    <a:pt x="155" y="35"/>
                  </a:lnTo>
                  <a:lnTo>
                    <a:pt x="155" y="35"/>
                  </a:lnTo>
                  <a:lnTo>
                    <a:pt x="155" y="35"/>
                  </a:lnTo>
                  <a:lnTo>
                    <a:pt x="155" y="35"/>
                  </a:lnTo>
                  <a:lnTo>
                    <a:pt x="155" y="35"/>
                  </a:lnTo>
                  <a:lnTo>
                    <a:pt x="155" y="35"/>
                  </a:lnTo>
                  <a:lnTo>
                    <a:pt x="155" y="31"/>
                  </a:lnTo>
                  <a:lnTo>
                    <a:pt x="155" y="31"/>
                  </a:lnTo>
                  <a:lnTo>
                    <a:pt x="155" y="31"/>
                  </a:lnTo>
                  <a:lnTo>
                    <a:pt x="155" y="31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60" y="27"/>
                  </a:lnTo>
                  <a:lnTo>
                    <a:pt x="160" y="27"/>
                  </a:lnTo>
                  <a:lnTo>
                    <a:pt x="160" y="27"/>
                  </a:lnTo>
                  <a:lnTo>
                    <a:pt x="160" y="27"/>
                  </a:lnTo>
                  <a:lnTo>
                    <a:pt x="160" y="27"/>
                  </a:lnTo>
                  <a:lnTo>
                    <a:pt x="160" y="27"/>
                  </a:lnTo>
                  <a:lnTo>
                    <a:pt x="160" y="27"/>
                  </a:lnTo>
                  <a:lnTo>
                    <a:pt x="160" y="27"/>
                  </a:lnTo>
                  <a:lnTo>
                    <a:pt x="160" y="27"/>
                  </a:lnTo>
                  <a:lnTo>
                    <a:pt x="164" y="27"/>
                  </a:lnTo>
                  <a:lnTo>
                    <a:pt x="164" y="27"/>
                  </a:lnTo>
                  <a:lnTo>
                    <a:pt x="164" y="27"/>
                  </a:lnTo>
                  <a:lnTo>
                    <a:pt x="164" y="27"/>
                  </a:lnTo>
                  <a:lnTo>
                    <a:pt x="164" y="27"/>
                  </a:lnTo>
                  <a:lnTo>
                    <a:pt x="164" y="27"/>
                  </a:lnTo>
                  <a:lnTo>
                    <a:pt x="164" y="27"/>
                  </a:lnTo>
                  <a:lnTo>
                    <a:pt x="168" y="27"/>
                  </a:lnTo>
                  <a:lnTo>
                    <a:pt x="168" y="27"/>
                  </a:lnTo>
                  <a:lnTo>
                    <a:pt x="168" y="27"/>
                  </a:lnTo>
                  <a:lnTo>
                    <a:pt x="168" y="27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83" name="Freeform 14"/>
            <p:cNvSpPr>
              <a:spLocks/>
            </p:cNvSpPr>
            <p:nvPr/>
          </p:nvSpPr>
          <p:spPr bwMode="auto">
            <a:xfrm>
              <a:off x="3900488" y="4675188"/>
              <a:ext cx="477837" cy="239713"/>
            </a:xfrm>
            <a:custGeom>
              <a:avLst/>
              <a:gdLst>
                <a:gd name="T0" fmla="*/ 283 w 301"/>
                <a:gd name="T1" fmla="*/ 40 h 151"/>
                <a:gd name="T2" fmla="*/ 275 w 301"/>
                <a:gd name="T3" fmla="*/ 36 h 151"/>
                <a:gd name="T4" fmla="*/ 261 w 301"/>
                <a:gd name="T5" fmla="*/ 18 h 151"/>
                <a:gd name="T6" fmla="*/ 252 w 301"/>
                <a:gd name="T7" fmla="*/ 18 h 151"/>
                <a:gd name="T8" fmla="*/ 244 w 301"/>
                <a:gd name="T9" fmla="*/ 18 h 151"/>
                <a:gd name="T10" fmla="*/ 226 w 301"/>
                <a:gd name="T11" fmla="*/ 18 h 151"/>
                <a:gd name="T12" fmla="*/ 221 w 301"/>
                <a:gd name="T13" fmla="*/ 22 h 151"/>
                <a:gd name="T14" fmla="*/ 213 w 301"/>
                <a:gd name="T15" fmla="*/ 27 h 151"/>
                <a:gd name="T16" fmla="*/ 204 w 301"/>
                <a:gd name="T17" fmla="*/ 18 h 151"/>
                <a:gd name="T18" fmla="*/ 190 w 301"/>
                <a:gd name="T19" fmla="*/ 18 h 151"/>
                <a:gd name="T20" fmla="*/ 182 w 301"/>
                <a:gd name="T21" fmla="*/ 22 h 151"/>
                <a:gd name="T22" fmla="*/ 173 w 301"/>
                <a:gd name="T23" fmla="*/ 27 h 151"/>
                <a:gd name="T24" fmla="*/ 164 w 301"/>
                <a:gd name="T25" fmla="*/ 31 h 151"/>
                <a:gd name="T26" fmla="*/ 155 w 301"/>
                <a:gd name="T27" fmla="*/ 36 h 151"/>
                <a:gd name="T28" fmla="*/ 155 w 301"/>
                <a:gd name="T29" fmla="*/ 27 h 151"/>
                <a:gd name="T30" fmla="*/ 155 w 301"/>
                <a:gd name="T31" fmla="*/ 27 h 151"/>
                <a:gd name="T32" fmla="*/ 151 w 301"/>
                <a:gd name="T33" fmla="*/ 18 h 151"/>
                <a:gd name="T34" fmla="*/ 142 w 301"/>
                <a:gd name="T35" fmla="*/ 13 h 151"/>
                <a:gd name="T36" fmla="*/ 137 w 301"/>
                <a:gd name="T37" fmla="*/ 0 h 151"/>
                <a:gd name="T38" fmla="*/ 128 w 301"/>
                <a:gd name="T39" fmla="*/ 9 h 151"/>
                <a:gd name="T40" fmla="*/ 124 w 301"/>
                <a:gd name="T41" fmla="*/ 13 h 151"/>
                <a:gd name="T42" fmla="*/ 120 w 301"/>
                <a:gd name="T43" fmla="*/ 18 h 151"/>
                <a:gd name="T44" fmla="*/ 111 w 301"/>
                <a:gd name="T45" fmla="*/ 13 h 151"/>
                <a:gd name="T46" fmla="*/ 97 w 301"/>
                <a:gd name="T47" fmla="*/ 9 h 151"/>
                <a:gd name="T48" fmla="*/ 89 w 301"/>
                <a:gd name="T49" fmla="*/ 13 h 151"/>
                <a:gd name="T50" fmla="*/ 71 w 301"/>
                <a:gd name="T51" fmla="*/ 27 h 151"/>
                <a:gd name="T52" fmla="*/ 66 w 301"/>
                <a:gd name="T53" fmla="*/ 44 h 151"/>
                <a:gd name="T54" fmla="*/ 53 w 301"/>
                <a:gd name="T55" fmla="*/ 53 h 151"/>
                <a:gd name="T56" fmla="*/ 36 w 301"/>
                <a:gd name="T57" fmla="*/ 67 h 151"/>
                <a:gd name="T58" fmla="*/ 18 w 301"/>
                <a:gd name="T59" fmla="*/ 62 h 151"/>
                <a:gd name="T60" fmla="*/ 5 w 301"/>
                <a:gd name="T61" fmla="*/ 80 h 151"/>
                <a:gd name="T62" fmla="*/ 0 w 301"/>
                <a:gd name="T63" fmla="*/ 93 h 151"/>
                <a:gd name="T64" fmla="*/ 0 w 301"/>
                <a:gd name="T65" fmla="*/ 102 h 151"/>
                <a:gd name="T66" fmla="*/ 5 w 301"/>
                <a:gd name="T67" fmla="*/ 106 h 151"/>
                <a:gd name="T68" fmla="*/ 5 w 301"/>
                <a:gd name="T69" fmla="*/ 106 h 151"/>
                <a:gd name="T70" fmla="*/ 9 w 301"/>
                <a:gd name="T71" fmla="*/ 120 h 151"/>
                <a:gd name="T72" fmla="*/ 9 w 301"/>
                <a:gd name="T73" fmla="*/ 124 h 151"/>
                <a:gd name="T74" fmla="*/ 22 w 301"/>
                <a:gd name="T75" fmla="*/ 128 h 151"/>
                <a:gd name="T76" fmla="*/ 36 w 301"/>
                <a:gd name="T77" fmla="*/ 142 h 151"/>
                <a:gd name="T78" fmla="*/ 44 w 301"/>
                <a:gd name="T79" fmla="*/ 146 h 151"/>
                <a:gd name="T80" fmla="*/ 89 w 301"/>
                <a:gd name="T81" fmla="*/ 146 h 151"/>
                <a:gd name="T82" fmla="*/ 102 w 301"/>
                <a:gd name="T83" fmla="*/ 142 h 151"/>
                <a:gd name="T84" fmla="*/ 102 w 301"/>
                <a:gd name="T85" fmla="*/ 133 h 151"/>
                <a:gd name="T86" fmla="*/ 115 w 301"/>
                <a:gd name="T87" fmla="*/ 124 h 151"/>
                <a:gd name="T88" fmla="*/ 137 w 301"/>
                <a:gd name="T89" fmla="*/ 120 h 151"/>
                <a:gd name="T90" fmla="*/ 142 w 301"/>
                <a:gd name="T91" fmla="*/ 115 h 151"/>
                <a:gd name="T92" fmla="*/ 151 w 301"/>
                <a:gd name="T93" fmla="*/ 115 h 151"/>
                <a:gd name="T94" fmla="*/ 159 w 301"/>
                <a:gd name="T95" fmla="*/ 115 h 151"/>
                <a:gd name="T96" fmla="*/ 173 w 301"/>
                <a:gd name="T97" fmla="*/ 115 h 151"/>
                <a:gd name="T98" fmla="*/ 177 w 301"/>
                <a:gd name="T99" fmla="*/ 111 h 151"/>
                <a:gd name="T100" fmla="*/ 186 w 301"/>
                <a:gd name="T101" fmla="*/ 102 h 151"/>
                <a:gd name="T102" fmla="*/ 190 w 301"/>
                <a:gd name="T103" fmla="*/ 89 h 151"/>
                <a:gd name="T104" fmla="*/ 208 w 301"/>
                <a:gd name="T105" fmla="*/ 84 h 151"/>
                <a:gd name="T106" fmla="*/ 221 w 301"/>
                <a:gd name="T107" fmla="*/ 89 h 151"/>
                <a:gd name="T108" fmla="*/ 235 w 301"/>
                <a:gd name="T109" fmla="*/ 89 h 151"/>
                <a:gd name="T110" fmla="*/ 244 w 301"/>
                <a:gd name="T111" fmla="*/ 89 h 151"/>
                <a:gd name="T112" fmla="*/ 252 w 301"/>
                <a:gd name="T113" fmla="*/ 97 h 151"/>
                <a:gd name="T114" fmla="*/ 266 w 301"/>
                <a:gd name="T115" fmla="*/ 102 h 151"/>
                <a:gd name="T116" fmla="*/ 279 w 301"/>
                <a:gd name="T117" fmla="*/ 89 h 151"/>
                <a:gd name="T118" fmla="*/ 283 w 301"/>
                <a:gd name="T119" fmla="*/ 75 h 151"/>
                <a:gd name="T120" fmla="*/ 288 w 301"/>
                <a:gd name="T121" fmla="*/ 67 h 151"/>
                <a:gd name="T122" fmla="*/ 292 w 301"/>
                <a:gd name="T123" fmla="*/ 62 h 151"/>
                <a:gd name="T124" fmla="*/ 297 w 301"/>
                <a:gd name="T125" fmla="*/ 5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1" h="151">
                  <a:moveTo>
                    <a:pt x="297" y="44"/>
                  </a:moveTo>
                  <a:lnTo>
                    <a:pt x="292" y="44"/>
                  </a:lnTo>
                  <a:lnTo>
                    <a:pt x="292" y="44"/>
                  </a:lnTo>
                  <a:lnTo>
                    <a:pt x="288" y="40"/>
                  </a:lnTo>
                  <a:lnTo>
                    <a:pt x="288" y="40"/>
                  </a:lnTo>
                  <a:lnTo>
                    <a:pt x="283" y="40"/>
                  </a:lnTo>
                  <a:lnTo>
                    <a:pt x="283" y="40"/>
                  </a:lnTo>
                  <a:lnTo>
                    <a:pt x="283" y="40"/>
                  </a:lnTo>
                  <a:lnTo>
                    <a:pt x="283" y="40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83" y="36"/>
                  </a:lnTo>
                  <a:lnTo>
                    <a:pt x="279" y="36"/>
                  </a:lnTo>
                  <a:lnTo>
                    <a:pt x="279" y="36"/>
                  </a:lnTo>
                  <a:lnTo>
                    <a:pt x="279" y="36"/>
                  </a:lnTo>
                  <a:lnTo>
                    <a:pt x="279" y="36"/>
                  </a:lnTo>
                  <a:lnTo>
                    <a:pt x="275" y="36"/>
                  </a:lnTo>
                  <a:lnTo>
                    <a:pt x="270" y="31"/>
                  </a:lnTo>
                  <a:lnTo>
                    <a:pt x="270" y="31"/>
                  </a:lnTo>
                  <a:lnTo>
                    <a:pt x="270" y="27"/>
                  </a:lnTo>
                  <a:lnTo>
                    <a:pt x="270" y="27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1" y="22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57" y="22"/>
                  </a:lnTo>
                  <a:lnTo>
                    <a:pt x="257" y="22"/>
                  </a:lnTo>
                  <a:lnTo>
                    <a:pt x="257" y="18"/>
                  </a:lnTo>
                  <a:lnTo>
                    <a:pt x="257" y="18"/>
                  </a:lnTo>
                  <a:lnTo>
                    <a:pt x="257" y="18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4" y="18"/>
                  </a:lnTo>
                  <a:lnTo>
                    <a:pt x="244" y="18"/>
                  </a:lnTo>
                  <a:lnTo>
                    <a:pt x="244" y="18"/>
                  </a:lnTo>
                  <a:lnTo>
                    <a:pt x="244" y="18"/>
                  </a:lnTo>
                  <a:lnTo>
                    <a:pt x="235" y="13"/>
                  </a:lnTo>
                  <a:lnTo>
                    <a:pt x="235" y="13"/>
                  </a:lnTo>
                  <a:lnTo>
                    <a:pt x="235" y="13"/>
                  </a:lnTo>
                  <a:lnTo>
                    <a:pt x="230" y="13"/>
                  </a:lnTo>
                  <a:lnTo>
                    <a:pt x="230" y="18"/>
                  </a:lnTo>
                  <a:lnTo>
                    <a:pt x="230" y="18"/>
                  </a:lnTo>
                  <a:lnTo>
                    <a:pt x="226" y="18"/>
                  </a:lnTo>
                  <a:lnTo>
                    <a:pt x="226" y="18"/>
                  </a:lnTo>
                  <a:lnTo>
                    <a:pt x="226" y="18"/>
                  </a:lnTo>
                  <a:lnTo>
                    <a:pt x="226" y="18"/>
                  </a:lnTo>
                  <a:lnTo>
                    <a:pt x="226" y="18"/>
                  </a:lnTo>
                  <a:lnTo>
                    <a:pt x="221" y="18"/>
                  </a:lnTo>
                  <a:lnTo>
                    <a:pt x="221" y="18"/>
                  </a:lnTo>
                  <a:lnTo>
                    <a:pt x="221" y="18"/>
                  </a:lnTo>
                  <a:lnTo>
                    <a:pt x="221" y="18"/>
                  </a:lnTo>
                  <a:lnTo>
                    <a:pt x="221" y="18"/>
                  </a:lnTo>
                  <a:lnTo>
                    <a:pt x="221" y="22"/>
                  </a:lnTo>
                  <a:lnTo>
                    <a:pt x="221" y="22"/>
                  </a:lnTo>
                  <a:lnTo>
                    <a:pt x="221" y="22"/>
                  </a:lnTo>
                  <a:lnTo>
                    <a:pt x="221" y="22"/>
                  </a:lnTo>
                  <a:lnTo>
                    <a:pt x="221" y="22"/>
                  </a:lnTo>
                  <a:lnTo>
                    <a:pt x="217" y="22"/>
                  </a:lnTo>
                  <a:lnTo>
                    <a:pt x="217" y="27"/>
                  </a:lnTo>
                  <a:lnTo>
                    <a:pt x="217" y="27"/>
                  </a:lnTo>
                  <a:lnTo>
                    <a:pt x="213" y="27"/>
                  </a:lnTo>
                  <a:lnTo>
                    <a:pt x="213" y="27"/>
                  </a:lnTo>
                  <a:lnTo>
                    <a:pt x="213" y="27"/>
                  </a:lnTo>
                  <a:lnTo>
                    <a:pt x="213" y="27"/>
                  </a:lnTo>
                  <a:lnTo>
                    <a:pt x="213" y="22"/>
                  </a:lnTo>
                  <a:lnTo>
                    <a:pt x="208" y="22"/>
                  </a:lnTo>
                  <a:lnTo>
                    <a:pt x="208" y="22"/>
                  </a:lnTo>
                  <a:lnTo>
                    <a:pt x="208" y="22"/>
                  </a:lnTo>
                  <a:lnTo>
                    <a:pt x="208" y="22"/>
                  </a:lnTo>
                  <a:lnTo>
                    <a:pt x="204" y="18"/>
                  </a:lnTo>
                  <a:lnTo>
                    <a:pt x="204" y="18"/>
                  </a:lnTo>
                  <a:lnTo>
                    <a:pt x="199" y="18"/>
                  </a:lnTo>
                  <a:lnTo>
                    <a:pt x="199" y="18"/>
                  </a:lnTo>
                  <a:lnTo>
                    <a:pt x="199" y="18"/>
                  </a:lnTo>
                  <a:lnTo>
                    <a:pt x="199" y="18"/>
                  </a:lnTo>
                  <a:lnTo>
                    <a:pt x="195" y="18"/>
                  </a:lnTo>
                  <a:lnTo>
                    <a:pt x="195" y="18"/>
                  </a:lnTo>
                  <a:lnTo>
                    <a:pt x="195" y="22"/>
                  </a:lnTo>
                  <a:lnTo>
                    <a:pt x="195" y="18"/>
                  </a:lnTo>
                  <a:lnTo>
                    <a:pt x="190" y="18"/>
                  </a:lnTo>
                  <a:lnTo>
                    <a:pt x="190" y="18"/>
                  </a:lnTo>
                  <a:lnTo>
                    <a:pt x="190" y="18"/>
                  </a:lnTo>
                  <a:lnTo>
                    <a:pt x="186" y="18"/>
                  </a:lnTo>
                  <a:lnTo>
                    <a:pt x="182" y="18"/>
                  </a:lnTo>
                  <a:lnTo>
                    <a:pt x="182" y="18"/>
                  </a:lnTo>
                  <a:lnTo>
                    <a:pt x="182" y="18"/>
                  </a:lnTo>
                  <a:lnTo>
                    <a:pt x="182" y="18"/>
                  </a:lnTo>
                  <a:lnTo>
                    <a:pt x="182" y="22"/>
                  </a:lnTo>
                  <a:lnTo>
                    <a:pt x="182" y="22"/>
                  </a:lnTo>
                  <a:lnTo>
                    <a:pt x="182" y="22"/>
                  </a:lnTo>
                  <a:lnTo>
                    <a:pt x="182" y="22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7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68" y="31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59" y="31"/>
                  </a:lnTo>
                  <a:lnTo>
                    <a:pt x="159" y="31"/>
                  </a:lnTo>
                  <a:lnTo>
                    <a:pt x="159" y="36"/>
                  </a:lnTo>
                  <a:lnTo>
                    <a:pt x="159" y="36"/>
                  </a:lnTo>
                  <a:lnTo>
                    <a:pt x="159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1"/>
                  </a:lnTo>
                  <a:lnTo>
                    <a:pt x="155" y="31"/>
                  </a:lnTo>
                  <a:lnTo>
                    <a:pt x="155" y="31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2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9"/>
                  </a:lnTo>
                  <a:lnTo>
                    <a:pt x="142" y="5"/>
                  </a:lnTo>
                  <a:lnTo>
                    <a:pt x="142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11" y="13"/>
                  </a:lnTo>
                  <a:lnTo>
                    <a:pt x="111" y="13"/>
                  </a:lnTo>
                  <a:lnTo>
                    <a:pt x="111" y="13"/>
                  </a:lnTo>
                  <a:lnTo>
                    <a:pt x="111" y="13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06" y="9"/>
                  </a:lnTo>
                  <a:lnTo>
                    <a:pt x="102" y="9"/>
                  </a:lnTo>
                  <a:lnTo>
                    <a:pt x="102" y="9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89" y="9"/>
                  </a:lnTo>
                  <a:lnTo>
                    <a:pt x="89" y="13"/>
                  </a:lnTo>
                  <a:lnTo>
                    <a:pt x="89" y="13"/>
                  </a:lnTo>
                  <a:lnTo>
                    <a:pt x="89" y="13"/>
                  </a:lnTo>
                  <a:lnTo>
                    <a:pt x="89" y="13"/>
                  </a:lnTo>
                  <a:lnTo>
                    <a:pt x="89" y="13"/>
                  </a:lnTo>
                  <a:lnTo>
                    <a:pt x="84" y="13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0" y="18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7"/>
                  </a:lnTo>
                  <a:lnTo>
                    <a:pt x="71" y="27"/>
                  </a:lnTo>
                  <a:lnTo>
                    <a:pt x="71" y="31"/>
                  </a:lnTo>
                  <a:lnTo>
                    <a:pt x="66" y="31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2" y="49"/>
                  </a:lnTo>
                  <a:lnTo>
                    <a:pt x="62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8"/>
                  </a:lnTo>
                  <a:lnTo>
                    <a:pt x="53" y="58"/>
                  </a:lnTo>
                  <a:lnTo>
                    <a:pt x="53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62"/>
                  </a:lnTo>
                  <a:lnTo>
                    <a:pt x="44" y="62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27" y="62"/>
                  </a:lnTo>
                  <a:lnTo>
                    <a:pt x="27" y="67"/>
                  </a:lnTo>
                  <a:lnTo>
                    <a:pt x="22" y="62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9" y="67"/>
                  </a:lnTo>
                  <a:lnTo>
                    <a:pt x="9" y="71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5" y="84"/>
                  </a:lnTo>
                  <a:lnTo>
                    <a:pt x="5" y="84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5" y="102"/>
                  </a:lnTo>
                  <a:lnTo>
                    <a:pt x="5" y="102"/>
                  </a:lnTo>
                  <a:lnTo>
                    <a:pt x="5" y="102"/>
                  </a:lnTo>
                  <a:lnTo>
                    <a:pt x="5" y="102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11"/>
                  </a:lnTo>
                  <a:lnTo>
                    <a:pt x="5" y="111"/>
                  </a:lnTo>
                  <a:lnTo>
                    <a:pt x="5" y="111"/>
                  </a:lnTo>
                  <a:lnTo>
                    <a:pt x="5" y="115"/>
                  </a:lnTo>
                  <a:lnTo>
                    <a:pt x="5" y="115"/>
                  </a:lnTo>
                  <a:lnTo>
                    <a:pt x="9" y="115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13" y="120"/>
                  </a:lnTo>
                  <a:lnTo>
                    <a:pt x="13" y="120"/>
                  </a:lnTo>
                  <a:lnTo>
                    <a:pt x="13" y="120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9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7" y="128"/>
                  </a:lnTo>
                  <a:lnTo>
                    <a:pt x="27" y="133"/>
                  </a:lnTo>
                  <a:lnTo>
                    <a:pt x="31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42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4" y="146"/>
                  </a:lnTo>
                  <a:lnTo>
                    <a:pt x="44" y="146"/>
                  </a:lnTo>
                  <a:lnTo>
                    <a:pt x="44" y="146"/>
                  </a:lnTo>
                  <a:lnTo>
                    <a:pt x="44" y="146"/>
                  </a:lnTo>
                  <a:lnTo>
                    <a:pt x="49" y="146"/>
                  </a:lnTo>
                  <a:lnTo>
                    <a:pt x="53" y="151"/>
                  </a:lnTo>
                  <a:lnTo>
                    <a:pt x="53" y="151"/>
                  </a:lnTo>
                  <a:lnTo>
                    <a:pt x="66" y="146"/>
                  </a:lnTo>
                  <a:lnTo>
                    <a:pt x="75" y="151"/>
                  </a:lnTo>
                  <a:lnTo>
                    <a:pt x="75" y="146"/>
                  </a:lnTo>
                  <a:lnTo>
                    <a:pt x="80" y="146"/>
                  </a:lnTo>
                  <a:lnTo>
                    <a:pt x="89" y="146"/>
                  </a:lnTo>
                  <a:lnTo>
                    <a:pt x="93" y="146"/>
                  </a:lnTo>
                  <a:lnTo>
                    <a:pt x="93" y="146"/>
                  </a:lnTo>
                  <a:lnTo>
                    <a:pt x="97" y="146"/>
                  </a:lnTo>
                  <a:lnTo>
                    <a:pt x="97" y="146"/>
                  </a:lnTo>
                  <a:lnTo>
                    <a:pt x="97" y="146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37"/>
                  </a:lnTo>
                  <a:lnTo>
                    <a:pt x="102" y="137"/>
                  </a:lnTo>
                  <a:lnTo>
                    <a:pt x="102" y="137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2" y="128"/>
                  </a:lnTo>
                  <a:lnTo>
                    <a:pt x="102" y="128"/>
                  </a:lnTo>
                  <a:lnTo>
                    <a:pt x="102" y="128"/>
                  </a:lnTo>
                  <a:lnTo>
                    <a:pt x="102" y="128"/>
                  </a:lnTo>
                  <a:lnTo>
                    <a:pt x="106" y="124"/>
                  </a:lnTo>
                  <a:lnTo>
                    <a:pt x="111" y="124"/>
                  </a:lnTo>
                  <a:lnTo>
                    <a:pt x="111" y="12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20" y="124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8" y="124"/>
                  </a:lnTo>
                  <a:lnTo>
                    <a:pt x="137" y="124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42" y="115"/>
                  </a:lnTo>
                  <a:lnTo>
                    <a:pt x="142" y="115"/>
                  </a:lnTo>
                  <a:lnTo>
                    <a:pt x="142" y="111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51" y="115"/>
                  </a:lnTo>
                  <a:lnTo>
                    <a:pt x="151" y="115"/>
                  </a:lnTo>
                  <a:lnTo>
                    <a:pt x="151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20"/>
                  </a:lnTo>
                  <a:lnTo>
                    <a:pt x="155" y="120"/>
                  </a:lnTo>
                  <a:lnTo>
                    <a:pt x="155" y="115"/>
                  </a:lnTo>
                  <a:lnTo>
                    <a:pt x="159" y="115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64" y="120"/>
                  </a:lnTo>
                  <a:lnTo>
                    <a:pt x="164" y="115"/>
                  </a:lnTo>
                  <a:lnTo>
                    <a:pt x="164" y="115"/>
                  </a:lnTo>
                  <a:lnTo>
                    <a:pt x="168" y="115"/>
                  </a:lnTo>
                  <a:lnTo>
                    <a:pt x="168" y="115"/>
                  </a:lnTo>
                  <a:lnTo>
                    <a:pt x="168" y="115"/>
                  </a:lnTo>
                  <a:lnTo>
                    <a:pt x="173" y="115"/>
                  </a:lnTo>
                  <a:lnTo>
                    <a:pt x="173" y="115"/>
                  </a:lnTo>
                  <a:lnTo>
                    <a:pt x="173" y="111"/>
                  </a:lnTo>
                  <a:lnTo>
                    <a:pt x="173" y="111"/>
                  </a:lnTo>
                  <a:lnTo>
                    <a:pt x="173" y="111"/>
                  </a:lnTo>
                  <a:lnTo>
                    <a:pt x="173" y="111"/>
                  </a:lnTo>
                  <a:lnTo>
                    <a:pt x="173" y="111"/>
                  </a:lnTo>
                  <a:lnTo>
                    <a:pt x="173" y="111"/>
                  </a:lnTo>
                  <a:lnTo>
                    <a:pt x="177" y="111"/>
                  </a:lnTo>
                  <a:lnTo>
                    <a:pt x="177" y="111"/>
                  </a:lnTo>
                  <a:lnTo>
                    <a:pt x="177" y="106"/>
                  </a:lnTo>
                  <a:lnTo>
                    <a:pt x="177" y="106"/>
                  </a:lnTo>
                  <a:lnTo>
                    <a:pt x="177" y="106"/>
                  </a:lnTo>
                  <a:lnTo>
                    <a:pt x="182" y="111"/>
                  </a:lnTo>
                  <a:lnTo>
                    <a:pt x="182" y="111"/>
                  </a:lnTo>
                  <a:lnTo>
                    <a:pt x="182" y="111"/>
                  </a:lnTo>
                  <a:lnTo>
                    <a:pt x="182" y="106"/>
                  </a:lnTo>
                  <a:lnTo>
                    <a:pt x="186" y="106"/>
                  </a:lnTo>
                  <a:lnTo>
                    <a:pt x="186" y="102"/>
                  </a:lnTo>
                  <a:lnTo>
                    <a:pt x="186" y="97"/>
                  </a:lnTo>
                  <a:lnTo>
                    <a:pt x="190" y="97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90" y="89"/>
                  </a:lnTo>
                  <a:lnTo>
                    <a:pt x="190" y="89"/>
                  </a:lnTo>
                  <a:lnTo>
                    <a:pt x="190" y="89"/>
                  </a:lnTo>
                  <a:lnTo>
                    <a:pt x="190" y="89"/>
                  </a:lnTo>
                  <a:lnTo>
                    <a:pt x="190" y="89"/>
                  </a:lnTo>
                  <a:lnTo>
                    <a:pt x="195" y="89"/>
                  </a:lnTo>
                  <a:lnTo>
                    <a:pt x="195" y="89"/>
                  </a:lnTo>
                  <a:lnTo>
                    <a:pt x="208" y="84"/>
                  </a:lnTo>
                  <a:lnTo>
                    <a:pt x="208" y="84"/>
                  </a:lnTo>
                  <a:lnTo>
                    <a:pt x="208" y="84"/>
                  </a:lnTo>
                  <a:lnTo>
                    <a:pt x="213" y="84"/>
                  </a:lnTo>
                  <a:lnTo>
                    <a:pt x="213" y="84"/>
                  </a:lnTo>
                  <a:lnTo>
                    <a:pt x="213" y="89"/>
                  </a:lnTo>
                  <a:lnTo>
                    <a:pt x="217" y="89"/>
                  </a:lnTo>
                  <a:lnTo>
                    <a:pt x="217" y="89"/>
                  </a:lnTo>
                  <a:lnTo>
                    <a:pt x="217" y="89"/>
                  </a:lnTo>
                  <a:lnTo>
                    <a:pt x="221" y="89"/>
                  </a:lnTo>
                  <a:lnTo>
                    <a:pt x="221" y="89"/>
                  </a:lnTo>
                  <a:lnTo>
                    <a:pt x="221" y="89"/>
                  </a:lnTo>
                  <a:lnTo>
                    <a:pt x="226" y="89"/>
                  </a:lnTo>
                  <a:lnTo>
                    <a:pt x="230" y="89"/>
                  </a:lnTo>
                  <a:lnTo>
                    <a:pt x="230" y="89"/>
                  </a:lnTo>
                  <a:lnTo>
                    <a:pt x="230" y="89"/>
                  </a:lnTo>
                  <a:lnTo>
                    <a:pt x="230" y="89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4"/>
                  </a:lnTo>
                  <a:lnTo>
                    <a:pt x="235" y="84"/>
                  </a:lnTo>
                  <a:lnTo>
                    <a:pt x="239" y="84"/>
                  </a:lnTo>
                  <a:lnTo>
                    <a:pt x="239" y="84"/>
                  </a:lnTo>
                  <a:lnTo>
                    <a:pt x="244" y="84"/>
                  </a:lnTo>
                  <a:lnTo>
                    <a:pt x="244" y="84"/>
                  </a:lnTo>
                  <a:lnTo>
                    <a:pt x="244" y="89"/>
                  </a:lnTo>
                  <a:lnTo>
                    <a:pt x="244" y="89"/>
                  </a:lnTo>
                  <a:lnTo>
                    <a:pt x="244" y="89"/>
                  </a:lnTo>
                  <a:lnTo>
                    <a:pt x="248" y="89"/>
                  </a:lnTo>
                  <a:lnTo>
                    <a:pt x="248" y="89"/>
                  </a:lnTo>
                  <a:lnTo>
                    <a:pt x="248" y="89"/>
                  </a:lnTo>
                  <a:lnTo>
                    <a:pt x="248" y="89"/>
                  </a:lnTo>
                  <a:lnTo>
                    <a:pt x="248" y="89"/>
                  </a:lnTo>
                  <a:lnTo>
                    <a:pt x="252" y="93"/>
                  </a:lnTo>
                  <a:lnTo>
                    <a:pt x="252" y="93"/>
                  </a:lnTo>
                  <a:lnTo>
                    <a:pt x="252" y="97"/>
                  </a:lnTo>
                  <a:lnTo>
                    <a:pt x="252" y="102"/>
                  </a:lnTo>
                  <a:lnTo>
                    <a:pt x="257" y="102"/>
                  </a:lnTo>
                  <a:lnTo>
                    <a:pt x="257" y="102"/>
                  </a:lnTo>
                  <a:lnTo>
                    <a:pt x="257" y="102"/>
                  </a:lnTo>
                  <a:lnTo>
                    <a:pt x="261" y="102"/>
                  </a:lnTo>
                  <a:lnTo>
                    <a:pt x="261" y="102"/>
                  </a:lnTo>
                  <a:lnTo>
                    <a:pt x="266" y="102"/>
                  </a:lnTo>
                  <a:lnTo>
                    <a:pt x="266" y="102"/>
                  </a:lnTo>
                  <a:lnTo>
                    <a:pt x="266" y="102"/>
                  </a:lnTo>
                  <a:lnTo>
                    <a:pt x="270" y="102"/>
                  </a:lnTo>
                  <a:lnTo>
                    <a:pt x="270" y="97"/>
                  </a:lnTo>
                  <a:lnTo>
                    <a:pt x="275" y="97"/>
                  </a:lnTo>
                  <a:lnTo>
                    <a:pt x="275" y="97"/>
                  </a:lnTo>
                  <a:lnTo>
                    <a:pt x="275" y="97"/>
                  </a:lnTo>
                  <a:lnTo>
                    <a:pt x="279" y="97"/>
                  </a:lnTo>
                  <a:lnTo>
                    <a:pt x="279" y="97"/>
                  </a:lnTo>
                  <a:lnTo>
                    <a:pt x="279" y="93"/>
                  </a:lnTo>
                  <a:lnTo>
                    <a:pt x="279" y="89"/>
                  </a:lnTo>
                  <a:lnTo>
                    <a:pt x="279" y="89"/>
                  </a:lnTo>
                  <a:lnTo>
                    <a:pt x="279" y="84"/>
                  </a:lnTo>
                  <a:lnTo>
                    <a:pt x="279" y="84"/>
                  </a:lnTo>
                  <a:lnTo>
                    <a:pt x="279" y="84"/>
                  </a:lnTo>
                  <a:lnTo>
                    <a:pt x="283" y="80"/>
                  </a:lnTo>
                  <a:lnTo>
                    <a:pt x="283" y="80"/>
                  </a:lnTo>
                  <a:lnTo>
                    <a:pt x="283" y="80"/>
                  </a:lnTo>
                  <a:lnTo>
                    <a:pt x="283" y="80"/>
                  </a:lnTo>
                  <a:lnTo>
                    <a:pt x="283" y="75"/>
                  </a:lnTo>
                  <a:lnTo>
                    <a:pt x="288" y="75"/>
                  </a:lnTo>
                  <a:lnTo>
                    <a:pt x="288" y="75"/>
                  </a:lnTo>
                  <a:lnTo>
                    <a:pt x="288" y="75"/>
                  </a:lnTo>
                  <a:lnTo>
                    <a:pt x="288" y="75"/>
                  </a:lnTo>
                  <a:lnTo>
                    <a:pt x="288" y="71"/>
                  </a:lnTo>
                  <a:lnTo>
                    <a:pt x="288" y="71"/>
                  </a:lnTo>
                  <a:lnTo>
                    <a:pt x="288" y="71"/>
                  </a:lnTo>
                  <a:lnTo>
                    <a:pt x="288" y="71"/>
                  </a:lnTo>
                  <a:lnTo>
                    <a:pt x="288" y="67"/>
                  </a:lnTo>
                  <a:lnTo>
                    <a:pt x="292" y="67"/>
                  </a:lnTo>
                  <a:lnTo>
                    <a:pt x="292" y="67"/>
                  </a:lnTo>
                  <a:lnTo>
                    <a:pt x="292" y="67"/>
                  </a:lnTo>
                  <a:lnTo>
                    <a:pt x="292" y="62"/>
                  </a:lnTo>
                  <a:lnTo>
                    <a:pt x="292" y="62"/>
                  </a:lnTo>
                  <a:lnTo>
                    <a:pt x="292" y="62"/>
                  </a:lnTo>
                  <a:lnTo>
                    <a:pt x="292" y="62"/>
                  </a:lnTo>
                  <a:lnTo>
                    <a:pt x="292" y="62"/>
                  </a:lnTo>
                  <a:lnTo>
                    <a:pt x="292" y="62"/>
                  </a:lnTo>
                  <a:lnTo>
                    <a:pt x="292" y="58"/>
                  </a:lnTo>
                  <a:lnTo>
                    <a:pt x="292" y="58"/>
                  </a:lnTo>
                  <a:lnTo>
                    <a:pt x="292" y="58"/>
                  </a:lnTo>
                  <a:lnTo>
                    <a:pt x="292" y="58"/>
                  </a:lnTo>
                  <a:lnTo>
                    <a:pt x="292" y="58"/>
                  </a:lnTo>
                  <a:lnTo>
                    <a:pt x="292" y="58"/>
                  </a:lnTo>
                  <a:lnTo>
                    <a:pt x="297" y="53"/>
                  </a:lnTo>
                  <a:lnTo>
                    <a:pt x="297" y="53"/>
                  </a:lnTo>
                  <a:lnTo>
                    <a:pt x="297" y="53"/>
                  </a:lnTo>
                  <a:lnTo>
                    <a:pt x="301" y="49"/>
                  </a:lnTo>
                  <a:lnTo>
                    <a:pt x="301" y="49"/>
                  </a:lnTo>
                  <a:lnTo>
                    <a:pt x="301" y="49"/>
                  </a:lnTo>
                  <a:lnTo>
                    <a:pt x="301" y="44"/>
                  </a:lnTo>
                  <a:lnTo>
                    <a:pt x="301" y="44"/>
                  </a:lnTo>
                  <a:lnTo>
                    <a:pt x="297" y="44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84" name="Freeform 15"/>
            <p:cNvSpPr>
              <a:spLocks/>
            </p:cNvSpPr>
            <p:nvPr/>
          </p:nvSpPr>
          <p:spPr bwMode="auto">
            <a:xfrm>
              <a:off x="4068763" y="5103813"/>
              <a:ext cx="344487" cy="506413"/>
            </a:xfrm>
            <a:custGeom>
              <a:avLst/>
              <a:gdLst>
                <a:gd name="T0" fmla="*/ 204 w 217"/>
                <a:gd name="T1" fmla="*/ 208 h 319"/>
                <a:gd name="T2" fmla="*/ 195 w 217"/>
                <a:gd name="T3" fmla="*/ 204 h 319"/>
                <a:gd name="T4" fmla="*/ 191 w 217"/>
                <a:gd name="T5" fmla="*/ 191 h 319"/>
                <a:gd name="T6" fmla="*/ 186 w 217"/>
                <a:gd name="T7" fmla="*/ 182 h 319"/>
                <a:gd name="T8" fmla="*/ 186 w 217"/>
                <a:gd name="T9" fmla="*/ 164 h 319"/>
                <a:gd name="T10" fmla="*/ 195 w 217"/>
                <a:gd name="T11" fmla="*/ 155 h 319"/>
                <a:gd name="T12" fmla="*/ 200 w 217"/>
                <a:gd name="T13" fmla="*/ 142 h 319"/>
                <a:gd name="T14" fmla="*/ 191 w 217"/>
                <a:gd name="T15" fmla="*/ 124 h 319"/>
                <a:gd name="T16" fmla="*/ 204 w 217"/>
                <a:gd name="T17" fmla="*/ 120 h 319"/>
                <a:gd name="T18" fmla="*/ 182 w 217"/>
                <a:gd name="T19" fmla="*/ 111 h 319"/>
                <a:gd name="T20" fmla="*/ 169 w 217"/>
                <a:gd name="T21" fmla="*/ 120 h 319"/>
                <a:gd name="T22" fmla="*/ 146 w 217"/>
                <a:gd name="T23" fmla="*/ 106 h 319"/>
                <a:gd name="T24" fmla="*/ 138 w 217"/>
                <a:gd name="T25" fmla="*/ 98 h 319"/>
                <a:gd name="T26" fmla="*/ 133 w 217"/>
                <a:gd name="T27" fmla="*/ 89 h 319"/>
                <a:gd name="T28" fmla="*/ 138 w 217"/>
                <a:gd name="T29" fmla="*/ 84 h 319"/>
                <a:gd name="T30" fmla="*/ 124 w 217"/>
                <a:gd name="T31" fmla="*/ 71 h 319"/>
                <a:gd name="T32" fmla="*/ 111 w 217"/>
                <a:gd name="T33" fmla="*/ 62 h 319"/>
                <a:gd name="T34" fmla="*/ 102 w 217"/>
                <a:gd name="T35" fmla="*/ 40 h 319"/>
                <a:gd name="T36" fmla="*/ 98 w 217"/>
                <a:gd name="T37" fmla="*/ 36 h 319"/>
                <a:gd name="T38" fmla="*/ 84 w 217"/>
                <a:gd name="T39" fmla="*/ 22 h 319"/>
                <a:gd name="T40" fmla="*/ 67 w 217"/>
                <a:gd name="T41" fmla="*/ 0 h 319"/>
                <a:gd name="T42" fmla="*/ 40 w 217"/>
                <a:gd name="T43" fmla="*/ 0 h 319"/>
                <a:gd name="T44" fmla="*/ 31 w 217"/>
                <a:gd name="T45" fmla="*/ 9 h 319"/>
                <a:gd name="T46" fmla="*/ 14 w 217"/>
                <a:gd name="T47" fmla="*/ 13 h 319"/>
                <a:gd name="T48" fmla="*/ 5 w 217"/>
                <a:gd name="T49" fmla="*/ 18 h 319"/>
                <a:gd name="T50" fmla="*/ 0 w 217"/>
                <a:gd name="T51" fmla="*/ 27 h 319"/>
                <a:gd name="T52" fmla="*/ 5 w 217"/>
                <a:gd name="T53" fmla="*/ 40 h 319"/>
                <a:gd name="T54" fmla="*/ 9 w 217"/>
                <a:gd name="T55" fmla="*/ 44 h 319"/>
                <a:gd name="T56" fmla="*/ 9 w 217"/>
                <a:gd name="T57" fmla="*/ 53 h 319"/>
                <a:gd name="T58" fmla="*/ 18 w 217"/>
                <a:gd name="T59" fmla="*/ 67 h 319"/>
                <a:gd name="T60" fmla="*/ 22 w 217"/>
                <a:gd name="T61" fmla="*/ 75 h 319"/>
                <a:gd name="T62" fmla="*/ 9 w 217"/>
                <a:gd name="T63" fmla="*/ 80 h 319"/>
                <a:gd name="T64" fmla="*/ 14 w 217"/>
                <a:gd name="T65" fmla="*/ 93 h 319"/>
                <a:gd name="T66" fmla="*/ 14 w 217"/>
                <a:gd name="T67" fmla="*/ 98 h 319"/>
                <a:gd name="T68" fmla="*/ 27 w 217"/>
                <a:gd name="T69" fmla="*/ 98 h 319"/>
                <a:gd name="T70" fmla="*/ 22 w 217"/>
                <a:gd name="T71" fmla="*/ 111 h 319"/>
                <a:gd name="T72" fmla="*/ 14 w 217"/>
                <a:gd name="T73" fmla="*/ 124 h 319"/>
                <a:gd name="T74" fmla="*/ 22 w 217"/>
                <a:gd name="T75" fmla="*/ 142 h 319"/>
                <a:gd name="T76" fmla="*/ 31 w 217"/>
                <a:gd name="T77" fmla="*/ 151 h 319"/>
                <a:gd name="T78" fmla="*/ 40 w 217"/>
                <a:gd name="T79" fmla="*/ 160 h 319"/>
                <a:gd name="T80" fmla="*/ 18 w 217"/>
                <a:gd name="T81" fmla="*/ 164 h 319"/>
                <a:gd name="T82" fmla="*/ 31 w 217"/>
                <a:gd name="T83" fmla="*/ 191 h 319"/>
                <a:gd name="T84" fmla="*/ 27 w 217"/>
                <a:gd name="T85" fmla="*/ 191 h 319"/>
                <a:gd name="T86" fmla="*/ 27 w 217"/>
                <a:gd name="T87" fmla="*/ 208 h 319"/>
                <a:gd name="T88" fmla="*/ 45 w 217"/>
                <a:gd name="T89" fmla="*/ 222 h 319"/>
                <a:gd name="T90" fmla="*/ 58 w 217"/>
                <a:gd name="T91" fmla="*/ 230 h 319"/>
                <a:gd name="T92" fmla="*/ 71 w 217"/>
                <a:gd name="T93" fmla="*/ 248 h 319"/>
                <a:gd name="T94" fmla="*/ 62 w 217"/>
                <a:gd name="T95" fmla="*/ 257 h 319"/>
                <a:gd name="T96" fmla="*/ 67 w 217"/>
                <a:gd name="T97" fmla="*/ 270 h 319"/>
                <a:gd name="T98" fmla="*/ 71 w 217"/>
                <a:gd name="T99" fmla="*/ 279 h 319"/>
                <a:gd name="T100" fmla="*/ 89 w 217"/>
                <a:gd name="T101" fmla="*/ 301 h 319"/>
                <a:gd name="T102" fmla="*/ 93 w 217"/>
                <a:gd name="T103" fmla="*/ 315 h 319"/>
                <a:gd name="T104" fmla="*/ 98 w 217"/>
                <a:gd name="T105" fmla="*/ 310 h 319"/>
                <a:gd name="T106" fmla="*/ 120 w 217"/>
                <a:gd name="T107" fmla="*/ 292 h 319"/>
                <a:gd name="T108" fmla="*/ 129 w 217"/>
                <a:gd name="T109" fmla="*/ 297 h 319"/>
                <a:gd name="T110" fmla="*/ 138 w 217"/>
                <a:gd name="T111" fmla="*/ 288 h 319"/>
                <a:gd name="T112" fmla="*/ 155 w 217"/>
                <a:gd name="T113" fmla="*/ 284 h 319"/>
                <a:gd name="T114" fmla="*/ 182 w 217"/>
                <a:gd name="T115" fmla="*/ 279 h 319"/>
                <a:gd name="T116" fmla="*/ 195 w 217"/>
                <a:gd name="T117" fmla="*/ 275 h 319"/>
                <a:gd name="T118" fmla="*/ 191 w 217"/>
                <a:gd name="T119" fmla="*/ 257 h 319"/>
                <a:gd name="T120" fmla="*/ 191 w 217"/>
                <a:gd name="T121" fmla="*/ 244 h 319"/>
                <a:gd name="T122" fmla="*/ 204 w 217"/>
                <a:gd name="T123" fmla="*/ 239 h 319"/>
                <a:gd name="T124" fmla="*/ 213 w 217"/>
                <a:gd name="T125" fmla="*/ 23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" h="319">
                  <a:moveTo>
                    <a:pt x="217" y="222"/>
                  </a:moveTo>
                  <a:lnTo>
                    <a:pt x="217" y="222"/>
                  </a:lnTo>
                  <a:lnTo>
                    <a:pt x="217" y="222"/>
                  </a:lnTo>
                  <a:lnTo>
                    <a:pt x="213" y="217"/>
                  </a:lnTo>
                  <a:lnTo>
                    <a:pt x="213" y="217"/>
                  </a:lnTo>
                  <a:lnTo>
                    <a:pt x="213" y="217"/>
                  </a:lnTo>
                  <a:lnTo>
                    <a:pt x="213" y="217"/>
                  </a:lnTo>
                  <a:lnTo>
                    <a:pt x="208" y="213"/>
                  </a:lnTo>
                  <a:lnTo>
                    <a:pt x="208" y="213"/>
                  </a:lnTo>
                  <a:lnTo>
                    <a:pt x="208" y="213"/>
                  </a:lnTo>
                  <a:lnTo>
                    <a:pt x="208" y="213"/>
                  </a:lnTo>
                  <a:lnTo>
                    <a:pt x="208" y="213"/>
                  </a:lnTo>
                  <a:lnTo>
                    <a:pt x="208" y="213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4" y="208"/>
                  </a:lnTo>
                  <a:lnTo>
                    <a:pt x="200" y="208"/>
                  </a:lnTo>
                  <a:lnTo>
                    <a:pt x="200" y="204"/>
                  </a:lnTo>
                  <a:lnTo>
                    <a:pt x="200" y="204"/>
                  </a:lnTo>
                  <a:lnTo>
                    <a:pt x="200" y="204"/>
                  </a:lnTo>
                  <a:lnTo>
                    <a:pt x="200" y="204"/>
                  </a:lnTo>
                  <a:lnTo>
                    <a:pt x="200" y="204"/>
                  </a:lnTo>
                  <a:lnTo>
                    <a:pt x="200" y="204"/>
                  </a:lnTo>
                  <a:lnTo>
                    <a:pt x="200" y="204"/>
                  </a:lnTo>
                  <a:lnTo>
                    <a:pt x="195" y="204"/>
                  </a:lnTo>
                  <a:lnTo>
                    <a:pt x="195" y="204"/>
                  </a:lnTo>
                  <a:lnTo>
                    <a:pt x="195" y="204"/>
                  </a:lnTo>
                  <a:lnTo>
                    <a:pt x="195" y="204"/>
                  </a:lnTo>
                  <a:lnTo>
                    <a:pt x="195" y="199"/>
                  </a:lnTo>
                  <a:lnTo>
                    <a:pt x="195" y="199"/>
                  </a:lnTo>
                  <a:lnTo>
                    <a:pt x="191" y="199"/>
                  </a:lnTo>
                  <a:lnTo>
                    <a:pt x="191" y="195"/>
                  </a:lnTo>
                  <a:lnTo>
                    <a:pt x="191" y="195"/>
                  </a:lnTo>
                  <a:lnTo>
                    <a:pt x="191" y="195"/>
                  </a:lnTo>
                  <a:lnTo>
                    <a:pt x="191" y="195"/>
                  </a:lnTo>
                  <a:lnTo>
                    <a:pt x="191" y="195"/>
                  </a:lnTo>
                  <a:lnTo>
                    <a:pt x="191" y="195"/>
                  </a:lnTo>
                  <a:lnTo>
                    <a:pt x="191" y="195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91" y="186"/>
                  </a:lnTo>
                  <a:lnTo>
                    <a:pt x="191" y="186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86" y="182"/>
                  </a:lnTo>
                  <a:lnTo>
                    <a:pt x="186" y="182"/>
                  </a:lnTo>
                  <a:lnTo>
                    <a:pt x="186" y="182"/>
                  </a:lnTo>
                  <a:lnTo>
                    <a:pt x="186" y="182"/>
                  </a:lnTo>
                  <a:lnTo>
                    <a:pt x="186" y="182"/>
                  </a:lnTo>
                  <a:lnTo>
                    <a:pt x="186" y="177"/>
                  </a:lnTo>
                  <a:lnTo>
                    <a:pt x="182" y="177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86" y="164"/>
                  </a:lnTo>
                  <a:lnTo>
                    <a:pt x="186" y="164"/>
                  </a:lnTo>
                  <a:lnTo>
                    <a:pt x="186" y="164"/>
                  </a:lnTo>
                  <a:lnTo>
                    <a:pt x="186" y="160"/>
                  </a:lnTo>
                  <a:lnTo>
                    <a:pt x="191" y="160"/>
                  </a:lnTo>
                  <a:lnTo>
                    <a:pt x="191" y="160"/>
                  </a:lnTo>
                  <a:lnTo>
                    <a:pt x="191" y="160"/>
                  </a:lnTo>
                  <a:lnTo>
                    <a:pt x="191" y="160"/>
                  </a:lnTo>
                  <a:lnTo>
                    <a:pt x="191" y="160"/>
                  </a:lnTo>
                  <a:lnTo>
                    <a:pt x="195" y="160"/>
                  </a:lnTo>
                  <a:lnTo>
                    <a:pt x="195" y="160"/>
                  </a:lnTo>
                  <a:lnTo>
                    <a:pt x="195" y="160"/>
                  </a:lnTo>
                  <a:lnTo>
                    <a:pt x="195" y="160"/>
                  </a:lnTo>
                  <a:lnTo>
                    <a:pt x="195" y="160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195" y="155"/>
                  </a:lnTo>
                  <a:lnTo>
                    <a:pt x="195" y="155"/>
                  </a:lnTo>
                  <a:lnTo>
                    <a:pt x="195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46"/>
                  </a:lnTo>
                  <a:lnTo>
                    <a:pt x="200" y="146"/>
                  </a:lnTo>
                  <a:lnTo>
                    <a:pt x="200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0" y="146"/>
                  </a:lnTo>
                  <a:lnTo>
                    <a:pt x="204" y="142"/>
                  </a:lnTo>
                  <a:lnTo>
                    <a:pt x="200" y="142"/>
                  </a:lnTo>
                  <a:lnTo>
                    <a:pt x="200" y="137"/>
                  </a:lnTo>
                  <a:lnTo>
                    <a:pt x="200" y="137"/>
                  </a:lnTo>
                  <a:lnTo>
                    <a:pt x="195" y="137"/>
                  </a:lnTo>
                  <a:lnTo>
                    <a:pt x="195" y="137"/>
                  </a:lnTo>
                  <a:lnTo>
                    <a:pt x="195" y="133"/>
                  </a:lnTo>
                  <a:lnTo>
                    <a:pt x="191" y="133"/>
                  </a:lnTo>
                  <a:lnTo>
                    <a:pt x="191" y="133"/>
                  </a:lnTo>
                  <a:lnTo>
                    <a:pt x="191" y="133"/>
                  </a:lnTo>
                  <a:lnTo>
                    <a:pt x="191" y="129"/>
                  </a:lnTo>
                  <a:lnTo>
                    <a:pt x="191" y="129"/>
                  </a:lnTo>
                  <a:lnTo>
                    <a:pt x="191" y="129"/>
                  </a:lnTo>
                  <a:lnTo>
                    <a:pt x="191" y="129"/>
                  </a:lnTo>
                  <a:lnTo>
                    <a:pt x="191" y="129"/>
                  </a:lnTo>
                  <a:lnTo>
                    <a:pt x="191" y="124"/>
                  </a:lnTo>
                  <a:lnTo>
                    <a:pt x="191" y="124"/>
                  </a:lnTo>
                  <a:lnTo>
                    <a:pt x="191" y="124"/>
                  </a:lnTo>
                  <a:lnTo>
                    <a:pt x="191" y="124"/>
                  </a:lnTo>
                  <a:lnTo>
                    <a:pt x="195" y="124"/>
                  </a:lnTo>
                  <a:lnTo>
                    <a:pt x="195" y="124"/>
                  </a:lnTo>
                  <a:lnTo>
                    <a:pt x="195" y="124"/>
                  </a:lnTo>
                  <a:lnTo>
                    <a:pt x="195" y="124"/>
                  </a:lnTo>
                  <a:lnTo>
                    <a:pt x="195" y="120"/>
                  </a:lnTo>
                  <a:lnTo>
                    <a:pt x="195" y="120"/>
                  </a:lnTo>
                  <a:lnTo>
                    <a:pt x="195" y="120"/>
                  </a:lnTo>
                  <a:lnTo>
                    <a:pt x="200" y="120"/>
                  </a:lnTo>
                  <a:lnTo>
                    <a:pt x="200" y="120"/>
                  </a:lnTo>
                  <a:lnTo>
                    <a:pt x="200" y="124"/>
                  </a:lnTo>
                  <a:lnTo>
                    <a:pt x="204" y="124"/>
                  </a:lnTo>
                  <a:lnTo>
                    <a:pt x="204" y="124"/>
                  </a:lnTo>
                  <a:lnTo>
                    <a:pt x="204" y="120"/>
                  </a:lnTo>
                  <a:lnTo>
                    <a:pt x="204" y="120"/>
                  </a:lnTo>
                  <a:lnTo>
                    <a:pt x="204" y="120"/>
                  </a:lnTo>
                  <a:lnTo>
                    <a:pt x="204" y="115"/>
                  </a:lnTo>
                  <a:lnTo>
                    <a:pt x="204" y="115"/>
                  </a:lnTo>
                  <a:lnTo>
                    <a:pt x="200" y="115"/>
                  </a:lnTo>
                  <a:lnTo>
                    <a:pt x="195" y="115"/>
                  </a:lnTo>
                  <a:lnTo>
                    <a:pt x="195" y="111"/>
                  </a:lnTo>
                  <a:lnTo>
                    <a:pt x="191" y="111"/>
                  </a:lnTo>
                  <a:lnTo>
                    <a:pt x="191" y="106"/>
                  </a:lnTo>
                  <a:lnTo>
                    <a:pt x="191" y="106"/>
                  </a:lnTo>
                  <a:lnTo>
                    <a:pt x="186" y="106"/>
                  </a:lnTo>
                  <a:lnTo>
                    <a:pt x="186" y="111"/>
                  </a:lnTo>
                  <a:lnTo>
                    <a:pt x="186" y="111"/>
                  </a:lnTo>
                  <a:lnTo>
                    <a:pt x="186" y="111"/>
                  </a:lnTo>
                  <a:lnTo>
                    <a:pt x="182" y="111"/>
                  </a:lnTo>
                  <a:lnTo>
                    <a:pt x="182" y="111"/>
                  </a:lnTo>
                  <a:lnTo>
                    <a:pt x="182" y="115"/>
                  </a:lnTo>
                  <a:lnTo>
                    <a:pt x="177" y="124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69" y="124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4" y="115"/>
                  </a:lnTo>
                  <a:lnTo>
                    <a:pt x="164" y="115"/>
                  </a:lnTo>
                  <a:lnTo>
                    <a:pt x="164" y="115"/>
                  </a:lnTo>
                  <a:lnTo>
                    <a:pt x="160" y="111"/>
                  </a:lnTo>
                  <a:lnTo>
                    <a:pt x="160" y="111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1" y="111"/>
                  </a:lnTo>
                  <a:lnTo>
                    <a:pt x="151" y="111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6" y="106"/>
                  </a:lnTo>
                  <a:lnTo>
                    <a:pt x="146" y="106"/>
                  </a:lnTo>
                  <a:lnTo>
                    <a:pt x="146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38" y="106"/>
                  </a:lnTo>
                  <a:lnTo>
                    <a:pt x="133" y="106"/>
                  </a:lnTo>
                  <a:lnTo>
                    <a:pt x="133" y="102"/>
                  </a:lnTo>
                  <a:lnTo>
                    <a:pt x="133" y="102"/>
                  </a:lnTo>
                  <a:lnTo>
                    <a:pt x="133" y="102"/>
                  </a:lnTo>
                  <a:lnTo>
                    <a:pt x="133" y="102"/>
                  </a:lnTo>
                  <a:lnTo>
                    <a:pt x="133" y="102"/>
                  </a:lnTo>
                  <a:lnTo>
                    <a:pt x="133" y="102"/>
                  </a:lnTo>
                  <a:lnTo>
                    <a:pt x="133" y="102"/>
                  </a:lnTo>
                  <a:lnTo>
                    <a:pt x="133" y="98"/>
                  </a:lnTo>
                  <a:lnTo>
                    <a:pt x="133" y="98"/>
                  </a:lnTo>
                  <a:lnTo>
                    <a:pt x="133" y="98"/>
                  </a:lnTo>
                  <a:lnTo>
                    <a:pt x="138" y="98"/>
                  </a:lnTo>
                  <a:lnTo>
                    <a:pt x="138" y="98"/>
                  </a:lnTo>
                  <a:lnTo>
                    <a:pt x="142" y="98"/>
                  </a:lnTo>
                  <a:lnTo>
                    <a:pt x="142" y="98"/>
                  </a:lnTo>
                  <a:lnTo>
                    <a:pt x="142" y="93"/>
                  </a:lnTo>
                  <a:lnTo>
                    <a:pt x="142" y="93"/>
                  </a:lnTo>
                  <a:lnTo>
                    <a:pt x="142" y="93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3" y="93"/>
                  </a:lnTo>
                  <a:lnTo>
                    <a:pt x="133" y="89"/>
                  </a:lnTo>
                  <a:lnTo>
                    <a:pt x="133" y="89"/>
                  </a:lnTo>
                  <a:lnTo>
                    <a:pt x="133" y="89"/>
                  </a:lnTo>
                  <a:lnTo>
                    <a:pt x="133" y="89"/>
                  </a:lnTo>
                  <a:lnTo>
                    <a:pt x="133" y="89"/>
                  </a:lnTo>
                  <a:lnTo>
                    <a:pt x="133" y="89"/>
                  </a:lnTo>
                  <a:lnTo>
                    <a:pt x="133" y="89"/>
                  </a:lnTo>
                  <a:lnTo>
                    <a:pt x="133" y="89"/>
                  </a:lnTo>
                  <a:lnTo>
                    <a:pt x="133" y="89"/>
                  </a:lnTo>
                  <a:lnTo>
                    <a:pt x="133" y="89"/>
                  </a:lnTo>
                  <a:lnTo>
                    <a:pt x="133" y="89"/>
                  </a:lnTo>
                  <a:lnTo>
                    <a:pt x="133" y="89"/>
                  </a:lnTo>
                  <a:lnTo>
                    <a:pt x="133" y="84"/>
                  </a:lnTo>
                  <a:lnTo>
                    <a:pt x="133" y="84"/>
                  </a:lnTo>
                  <a:lnTo>
                    <a:pt x="133" y="84"/>
                  </a:lnTo>
                  <a:lnTo>
                    <a:pt x="138" y="84"/>
                  </a:lnTo>
                  <a:lnTo>
                    <a:pt x="138" y="84"/>
                  </a:lnTo>
                  <a:lnTo>
                    <a:pt x="138" y="84"/>
                  </a:lnTo>
                  <a:lnTo>
                    <a:pt x="138" y="84"/>
                  </a:lnTo>
                  <a:lnTo>
                    <a:pt x="138" y="84"/>
                  </a:lnTo>
                  <a:lnTo>
                    <a:pt x="138" y="84"/>
                  </a:lnTo>
                  <a:lnTo>
                    <a:pt x="138" y="80"/>
                  </a:lnTo>
                  <a:lnTo>
                    <a:pt x="138" y="80"/>
                  </a:lnTo>
                  <a:lnTo>
                    <a:pt x="138" y="80"/>
                  </a:lnTo>
                  <a:lnTo>
                    <a:pt x="138" y="80"/>
                  </a:lnTo>
                  <a:lnTo>
                    <a:pt x="138" y="80"/>
                  </a:lnTo>
                  <a:lnTo>
                    <a:pt x="138" y="80"/>
                  </a:lnTo>
                  <a:lnTo>
                    <a:pt x="138" y="80"/>
                  </a:lnTo>
                  <a:lnTo>
                    <a:pt x="138" y="80"/>
                  </a:lnTo>
                  <a:lnTo>
                    <a:pt x="138" y="80"/>
                  </a:lnTo>
                  <a:lnTo>
                    <a:pt x="138" y="75"/>
                  </a:lnTo>
                  <a:lnTo>
                    <a:pt x="138" y="75"/>
                  </a:lnTo>
                  <a:lnTo>
                    <a:pt x="138" y="75"/>
                  </a:lnTo>
                  <a:lnTo>
                    <a:pt x="133" y="75"/>
                  </a:lnTo>
                  <a:lnTo>
                    <a:pt x="129" y="71"/>
                  </a:lnTo>
                  <a:lnTo>
                    <a:pt x="124" y="71"/>
                  </a:lnTo>
                  <a:lnTo>
                    <a:pt x="124" y="71"/>
                  </a:lnTo>
                  <a:lnTo>
                    <a:pt x="124" y="71"/>
                  </a:lnTo>
                  <a:lnTo>
                    <a:pt x="124" y="71"/>
                  </a:lnTo>
                  <a:lnTo>
                    <a:pt x="120" y="67"/>
                  </a:lnTo>
                  <a:lnTo>
                    <a:pt x="120" y="67"/>
                  </a:lnTo>
                  <a:lnTo>
                    <a:pt x="120" y="67"/>
                  </a:lnTo>
                  <a:lnTo>
                    <a:pt x="120" y="67"/>
                  </a:lnTo>
                  <a:lnTo>
                    <a:pt x="120" y="67"/>
                  </a:lnTo>
                  <a:lnTo>
                    <a:pt x="120" y="67"/>
                  </a:lnTo>
                  <a:lnTo>
                    <a:pt x="115" y="67"/>
                  </a:lnTo>
                  <a:lnTo>
                    <a:pt x="115" y="67"/>
                  </a:lnTo>
                  <a:lnTo>
                    <a:pt x="115" y="67"/>
                  </a:lnTo>
                  <a:lnTo>
                    <a:pt x="115" y="67"/>
                  </a:lnTo>
                  <a:lnTo>
                    <a:pt x="111" y="62"/>
                  </a:lnTo>
                  <a:lnTo>
                    <a:pt x="111" y="62"/>
                  </a:lnTo>
                  <a:lnTo>
                    <a:pt x="111" y="62"/>
                  </a:lnTo>
                  <a:lnTo>
                    <a:pt x="107" y="58"/>
                  </a:lnTo>
                  <a:lnTo>
                    <a:pt x="102" y="53"/>
                  </a:lnTo>
                  <a:lnTo>
                    <a:pt x="102" y="53"/>
                  </a:lnTo>
                  <a:lnTo>
                    <a:pt x="102" y="53"/>
                  </a:lnTo>
                  <a:lnTo>
                    <a:pt x="102" y="53"/>
                  </a:lnTo>
                  <a:lnTo>
                    <a:pt x="102" y="53"/>
                  </a:lnTo>
                  <a:lnTo>
                    <a:pt x="102" y="53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2" y="44"/>
                  </a:lnTo>
                  <a:lnTo>
                    <a:pt x="98" y="44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1"/>
                  </a:lnTo>
                  <a:lnTo>
                    <a:pt x="102" y="31"/>
                  </a:lnTo>
                  <a:lnTo>
                    <a:pt x="102" y="31"/>
                  </a:lnTo>
                  <a:lnTo>
                    <a:pt x="102" y="31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3" y="31"/>
                  </a:lnTo>
                  <a:lnTo>
                    <a:pt x="93" y="31"/>
                  </a:lnTo>
                  <a:lnTo>
                    <a:pt x="93" y="31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84" y="22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18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5" y="44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5" y="58"/>
                  </a:lnTo>
                  <a:lnTo>
                    <a:pt x="5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8" y="67"/>
                  </a:lnTo>
                  <a:lnTo>
                    <a:pt x="27" y="71"/>
                  </a:lnTo>
                  <a:lnTo>
                    <a:pt x="27" y="71"/>
                  </a:lnTo>
                  <a:lnTo>
                    <a:pt x="27" y="71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80"/>
                  </a:lnTo>
                  <a:lnTo>
                    <a:pt x="9" y="75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14" y="80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9"/>
                  </a:lnTo>
                  <a:lnTo>
                    <a:pt x="14" y="89"/>
                  </a:lnTo>
                  <a:lnTo>
                    <a:pt x="14" y="89"/>
                  </a:lnTo>
                  <a:lnTo>
                    <a:pt x="14" y="89"/>
                  </a:lnTo>
                  <a:lnTo>
                    <a:pt x="14" y="89"/>
                  </a:lnTo>
                  <a:lnTo>
                    <a:pt x="14" y="89"/>
                  </a:lnTo>
                  <a:lnTo>
                    <a:pt x="14" y="89"/>
                  </a:lnTo>
                  <a:lnTo>
                    <a:pt x="14" y="89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9" y="98"/>
                  </a:lnTo>
                  <a:lnTo>
                    <a:pt x="9" y="98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5" y="93"/>
                  </a:lnTo>
                  <a:lnTo>
                    <a:pt x="9" y="98"/>
                  </a:lnTo>
                  <a:lnTo>
                    <a:pt x="9" y="98"/>
                  </a:lnTo>
                  <a:lnTo>
                    <a:pt x="9" y="98"/>
                  </a:lnTo>
                  <a:lnTo>
                    <a:pt x="9" y="98"/>
                  </a:lnTo>
                  <a:lnTo>
                    <a:pt x="14" y="98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106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2" y="115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9"/>
                  </a:lnTo>
                  <a:lnTo>
                    <a:pt x="14" y="129"/>
                  </a:lnTo>
                  <a:lnTo>
                    <a:pt x="14" y="133"/>
                  </a:lnTo>
                  <a:lnTo>
                    <a:pt x="14" y="133"/>
                  </a:lnTo>
                  <a:lnTo>
                    <a:pt x="14" y="133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42"/>
                  </a:lnTo>
                  <a:lnTo>
                    <a:pt x="18" y="142"/>
                  </a:lnTo>
                  <a:lnTo>
                    <a:pt x="18" y="142"/>
                  </a:lnTo>
                  <a:lnTo>
                    <a:pt x="18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6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1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2" y="164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2" y="164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7" y="173"/>
                  </a:lnTo>
                  <a:lnTo>
                    <a:pt x="31" y="182"/>
                  </a:lnTo>
                  <a:lnTo>
                    <a:pt x="31" y="182"/>
                  </a:lnTo>
                  <a:lnTo>
                    <a:pt x="36" y="186"/>
                  </a:lnTo>
                  <a:lnTo>
                    <a:pt x="36" y="186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27" y="195"/>
                  </a:lnTo>
                  <a:lnTo>
                    <a:pt x="27" y="195"/>
                  </a:lnTo>
                  <a:lnTo>
                    <a:pt x="27" y="195"/>
                  </a:lnTo>
                  <a:lnTo>
                    <a:pt x="27" y="191"/>
                  </a:lnTo>
                  <a:lnTo>
                    <a:pt x="27" y="191"/>
                  </a:lnTo>
                  <a:lnTo>
                    <a:pt x="27" y="191"/>
                  </a:lnTo>
                  <a:lnTo>
                    <a:pt x="27" y="191"/>
                  </a:lnTo>
                  <a:lnTo>
                    <a:pt x="22" y="191"/>
                  </a:lnTo>
                  <a:lnTo>
                    <a:pt x="22" y="191"/>
                  </a:lnTo>
                  <a:lnTo>
                    <a:pt x="22" y="191"/>
                  </a:lnTo>
                  <a:lnTo>
                    <a:pt x="22" y="191"/>
                  </a:lnTo>
                  <a:lnTo>
                    <a:pt x="22" y="191"/>
                  </a:lnTo>
                  <a:lnTo>
                    <a:pt x="18" y="195"/>
                  </a:lnTo>
                  <a:lnTo>
                    <a:pt x="18" y="195"/>
                  </a:lnTo>
                  <a:lnTo>
                    <a:pt x="18" y="195"/>
                  </a:lnTo>
                  <a:lnTo>
                    <a:pt x="18" y="195"/>
                  </a:lnTo>
                  <a:lnTo>
                    <a:pt x="18" y="199"/>
                  </a:lnTo>
                  <a:lnTo>
                    <a:pt x="18" y="199"/>
                  </a:lnTo>
                  <a:lnTo>
                    <a:pt x="18" y="204"/>
                  </a:lnTo>
                  <a:lnTo>
                    <a:pt x="18" y="204"/>
                  </a:lnTo>
                  <a:lnTo>
                    <a:pt x="27" y="208"/>
                  </a:lnTo>
                  <a:lnTo>
                    <a:pt x="27" y="208"/>
                  </a:lnTo>
                  <a:lnTo>
                    <a:pt x="31" y="208"/>
                  </a:lnTo>
                  <a:lnTo>
                    <a:pt x="31" y="213"/>
                  </a:lnTo>
                  <a:lnTo>
                    <a:pt x="31" y="213"/>
                  </a:lnTo>
                  <a:lnTo>
                    <a:pt x="36" y="217"/>
                  </a:lnTo>
                  <a:lnTo>
                    <a:pt x="36" y="217"/>
                  </a:lnTo>
                  <a:lnTo>
                    <a:pt x="36" y="217"/>
                  </a:lnTo>
                  <a:lnTo>
                    <a:pt x="36" y="217"/>
                  </a:lnTo>
                  <a:lnTo>
                    <a:pt x="40" y="222"/>
                  </a:lnTo>
                  <a:lnTo>
                    <a:pt x="40" y="222"/>
                  </a:lnTo>
                  <a:lnTo>
                    <a:pt x="40" y="222"/>
                  </a:lnTo>
                  <a:lnTo>
                    <a:pt x="40" y="222"/>
                  </a:lnTo>
                  <a:lnTo>
                    <a:pt x="45" y="222"/>
                  </a:lnTo>
                  <a:lnTo>
                    <a:pt x="45" y="222"/>
                  </a:lnTo>
                  <a:lnTo>
                    <a:pt x="45" y="222"/>
                  </a:lnTo>
                  <a:lnTo>
                    <a:pt x="45" y="222"/>
                  </a:lnTo>
                  <a:lnTo>
                    <a:pt x="45" y="226"/>
                  </a:lnTo>
                  <a:lnTo>
                    <a:pt x="49" y="226"/>
                  </a:lnTo>
                  <a:lnTo>
                    <a:pt x="49" y="226"/>
                  </a:lnTo>
                  <a:lnTo>
                    <a:pt x="49" y="226"/>
                  </a:lnTo>
                  <a:lnTo>
                    <a:pt x="53" y="230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8" y="226"/>
                  </a:lnTo>
                  <a:lnTo>
                    <a:pt x="58" y="226"/>
                  </a:lnTo>
                  <a:lnTo>
                    <a:pt x="58" y="226"/>
                  </a:lnTo>
                  <a:lnTo>
                    <a:pt x="58" y="226"/>
                  </a:lnTo>
                  <a:lnTo>
                    <a:pt x="58" y="230"/>
                  </a:lnTo>
                  <a:lnTo>
                    <a:pt x="58" y="230"/>
                  </a:lnTo>
                  <a:lnTo>
                    <a:pt x="62" y="230"/>
                  </a:lnTo>
                  <a:lnTo>
                    <a:pt x="62" y="235"/>
                  </a:lnTo>
                  <a:lnTo>
                    <a:pt x="62" y="235"/>
                  </a:lnTo>
                  <a:lnTo>
                    <a:pt x="67" y="235"/>
                  </a:lnTo>
                  <a:lnTo>
                    <a:pt x="67" y="235"/>
                  </a:lnTo>
                  <a:lnTo>
                    <a:pt x="67" y="235"/>
                  </a:lnTo>
                  <a:lnTo>
                    <a:pt x="71" y="235"/>
                  </a:lnTo>
                  <a:lnTo>
                    <a:pt x="71" y="239"/>
                  </a:lnTo>
                  <a:lnTo>
                    <a:pt x="76" y="239"/>
                  </a:lnTo>
                  <a:lnTo>
                    <a:pt x="80" y="239"/>
                  </a:lnTo>
                  <a:lnTo>
                    <a:pt x="80" y="244"/>
                  </a:lnTo>
                  <a:lnTo>
                    <a:pt x="80" y="244"/>
                  </a:lnTo>
                  <a:lnTo>
                    <a:pt x="80" y="248"/>
                  </a:lnTo>
                  <a:lnTo>
                    <a:pt x="76" y="248"/>
                  </a:lnTo>
                  <a:lnTo>
                    <a:pt x="71" y="248"/>
                  </a:lnTo>
                  <a:lnTo>
                    <a:pt x="71" y="248"/>
                  </a:lnTo>
                  <a:lnTo>
                    <a:pt x="71" y="248"/>
                  </a:lnTo>
                  <a:lnTo>
                    <a:pt x="71" y="248"/>
                  </a:lnTo>
                  <a:lnTo>
                    <a:pt x="71" y="253"/>
                  </a:lnTo>
                  <a:lnTo>
                    <a:pt x="71" y="253"/>
                  </a:lnTo>
                  <a:lnTo>
                    <a:pt x="71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7"/>
                  </a:lnTo>
                  <a:lnTo>
                    <a:pt x="62" y="257"/>
                  </a:lnTo>
                  <a:lnTo>
                    <a:pt x="67" y="257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2" y="261"/>
                  </a:lnTo>
                  <a:lnTo>
                    <a:pt x="62" y="261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7" y="270"/>
                  </a:lnTo>
                  <a:lnTo>
                    <a:pt x="67" y="270"/>
                  </a:lnTo>
                  <a:lnTo>
                    <a:pt x="67" y="270"/>
                  </a:lnTo>
                  <a:lnTo>
                    <a:pt x="67" y="270"/>
                  </a:lnTo>
                  <a:lnTo>
                    <a:pt x="67" y="270"/>
                  </a:lnTo>
                  <a:lnTo>
                    <a:pt x="67" y="270"/>
                  </a:lnTo>
                  <a:lnTo>
                    <a:pt x="67" y="270"/>
                  </a:lnTo>
                  <a:lnTo>
                    <a:pt x="71" y="275"/>
                  </a:lnTo>
                  <a:lnTo>
                    <a:pt x="71" y="275"/>
                  </a:lnTo>
                  <a:lnTo>
                    <a:pt x="71" y="275"/>
                  </a:lnTo>
                  <a:lnTo>
                    <a:pt x="71" y="275"/>
                  </a:lnTo>
                  <a:lnTo>
                    <a:pt x="71" y="275"/>
                  </a:lnTo>
                  <a:lnTo>
                    <a:pt x="71" y="279"/>
                  </a:lnTo>
                  <a:lnTo>
                    <a:pt x="71" y="279"/>
                  </a:lnTo>
                  <a:lnTo>
                    <a:pt x="71" y="279"/>
                  </a:lnTo>
                  <a:lnTo>
                    <a:pt x="71" y="279"/>
                  </a:lnTo>
                  <a:lnTo>
                    <a:pt x="71" y="279"/>
                  </a:lnTo>
                  <a:lnTo>
                    <a:pt x="71" y="279"/>
                  </a:lnTo>
                  <a:lnTo>
                    <a:pt x="71" y="279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84" y="288"/>
                  </a:lnTo>
                  <a:lnTo>
                    <a:pt x="84" y="288"/>
                  </a:lnTo>
                  <a:lnTo>
                    <a:pt x="84" y="288"/>
                  </a:lnTo>
                  <a:lnTo>
                    <a:pt x="84" y="292"/>
                  </a:lnTo>
                  <a:lnTo>
                    <a:pt x="89" y="297"/>
                  </a:lnTo>
                  <a:lnTo>
                    <a:pt x="89" y="297"/>
                  </a:lnTo>
                  <a:lnTo>
                    <a:pt x="89" y="297"/>
                  </a:lnTo>
                  <a:lnTo>
                    <a:pt x="89" y="301"/>
                  </a:lnTo>
                  <a:lnTo>
                    <a:pt x="89" y="301"/>
                  </a:lnTo>
                  <a:lnTo>
                    <a:pt x="93" y="306"/>
                  </a:lnTo>
                  <a:lnTo>
                    <a:pt x="93" y="306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89" y="310"/>
                  </a:lnTo>
                  <a:lnTo>
                    <a:pt x="89" y="310"/>
                  </a:lnTo>
                  <a:lnTo>
                    <a:pt x="89" y="310"/>
                  </a:lnTo>
                  <a:lnTo>
                    <a:pt x="89" y="315"/>
                  </a:lnTo>
                  <a:lnTo>
                    <a:pt x="89" y="315"/>
                  </a:lnTo>
                  <a:lnTo>
                    <a:pt x="89" y="315"/>
                  </a:lnTo>
                  <a:lnTo>
                    <a:pt x="89" y="315"/>
                  </a:lnTo>
                  <a:lnTo>
                    <a:pt x="93" y="315"/>
                  </a:lnTo>
                  <a:lnTo>
                    <a:pt x="93" y="315"/>
                  </a:lnTo>
                  <a:lnTo>
                    <a:pt x="93" y="315"/>
                  </a:lnTo>
                  <a:lnTo>
                    <a:pt x="93" y="315"/>
                  </a:lnTo>
                  <a:lnTo>
                    <a:pt x="93" y="315"/>
                  </a:lnTo>
                  <a:lnTo>
                    <a:pt x="93" y="315"/>
                  </a:lnTo>
                  <a:lnTo>
                    <a:pt x="93" y="315"/>
                  </a:lnTo>
                  <a:lnTo>
                    <a:pt x="98" y="315"/>
                  </a:lnTo>
                  <a:lnTo>
                    <a:pt x="98" y="319"/>
                  </a:lnTo>
                  <a:lnTo>
                    <a:pt x="98" y="315"/>
                  </a:lnTo>
                  <a:lnTo>
                    <a:pt x="98" y="315"/>
                  </a:lnTo>
                  <a:lnTo>
                    <a:pt x="98" y="315"/>
                  </a:lnTo>
                  <a:lnTo>
                    <a:pt x="98" y="315"/>
                  </a:lnTo>
                  <a:lnTo>
                    <a:pt x="98" y="315"/>
                  </a:lnTo>
                  <a:lnTo>
                    <a:pt x="98" y="310"/>
                  </a:lnTo>
                  <a:lnTo>
                    <a:pt x="98" y="310"/>
                  </a:lnTo>
                  <a:lnTo>
                    <a:pt x="98" y="310"/>
                  </a:lnTo>
                  <a:lnTo>
                    <a:pt x="98" y="310"/>
                  </a:lnTo>
                  <a:lnTo>
                    <a:pt x="98" y="306"/>
                  </a:lnTo>
                  <a:lnTo>
                    <a:pt x="102" y="301"/>
                  </a:lnTo>
                  <a:lnTo>
                    <a:pt x="102" y="301"/>
                  </a:lnTo>
                  <a:lnTo>
                    <a:pt x="102" y="301"/>
                  </a:lnTo>
                  <a:lnTo>
                    <a:pt x="102" y="301"/>
                  </a:lnTo>
                  <a:lnTo>
                    <a:pt x="107" y="297"/>
                  </a:lnTo>
                  <a:lnTo>
                    <a:pt x="111" y="297"/>
                  </a:lnTo>
                  <a:lnTo>
                    <a:pt x="111" y="297"/>
                  </a:lnTo>
                  <a:lnTo>
                    <a:pt x="115" y="297"/>
                  </a:lnTo>
                  <a:lnTo>
                    <a:pt x="115" y="292"/>
                  </a:lnTo>
                  <a:lnTo>
                    <a:pt x="115" y="292"/>
                  </a:lnTo>
                  <a:lnTo>
                    <a:pt x="120" y="292"/>
                  </a:lnTo>
                  <a:lnTo>
                    <a:pt x="120" y="292"/>
                  </a:lnTo>
                  <a:lnTo>
                    <a:pt x="120" y="292"/>
                  </a:lnTo>
                  <a:lnTo>
                    <a:pt x="120" y="292"/>
                  </a:lnTo>
                  <a:lnTo>
                    <a:pt x="120" y="292"/>
                  </a:lnTo>
                  <a:lnTo>
                    <a:pt x="124" y="297"/>
                  </a:lnTo>
                  <a:lnTo>
                    <a:pt x="124" y="297"/>
                  </a:lnTo>
                  <a:lnTo>
                    <a:pt x="124" y="297"/>
                  </a:lnTo>
                  <a:lnTo>
                    <a:pt x="124" y="297"/>
                  </a:lnTo>
                  <a:lnTo>
                    <a:pt x="124" y="297"/>
                  </a:lnTo>
                  <a:lnTo>
                    <a:pt x="124" y="301"/>
                  </a:lnTo>
                  <a:lnTo>
                    <a:pt x="129" y="301"/>
                  </a:lnTo>
                  <a:lnTo>
                    <a:pt x="129" y="301"/>
                  </a:lnTo>
                  <a:lnTo>
                    <a:pt x="129" y="297"/>
                  </a:lnTo>
                  <a:lnTo>
                    <a:pt x="129" y="297"/>
                  </a:lnTo>
                  <a:lnTo>
                    <a:pt x="129" y="297"/>
                  </a:lnTo>
                  <a:lnTo>
                    <a:pt x="129" y="297"/>
                  </a:lnTo>
                  <a:lnTo>
                    <a:pt x="129" y="297"/>
                  </a:lnTo>
                  <a:lnTo>
                    <a:pt x="129" y="297"/>
                  </a:lnTo>
                  <a:lnTo>
                    <a:pt x="129" y="297"/>
                  </a:lnTo>
                  <a:lnTo>
                    <a:pt x="133" y="292"/>
                  </a:lnTo>
                  <a:lnTo>
                    <a:pt x="133" y="292"/>
                  </a:lnTo>
                  <a:lnTo>
                    <a:pt x="133" y="288"/>
                  </a:lnTo>
                  <a:lnTo>
                    <a:pt x="133" y="288"/>
                  </a:lnTo>
                  <a:lnTo>
                    <a:pt x="133" y="292"/>
                  </a:lnTo>
                  <a:lnTo>
                    <a:pt x="138" y="292"/>
                  </a:lnTo>
                  <a:lnTo>
                    <a:pt x="138" y="288"/>
                  </a:lnTo>
                  <a:lnTo>
                    <a:pt x="133" y="288"/>
                  </a:lnTo>
                  <a:lnTo>
                    <a:pt x="133" y="288"/>
                  </a:lnTo>
                  <a:lnTo>
                    <a:pt x="138" y="288"/>
                  </a:lnTo>
                  <a:lnTo>
                    <a:pt x="138" y="288"/>
                  </a:lnTo>
                  <a:lnTo>
                    <a:pt x="138" y="288"/>
                  </a:lnTo>
                  <a:lnTo>
                    <a:pt x="138" y="288"/>
                  </a:lnTo>
                  <a:lnTo>
                    <a:pt x="138" y="288"/>
                  </a:lnTo>
                  <a:lnTo>
                    <a:pt x="138" y="288"/>
                  </a:lnTo>
                  <a:lnTo>
                    <a:pt x="138" y="288"/>
                  </a:lnTo>
                  <a:lnTo>
                    <a:pt x="142" y="288"/>
                  </a:lnTo>
                  <a:lnTo>
                    <a:pt x="142" y="288"/>
                  </a:lnTo>
                  <a:lnTo>
                    <a:pt x="142" y="288"/>
                  </a:lnTo>
                  <a:lnTo>
                    <a:pt x="142" y="288"/>
                  </a:lnTo>
                  <a:lnTo>
                    <a:pt x="146" y="288"/>
                  </a:lnTo>
                  <a:lnTo>
                    <a:pt x="146" y="288"/>
                  </a:lnTo>
                  <a:lnTo>
                    <a:pt x="146" y="288"/>
                  </a:lnTo>
                  <a:lnTo>
                    <a:pt x="146" y="288"/>
                  </a:lnTo>
                  <a:lnTo>
                    <a:pt x="151" y="288"/>
                  </a:lnTo>
                  <a:lnTo>
                    <a:pt x="151" y="288"/>
                  </a:lnTo>
                  <a:lnTo>
                    <a:pt x="151" y="288"/>
                  </a:lnTo>
                  <a:lnTo>
                    <a:pt x="155" y="284"/>
                  </a:lnTo>
                  <a:lnTo>
                    <a:pt x="155" y="284"/>
                  </a:lnTo>
                  <a:lnTo>
                    <a:pt x="160" y="284"/>
                  </a:lnTo>
                  <a:lnTo>
                    <a:pt x="160" y="284"/>
                  </a:lnTo>
                  <a:lnTo>
                    <a:pt x="160" y="284"/>
                  </a:lnTo>
                  <a:lnTo>
                    <a:pt x="160" y="284"/>
                  </a:lnTo>
                  <a:lnTo>
                    <a:pt x="164" y="284"/>
                  </a:lnTo>
                  <a:lnTo>
                    <a:pt x="164" y="284"/>
                  </a:lnTo>
                  <a:lnTo>
                    <a:pt x="169" y="284"/>
                  </a:lnTo>
                  <a:lnTo>
                    <a:pt x="169" y="284"/>
                  </a:lnTo>
                  <a:lnTo>
                    <a:pt x="169" y="284"/>
                  </a:lnTo>
                  <a:lnTo>
                    <a:pt x="169" y="284"/>
                  </a:lnTo>
                  <a:lnTo>
                    <a:pt x="177" y="279"/>
                  </a:lnTo>
                  <a:lnTo>
                    <a:pt x="177" y="279"/>
                  </a:lnTo>
                  <a:lnTo>
                    <a:pt x="182" y="279"/>
                  </a:lnTo>
                  <a:lnTo>
                    <a:pt x="182" y="279"/>
                  </a:lnTo>
                  <a:lnTo>
                    <a:pt x="182" y="279"/>
                  </a:lnTo>
                  <a:lnTo>
                    <a:pt x="182" y="284"/>
                  </a:lnTo>
                  <a:lnTo>
                    <a:pt x="182" y="284"/>
                  </a:lnTo>
                  <a:lnTo>
                    <a:pt x="182" y="284"/>
                  </a:lnTo>
                  <a:lnTo>
                    <a:pt x="182" y="284"/>
                  </a:lnTo>
                  <a:lnTo>
                    <a:pt x="182" y="284"/>
                  </a:lnTo>
                  <a:lnTo>
                    <a:pt x="186" y="284"/>
                  </a:lnTo>
                  <a:lnTo>
                    <a:pt x="186" y="284"/>
                  </a:lnTo>
                  <a:lnTo>
                    <a:pt x="186" y="284"/>
                  </a:lnTo>
                  <a:lnTo>
                    <a:pt x="191" y="284"/>
                  </a:lnTo>
                  <a:lnTo>
                    <a:pt x="191" y="279"/>
                  </a:lnTo>
                  <a:lnTo>
                    <a:pt x="191" y="279"/>
                  </a:lnTo>
                  <a:lnTo>
                    <a:pt x="191" y="279"/>
                  </a:lnTo>
                  <a:lnTo>
                    <a:pt x="191" y="279"/>
                  </a:lnTo>
                  <a:lnTo>
                    <a:pt x="191" y="279"/>
                  </a:lnTo>
                  <a:lnTo>
                    <a:pt x="195" y="275"/>
                  </a:lnTo>
                  <a:lnTo>
                    <a:pt x="195" y="275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1" y="270"/>
                  </a:lnTo>
                  <a:lnTo>
                    <a:pt x="191" y="266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91" y="261"/>
                  </a:lnTo>
                  <a:lnTo>
                    <a:pt x="191" y="261"/>
                  </a:lnTo>
                  <a:lnTo>
                    <a:pt x="191" y="257"/>
                  </a:lnTo>
                  <a:lnTo>
                    <a:pt x="191" y="257"/>
                  </a:lnTo>
                  <a:lnTo>
                    <a:pt x="191" y="257"/>
                  </a:lnTo>
                  <a:lnTo>
                    <a:pt x="191" y="253"/>
                  </a:lnTo>
                  <a:lnTo>
                    <a:pt x="191" y="253"/>
                  </a:lnTo>
                  <a:lnTo>
                    <a:pt x="191" y="253"/>
                  </a:lnTo>
                  <a:lnTo>
                    <a:pt x="191" y="253"/>
                  </a:lnTo>
                  <a:lnTo>
                    <a:pt x="191" y="253"/>
                  </a:lnTo>
                  <a:lnTo>
                    <a:pt x="191" y="253"/>
                  </a:lnTo>
                  <a:lnTo>
                    <a:pt x="191" y="253"/>
                  </a:lnTo>
                  <a:lnTo>
                    <a:pt x="186" y="248"/>
                  </a:lnTo>
                  <a:lnTo>
                    <a:pt x="186" y="248"/>
                  </a:lnTo>
                  <a:lnTo>
                    <a:pt x="186" y="248"/>
                  </a:lnTo>
                  <a:lnTo>
                    <a:pt x="186" y="248"/>
                  </a:lnTo>
                  <a:lnTo>
                    <a:pt x="191" y="248"/>
                  </a:lnTo>
                  <a:lnTo>
                    <a:pt x="191" y="248"/>
                  </a:lnTo>
                  <a:lnTo>
                    <a:pt x="191" y="248"/>
                  </a:lnTo>
                  <a:lnTo>
                    <a:pt x="191" y="244"/>
                  </a:lnTo>
                  <a:lnTo>
                    <a:pt x="191" y="244"/>
                  </a:lnTo>
                  <a:lnTo>
                    <a:pt x="191" y="244"/>
                  </a:lnTo>
                  <a:lnTo>
                    <a:pt x="195" y="244"/>
                  </a:lnTo>
                  <a:lnTo>
                    <a:pt x="195" y="244"/>
                  </a:lnTo>
                  <a:lnTo>
                    <a:pt x="195" y="244"/>
                  </a:lnTo>
                  <a:lnTo>
                    <a:pt x="195" y="244"/>
                  </a:lnTo>
                  <a:lnTo>
                    <a:pt x="195" y="244"/>
                  </a:lnTo>
                  <a:lnTo>
                    <a:pt x="195" y="244"/>
                  </a:lnTo>
                  <a:lnTo>
                    <a:pt x="195" y="244"/>
                  </a:lnTo>
                  <a:lnTo>
                    <a:pt x="200" y="244"/>
                  </a:lnTo>
                  <a:lnTo>
                    <a:pt x="204" y="244"/>
                  </a:lnTo>
                  <a:lnTo>
                    <a:pt x="204" y="244"/>
                  </a:lnTo>
                  <a:lnTo>
                    <a:pt x="204" y="244"/>
                  </a:lnTo>
                  <a:lnTo>
                    <a:pt x="204" y="244"/>
                  </a:lnTo>
                  <a:lnTo>
                    <a:pt x="204" y="239"/>
                  </a:lnTo>
                  <a:lnTo>
                    <a:pt x="204" y="239"/>
                  </a:lnTo>
                  <a:lnTo>
                    <a:pt x="204" y="235"/>
                  </a:lnTo>
                  <a:lnTo>
                    <a:pt x="208" y="235"/>
                  </a:lnTo>
                  <a:lnTo>
                    <a:pt x="208" y="235"/>
                  </a:lnTo>
                  <a:lnTo>
                    <a:pt x="208" y="235"/>
                  </a:lnTo>
                  <a:lnTo>
                    <a:pt x="208" y="235"/>
                  </a:lnTo>
                  <a:lnTo>
                    <a:pt x="208" y="235"/>
                  </a:lnTo>
                  <a:lnTo>
                    <a:pt x="208" y="235"/>
                  </a:lnTo>
                  <a:lnTo>
                    <a:pt x="208" y="235"/>
                  </a:lnTo>
                  <a:lnTo>
                    <a:pt x="208" y="235"/>
                  </a:lnTo>
                  <a:lnTo>
                    <a:pt x="213" y="230"/>
                  </a:lnTo>
                  <a:lnTo>
                    <a:pt x="213" y="230"/>
                  </a:lnTo>
                  <a:lnTo>
                    <a:pt x="213" y="230"/>
                  </a:lnTo>
                  <a:lnTo>
                    <a:pt x="213" y="230"/>
                  </a:lnTo>
                  <a:lnTo>
                    <a:pt x="213" y="230"/>
                  </a:lnTo>
                  <a:lnTo>
                    <a:pt x="213" y="230"/>
                  </a:lnTo>
                  <a:lnTo>
                    <a:pt x="213" y="230"/>
                  </a:lnTo>
                  <a:lnTo>
                    <a:pt x="217" y="226"/>
                  </a:lnTo>
                  <a:lnTo>
                    <a:pt x="217" y="226"/>
                  </a:lnTo>
                  <a:lnTo>
                    <a:pt x="217" y="222"/>
                  </a:lnTo>
                  <a:lnTo>
                    <a:pt x="217" y="222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86" name="Freeform 17"/>
            <p:cNvSpPr>
              <a:spLocks/>
            </p:cNvSpPr>
            <p:nvPr/>
          </p:nvSpPr>
          <p:spPr bwMode="auto">
            <a:xfrm>
              <a:off x="4181475" y="4843463"/>
              <a:ext cx="793750" cy="555625"/>
            </a:xfrm>
            <a:custGeom>
              <a:avLst/>
              <a:gdLst>
                <a:gd name="T0" fmla="*/ 491 w 500"/>
                <a:gd name="T1" fmla="*/ 222 h 350"/>
                <a:gd name="T2" fmla="*/ 469 w 500"/>
                <a:gd name="T3" fmla="*/ 222 h 350"/>
                <a:gd name="T4" fmla="*/ 456 w 500"/>
                <a:gd name="T5" fmla="*/ 226 h 350"/>
                <a:gd name="T6" fmla="*/ 429 w 500"/>
                <a:gd name="T7" fmla="*/ 231 h 350"/>
                <a:gd name="T8" fmla="*/ 416 w 500"/>
                <a:gd name="T9" fmla="*/ 208 h 350"/>
                <a:gd name="T10" fmla="*/ 416 w 500"/>
                <a:gd name="T11" fmla="*/ 186 h 350"/>
                <a:gd name="T12" fmla="*/ 421 w 500"/>
                <a:gd name="T13" fmla="*/ 164 h 350"/>
                <a:gd name="T14" fmla="*/ 421 w 500"/>
                <a:gd name="T15" fmla="*/ 151 h 350"/>
                <a:gd name="T16" fmla="*/ 421 w 500"/>
                <a:gd name="T17" fmla="*/ 138 h 350"/>
                <a:gd name="T18" fmla="*/ 416 w 500"/>
                <a:gd name="T19" fmla="*/ 111 h 350"/>
                <a:gd name="T20" fmla="*/ 403 w 500"/>
                <a:gd name="T21" fmla="*/ 93 h 350"/>
                <a:gd name="T22" fmla="*/ 394 w 500"/>
                <a:gd name="T23" fmla="*/ 80 h 350"/>
                <a:gd name="T24" fmla="*/ 385 w 500"/>
                <a:gd name="T25" fmla="*/ 62 h 350"/>
                <a:gd name="T26" fmla="*/ 381 w 500"/>
                <a:gd name="T27" fmla="*/ 58 h 350"/>
                <a:gd name="T28" fmla="*/ 372 w 500"/>
                <a:gd name="T29" fmla="*/ 36 h 350"/>
                <a:gd name="T30" fmla="*/ 368 w 500"/>
                <a:gd name="T31" fmla="*/ 22 h 350"/>
                <a:gd name="T32" fmla="*/ 359 w 500"/>
                <a:gd name="T33" fmla="*/ 14 h 350"/>
                <a:gd name="T34" fmla="*/ 350 w 500"/>
                <a:gd name="T35" fmla="*/ 5 h 350"/>
                <a:gd name="T36" fmla="*/ 323 w 500"/>
                <a:gd name="T37" fmla="*/ 5 h 350"/>
                <a:gd name="T38" fmla="*/ 292 w 500"/>
                <a:gd name="T39" fmla="*/ 27 h 350"/>
                <a:gd name="T40" fmla="*/ 235 w 500"/>
                <a:gd name="T41" fmla="*/ 36 h 350"/>
                <a:gd name="T42" fmla="*/ 208 w 500"/>
                <a:gd name="T43" fmla="*/ 31 h 350"/>
                <a:gd name="T44" fmla="*/ 173 w 500"/>
                <a:gd name="T45" fmla="*/ 22 h 350"/>
                <a:gd name="T46" fmla="*/ 159 w 500"/>
                <a:gd name="T47" fmla="*/ 18 h 350"/>
                <a:gd name="T48" fmla="*/ 142 w 500"/>
                <a:gd name="T49" fmla="*/ 27 h 350"/>
                <a:gd name="T50" fmla="*/ 120 w 500"/>
                <a:gd name="T51" fmla="*/ 40 h 350"/>
                <a:gd name="T52" fmla="*/ 102 w 500"/>
                <a:gd name="T53" fmla="*/ 53 h 350"/>
                <a:gd name="T54" fmla="*/ 89 w 500"/>
                <a:gd name="T55" fmla="*/ 80 h 350"/>
                <a:gd name="T56" fmla="*/ 75 w 500"/>
                <a:gd name="T57" fmla="*/ 98 h 350"/>
                <a:gd name="T58" fmla="*/ 71 w 500"/>
                <a:gd name="T59" fmla="*/ 115 h 350"/>
                <a:gd name="T60" fmla="*/ 62 w 500"/>
                <a:gd name="T61" fmla="*/ 129 h 350"/>
                <a:gd name="T62" fmla="*/ 49 w 500"/>
                <a:gd name="T63" fmla="*/ 155 h 350"/>
                <a:gd name="T64" fmla="*/ 36 w 500"/>
                <a:gd name="T65" fmla="*/ 155 h 350"/>
                <a:gd name="T66" fmla="*/ 27 w 500"/>
                <a:gd name="T67" fmla="*/ 169 h 350"/>
                <a:gd name="T68" fmla="*/ 13 w 500"/>
                <a:gd name="T69" fmla="*/ 182 h 350"/>
                <a:gd name="T70" fmla="*/ 27 w 500"/>
                <a:gd name="T71" fmla="*/ 195 h 350"/>
                <a:gd name="T72" fmla="*/ 31 w 500"/>
                <a:gd name="T73" fmla="*/ 217 h 350"/>
                <a:gd name="T74" fmla="*/ 49 w 500"/>
                <a:gd name="T75" fmla="*/ 231 h 350"/>
                <a:gd name="T76" fmla="*/ 67 w 500"/>
                <a:gd name="T77" fmla="*/ 248 h 350"/>
                <a:gd name="T78" fmla="*/ 62 w 500"/>
                <a:gd name="T79" fmla="*/ 253 h 350"/>
                <a:gd name="T80" fmla="*/ 62 w 500"/>
                <a:gd name="T81" fmla="*/ 266 h 350"/>
                <a:gd name="T82" fmla="*/ 93 w 500"/>
                <a:gd name="T83" fmla="*/ 279 h 350"/>
                <a:gd name="T84" fmla="*/ 115 w 500"/>
                <a:gd name="T85" fmla="*/ 275 h 350"/>
                <a:gd name="T86" fmla="*/ 129 w 500"/>
                <a:gd name="T87" fmla="*/ 284 h 350"/>
                <a:gd name="T88" fmla="*/ 120 w 500"/>
                <a:gd name="T89" fmla="*/ 297 h 350"/>
                <a:gd name="T90" fmla="*/ 146 w 500"/>
                <a:gd name="T91" fmla="*/ 324 h 350"/>
                <a:gd name="T92" fmla="*/ 182 w 500"/>
                <a:gd name="T93" fmla="*/ 337 h 350"/>
                <a:gd name="T94" fmla="*/ 266 w 500"/>
                <a:gd name="T95" fmla="*/ 350 h 350"/>
                <a:gd name="T96" fmla="*/ 292 w 500"/>
                <a:gd name="T97" fmla="*/ 346 h 350"/>
                <a:gd name="T98" fmla="*/ 341 w 500"/>
                <a:gd name="T99" fmla="*/ 319 h 350"/>
                <a:gd name="T100" fmla="*/ 376 w 500"/>
                <a:gd name="T101" fmla="*/ 324 h 350"/>
                <a:gd name="T102" fmla="*/ 443 w 500"/>
                <a:gd name="T103" fmla="*/ 346 h 350"/>
                <a:gd name="T104" fmla="*/ 443 w 500"/>
                <a:gd name="T105" fmla="*/ 315 h 350"/>
                <a:gd name="T106" fmla="*/ 452 w 500"/>
                <a:gd name="T107" fmla="*/ 293 h 350"/>
                <a:gd name="T108" fmla="*/ 452 w 500"/>
                <a:gd name="T109" fmla="*/ 288 h 350"/>
                <a:gd name="T110" fmla="*/ 452 w 500"/>
                <a:gd name="T111" fmla="*/ 279 h 350"/>
                <a:gd name="T112" fmla="*/ 460 w 500"/>
                <a:gd name="T113" fmla="*/ 279 h 350"/>
                <a:gd name="T114" fmla="*/ 452 w 500"/>
                <a:gd name="T115" fmla="*/ 275 h 350"/>
                <a:gd name="T116" fmla="*/ 460 w 500"/>
                <a:gd name="T117" fmla="*/ 262 h 350"/>
                <a:gd name="T118" fmla="*/ 460 w 500"/>
                <a:gd name="T119" fmla="*/ 253 h 350"/>
                <a:gd name="T120" fmla="*/ 469 w 500"/>
                <a:gd name="T121" fmla="*/ 262 h 350"/>
                <a:gd name="T122" fmla="*/ 478 w 500"/>
                <a:gd name="T123" fmla="*/ 266 h 350"/>
                <a:gd name="T124" fmla="*/ 496 w 500"/>
                <a:gd name="T125" fmla="*/ 253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00" h="350">
                  <a:moveTo>
                    <a:pt x="500" y="239"/>
                  </a:moveTo>
                  <a:lnTo>
                    <a:pt x="496" y="239"/>
                  </a:lnTo>
                  <a:lnTo>
                    <a:pt x="496" y="239"/>
                  </a:lnTo>
                  <a:lnTo>
                    <a:pt x="496" y="235"/>
                  </a:lnTo>
                  <a:lnTo>
                    <a:pt x="496" y="235"/>
                  </a:lnTo>
                  <a:lnTo>
                    <a:pt x="496" y="235"/>
                  </a:lnTo>
                  <a:lnTo>
                    <a:pt x="500" y="235"/>
                  </a:lnTo>
                  <a:lnTo>
                    <a:pt x="500" y="235"/>
                  </a:lnTo>
                  <a:lnTo>
                    <a:pt x="500" y="235"/>
                  </a:lnTo>
                  <a:lnTo>
                    <a:pt x="500" y="235"/>
                  </a:lnTo>
                  <a:lnTo>
                    <a:pt x="500" y="235"/>
                  </a:lnTo>
                  <a:lnTo>
                    <a:pt x="500" y="235"/>
                  </a:lnTo>
                  <a:lnTo>
                    <a:pt x="500" y="235"/>
                  </a:lnTo>
                  <a:lnTo>
                    <a:pt x="500" y="231"/>
                  </a:lnTo>
                  <a:lnTo>
                    <a:pt x="500" y="231"/>
                  </a:lnTo>
                  <a:lnTo>
                    <a:pt x="496" y="226"/>
                  </a:lnTo>
                  <a:lnTo>
                    <a:pt x="496" y="226"/>
                  </a:lnTo>
                  <a:lnTo>
                    <a:pt x="496" y="226"/>
                  </a:lnTo>
                  <a:lnTo>
                    <a:pt x="491" y="222"/>
                  </a:lnTo>
                  <a:lnTo>
                    <a:pt x="487" y="222"/>
                  </a:lnTo>
                  <a:lnTo>
                    <a:pt x="483" y="222"/>
                  </a:lnTo>
                  <a:lnTo>
                    <a:pt x="483" y="222"/>
                  </a:lnTo>
                  <a:lnTo>
                    <a:pt x="483" y="217"/>
                  </a:lnTo>
                  <a:lnTo>
                    <a:pt x="483" y="217"/>
                  </a:lnTo>
                  <a:lnTo>
                    <a:pt x="478" y="222"/>
                  </a:lnTo>
                  <a:lnTo>
                    <a:pt x="478" y="222"/>
                  </a:lnTo>
                  <a:lnTo>
                    <a:pt x="478" y="222"/>
                  </a:lnTo>
                  <a:lnTo>
                    <a:pt x="478" y="222"/>
                  </a:lnTo>
                  <a:lnTo>
                    <a:pt x="478" y="222"/>
                  </a:lnTo>
                  <a:lnTo>
                    <a:pt x="478" y="222"/>
                  </a:lnTo>
                  <a:lnTo>
                    <a:pt x="478" y="222"/>
                  </a:lnTo>
                  <a:lnTo>
                    <a:pt x="474" y="222"/>
                  </a:lnTo>
                  <a:lnTo>
                    <a:pt x="474" y="222"/>
                  </a:lnTo>
                  <a:lnTo>
                    <a:pt x="474" y="222"/>
                  </a:lnTo>
                  <a:lnTo>
                    <a:pt x="474" y="222"/>
                  </a:lnTo>
                  <a:lnTo>
                    <a:pt x="474" y="222"/>
                  </a:lnTo>
                  <a:lnTo>
                    <a:pt x="474" y="222"/>
                  </a:lnTo>
                  <a:lnTo>
                    <a:pt x="469" y="222"/>
                  </a:lnTo>
                  <a:lnTo>
                    <a:pt x="469" y="222"/>
                  </a:lnTo>
                  <a:lnTo>
                    <a:pt x="469" y="226"/>
                  </a:lnTo>
                  <a:lnTo>
                    <a:pt x="469" y="226"/>
                  </a:lnTo>
                  <a:lnTo>
                    <a:pt x="469" y="226"/>
                  </a:lnTo>
                  <a:lnTo>
                    <a:pt x="465" y="226"/>
                  </a:lnTo>
                  <a:lnTo>
                    <a:pt x="465" y="226"/>
                  </a:lnTo>
                  <a:lnTo>
                    <a:pt x="460" y="226"/>
                  </a:lnTo>
                  <a:lnTo>
                    <a:pt x="460" y="226"/>
                  </a:lnTo>
                  <a:lnTo>
                    <a:pt x="460" y="231"/>
                  </a:lnTo>
                  <a:lnTo>
                    <a:pt x="460" y="231"/>
                  </a:lnTo>
                  <a:lnTo>
                    <a:pt x="460" y="231"/>
                  </a:lnTo>
                  <a:lnTo>
                    <a:pt x="460" y="231"/>
                  </a:lnTo>
                  <a:lnTo>
                    <a:pt x="460" y="231"/>
                  </a:lnTo>
                  <a:lnTo>
                    <a:pt x="460" y="231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6" y="226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2" y="231"/>
                  </a:lnTo>
                  <a:lnTo>
                    <a:pt x="452" y="235"/>
                  </a:lnTo>
                  <a:lnTo>
                    <a:pt x="452" y="235"/>
                  </a:lnTo>
                  <a:lnTo>
                    <a:pt x="452" y="235"/>
                  </a:lnTo>
                  <a:lnTo>
                    <a:pt x="452" y="235"/>
                  </a:lnTo>
                  <a:lnTo>
                    <a:pt x="452" y="235"/>
                  </a:lnTo>
                  <a:lnTo>
                    <a:pt x="452" y="235"/>
                  </a:lnTo>
                  <a:lnTo>
                    <a:pt x="447" y="235"/>
                  </a:lnTo>
                  <a:lnTo>
                    <a:pt x="443" y="235"/>
                  </a:lnTo>
                  <a:lnTo>
                    <a:pt x="438" y="231"/>
                  </a:lnTo>
                  <a:lnTo>
                    <a:pt x="434" y="231"/>
                  </a:lnTo>
                  <a:lnTo>
                    <a:pt x="429" y="231"/>
                  </a:lnTo>
                  <a:lnTo>
                    <a:pt x="429" y="231"/>
                  </a:lnTo>
                  <a:lnTo>
                    <a:pt x="429" y="231"/>
                  </a:lnTo>
                  <a:lnTo>
                    <a:pt x="425" y="226"/>
                  </a:lnTo>
                  <a:lnTo>
                    <a:pt x="425" y="222"/>
                  </a:lnTo>
                  <a:lnTo>
                    <a:pt x="425" y="222"/>
                  </a:lnTo>
                  <a:lnTo>
                    <a:pt x="425" y="222"/>
                  </a:lnTo>
                  <a:lnTo>
                    <a:pt x="425" y="217"/>
                  </a:lnTo>
                  <a:lnTo>
                    <a:pt x="421" y="217"/>
                  </a:lnTo>
                  <a:lnTo>
                    <a:pt x="421" y="217"/>
                  </a:lnTo>
                  <a:lnTo>
                    <a:pt x="421" y="217"/>
                  </a:lnTo>
                  <a:lnTo>
                    <a:pt x="421" y="217"/>
                  </a:lnTo>
                  <a:lnTo>
                    <a:pt x="421" y="217"/>
                  </a:lnTo>
                  <a:lnTo>
                    <a:pt x="421" y="213"/>
                  </a:lnTo>
                  <a:lnTo>
                    <a:pt x="421" y="213"/>
                  </a:lnTo>
                  <a:lnTo>
                    <a:pt x="421" y="213"/>
                  </a:lnTo>
                  <a:lnTo>
                    <a:pt x="421" y="213"/>
                  </a:lnTo>
                  <a:lnTo>
                    <a:pt x="416" y="208"/>
                  </a:lnTo>
                  <a:lnTo>
                    <a:pt x="416" y="208"/>
                  </a:lnTo>
                  <a:lnTo>
                    <a:pt x="416" y="208"/>
                  </a:lnTo>
                  <a:lnTo>
                    <a:pt x="416" y="208"/>
                  </a:lnTo>
                  <a:lnTo>
                    <a:pt x="416" y="208"/>
                  </a:lnTo>
                  <a:lnTo>
                    <a:pt x="416" y="204"/>
                  </a:lnTo>
                  <a:lnTo>
                    <a:pt x="416" y="204"/>
                  </a:lnTo>
                  <a:lnTo>
                    <a:pt x="421" y="204"/>
                  </a:lnTo>
                  <a:lnTo>
                    <a:pt x="421" y="204"/>
                  </a:lnTo>
                  <a:lnTo>
                    <a:pt x="421" y="204"/>
                  </a:lnTo>
                  <a:lnTo>
                    <a:pt x="421" y="204"/>
                  </a:lnTo>
                  <a:lnTo>
                    <a:pt x="421" y="195"/>
                  </a:lnTo>
                  <a:lnTo>
                    <a:pt x="421" y="195"/>
                  </a:lnTo>
                  <a:lnTo>
                    <a:pt x="416" y="195"/>
                  </a:lnTo>
                  <a:lnTo>
                    <a:pt x="416" y="191"/>
                  </a:lnTo>
                  <a:lnTo>
                    <a:pt x="416" y="186"/>
                  </a:lnTo>
                  <a:lnTo>
                    <a:pt x="416" y="186"/>
                  </a:lnTo>
                  <a:lnTo>
                    <a:pt x="416" y="186"/>
                  </a:lnTo>
                  <a:lnTo>
                    <a:pt x="416" y="186"/>
                  </a:lnTo>
                  <a:lnTo>
                    <a:pt x="416" y="186"/>
                  </a:lnTo>
                  <a:lnTo>
                    <a:pt x="416" y="186"/>
                  </a:lnTo>
                  <a:lnTo>
                    <a:pt x="416" y="186"/>
                  </a:lnTo>
                  <a:lnTo>
                    <a:pt x="416" y="186"/>
                  </a:lnTo>
                  <a:lnTo>
                    <a:pt x="416" y="186"/>
                  </a:lnTo>
                  <a:lnTo>
                    <a:pt x="416" y="182"/>
                  </a:lnTo>
                  <a:lnTo>
                    <a:pt x="416" y="182"/>
                  </a:lnTo>
                  <a:lnTo>
                    <a:pt x="416" y="182"/>
                  </a:lnTo>
                  <a:lnTo>
                    <a:pt x="416" y="182"/>
                  </a:lnTo>
                  <a:lnTo>
                    <a:pt x="416" y="182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7"/>
                  </a:lnTo>
                  <a:lnTo>
                    <a:pt x="416" y="173"/>
                  </a:lnTo>
                  <a:lnTo>
                    <a:pt x="416" y="173"/>
                  </a:lnTo>
                  <a:lnTo>
                    <a:pt x="416" y="173"/>
                  </a:lnTo>
                  <a:lnTo>
                    <a:pt x="416" y="173"/>
                  </a:lnTo>
                  <a:lnTo>
                    <a:pt x="416" y="173"/>
                  </a:lnTo>
                  <a:lnTo>
                    <a:pt x="416" y="173"/>
                  </a:lnTo>
                  <a:lnTo>
                    <a:pt x="416" y="169"/>
                  </a:lnTo>
                  <a:lnTo>
                    <a:pt x="416" y="169"/>
                  </a:lnTo>
                  <a:lnTo>
                    <a:pt x="416" y="169"/>
                  </a:lnTo>
                  <a:lnTo>
                    <a:pt x="416" y="164"/>
                  </a:lnTo>
                  <a:lnTo>
                    <a:pt x="421" y="164"/>
                  </a:lnTo>
                  <a:lnTo>
                    <a:pt x="416" y="164"/>
                  </a:lnTo>
                  <a:lnTo>
                    <a:pt x="416" y="164"/>
                  </a:lnTo>
                  <a:lnTo>
                    <a:pt x="416" y="164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55"/>
                  </a:lnTo>
                  <a:lnTo>
                    <a:pt x="421" y="155"/>
                  </a:lnTo>
                  <a:lnTo>
                    <a:pt x="421" y="155"/>
                  </a:lnTo>
                  <a:lnTo>
                    <a:pt x="421" y="155"/>
                  </a:lnTo>
                  <a:lnTo>
                    <a:pt x="421" y="155"/>
                  </a:lnTo>
                  <a:lnTo>
                    <a:pt x="421" y="155"/>
                  </a:lnTo>
                  <a:lnTo>
                    <a:pt x="421" y="155"/>
                  </a:lnTo>
                  <a:lnTo>
                    <a:pt x="421" y="151"/>
                  </a:lnTo>
                  <a:lnTo>
                    <a:pt x="421" y="151"/>
                  </a:lnTo>
                  <a:lnTo>
                    <a:pt x="421" y="151"/>
                  </a:lnTo>
                  <a:lnTo>
                    <a:pt x="421" y="151"/>
                  </a:lnTo>
                  <a:lnTo>
                    <a:pt x="421" y="151"/>
                  </a:lnTo>
                  <a:lnTo>
                    <a:pt x="421" y="146"/>
                  </a:lnTo>
                  <a:lnTo>
                    <a:pt x="421" y="146"/>
                  </a:lnTo>
                  <a:lnTo>
                    <a:pt x="421" y="146"/>
                  </a:lnTo>
                  <a:lnTo>
                    <a:pt x="425" y="146"/>
                  </a:lnTo>
                  <a:lnTo>
                    <a:pt x="425" y="146"/>
                  </a:lnTo>
                  <a:lnTo>
                    <a:pt x="421" y="146"/>
                  </a:lnTo>
                  <a:lnTo>
                    <a:pt x="425" y="146"/>
                  </a:lnTo>
                  <a:lnTo>
                    <a:pt x="425" y="146"/>
                  </a:lnTo>
                  <a:lnTo>
                    <a:pt x="425" y="146"/>
                  </a:lnTo>
                  <a:lnTo>
                    <a:pt x="425" y="142"/>
                  </a:lnTo>
                  <a:lnTo>
                    <a:pt x="425" y="142"/>
                  </a:lnTo>
                  <a:lnTo>
                    <a:pt x="425" y="142"/>
                  </a:lnTo>
                  <a:lnTo>
                    <a:pt x="425" y="142"/>
                  </a:lnTo>
                  <a:lnTo>
                    <a:pt x="425" y="142"/>
                  </a:lnTo>
                  <a:lnTo>
                    <a:pt x="421" y="138"/>
                  </a:lnTo>
                  <a:lnTo>
                    <a:pt x="421" y="138"/>
                  </a:lnTo>
                  <a:lnTo>
                    <a:pt x="421" y="138"/>
                  </a:lnTo>
                  <a:lnTo>
                    <a:pt x="421" y="138"/>
                  </a:lnTo>
                  <a:lnTo>
                    <a:pt x="425" y="138"/>
                  </a:lnTo>
                  <a:lnTo>
                    <a:pt x="421" y="133"/>
                  </a:lnTo>
                  <a:lnTo>
                    <a:pt x="425" y="133"/>
                  </a:lnTo>
                  <a:lnTo>
                    <a:pt x="425" y="133"/>
                  </a:lnTo>
                  <a:lnTo>
                    <a:pt x="425" y="133"/>
                  </a:lnTo>
                  <a:lnTo>
                    <a:pt x="425" y="129"/>
                  </a:lnTo>
                  <a:lnTo>
                    <a:pt x="425" y="129"/>
                  </a:lnTo>
                  <a:lnTo>
                    <a:pt x="425" y="129"/>
                  </a:lnTo>
                  <a:lnTo>
                    <a:pt x="425" y="129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16" y="115"/>
                  </a:lnTo>
                  <a:lnTo>
                    <a:pt x="416" y="115"/>
                  </a:lnTo>
                  <a:lnTo>
                    <a:pt x="416" y="115"/>
                  </a:lnTo>
                  <a:lnTo>
                    <a:pt x="416" y="111"/>
                  </a:lnTo>
                  <a:lnTo>
                    <a:pt x="416" y="111"/>
                  </a:lnTo>
                  <a:lnTo>
                    <a:pt x="416" y="111"/>
                  </a:lnTo>
                  <a:lnTo>
                    <a:pt x="416" y="111"/>
                  </a:lnTo>
                  <a:lnTo>
                    <a:pt x="416" y="111"/>
                  </a:lnTo>
                  <a:lnTo>
                    <a:pt x="416" y="107"/>
                  </a:lnTo>
                  <a:lnTo>
                    <a:pt x="416" y="107"/>
                  </a:lnTo>
                  <a:lnTo>
                    <a:pt x="416" y="107"/>
                  </a:lnTo>
                  <a:lnTo>
                    <a:pt x="416" y="107"/>
                  </a:lnTo>
                  <a:lnTo>
                    <a:pt x="416" y="102"/>
                  </a:lnTo>
                  <a:lnTo>
                    <a:pt x="416" y="102"/>
                  </a:lnTo>
                  <a:lnTo>
                    <a:pt x="412" y="98"/>
                  </a:lnTo>
                  <a:lnTo>
                    <a:pt x="412" y="98"/>
                  </a:lnTo>
                  <a:lnTo>
                    <a:pt x="412" y="98"/>
                  </a:lnTo>
                  <a:lnTo>
                    <a:pt x="412" y="98"/>
                  </a:lnTo>
                  <a:lnTo>
                    <a:pt x="412" y="98"/>
                  </a:lnTo>
                  <a:lnTo>
                    <a:pt x="407" y="98"/>
                  </a:lnTo>
                  <a:lnTo>
                    <a:pt x="407" y="98"/>
                  </a:lnTo>
                  <a:lnTo>
                    <a:pt x="407" y="98"/>
                  </a:lnTo>
                  <a:lnTo>
                    <a:pt x="407" y="98"/>
                  </a:lnTo>
                  <a:lnTo>
                    <a:pt x="407" y="93"/>
                  </a:lnTo>
                  <a:lnTo>
                    <a:pt x="403" y="93"/>
                  </a:lnTo>
                  <a:lnTo>
                    <a:pt x="403" y="93"/>
                  </a:lnTo>
                  <a:lnTo>
                    <a:pt x="403" y="93"/>
                  </a:lnTo>
                  <a:lnTo>
                    <a:pt x="403" y="93"/>
                  </a:lnTo>
                  <a:lnTo>
                    <a:pt x="403" y="93"/>
                  </a:lnTo>
                  <a:lnTo>
                    <a:pt x="403" y="93"/>
                  </a:lnTo>
                  <a:lnTo>
                    <a:pt x="399" y="89"/>
                  </a:lnTo>
                  <a:lnTo>
                    <a:pt x="399" y="89"/>
                  </a:lnTo>
                  <a:lnTo>
                    <a:pt x="399" y="89"/>
                  </a:lnTo>
                  <a:lnTo>
                    <a:pt x="399" y="89"/>
                  </a:lnTo>
                  <a:lnTo>
                    <a:pt x="399" y="89"/>
                  </a:lnTo>
                  <a:lnTo>
                    <a:pt x="399" y="89"/>
                  </a:lnTo>
                  <a:lnTo>
                    <a:pt x="399" y="89"/>
                  </a:lnTo>
                  <a:lnTo>
                    <a:pt x="399" y="84"/>
                  </a:lnTo>
                  <a:lnTo>
                    <a:pt x="399" y="84"/>
                  </a:lnTo>
                  <a:lnTo>
                    <a:pt x="399" y="84"/>
                  </a:lnTo>
                  <a:lnTo>
                    <a:pt x="399" y="80"/>
                  </a:lnTo>
                  <a:lnTo>
                    <a:pt x="399" y="80"/>
                  </a:lnTo>
                  <a:lnTo>
                    <a:pt x="394" y="80"/>
                  </a:lnTo>
                  <a:lnTo>
                    <a:pt x="394" y="80"/>
                  </a:lnTo>
                  <a:lnTo>
                    <a:pt x="394" y="80"/>
                  </a:lnTo>
                  <a:lnTo>
                    <a:pt x="394" y="80"/>
                  </a:lnTo>
                  <a:lnTo>
                    <a:pt x="394" y="80"/>
                  </a:lnTo>
                  <a:lnTo>
                    <a:pt x="394" y="76"/>
                  </a:lnTo>
                  <a:lnTo>
                    <a:pt x="390" y="76"/>
                  </a:lnTo>
                  <a:lnTo>
                    <a:pt x="390" y="76"/>
                  </a:lnTo>
                  <a:lnTo>
                    <a:pt x="390" y="71"/>
                  </a:lnTo>
                  <a:lnTo>
                    <a:pt x="390" y="71"/>
                  </a:lnTo>
                  <a:lnTo>
                    <a:pt x="390" y="71"/>
                  </a:lnTo>
                  <a:lnTo>
                    <a:pt x="390" y="71"/>
                  </a:lnTo>
                  <a:lnTo>
                    <a:pt x="390" y="71"/>
                  </a:lnTo>
                  <a:lnTo>
                    <a:pt x="390" y="67"/>
                  </a:lnTo>
                  <a:lnTo>
                    <a:pt x="390" y="67"/>
                  </a:lnTo>
                  <a:lnTo>
                    <a:pt x="390" y="67"/>
                  </a:lnTo>
                  <a:lnTo>
                    <a:pt x="390" y="67"/>
                  </a:lnTo>
                  <a:lnTo>
                    <a:pt x="390" y="67"/>
                  </a:lnTo>
                  <a:lnTo>
                    <a:pt x="390" y="67"/>
                  </a:lnTo>
                  <a:lnTo>
                    <a:pt x="390" y="67"/>
                  </a:lnTo>
                  <a:lnTo>
                    <a:pt x="385" y="62"/>
                  </a:lnTo>
                  <a:lnTo>
                    <a:pt x="385" y="62"/>
                  </a:lnTo>
                  <a:lnTo>
                    <a:pt x="385" y="62"/>
                  </a:lnTo>
                  <a:lnTo>
                    <a:pt x="385" y="62"/>
                  </a:lnTo>
                  <a:lnTo>
                    <a:pt x="385" y="62"/>
                  </a:lnTo>
                  <a:lnTo>
                    <a:pt x="385" y="62"/>
                  </a:lnTo>
                  <a:lnTo>
                    <a:pt x="385" y="62"/>
                  </a:lnTo>
                  <a:lnTo>
                    <a:pt x="385" y="62"/>
                  </a:lnTo>
                  <a:lnTo>
                    <a:pt x="385" y="62"/>
                  </a:lnTo>
                  <a:lnTo>
                    <a:pt x="381" y="62"/>
                  </a:lnTo>
                  <a:lnTo>
                    <a:pt x="381" y="58"/>
                  </a:lnTo>
                  <a:lnTo>
                    <a:pt x="381" y="58"/>
                  </a:lnTo>
                  <a:lnTo>
                    <a:pt x="381" y="58"/>
                  </a:lnTo>
                  <a:lnTo>
                    <a:pt x="381" y="58"/>
                  </a:lnTo>
                  <a:lnTo>
                    <a:pt x="381" y="58"/>
                  </a:lnTo>
                  <a:lnTo>
                    <a:pt x="381" y="58"/>
                  </a:lnTo>
                  <a:lnTo>
                    <a:pt x="381" y="58"/>
                  </a:lnTo>
                  <a:lnTo>
                    <a:pt x="381" y="58"/>
                  </a:lnTo>
                  <a:lnTo>
                    <a:pt x="381" y="58"/>
                  </a:lnTo>
                  <a:lnTo>
                    <a:pt x="381" y="58"/>
                  </a:lnTo>
                  <a:lnTo>
                    <a:pt x="381" y="58"/>
                  </a:lnTo>
                  <a:lnTo>
                    <a:pt x="381" y="53"/>
                  </a:lnTo>
                  <a:lnTo>
                    <a:pt x="376" y="53"/>
                  </a:lnTo>
                  <a:lnTo>
                    <a:pt x="372" y="49"/>
                  </a:lnTo>
                  <a:lnTo>
                    <a:pt x="372" y="49"/>
                  </a:lnTo>
                  <a:lnTo>
                    <a:pt x="372" y="45"/>
                  </a:lnTo>
                  <a:lnTo>
                    <a:pt x="372" y="45"/>
                  </a:lnTo>
                  <a:lnTo>
                    <a:pt x="372" y="45"/>
                  </a:lnTo>
                  <a:lnTo>
                    <a:pt x="372" y="45"/>
                  </a:lnTo>
                  <a:lnTo>
                    <a:pt x="372" y="45"/>
                  </a:lnTo>
                  <a:lnTo>
                    <a:pt x="372" y="45"/>
                  </a:lnTo>
                  <a:lnTo>
                    <a:pt x="372" y="45"/>
                  </a:lnTo>
                  <a:lnTo>
                    <a:pt x="372" y="45"/>
                  </a:lnTo>
                  <a:lnTo>
                    <a:pt x="372" y="40"/>
                  </a:lnTo>
                  <a:lnTo>
                    <a:pt x="372" y="40"/>
                  </a:lnTo>
                  <a:lnTo>
                    <a:pt x="372" y="40"/>
                  </a:lnTo>
                  <a:lnTo>
                    <a:pt x="372" y="40"/>
                  </a:lnTo>
                  <a:lnTo>
                    <a:pt x="372" y="40"/>
                  </a:lnTo>
                  <a:lnTo>
                    <a:pt x="368" y="36"/>
                  </a:lnTo>
                  <a:lnTo>
                    <a:pt x="372" y="36"/>
                  </a:lnTo>
                  <a:lnTo>
                    <a:pt x="372" y="36"/>
                  </a:lnTo>
                  <a:lnTo>
                    <a:pt x="372" y="36"/>
                  </a:lnTo>
                  <a:lnTo>
                    <a:pt x="372" y="36"/>
                  </a:lnTo>
                  <a:lnTo>
                    <a:pt x="368" y="36"/>
                  </a:lnTo>
                  <a:lnTo>
                    <a:pt x="368" y="36"/>
                  </a:lnTo>
                  <a:lnTo>
                    <a:pt x="368" y="31"/>
                  </a:lnTo>
                  <a:lnTo>
                    <a:pt x="368" y="31"/>
                  </a:lnTo>
                  <a:lnTo>
                    <a:pt x="368" y="31"/>
                  </a:lnTo>
                  <a:lnTo>
                    <a:pt x="368" y="31"/>
                  </a:lnTo>
                  <a:lnTo>
                    <a:pt x="368" y="31"/>
                  </a:lnTo>
                  <a:lnTo>
                    <a:pt x="368" y="27"/>
                  </a:lnTo>
                  <a:lnTo>
                    <a:pt x="368" y="27"/>
                  </a:lnTo>
                  <a:lnTo>
                    <a:pt x="368" y="27"/>
                  </a:lnTo>
                  <a:lnTo>
                    <a:pt x="368" y="27"/>
                  </a:lnTo>
                  <a:lnTo>
                    <a:pt x="368" y="27"/>
                  </a:lnTo>
                  <a:lnTo>
                    <a:pt x="368" y="27"/>
                  </a:lnTo>
                  <a:lnTo>
                    <a:pt x="368" y="22"/>
                  </a:lnTo>
                  <a:lnTo>
                    <a:pt x="368" y="22"/>
                  </a:lnTo>
                  <a:lnTo>
                    <a:pt x="368" y="22"/>
                  </a:lnTo>
                  <a:lnTo>
                    <a:pt x="363" y="22"/>
                  </a:lnTo>
                  <a:lnTo>
                    <a:pt x="363" y="22"/>
                  </a:lnTo>
                  <a:lnTo>
                    <a:pt x="363" y="22"/>
                  </a:lnTo>
                  <a:lnTo>
                    <a:pt x="363" y="22"/>
                  </a:lnTo>
                  <a:lnTo>
                    <a:pt x="363" y="22"/>
                  </a:lnTo>
                  <a:lnTo>
                    <a:pt x="363" y="22"/>
                  </a:lnTo>
                  <a:lnTo>
                    <a:pt x="363" y="22"/>
                  </a:lnTo>
                  <a:lnTo>
                    <a:pt x="363" y="22"/>
                  </a:lnTo>
                  <a:lnTo>
                    <a:pt x="363" y="22"/>
                  </a:lnTo>
                  <a:lnTo>
                    <a:pt x="363" y="18"/>
                  </a:lnTo>
                  <a:lnTo>
                    <a:pt x="363" y="18"/>
                  </a:lnTo>
                  <a:lnTo>
                    <a:pt x="359" y="18"/>
                  </a:lnTo>
                  <a:lnTo>
                    <a:pt x="359" y="14"/>
                  </a:lnTo>
                  <a:lnTo>
                    <a:pt x="359" y="14"/>
                  </a:lnTo>
                  <a:lnTo>
                    <a:pt x="359" y="14"/>
                  </a:lnTo>
                  <a:lnTo>
                    <a:pt x="359" y="14"/>
                  </a:lnTo>
                  <a:lnTo>
                    <a:pt x="359" y="14"/>
                  </a:lnTo>
                  <a:lnTo>
                    <a:pt x="359" y="14"/>
                  </a:lnTo>
                  <a:lnTo>
                    <a:pt x="359" y="14"/>
                  </a:lnTo>
                  <a:lnTo>
                    <a:pt x="359" y="14"/>
                  </a:lnTo>
                  <a:lnTo>
                    <a:pt x="359" y="14"/>
                  </a:lnTo>
                  <a:lnTo>
                    <a:pt x="359" y="14"/>
                  </a:lnTo>
                  <a:lnTo>
                    <a:pt x="354" y="14"/>
                  </a:lnTo>
                  <a:lnTo>
                    <a:pt x="354" y="14"/>
                  </a:lnTo>
                  <a:lnTo>
                    <a:pt x="359" y="14"/>
                  </a:lnTo>
                  <a:lnTo>
                    <a:pt x="359" y="9"/>
                  </a:lnTo>
                  <a:lnTo>
                    <a:pt x="359" y="9"/>
                  </a:lnTo>
                  <a:lnTo>
                    <a:pt x="354" y="9"/>
                  </a:lnTo>
                  <a:lnTo>
                    <a:pt x="354" y="9"/>
                  </a:lnTo>
                  <a:lnTo>
                    <a:pt x="354" y="9"/>
                  </a:lnTo>
                  <a:lnTo>
                    <a:pt x="354" y="9"/>
                  </a:lnTo>
                  <a:lnTo>
                    <a:pt x="354" y="9"/>
                  </a:lnTo>
                  <a:lnTo>
                    <a:pt x="354" y="9"/>
                  </a:lnTo>
                  <a:lnTo>
                    <a:pt x="354" y="9"/>
                  </a:lnTo>
                  <a:lnTo>
                    <a:pt x="354" y="9"/>
                  </a:lnTo>
                  <a:lnTo>
                    <a:pt x="354" y="5"/>
                  </a:lnTo>
                  <a:lnTo>
                    <a:pt x="350" y="5"/>
                  </a:lnTo>
                  <a:lnTo>
                    <a:pt x="350" y="5"/>
                  </a:lnTo>
                  <a:lnTo>
                    <a:pt x="350" y="5"/>
                  </a:lnTo>
                  <a:lnTo>
                    <a:pt x="350" y="5"/>
                  </a:lnTo>
                  <a:lnTo>
                    <a:pt x="345" y="5"/>
                  </a:lnTo>
                  <a:lnTo>
                    <a:pt x="345" y="5"/>
                  </a:lnTo>
                  <a:lnTo>
                    <a:pt x="345" y="0"/>
                  </a:lnTo>
                  <a:lnTo>
                    <a:pt x="345" y="5"/>
                  </a:lnTo>
                  <a:lnTo>
                    <a:pt x="341" y="5"/>
                  </a:lnTo>
                  <a:lnTo>
                    <a:pt x="341" y="0"/>
                  </a:lnTo>
                  <a:lnTo>
                    <a:pt x="341" y="0"/>
                  </a:lnTo>
                  <a:lnTo>
                    <a:pt x="337" y="5"/>
                  </a:lnTo>
                  <a:lnTo>
                    <a:pt x="337" y="5"/>
                  </a:lnTo>
                  <a:lnTo>
                    <a:pt x="328" y="5"/>
                  </a:lnTo>
                  <a:lnTo>
                    <a:pt x="328" y="5"/>
                  </a:lnTo>
                  <a:lnTo>
                    <a:pt x="328" y="5"/>
                  </a:lnTo>
                  <a:lnTo>
                    <a:pt x="323" y="5"/>
                  </a:lnTo>
                  <a:lnTo>
                    <a:pt x="323" y="5"/>
                  </a:lnTo>
                  <a:lnTo>
                    <a:pt x="323" y="5"/>
                  </a:lnTo>
                  <a:lnTo>
                    <a:pt x="323" y="5"/>
                  </a:lnTo>
                  <a:lnTo>
                    <a:pt x="323" y="5"/>
                  </a:lnTo>
                  <a:lnTo>
                    <a:pt x="319" y="9"/>
                  </a:lnTo>
                  <a:lnTo>
                    <a:pt x="323" y="9"/>
                  </a:lnTo>
                  <a:lnTo>
                    <a:pt x="319" y="14"/>
                  </a:lnTo>
                  <a:lnTo>
                    <a:pt x="319" y="18"/>
                  </a:lnTo>
                  <a:lnTo>
                    <a:pt x="319" y="18"/>
                  </a:lnTo>
                  <a:lnTo>
                    <a:pt x="319" y="18"/>
                  </a:lnTo>
                  <a:lnTo>
                    <a:pt x="319" y="18"/>
                  </a:lnTo>
                  <a:lnTo>
                    <a:pt x="314" y="22"/>
                  </a:lnTo>
                  <a:lnTo>
                    <a:pt x="314" y="22"/>
                  </a:lnTo>
                  <a:lnTo>
                    <a:pt x="314" y="22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06" y="27"/>
                  </a:lnTo>
                  <a:lnTo>
                    <a:pt x="306" y="27"/>
                  </a:lnTo>
                  <a:lnTo>
                    <a:pt x="301" y="27"/>
                  </a:lnTo>
                  <a:lnTo>
                    <a:pt x="301" y="27"/>
                  </a:lnTo>
                  <a:lnTo>
                    <a:pt x="297" y="27"/>
                  </a:lnTo>
                  <a:lnTo>
                    <a:pt x="297" y="27"/>
                  </a:lnTo>
                  <a:lnTo>
                    <a:pt x="292" y="27"/>
                  </a:lnTo>
                  <a:lnTo>
                    <a:pt x="283" y="31"/>
                  </a:lnTo>
                  <a:lnTo>
                    <a:pt x="275" y="31"/>
                  </a:lnTo>
                  <a:lnTo>
                    <a:pt x="266" y="31"/>
                  </a:lnTo>
                  <a:lnTo>
                    <a:pt x="266" y="31"/>
                  </a:lnTo>
                  <a:lnTo>
                    <a:pt x="261" y="40"/>
                  </a:lnTo>
                  <a:lnTo>
                    <a:pt x="257" y="45"/>
                  </a:lnTo>
                  <a:lnTo>
                    <a:pt x="257" y="45"/>
                  </a:lnTo>
                  <a:lnTo>
                    <a:pt x="257" y="45"/>
                  </a:lnTo>
                  <a:lnTo>
                    <a:pt x="252" y="45"/>
                  </a:lnTo>
                  <a:lnTo>
                    <a:pt x="248" y="45"/>
                  </a:lnTo>
                  <a:lnTo>
                    <a:pt x="248" y="45"/>
                  </a:lnTo>
                  <a:lnTo>
                    <a:pt x="248" y="45"/>
                  </a:lnTo>
                  <a:lnTo>
                    <a:pt x="248" y="45"/>
                  </a:lnTo>
                  <a:lnTo>
                    <a:pt x="244" y="45"/>
                  </a:lnTo>
                  <a:lnTo>
                    <a:pt x="244" y="40"/>
                  </a:lnTo>
                  <a:lnTo>
                    <a:pt x="244" y="40"/>
                  </a:lnTo>
                  <a:lnTo>
                    <a:pt x="244" y="40"/>
                  </a:lnTo>
                  <a:lnTo>
                    <a:pt x="239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1"/>
                  </a:lnTo>
                  <a:lnTo>
                    <a:pt x="235" y="31"/>
                  </a:lnTo>
                  <a:lnTo>
                    <a:pt x="235" y="31"/>
                  </a:lnTo>
                  <a:lnTo>
                    <a:pt x="230" y="31"/>
                  </a:lnTo>
                  <a:lnTo>
                    <a:pt x="230" y="27"/>
                  </a:lnTo>
                  <a:lnTo>
                    <a:pt x="230" y="27"/>
                  </a:lnTo>
                  <a:lnTo>
                    <a:pt x="230" y="27"/>
                  </a:lnTo>
                  <a:lnTo>
                    <a:pt x="226" y="27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17" y="31"/>
                  </a:lnTo>
                  <a:lnTo>
                    <a:pt x="217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08" y="31"/>
                  </a:lnTo>
                  <a:lnTo>
                    <a:pt x="208" y="31"/>
                  </a:lnTo>
                  <a:lnTo>
                    <a:pt x="208" y="31"/>
                  </a:lnTo>
                  <a:lnTo>
                    <a:pt x="204" y="27"/>
                  </a:lnTo>
                  <a:lnTo>
                    <a:pt x="204" y="27"/>
                  </a:lnTo>
                  <a:lnTo>
                    <a:pt x="199" y="27"/>
                  </a:lnTo>
                  <a:lnTo>
                    <a:pt x="199" y="27"/>
                  </a:lnTo>
                  <a:lnTo>
                    <a:pt x="199" y="27"/>
                  </a:lnTo>
                  <a:lnTo>
                    <a:pt x="195" y="27"/>
                  </a:lnTo>
                  <a:lnTo>
                    <a:pt x="190" y="27"/>
                  </a:lnTo>
                  <a:lnTo>
                    <a:pt x="190" y="27"/>
                  </a:lnTo>
                  <a:lnTo>
                    <a:pt x="190" y="27"/>
                  </a:lnTo>
                  <a:lnTo>
                    <a:pt x="190" y="22"/>
                  </a:lnTo>
                  <a:lnTo>
                    <a:pt x="186" y="22"/>
                  </a:lnTo>
                  <a:lnTo>
                    <a:pt x="182" y="22"/>
                  </a:lnTo>
                  <a:lnTo>
                    <a:pt x="182" y="22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59" y="18"/>
                  </a:lnTo>
                  <a:lnTo>
                    <a:pt x="159" y="18"/>
                  </a:lnTo>
                  <a:lnTo>
                    <a:pt x="155" y="14"/>
                  </a:lnTo>
                  <a:lnTo>
                    <a:pt x="155" y="14"/>
                  </a:lnTo>
                  <a:lnTo>
                    <a:pt x="155" y="18"/>
                  </a:lnTo>
                  <a:lnTo>
                    <a:pt x="151" y="18"/>
                  </a:lnTo>
                  <a:lnTo>
                    <a:pt x="151" y="22"/>
                  </a:lnTo>
                  <a:lnTo>
                    <a:pt x="151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2" y="22"/>
                  </a:lnTo>
                  <a:lnTo>
                    <a:pt x="142" y="22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37" y="31"/>
                  </a:lnTo>
                  <a:lnTo>
                    <a:pt x="137" y="31"/>
                  </a:lnTo>
                  <a:lnTo>
                    <a:pt x="137" y="31"/>
                  </a:lnTo>
                  <a:lnTo>
                    <a:pt x="133" y="31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3" y="40"/>
                  </a:lnTo>
                  <a:lnTo>
                    <a:pt x="129" y="40"/>
                  </a:lnTo>
                  <a:lnTo>
                    <a:pt x="129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0" y="40"/>
                  </a:lnTo>
                  <a:lnTo>
                    <a:pt x="115" y="40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1" y="45"/>
                  </a:lnTo>
                  <a:lnTo>
                    <a:pt x="111" y="45"/>
                  </a:lnTo>
                  <a:lnTo>
                    <a:pt x="111" y="45"/>
                  </a:lnTo>
                  <a:lnTo>
                    <a:pt x="111" y="45"/>
                  </a:lnTo>
                  <a:lnTo>
                    <a:pt x="106" y="45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6" y="49"/>
                  </a:lnTo>
                  <a:lnTo>
                    <a:pt x="106" y="53"/>
                  </a:lnTo>
                  <a:lnTo>
                    <a:pt x="102" y="53"/>
                  </a:lnTo>
                  <a:lnTo>
                    <a:pt x="102" y="53"/>
                  </a:lnTo>
                  <a:lnTo>
                    <a:pt x="102" y="53"/>
                  </a:lnTo>
                  <a:lnTo>
                    <a:pt x="102" y="53"/>
                  </a:lnTo>
                  <a:lnTo>
                    <a:pt x="102" y="53"/>
                  </a:lnTo>
                  <a:lnTo>
                    <a:pt x="102" y="53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98" y="58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3" y="76"/>
                  </a:lnTo>
                  <a:lnTo>
                    <a:pt x="89" y="76"/>
                  </a:lnTo>
                  <a:lnTo>
                    <a:pt x="89" y="76"/>
                  </a:lnTo>
                  <a:lnTo>
                    <a:pt x="89" y="80"/>
                  </a:lnTo>
                  <a:lnTo>
                    <a:pt x="89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9"/>
                  </a:lnTo>
                  <a:lnTo>
                    <a:pt x="84" y="89"/>
                  </a:lnTo>
                  <a:lnTo>
                    <a:pt x="84" y="89"/>
                  </a:lnTo>
                  <a:lnTo>
                    <a:pt x="84" y="89"/>
                  </a:lnTo>
                  <a:lnTo>
                    <a:pt x="84" y="89"/>
                  </a:lnTo>
                  <a:lnTo>
                    <a:pt x="84" y="89"/>
                  </a:lnTo>
                  <a:lnTo>
                    <a:pt x="84" y="93"/>
                  </a:lnTo>
                  <a:lnTo>
                    <a:pt x="84" y="93"/>
                  </a:lnTo>
                  <a:lnTo>
                    <a:pt x="80" y="93"/>
                  </a:lnTo>
                  <a:lnTo>
                    <a:pt x="80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5" y="107"/>
                  </a:lnTo>
                  <a:lnTo>
                    <a:pt x="75" y="107"/>
                  </a:lnTo>
                  <a:lnTo>
                    <a:pt x="71" y="107"/>
                  </a:lnTo>
                  <a:lnTo>
                    <a:pt x="71" y="107"/>
                  </a:lnTo>
                  <a:lnTo>
                    <a:pt x="71" y="107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67" y="115"/>
                  </a:lnTo>
                  <a:lnTo>
                    <a:pt x="67" y="120"/>
                  </a:lnTo>
                  <a:lnTo>
                    <a:pt x="67" y="120"/>
                  </a:lnTo>
                  <a:lnTo>
                    <a:pt x="67" y="120"/>
                  </a:lnTo>
                  <a:lnTo>
                    <a:pt x="67" y="120"/>
                  </a:lnTo>
                  <a:lnTo>
                    <a:pt x="67" y="120"/>
                  </a:lnTo>
                  <a:lnTo>
                    <a:pt x="67" y="120"/>
                  </a:lnTo>
                  <a:lnTo>
                    <a:pt x="67" y="120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2" y="129"/>
                  </a:lnTo>
                  <a:lnTo>
                    <a:pt x="62" y="129"/>
                  </a:lnTo>
                  <a:lnTo>
                    <a:pt x="62" y="129"/>
                  </a:lnTo>
                  <a:lnTo>
                    <a:pt x="62" y="129"/>
                  </a:lnTo>
                  <a:lnTo>
                    <a:pt x="62" y="129"/>
                  </a:lnTo>
                  <a:lnTo>
                    <a:pt x="58" y="129"/>
                  </a:lnTo>
                  <a:lnTo>
                    <a:pt x="58" y="129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3" y="138"/>
                  </a:lnTo>
                  <a:lnTo>
                    <a:pt x="53" y="142"/>
                  </a:lnTo>
                  <a:lnTo>
                    <a:pt x="58" y="142"/>
                  </a:lnTo>
                  <a:lnTo>
                    <a:pt x="58" y="146"/>
                  </a:lnTo>
                  <a:lnTo>
                    <a:pt x="53" y="146"/>
                  </a:lnTo>
                  <a:lnTo>
                    <a:pt x="53" y="146"/>
                  </a:lnTo>
                  <a:lnTo>
                    <a:pt x="53" y="146"/>
                  </a:lnTo>
                  <a:lnTo>
                    <a:pt x="53" y="146"/>
                  </a:lnTo>
                  <a:lnTo>
                    <a:pt x="49" y="151"/>
                  </a:lnTo>
                  <a:lnTo>
                    <a:pt x="49" y="155"/>
                  </a:lnTo>
                  <a:lnTo>
                    <a:pt x="49" y="155"/>
                  </a:lnTo>
                  <a:lnTo>
                    <a:pt x="49" y="155"/>
                  </a:lnTo>
                  <a:lnTo>
                    <a:pt x="49" y="155"/>
                  </a:lnTo>
                  <a:lnTo>
                    <a:pt x="49" y="155"/>
                  </a:lnTo>
                  <a:lnTo>
                    <a:pt x="49" y="155"/>
                  </a:lnTo>
                  <a:lnTo>
                    <a:pt x="44" y="160"/>
                  </a:lnTo>
                  <a:lnTo>
                    <a:pt x="44" y="160"/>
                  </a:lnTo>
                  <a:lnTo>
                    <a:pt x="44" y="160"/>
                  </a:lnTo>
                  <a:lnTo>
                    <a:pt x="44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60"/>
                  </a:lnTo>
                  <a:lnTo>
                    <a:pt x="27" y="160"/>
                  </a:lnTo>
                  <a:lnTo>
                    <a:pt x="27" y="160"/>
                  </a:lnTo>
                  <a:lnTo>
                    <a:pt x="27" y="160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9"/>
                  </a:lnTo>
                  <a:lnTo>
                    <a:pt x="22" y="169"/>
                  </a:lnTo>
                  <a:lnTo>
                    <a:pt x="22" y="169"/>
                  </a:lnTo>
                  <a:lnTo>
                    <a:pt x="22" y="169"/>
                  </a:lnTo>
                  <a:lnTo>
                    <a:pt x="22" y="169"/>
                  </a:lnTo>
                  <a:lnTo>
                    <a:pt x="18" y="169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3" y="164"/>
                  </a:lnTo>
                  <a:lnTo>
                    <a:pt x="13" y="164"/>
                  </a:lnTo>
                  <a:lnTo>
                    <a:pt x="5" y="169"/>
                  </a:lnTo>
                  <a:lnTo>
                    <a:pt x="0" y="169"/>
                  </a:lnTo>
                  <a:lnTo>
                    <a:pt x="5" y="173"/>
                  </a:lnTo>
                  <a:lnTo>
                    <a:pt x="5" y="173"/>
                  </a:lnTo>
                  <a:lnTo>
                    <a:pt x="9" y="177"/>
                  </a:lnTo>
                  <a:lnTo>
                    <a:pt x="9" y="177"/>
                  </a:lnTo>
                  <a:lnTo>
                    <a:pt x="9" y="182"/>
                  </a:lnTo>
                  <a:lnTo>
                    <a:pt x="9" y="182"/>
                  </a:lnTo>
                  <a:lnTo>
                    <a:pt x="13" y="182"/>
                  </a:lnTo>
                  <a:lnTo>
                    <a:pt x="13" y="182"/>
                  </a:lnTo>
                  <a:lnTo>
                    <a:pt x="13" y="186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22" y="191"/>
                  </a:lnTo>
                  <a:lnTo>
                    <a:pt x="22" y="191"/>
                  </a:lnTo>
                  <a:lnTo>
                    <a:pt x="22" y="191"/>
                  </a:lnTo>
                  <a:lnTo>
                    <a:pt x="22" y="191"/>
                  </a:lnTo>
                  <a:lnTo>
                    <a:pt x="22" y="191"/>
                  </a:lnTo>
                  <a:lnTo>
                    <a:pt x="22" y="191"/>
                  </a:lnTo>
                  <a:lnTo>
                    <a:pt x="22" y="195"/>
                  </a:lnTo>
                  <a:lnTo>
                    <a:pt x="22" y="195"/>
                  </a:lnTo>
                  <a:lnTo>
                    <a:pt x="22" y="195"/>
                  </a:lnTo>
                  <a:lnTo>
                    <a:pt x="27" y="195"/>
                  </a:lnTo>
                  <a:lnTo>
                    <a:pt x="27" y="195"/>
                  </a:lnTo>
                  <a:lnTo>
                    <a:pt x="27" y="200"/>
                  </a:lnTo>
                  <a:lnTo>
                    <a:pt x="27" y="200"/>
                  </a:lnTo>
                  <a:lnTo>
                    <a:pt x="27" y="200"/>
                  </a:lnTo>
                  <a:lnTo>
                    <a:pt x="27" y="195"/>
                  </a:lnTo>
                  <a:lnTo>
                    <a:pt x="27" y="195"/>
                  </a:lnTo>
                  <a:lnTo>
                    <a:pt x="27" y="195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31" y="200"/>
                  </a:lnTo>
                  <a:lnTo>
                    <a:pt x="31" y="200"/>
                  </a:lnTo>
                  <a:lnTo>
                    <a:pt x="31" y="204"/>
                  </a:lnTo>
                  <a:lnTo>
                    <a:pt x="31" y="204"/>
                  </a:lnTo>
                  <a:lnTo>
                    <a:pt x="31" y="204"/>
                  </a:lnTo>
                  <a:lnTo>
                    <a:pt x="31" y="204"/>
                  </a:lnTo>
                  <a:lnTo>
                    <a:pt x="27" y="208"/>
                  </a:lnTo>
                  <a:lnTo>
                    <a:pt x="31" y="208"/>
                  </a:lnTo>
                  <a:lnTo>
                    <a:pt x="31" y="213"/>
                  </a:lnTo>
                  <a:lnTo>
                    <a:pt x="31" y="213"/>
                  </a:lnTo>
                  <a:lnTo>
                    <a:pt x="31" y="213"/>
                  </a:lnTo>
                  <a:lnTo>
                    <a:pt x="31" y="213"/>
                  </a:lnTo>
                  <a:lnTo>
                    <a:pt x="31" y="217"/>
                  </a:lnTo>
                  <a:lnTo>
                    <a:pt x="31" y="217"/>
                  </a:lnTo>
                  <a:lnTo>
                    <a:pt x="31" y="217"/>
                  </a:lnTo>
                  <a:lnTo>
                    <a:pt x="31" y="217"/>
                  </a:lnTo>
                  <a:lnTo>
                    <a:pt x="31" y="217"/>
                  </a:lnTo>
                  <a:lnTo>
                    <a:pt x="31" y="217"/>
                  </a:lnTo>
                  <a:lnTo>
                    <a:pt x="36" y="222"/>
                  </a:lnTo>
                  <a:lnTo>
                    <a:pt x="40" y="226"/>
                  </a:lnTo>
                  <a:lnTo>
                    <a:pt x="40" y="226"/>
                  </a:lnTo>
                  <a:lnTo>
                    <a:pt x="40" y="226"/>
                  </a:lnTo>
                  <a:lnTo>
                    <a:pt x="44" y="231"/>
                  </a:lnTo>
                  <a:lnTo>
                    <a:pt x="44" y="231"/>
                  </a:lnTo>
                  <a:lnTo>
                    <a:pt x="44" y="231"/>
                  </a:lnTo>
                  <a:lnTo>
                    <a:pt x="44" y="231"/>
                  </a:lnTo>
                  <a:lnTo>
                    <a:pt x="49" y="231"/>
                  </a:lnTo>
                  <a:lnTo>
                    <a:pt x="49" y="231"/>
                  </a:lnTo>
                  <a:lnTo>
                    <a:pt x="49" y="231"/>
                  </a:lnTo>
                  <a:lnTo>
                    <a:pt x="49" y="231"/>
                  </a:lnTo>
                  <a:lnTo>
                    <a:pt x="49" y="231"/>
                  </a:lnTo>
                  <a:lnTo>
                    <a:pt x="49" y="231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8" y="235"/>
                  </a:lnTo>
                  <a:lnTo>
                    <a:pt x="62" y="239"/>
                  </a:lnTo>
                  <a:lnTo>
                    <a:pt x="67" y="239"/>
                  </a:lnTo>
                  <a:lnTo>
                    <a:pt x="67" y="239"/>
                  </a:lnTo>
                  <a:lnTo>
                    <a:pt x="67" y="239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7"/>
                  </a:lnTo>
                  <a:lnTo>
                    <a:pt x="67" y="257"/>
                  </a:lnTo>
                  <a:lnTo>
                    <a:pt x="67" y="257"/>
                  </a:lnTo>
                  <a:lnTo>
                    <a:pt x="71" y="257"/>
                  </a:lnTo>
                  <a:lnTo>
                    <a:pt x="71" y="257"/>
                  </a:lnTo>
                  <a:lnTo>
                    <a:pt x="71" y="257"/>
                  </a:lnTo>
                  <a:lnTo>
                    <a:pt x="71" y="262"/>
                  </a:lnTo>
                  <a:lnTo>
                    <a:pt x="71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70"/>
                  </a:lnTo>
                  <a:lnTo>
                    <a:pt x="67" y="270"/>
                  </a:lnTo>
                  <a:lnTo>
                    <a:pt x="71" y="270"/>
                  </a:lnTo>
                  <a:lnTo>
                    <a:pt x="71" y="270"/>
                  </a:lnTo>
                  <a:lnTo>
                    <a:pt x="75" y="270"/>
                  </a:lnTo>
                  <a:lnTo>
                    <a:pt x="75" y="270"/>
                  </a:lnTo>
                  <a:lnTo>
                    <a:pt x="75" y="270"/>
                  </a:lnTo>
                  <a:lnTo>
                    <a:pt x="75" y="275"/>
                  </a:lnTo>
                  <a:lnTo>
                    <a:pt x="75" y="275"/>
                  </a:lnTo>
                  <a:lnTo>
                    <a:pt x="80" y="275"/>
                  </a:lnTo>
                  <a:lnTo>
                    <a:pt x="80" y="275"/>
                  </a:lnTo>
                  <a:lnTo>
                    <a:pt x="84" y="275"/>
                  </a:lnTo>
                  <a:lnTo>
                    <a:pt x="84" y="275"/>
                  </a:lnTo>
                  <a:lnTo>
                    <a:pt x="89" y="275"/>
                  </a:lnTo>
                  <a:lnTo>
                    <a:pt x="89" y="275"/>
                  </a:lnTo>
                  <a:lnTo>
                    <a:pt x="93" y="279"/>
                  </a:lnTo>
                  <a:lnTo>
                    <a:pt x="93" y="279"/>
                  </a:lnTo>
                  <a:lnTo>
                    <a:pt x="93" y="279"/>
                  </a:lnTo>
                  <a:lnTo>
                    <a:pt x="98" y="284"/>
                  </a:lnTo>
                  <a:lnTo>
                    <a:pt x="98" y="284"/>
                  </a:lnTo>
                  <a:lnTo>
                    <a:pt x="98" y="284"/>
                  </a:lnTo>
                  <a:lnTo>
                    <a:pt x="98" y="284"/>
                  </a:lnTo>
                  <a:lnTo>
                    <a:pt x="98" y="284"/>
                  </a:lnTo>
                  <a:lnTo>
                    <a:pt x="98" y="284"/>
                  </a:lnTo>
                  <a:lnTo>
                    <a:pt x="98" y="284"/>
                  </a:lnTo>
                  <a:lnTo>
                    <a:pt x="98" y="284"/>
                  </a:lnTo>
                  <a:lnTo>
                    <a:pt x="98" y="288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106" y="288"/>
                  </a:lnTo>
                  <a:lnTo>
                    <a:pt x="111" y="279"/>
                  </a:lnTo>
                  <a:lnTo>
                    <a:pt x="111" y="275"/>
                  </a:lnTo>
                  <a:lnTo>
                    <a:pt x="111" y="275"/>
                  </a:lnTo>
                  <a:lnTo>
                    <a:pt x="115" y="275"/>
                  </a:lnTo>
                  <a:lnTo>
                    <a:pt x="115" y="275"/>
                  </a:lnTo>
                  <a:lnTo>
                    <a:pt x="115" y="275"/>
                  </a:lnTo>
                  <a:lnTo>
                    <a:pt x="115" y="270"/>
                  </a:lnTo>
                  <a:lnTo>
                    <a:pt x="120" y="270"/>
                  </a:lnTo>
                  <a:lnTo>
                    <a:pt x="120" y="270"/>
                  </a:lnTo>
                  <a:lnTo>
                    <a:pt x="120" y="275"/>
                  </a:lnTo>
                  <a:lnTo>
                    <a:pt x="124" y="275"/>
                  </a:lnTo>
                  <a:lnTo>
                    <a:pt x="124" y="279"/>
                  </a:lnTo>
                  <a:lnTo>
                    <a:pt x="129" y="279"/>
                  </a:lnTo>
                  <a:lnTo>
                    <a:pt x="133" y="279"/>
                  </a:lnTo>
                  <a:lnTo>
                    <a:pt x="133" y="279"/>
                  </a:lnTo>
                  <a:lnTo>
                    <a:pt x="133" y="284"/>
                  </a:lnTo>
                  <a:lnTo>
                    <a:pt x="133" y="284"/>
                  </a:lnTo>
                  <a:lnTo>
                    <a:pt x="133" y="284"/>
                  </a:lnTo>
                  <a:lnTo>
                    <a:pt x="133" y="288"/>
                  </a:lnTo>
                  <a:lnTo>
                    <a:pt x="133" y="288"/>
                  </a:lnTo>
                  <a:lnTo>
                    <a:pt x="129" y="288"/>
                  </a:lnTo>
                  <a:lnTo>
                    <a:pt x="129" y="284"/>
                  </a:lnTo>
                  <a:lnTo>
                    <a:pt x="129" y="284"/>
                  </a:lnTo>
                  <a:lnTo>
                    <a:pt x="124" y="284"/>
                  </a:lnTo>
                  <a:lnTo>
                    <a:pt x="124" y="284"/>
                  </a:lnTo>
                  <a:lnTo>
                    <a:pt x="124" y="284"/>
                  </a:lnTo>
                  <a:lnTo>
                    <a:pt x="124" y="288"/>
                  </a:lnTo>
                  <a:lnTo>
                    <a:pt x="124" y="288"/>
                  </a:lnTo>
                  <a:lnTo>
                    <a:pt x="124" y="288"/>
                  </a:lnTo>
                  <a:lnTo>
                    <a:pt x="124" y="288"/>
                  </a:lnTo>
                  <a:lnTo>
                    <a:pt x="120" y="288"/>
                  </a:lnTo>
                  <a:lnTo>
                    <a:pt x="120" y="288"/>
                  </a:lnTo>
                  <a:lnTo>
                    <a:pt x="120" y="288"/>
                  </a:lnTo>
                  <a:lnTo>
                    <a:pt x="120" y="288"/>
                  </a:lnTo>
                  <a:lnTo>
                    <a:pt x="120" y="293"/>
                  </a:lnTo>
                  <a:lnTo>
                    <a:pt x="120" y="293"/>
                  </a:lnTo>
                  <a:lnTo>
                    <a:pt x="120" y="293"/>
                  </a:lnTo>
                  <a:lnTo>
                    <a:pt x="120" y="293"/>
                  </a:lnTo>
                  <a:lnTo>
                    <a:pt x="120" y="293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24" y="297"/>
                  </a:lnTo>
                  <a:lnTo>
                    <a:pt x="124" y="301"/>
                  </a:lnTo>
                  <a:lnTo>
                    <a:pt x="124" y="301"/>
                  </a:lnTo>
                  <a:lnTo>
                    <a:pt x="129" y="301"/>
                  </a:lnTo>
                  <a:lnTo>
                    <a:pt x="129" y="301"/>
                  </a:lnTo>
                  <a:lnTo>
                    <a:pt x="129" y="306"/>
                  </a:lnTo>
                  <a:lnTo>
                    <a:pt x="133" y="306"/>
                  </a:lnTo>
                  <a:lnTo>
                    <a:pt x="129" y="310"/>
                  </a:lnTo>
                  <a:lnTo>
                    <a:pt x="133" y="310"/>
                  </a:lnTo>
                  <a:lnTo>
                    <a:pt x="133" y="310"/>
                  </a:lnTo>
                  <a:lnTo>
                    <a:pt x="142" y="319"/>
                  </a:lnTo>
                  <a:lnTo>
                    <a:pt x="146" y="319"/>
                  </a:lnTo>
                  <a:lnTo>
                    <a:pt x="146" y="319"/>
                  </a:lnTo>
                  <a:lnTo>
                    <a:pt x="146" y="319"/>
                  </a:lnTo>
                  <a:lnTo>
                    <a:pt x="151" y="319"/>
                  </a:lnTo>
                  <a:lnTo>
                    <a:pt x="151" y="324"/>
                  </a:lnTo>
                  <a:lnTo>
                    <a:pt x="151" y="324"/>
                  </a:lnTo>
                  <a:lnTo>
                    <a:pt x="146" y="324"/>
                  </a:lnTo>
                  <a:lnTo>
                    <a:pt x="146" y="324"/>
                  </a:lnTo>
                  <a:lnTo>
                    <a:pt x="142" y="324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37" y="332"/>
                  </a:lnTo>
                  <a:lnTo>
                    <a:pt x="137" y="337"/>
                  </a:lnTo>
                  <a:lnTo>
                    <a:pt x="142" y="337"/>
                  </a:lnTo>
                  <a:lnTo>
                    <a:pt x="142" y="337"/>
                  </a:lnTo>
                  <a:lnTo>
                    <a:pt x="142" y="337"/>
                  </a:lnTo>
                  <a:lnTo>
                    <a:pt x="151" y="337"/>
                  </a:lnTo>
                  <a:lnTo>
                    <a:pt x="155" y="337"/>
                  </a:lnTo>
                  <a:lnTo>
                    <a:pt x="155" y="337"/>
                  </a:lnTo>
                  <a:lnTo>
                    <a:pt x="159" y="337"/>
                  </a:lnTo>
                  <a:lnTo>
                    <a:pt x="159" y="337"/>
                  </a:lnTo>
                  <a:lnTo>
                    <a:pt x="164" y="332"/>
                  </a:lnTo>
                  <a:lnTo>
                    <a:pt x="173" y="337"/>
                  </a:lnTo>
                  <a:lnTo>
                    <a:pt x="177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6" y="337"/>
                  </a:lnTo>
                  <a:lnTo>
                    <a:pt x="186" y="337"/>
                  </a:lnTo>
                  <a:lnTo>
                    <a:pt x="190" y="341"/>
                  </a:lnTo>
                  <a:lnTo>
                    <a:pt x="208" y="346"/>
                  </a:lnTo>
                  <a:lnTo>
                    <a:pt x="208" y="346"/>
                  </a:lnTo>
                  <a:lnTo>
                    <a:pt x="217" y="346"/>
                  </a:lnTo>
                  <a:lnTo>
                    <a:pt x="217" y="346"/>
                  </a:lnTo>
                  <a:lnTo>
                    <a:pt x="221" y="341"/>
                  </a:lnTo>
                  <a:lnTo>
                    <a:pt x="221" y="341"/>
                  </a:lnTo>
                  <a:lnTo>
                    <a:pt x="226" y="341"/>
                  </a:lnTo>
                  <a:lnTo>
                    <a:pt x="226" y="341"/>
                  </a:lnTo>
                  <a:lnTo>
                    <a:pt x="235" y="346"/>
                  </a:lnTo>
                  <a:lnTo>
                    <a:pt x="239" y="346"/>
                  </a:lnTo>
                  <a:lnTo>
                    <a:pt x="239" y="346"/>
                  </a:lnTo>
                  <a:lnTo>
                    <a:pt x="252" y="346"/>
                  </a:lnTo>
                  <a:lnTo>
                    <a:pt x="257" y="346"/>
                  </a:lnTo>
                  <a:lnTo>
                    <a:pt x="266" y="346"/>
                  </a:lnTo>
                  <a:lnTo>
                    <a:pt x="266" y="346"/>
                  </a:lnTo>
                  <a:lnTo>
                    <a:pt x="266" y="350"/>
                  </a:lnTo>
                  <a:lnTo>
                    <a:pt x="266" y="350"/>
                  </a:lnTo>
                  <a:lnTo>
                    <a:pt x="270" y="350"/>
                  </a:lnTo>
                  <a:lnTo>
                    <a:pt x="270" y="350"/>
                  </a:lnTo>
                  <a:lnTo>
                    <a:pt x="275" y="350"/>
                  </a:lnTo>
                  <a:lnTo>
                    <a:pt x="275" y="350"/>
                  </a:lnTo>
                  <a:lnTo>
                    <a:pt x="279" y="350"/>
                  </a:lnTo>
                  <a:lnTo>
                    <a:pt x="279" y="350"/>
                  </a:lnTo>
                  <a:lnTo>
                    <a:pt x="279" y="350"/>
                  </a:lnTo>
                  <a:lnTo>
                    <a:pt x="279" y="350"/>
                  </a:lnTo>
                  <a:lnTo>
                    <a:pt x="283" y="350"/>
                  </a:lnTo>
                  <a:lnTo>
                    <a:pt x="283" y="350"/>
                  </a:lnTo>
                  <a:lnTo>
                    <a:pt x="283" y="350"/>
                  </a:lnTo>
                  <a:lnTo>
                    <a:pt x="283" y="350"/>
                  </a:lnTo>
                  <a:lnTo>
                    <a:pt x="288" y="350"/>
                  </a:lnTo>
                  <a:lnTo>
                    <a:pt x="288" y="346"/>
                  </a:lnTo>
                  <a:lnTo>
                    <a:pt x="288" y="346"/>
                  </a:lnTo>
                  <a:lnTo>
                    <a:pt x="292" y="346"/>
                  </a:lnTo>
                  <a:lnTo>
                    <a:pt x="292" y="346"/>
                  </a:lnTo>
                  <a:lnTo>
                    <a:pt x="292" y="346"/>
                  </a:lnTo>
                  <a:lnTo>
                    <a:pt x="297" y="346"/>
                  </a:lnTo>
                  <a:lnTo>
                    <a:pt x="297" y="341"/>
                  </a:lnTo>
                  <a:lnTo>
                    <a:pt x="297" y="341"/>
                  </a:lnTo>
                  <a:lnTo>
                    <a:pt x="297" y="341"/>
                  </a:lnTo>
                  <a:lnTo>
                    <a:pt x="301" y="337"/>
                  </a:lnTo>
                  <a:lnTo>
                    <a:pt x="301" y="337"/>
                  </a:lnTo>
                  <a:lnTo>
                    <a:pt x="301" y="337"/>
                  </a:lnTo>
                  <a:lnTo>
                    <a:pt x="310" y="332"/>
                  </a:lnTo>
                  <a:lnTo>
                    <a:pt x="310" y="328"/>
                  </a:lnTo>
                  <a:lnTo>
                    <a:pt x="310" y="328"/>
                  </a:lnTo>
                  <a:lnTo>
                    <a:pt x="310" y="328"/>
                  </a:lnTo>
                  <a:lnTo>
                    <a:pt x="314" y="324"/>
                  </a:lnTo>
                  <a:lnTo>
                    <a:pt x="319" y="324"/>
                  </a:lnTo>
                  <a:lnTo>
                    <a:pt x="323" y="324"/>
                  </a:lnTo>
                  <a:lnTo>
                    <a:pt x="323" y="324"/>
                  </a:lnTo>
                  <a:lnTo>
                    <a:pt x="328" y="324"/>
                  </a:lnTo>
                  <a:lnTo>
                    <a:pt x="337" y="319"/>
                  </a:lnTo>
                  <a:lnTo>
                    <a:pt x="341" y="319"/>
                  </a:lnTo>
                  <a:lnTo>
                    <a:pt x="341" y="319"/>
                  </a:lnTo>
                  <a:lnTo>
                    <a:pt x="341" y="319"/>
                  </a:lnTo>
                  <a:lnTo>
                    <a:pt x="341" y="319"/>
                  </a:lnTo>
                  <a:lnTo>
                    <a:pt x="341" y="319"/>
                  </a:lnTo>
                  <a:lnTo>
                    <a:pt x="345" y="319"/>
                  </a:lnTo>
                  <a:lnTo>
                    <a:pt x="345" y="319"/>
                  </a:lnTo>
                  <a:lnTo>
                    <a:pt x="350" y="315"/>
                  </a:lnTo>
                  <a:lnTo>
                    <a:pt x="359" y="315"/>
                  </a:lnTo>
                  <a:lnTo>
                    <a:pt x="359" y="315"/>
                  </a:lnTo>
                  <a:lnTo>
                    <a:pt x="363" y="315"/>
                  </a:lnTo>
                  <a:lnTo>
                    <a:pt x="368" y="315"/>
                  </a:lnTo>
                  <a:lnTo>
                    <a:pt x="372" y="319"/>
                  </a:lnTo>
                  <a:lnTo>
                    <a:pt x="372" y="319"/>
                  </a:lnTo>
                  <a:lnTo>
                    <a:pt x="372" y="319"/>
                  </a:lnTo>
                  <a:lnTo>
                    <a:pt x="372" y="319"/>
                  </a:lnTo>
                  <a:lnTo>
                    <a:pt x="372" y="319"/>
                  </a:lnTo>
                  <a:lnTo>
                    <a:pt x="372" y="319"/>
                  </a:lnTo>
                  <a:lnTo>
                    <a:pt x="376" y="324"/>
                  </a:lnTo>
                  <a:lnTo>
                    <a:pt x="376" y="324"/>
                  </a:lnTo>
                  <a:lnTo>
                    <a:pt x="376" y="324"/>
                  </a:lnTo>
                  <a:lnTo>
                    <a:pt x="376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4" y="324"/>
                  </a:lnTo>
                  <a:lnTo>
                    <a:pt x="394" y="328"/>
                  </a:lnTo>
                  <a:lnTo>
                    <a:pt x="394" y="328"/>
                  </a:lnTo>
                  <a:lnTo>
                    <a:pt x="394" y="328"/>
                  </a:lnTo>
                  <a:lnTo>
                    <a:pt x="399" y="328"/>
                  </a:lnTo>
                  <a:lnTo>
                    <a:pt x="403" y="328"/>
                  </a:lnTo>
                  <a:lnTo>
                    <a:pt x="407" y="328"/>
                  </a:lnTo>
                  <a:lnTo>
                    <a:pt x="407" y="328"/>
                  </a:lnTo>
                  <a:lnTo>
                    <a:pt x="407" y="328"/>
                  </a:lnTo>
                  <a:lnTo>
                    <a:pt x="412" y="337"/>
                  </a:lnTo>
                  <a:lnTo>
                    <a:pt x="412" y="337"/>
                  </a:lnTo>
                  <a:lnTo>
                    <a:pt x="421" y="346"/>
                  </a:lnTo>
                  <a:lnTo>
                    <a:pt x="434" y="346"/>
                  </a:lnTo>
                  <a:lnTo>
                    <a:pt x="443" y="346"/>
                  </a:lnTo>
                  <a:lnTo>
                    <a:pt x="443" y="346"/>
                  </a:lnTo>
                  <a:lnTo>
                    <a:pt x="443" y="346"/>
                  </a:lnTo>
                  <a:lnTo>
                    <a:pt x="443" y="341"/>
                  </a:lnTo>
                  <a:lnTo>
                    <a:pt x="443" y="341"/>
                  </a:lnTo>
                  <a:lnTo>
                    <a:pt x="443" y="341"/>
                  </a:lnTo>
                  <a:lnTo>
                    <a:pt x="443" y="341"/>
                  </a:lnTo>
                  <a:lnTo>
                    <a:pt x="443" y="341"/>
                  </a:lnTo>
                  <a:lnTo>
                    <a:pt x="443" y="341"/>
                  </a:lnTo>
                  <a:lnTo>
                    <a:pt x="443" y="337"/>
                  </a:lnTo>
                  <a:lnTo>
                    <a:pt x="443" y="332"/>
                  </a:lnTo>
                  <a:lnTo>
                    <a:pt x="443" y="332"/>
                  </a:lnTo>
                  <a:lnTo>
                    <a:pt x="443" y="332"/>
                  </a:lnTo>
                  <a:lnTo>
                    <a:pt x="447" y="328"/>
                  </a:lnTo>
                  <a:lnTo>
                    <a:pt x="447" y="328"/>
                  </a:lnTo>
                  <a:lnTo>
                    <a:pt x="447" y="328"/>
                  </a:lnTo>
                  <a:lnTo>
                    <a:pt x="447" y="328"/>
                  </a:lnTo>
                  <a:lnTo>
                    <a:pt x="447" y="328"/>
                  </a:lnTo>
                  <a:lnTo>
                    <a:pt x="447" y="324"/>
                  </a:lnTo>
                  <a:lnTo>
                    <a:pt x="443" y="315"/>
                  </a:lnTo>
                  <a:lnTo>
                    <a:pt x="443" y="315"/>
                  </a:lnTo>
                  <a:lnTo>
                    <a:pt x="443" y="315"/>
                  </a:lnTo>
                  <a:lnTo>
                    <a:pt x="443" y="315"/>
                  </a:lnTo>
                  <a:lnTo>
                    <a:pt x="447" y="315"/>
                  </a:lnTo>
                  <a:lnTo>
                    <a:pt x="447" y="315"/>
                  </a:lnTo>
                  <a:lnTo>
                    <a:pt x="447" y="315"/>
                  </a:lnTo>
                  <a:lnTo>
                    <a:pt x="447" y="315"/>
                  </a:lnTo>
                  <a:lnTo>
                    <a:pt x="447" y="310"/>
                  </a:lnTo>
                  <a:lnTo>
                    <a:pt x="447" y="310"/>
                  </a:lnTo>
                  <a:lnTo>
                    <a:pt x="443" y="306"/>
                  </a:lnTo>
                  <a:lnTo>
                    <a:pt x="443" y="306"/>
                  </a:lnTo>
                  <a:lnTo>
                    <a:pt x="443" y="306"/>
                  </a:lnTo>
                  <a:lnTo>
                    <a:pt x="443" y="301"/>
                  </a:lnTo>
                  <a:lnTo>
                    <a:pt x="443" y="301"/>
                  </a:lnTo>
                  <a:lnTo>
                    <a:pt x="447" y="301"/>
                  </a:lnTo>
                  <a:lnTo>
                    <a:pt x="447" y="301"/>
                  </a:lnTo>
                  <a:lnTo>
                    <a:pt x="447" y="301"/>
                  </a:lnTo>
                  <a:lnTo>
                    <a:pt x="447" y="301"/>
                  </a:lnTo>
                  <a:lnTo>
                    <a:pt x="447" y="301"/>
                  </a:lnTo>
                  <a:lnTo>
                    <a:pt x="447" y="297"/>
                  </a:lnTo>
                  <a:lnTo>
                    <a:pt x="452" y="293"/>
                  </a:lnTo>
                  <a:lnTo>
                    <a:pt x="456" y="288"/>
                  </a:lnTo>
                  <a:lnTo>
                    <a:pt x="460" y="284"/>
                  </a:lnTo>
                  <a:lnTo>
                    <a:pt x="460" y="284"/>
                  </a:lnTo>
                  <a:lnTo>
                    <a:pt x="460" y="279"/>
                  </a:lnTo>
                  <a:lnTo>
                    <a:pt x="460" y="284"/>
                  </a:lnTo>
                  <a:lnTo>
                    <a:pt x="460" y="284"/>
                  </a:lnTo>
                  <a:lnTo>
                    <a:pt x="456" y="284"/>
                  </a:lnTo>
                  <a:lnTo>
                    <a:pt x="456" y="284"/>
                  </a:lnTo>
                  <a:lnTo>
                    <a:pt x="456" y="284"/>
                  </a:lnTo>
                  <a:lnTo>
                    <a:pt x="456" y="284"/>
                  </a:lnTo>
                  <a:lnTo>
                    <a:pt x="452" y="288"/>
                  </a:lnTo>
                  <a:lnTo>
                    <a:pt x="452" y="288"/>
                  </a:lnTo>
                  <a:lnTo>
                    <a:pt x="452" y="288"/>
                  </a:lnTo>
                  <a:lnTo>
                    <a:pt x="452" y="293"/>
                  </a:lnTo>
                  <a:lnTo>
                    <a:pt x="452" y="293"/>
                  </a:lnTo>
                  <a:lnTo>
                    <a:pt x="452" y="293"/>
                  </a:lnTo>
                  <a:lnTo>
                    <a:pt x="452" y="293"/>
                  </a:lnTo>
                  <a:lnTo>
                    <a:pt x="452" y="293"/>
                  </a:lnTo>
                  <a:lnTo>
                    <a:pt x="452" y="288"/>
                  </a:lnTo>
                  <a:lnTo>
                    <a:pt x="452" y="288"/>
                  </a:lnTo>
                  <a:lnTo>
                    <a:pt x="452" y="284"/>
                  </a:lnTo>
                  <a:lnTo>
                    <a:pt x="452" y="284"/>
                  </a:lnTo>
                  <a:lnTo>
                    <a:pt x="452" y="284"/>
                  </a:lnTo>
                  <a:lnTo>
                    <a:pt x="452" y="284"/>
                  </a:lnTo>
                  <a:lnTo>
                    <a:pt x="452" y="284"/>
                  </a:lnTo>
                  <a:lnTo>
                    <a:pt x="452" y="284"/>
                  </a:lnTo>
                  <a:lnTo>
                    <a:pt x="452" y="284"/>
                  </a:lnTo>
                  <a:lnTo>
                    <a:pt x="452" y="284"/>
                  </a:lnTo>
                  <a:lnTo>
                    <a:pt x="452" y="284"/>
                  </a:lnTo>
                  <a:lnTo>
                    <a:pt x="452" y="284"/>
                  </a:lnTo>
                  <a:lnTo>
                    <a:pt x="452" y="284"/>
                  </a:lnTo>
                  <a:lnTo>
                    <a:pt x="452" y="284"/>
                  </a:lnTo>
                  <a:lnTo>
                    <a:pt x="452" y="279"/>
                  </a:lnTo>
                  <a:lnTo>
                    <a:pt x="452" y="279"/>
                  </a:lnTo>
                  <a:lnTo>
                    <a:pt x="452" y="279"/>
                  </a:lnTo>
                  <a:lnTo>
                    <a:pt x="452" y="279"/>
                  </a:lnTo>
                  <a:lnTo>
                    <a:pt x="452" y="279"/>
                  </a:lnTo>
                  <a:lnTo>
                    <a:pt x="452" y="279"/>
                  </a:lnTo>
                  <a:lnTo>
                    <a:pt x="452" y="279"/>
                  </a:lnTo>
                  <a:lnTo>
                    <a:pt x="452" y="284"/>
                  </a:lnTo>
                  <a:lnTo>
                    <a:pt x="452" y="279"/>
                  </a:lnTo>
                  <a:lnTo>
                    <a:pt x="456" y="279"/>
                  </a:lnTo>
                  <a:lnTo>
                    <a:pt x="456" y="279"/>
                  </a:lnTo>
                  <a:lnTo>
                    <a:pt x="456" y="279"/>
                  </a:lnTo>
                  <a:lnTo>
                    <a:pt x="460" y="275"/>
                  </a:lnTo>
                  <a:lnTo>
                    <a:pt x="460" y="275"/>
                  </a:lnTo>
                  <a:lnTo>
                    <a:pt x="460" y="275"/>
                  </a:lnTo>
                  <a:lnTo>
                    <a:pt x="460" y="275"/>
                  </a:lnTo>
                  <a:lnTo>
                    <a:pt x="460" y="275"/>
                  </a:lnTo>
                  <a:lnTo>
                    <a:pt x="460" y="275"/>
                  </a:lnTo>
                  <a:lnTo>
                    <a:pt x="460" y="275"/>
                  </a:lnTo>
                  <a:lnTo>
                    <a:pt x="460" y="275"/>
                  </a:lnTo>
                  <a:lnTo>
                    <a:pt x="460" y="275"/>
                  </a:lnTo>
                  <a:lnTo>
                    <a:pt x="460" y="275"/>
                  </a:lnTo>
                  <a:lnTo>
                    <a:pt x="460" y="275"/>
                  </a:lnTo>
                  <a:lnTo>
                    <a:pt x="460" y="275"/>
                  </a:lnTo>
                  <a:lnTo>
                    <a:pt x="460" y="279"/>
                  </a:lnTo>
                  <a:lnTo>
                    <a:pt x="460" y="279"/>
                  </a:lnTo>
                  <a:lnTo>
                    <a:pt x="460" y="279"/>
                  </a:lnTo>
                  <a:lnTo>
                    <a:pt x="460" y="279"/>
                  </a:lnTo>
                  <a:lnTo>
                    <a:pt x="465" y="275"/>
                  </a:lnTo>
                  <a:lnTo>
                    <a:pt x="465" y="275"/>
                  </a:lnTo>
                  <a:lnTo>
                    <a:pt x="460" y="275"/>
                  </a:lnTo>
                  <a:lnTo>
                    <a:pt x="456" y="275"/>
                  </a:lnTo>
                  <a:lnTo>
                    <a:pt x="460" y="275"/>
                  </a:lnTo>
                  <a:lnTo>
                    <a:pt x="456" y="275"/>
                  </a:lnTo>
                  <a:lnTo>
                    <a:pt x="456" y="279"/>
                  </a:lnTo>
                  <a:lnTo>
                    <a:pt x="456" y="279"/>
                  </a:lnTo>
                  <a:lnTo>
                    <a:pt x="452" y="279"/>
                  </a:lnTo>
                  <a:lnTo>
                    <a:pt x="452" y="279"/>
                  </a:lnTo>
                  <a:lnTo>
                    <a:pt x="452" y="279"/>
                  </a:lnTo>
                  <a:lnTo>
                    <a:pt x="452" y="275"/>
                  </a:lnTo>
                  <a:lnTo>
                    <a:pt x="452" y="275"/>
                  </a:lnTo>
                  <a:lnTo>
                    <a:pt x="452" y="275"/>
                  </a:lnTo>
                  <a:lnTo>
                    <a:pt x="452" y="275"/>
                  </a:lnTo>
                  <a:lnTo>
                    <a:pt x="452" y="275"/>
                  </a:lnTo>
                  <a:lnTo>
                    <a:pt x="452" y="275"/>
                  </a:lnTo>
                  <a:lnTo>
                    <a:pt x="452" y="275"/>
                  </a:lnTo>
                  <a:lnTo>
                    <a:pt x="452" y="275"/>
                  </a:lnTo>
                  <a:lnTo>
                    <a:pt x="456" y="270"/>
                  </a:lnTo>
                  <a:lnTo>
                    <a:pt x="456" y="270"/>
                  </a:lnTo>
                  <a:lnTo>
                    <a:pt x="460" y="270"/>
                  </a:lnTo>
                  <a:lnTo>
                    <a:pt x="460" y="270"/>
                  </a:lnTo>
                  <a:lnTo>
                    <a:pt x="460" y="270"/>
                  </a:lnTo>
                  <a:lnTo>
                    <a:pt x="460" y="270"/>
                  </a:lnTo>
                  <a:lnTo>
                    <a:pt x="460" y="270"/>
                  </a:lnTo>
                  <a:lnTo>
                    <a:pt x="460" y="266"/>
                  </a:lnTo>
                  <a:lnTo>
                    <a:pt x="460" y="266"/>
                  </a:lnTo>
                  <a:lnTo>
                    <a:pt x="460" y="266"/>
                  </a:lnTo>
                  <a:lnTo>
                    <a:pt x="460" y="266"/>
                  </a:lnTo>
                  <a:lnTo>
                    <a:pt x="460" y="266"/>
                  </a:lnTo>
                  <a:lnTo>
                    <a:pt x="460" y="266"/>
                  </a:lnTo>
                  <a:lnTo>
                    <a:pt x="460" y="266"/>
                  </a:lnTo>
                  <a:lnTo>
                    <a:pt x="460" y="266"/>
                  </a:lnTo>
                  <a:lnTo>
                    <a:pt x="460" y="262"/>
                  </a:lnTo>
                  <a:lnTo>
                    <a:pt x="456" y="262"/>
                  </a:lnTo>
                  <a:lnTo>
                    <a:pt x="456" y="262"/>
                  </a:lnTo>
                  <a:lnTo>
                    <a:pt x="456" y="262"/>
                  </a:lnTo>
                  <a:lnTo>
                    <a:pt x="456" y="262"/>
                  </a:lnTo>
                  <a:lnTo>
                    <a:pt x="456" y="262"/>
                  </a:lnTo>
                  <a:lnTo>
                    <a:pt x="456" y="262"/>
                  </a:lnTo>
                  <a:lnTo>
                    <a:pt x="456" y="262"/>
                  </a:lnTo>
                  <a:lnTo>
                    <a:pt x="456" y="262"/>
                  </a:lnTo>
                  <a:lnTo>
                    <a:pt x="456" y="257"/>
                  </a:lnTo>
                  <a:lnTo>
                    <a:pt x="456" y="257"/>
                  </a:lnTo>
                  <a:lnTo>
                    <a:pt x="456" y="257"/>
                  </a:lnTo>
                  <a:lnTo>
                    <a:pt x="456" y="257"/>
                  </a:lnTo>
                  <a:lnTo>
                    <a:pt x="456" y="257"/>
                  </a:lnTo>
                  <a:lnTo>
                    <a:pt x="460" y="253"/>
                  </a:lnTo>
                  <a:lnTo>
                    <a:pt x="460" y="253"/>
                  </a:lnTo>
                  <a:lnTo>
                    <a:pt x="460" y="253"/>
                  </a:lnTo>
                  <a:lnTo>
                    <a:pt x="460" y="253"/>
                  </a:lnTo>
                  <a:lnTo>
                    <a:pt x="460" y="253"/>
                  </a:lnTo>
                  <a:lnTo>
                    <a:pt x="460" y="253"/>
                  </a:lnTo>
                  <a:lnTo>
                    <a:pt x="460" y="253"/>
                  </a:lnTo>
                  <a:lnTo>
                    <a:pt x="460" y="253"/>
                  </a:lnTo>
                  <a:lnTo>
                    <a:pt x="465" y="253"/>
                  </a:lnTo>
                  <a:lnTo>
                    <a:pt x="465" y="253"/>
                  </a:lnTo>
                  <a:lnTo>
                    <a:pt x="465" y="253"/>
                  </a:lnTo>
                  <a:lnTo>
                    <a:pt x="469" y="253"/>
                  </a:lnTo>
                  <a:lnTo>
                    <a:pt x="469" y="253"/>
                  </a:lnTo>
                  <a:lnTo>
                    <a:pt x="469" y="257"/>
                  </a:lnTo>
                  <a:lnTo>
                    <a:pt x="465" y="257"/>
                  </a:lnTo>
                  <a:lnTo>
                    <a:pt x="465" y="257"/>
                  </a:lnTo>
                  <a:lnTo>
                    <a:pt x="465" y="262"/>
                  </a:lnTo>
                  <a:lnTo>
                    <a:pt x="465" y="266"/>
                  </a:lnTo>
                  <a:lnTo>
                    <a:pt x="465" y="266"/>
                  </a:lnTo>
                  <a:lnTo>
                    <a:pt x="469" y="266"/>
                  </a:lnTo>
                  <a:lnTo>
                    <a:pt x="469" y="266"/>
                  </a:lnTo>
                  <a:lnTo>
                    <a:pt x="469" y="266"/>
                  </a:lnTo>
                  <a:lnTo>
                    <a:pt x="469" y="262"/>
                  </a:lnTo>
                  <a:lnTo>
                    <a:pt x="469" y="262"/>
                  </a:lnTo>
                  <a:lnTo>
                    <a:pt x="469" y="262"/>
                  </a:lnTo>
                  <a:lnTo>
                    <a:pt x="469" y="262"/>
                  </a:lnTo>
                  <a:lnTo>
                    <a:pt x="469" y="266"/>
                  </a:lnTo>
                  <a:lnTo>
                    <a:pt x="469" y="266"/>
                  </a:lnTo>
                  <a:lnTo>
                    <a:pt x="469" y="266"/>
                  </a:lnTo>
                  <a:lnTo>
                    <a:pt x="469" y="270"/>
                  </a:lnTo>
                  <a:lnTo>
                    <a:pt x="469" y="270"/>
                  </a:lnTo>
                  <a:lnTo>
                    <a:pt x="465" y="270"/>
                  </a:lnTo>
                  <a:lnTo>
                    <a:pt x="465" y="270"/>
                  </a:lnTo>
                  <a:lnTo>
                    <a:pt x="465" y="270"/>
                  </a:lnTo>
                  <a:lnTo>
                    <a:pt x="460" y="270"/>
                  </a:lnTo>
                  <a:lnTo>
                    <a:pt x="460" y="270"/>
                  </a:lnTo>
                  <a:lnTo>
                    <a:pt x="465" y="275"/>
                  </a:lnTo>
                  <a:lnTo>
                    <a:pt x="465" y="275"/>
                  </a:lnTo>
                  <a:lnTo>
                    <a:pt x="465" y="275"/>
                  </a:lnTo>
                  <a:lnTo>
                    <a:pt x="465" y="275"/>
                  </a:lnTo>
                  <a:lnTo>
                    <a:pt x="465" y="270"/>
                  </a:lnTo>
                  <a:lnTo>
                    <a:pt x="474" y="270"/>
                  </a:lnTo>
                  <a:lnTo>
                    <a:pt x="474" y="266"/>
                  </a:lnTo>
                  <a:lnTo>
                    <a:pt x="478" y="266"/>
                  </a:lnTo>
                  <a:lnTo>
                    <a:pt x="491" y="266"/>
                  </a:lnTo>
                  <a:lnTo>
                    <a:pt x="491" y="266"/>
                  </a:lnTo>
                  <a:lnTo>
                    <a:pt x="491" y="266"/>
                  </a:lnTo>
                  <a:lnTo>
                    <a:pt x="491" y="266"/>
                  </a:lnTo>
                  <a:lnTo>
                    <a:pt x="491" y="266"/>
                  </a:lnTo>
                  <a:lnTo>
                    <a:pt x="491" y="266"/>
                  </a:lnTo>
                  <a:lnTo>
                    <a:pt x="496" y="266"/>
                  </a:lnTo>
                  <a:lnTo>
                    <a:pt x="496" y="266"/>
                  </a:lnTo>
                  <a:lnTo>
                    <a:pt x="496" y="266"/>
                  </a:lnTo>
                  <a:lnTo>
                    <a:pt x="496" y="262"/>
                  </a:lnTo>
                  <a:lnTo>
                    <a:pt x="496" y="262"/>
                  </a:lnTo>
                  <a:lnTo>
                    <a:pt x="496" y="262"/>
                  </a:lnTo>
                  <a:lnTo>
                    <a:pt x="496" y="257"/>
                  </a:lnTo>
                  <a:lnTo>
                    <a:pt x="496" y="257"/>
                  </a:lnTo>
                  <a:lnTo>
                    <a:pt x="496" y="257"/>
                  </a:lnTo>
                  <a:lnTo>
                    <a:pt x="496" y="257"/>
                  </a:lnTo>
                  <a:lnTo>
                    <a:pt x="496" y="253"/>
                  </a:lnTo>
                  <a:lnTo>
                    <a:pt x="496" y="253"/>
                  </a:lnTo>
                  <a:lnTo>
                    <a:pt x="496" y="253"/>
                  </a:lnTo>
                  <a:lnTo>
                    <a:pt x="500" y="248"/>
                  </a:lnTo>
                  <a:lnTo>
                    <a:pt x="500" y="244"/>
                  </a:lnTo>
                  <a:lnTo>
                    <a:pt x="500" y="244"/>
                  </a:lnTo>
                  <a:lnTo>
                    <a:pt x="500" y="239"/>
                  </a:lnTo>
                  <a:lnTo>
                    <a:pt x="500" y="239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87" name="Freeform 18"/>
            <p:cNvSpPr>
              <a:spLocks noEditPoints="1"/>
            </p:cNvSpPr>
            <p:nvPr/>
          </p:nvSpPr>
          <p:spPr bwMode="auto">
            <a:xfrm>
              <a:off x="1693863" y="5575301"/>
              <a:ext cx="274637" cy="555625"/>
            </a:xfrm>
            <a:custGeom>
              <a:avLst/>
              <a:gdLst>
                <a:gd name="T0" fmla="*/ 27 w 173"/>
                <a:gd name="T1" fmla="*/ 226 h 350"/>
                <a:gd name="T2" fmla="*/ 168 w 173"/>
                <a:gd name="T3" fmla="*/ 35 h 350"/>
                <a:gd name="T4" fmla="*/ 155 w 173"/>
                <a:gd name="T5" fmla="*/ 26 h 350"/>
                <a:gd name="T6" fmla="*/ 146 w 173"/>
                <a:gd name="T7" fmla="*/ 13 h 350"/>
                <a:gd name="T8" fmla="*/ 124 w 173"/>
                <a:gd name="T9" fmla="*/ 9 h 350"/>
                <a:gd name="T10" fmla="*/ 111 w 173"/>
                <a:gd name="T11" fmla="*/ 22 h 350"/>
                <a:gd name="T12" fmla="*/ 102 w 173"/>
                <a:gd name="T13" fmla="*/ 22 h 350"/>
                <a:gd name="T14" fmla="*/ 89 w 173"/>
                <a:gd name="T15" fmla="*/ 18 h 350"/>
                <a:gd name="T16" fmla="*/ 76 w 173"/>
                <a:gd name="T17" fmla="*/ 22 h 350"/>
                <a:gd name="T18" fmla="*/ 76 w 173"/>
                <a:gd name="T19" fmla="*/ 9 h 350"/>
                <a:gd name="T20" fmla="*/ 67 w 173"/>
                <a:gd name="T21" fmla="*/ 0 h 350"/>
                <a:gd name="T22" fmla="*/ 45 w 173"/>
                <a:gd name="T23" fmla="*/ 9 h 350"/>
                <a:gd name="T24" fmla="*/ 36 w 173"/>
                <a:gd name="T25" fmla="*/ 31 h 350"/>
                <a:gd name="T26" fmla="*/ 40 w 173"/>
                <a:gd name="T27" fmla="*/ 44 h 350"/>
                <a:gd name="T28" fmla="*/ 40 w 173"/>
                <a:gd name="T29" fmla="*/ 62 h 350"/>
                <a:gd name="T30" fmla="*/ 45 w 173"/>
                <a:gd name="T31" fmla="*/ 97 h 350"/>
                <a:gd name="T32" fmla="*/ 45 w 173"/>
                <a:gd name="T33" fmla="*/ 97 h 350"/>
                <a:gd name="T34" fmla="*/ 45 w 173"/>
                <a:gd name="T35" fmla="*/ 102 h 350"/>
                <a:gd name="T36" fmla="*/ 40 w 173"/>
                <a:gd name="T37" fmla="*/ 102 h 350"/>
                <a:gd name="T38" fmla="*/ 40 w 173"/>
                <a:gd name="T39" fmla="*/ 141 h 350"/>
                <a:gd name="T40" fmla="*/ 18 w 173"/>
                <a:gd name="T41" fmla="*/ 181 h 350"/>
                <a:gd name="T42" fmla="*/ 9 w 173"/>
                <a:gd name="T43" fmla="*/ 195 h 350"/>
                <a:gd name="T44" fmla="*/ 0 w 173"/>
                <a:gd name="T45" fmla="*/ 230 h 350"/>
                <a:gd name="T46" fmla="*/ 22 w 173"/>
                <a:gd name="T47" fmla="*/ 234 h 350"/>
                <a:gd name="T48" fmla="*/ 40 w 173"/>
                <a:gd name="T49" fmla="*/ 212 h 350"/>
                <a:gd name="T50" fmla="*/ 31 w 173"/>
                <a:gd name="T51" fmla="*/ 230 h 350"/>
                <a:gd name="T52" fmla="*/ 22 w 173"/>
                <a:gd name="T53" fmla="*/ 239 h 350"/>
                <a:gd name="T54" fmla="*/ 14 w 173"/>
                <a:gd name="T55" fmla="*/ 257 h 350"/>
                <a:gd name="T56" fmla="*/ 40 w 173"/>
                <a:gd name="T57" fmla="*/ 252 h 350"/>
                <a:gd name="T58" fmla="*/ 40 w 173"/>
                <a:gd name="T59" fmla="*/ 252 h 350"/>
                <a:gd name="T60" fmla="*/ 31 w 173"/>
                <a:gd name="T61" fmla="*/ 252 h 350"/>
                <a:gd name="T62" fmla="*/ 31 w 173"/>
                <a:gd name="T63" fmla="*/ 288 h 350"/>
                <a:gd name="T64" fmla="*/ 40 w 173"/>
                <a:gd name="T65" fmla="*/ 305 h 350"/>
                <a:gd name="T66" fmla="*/ 36 w 173"/>
                <a:gd name="T67" fmla="*/ 332 h 350"/>
                <a:gd name="T68" fmla="*/ 31 w 173"/>
                <a:gd name="T69" fmla="*/ 350 h 350"/>
                <a:gd name="T70" fmla="*/ 45 w 173"/>
                <a:gd name="T71" fmla="*/ 341 h 350"/>
                <a:gd name="T72" fmla="*/ 80 w 173"/>
                <a:gd name="T73" fmla="*/ 345 h 350"/>
                <a:gd name="T74" fmla="*/ 93 w 173"/>
                <a:gd name="T75" fmla="*/ 350 h 350"/>
                <a:gd name="T76" fmla="*/ 111 w 173"/>
                <a:gd name="T77" fmla="*/ 336 h 350"/>
                <a:gd name="T78" fmla="*/ 107 w 173"/>
                <a:gd name="T79" fmla="*/ 314 h 350"/>
                <a:gd name="T80" fmla="*/ 107 w 173"/>
                <a:gd name="T81" fmla="*/ 310 h 350"/>
                <a:gd name="T82" fmla="*/ 120 w 173"/>
                <a:gd name="T83" fmla="*/ 283 h 350"/>
                <a:gd name="T84" fmla="*/ 133 w 173"/>
                <a:gd name="T85" fmla="*/ 279 h 350"/>
                <a:gd name="T86" fmla="*/ 129 w 173"/>
                <a:gd name="T87" fmla="*/ 270 h 350"/>
                <a:gd name="T88" fmla="*/ 115 w 173"/>
                <a:gd name="T89" fmla="*/ 252 h 350"/>
                <a:gd name="T90" fmla="*/ 120 w 173"/>
                <a:gd name="T91" fmla="*/ 234 h 350"/>
                <a:gd name="T92" fmla="*/ 129 w 173"/>
                <a:gd name="T93" fmla="*/ 226 h 350"/>
                <a:gd name="T94" fmla="*/ 129 w 173"/>
                <a:gd name="T95" fmla="*/ 208 h 350"/>
                <a:gd name="T96" fmla="*/ 120 w 173"/>
                <a:gd name="T97" fmla="*/ 199 h 350"/>
                <a:gd name="T98" fmla="*/ 111 w 173"/>
                <a:gd name="T99" fmla="*/ 181 h 350"/>
                <a:gd name="T100" fmla="*/ 120 w 173"/>
                <a:gd name="T101" fmla="*/ 168 h 350"/>
                <a:gd name="T102" fmla="*/ 133 w 173"/>
                <a:gd name="T103" fmla="*/ 159 h 350"/>
                <a:gd name="T104" fmla="*/ 138 w 173"/>
                <a:gd name="T105" fmla="*/ 150 h 350"/>
                <a:gd name="T106" fmla="*/ 133 w 173"/>
                <a:gd name="T107" fmla="*/ 133 h 350"/>
                <a:gd name="T108" fmla="*/ 142 w 173"/>
                <a:gd name="T109" fmla="*/ 124 h 350"/>
                <a:gd name="T110" fmla="*/ 142 w 173"/>
                <a:gd name="T111" fmla="*/ 102 h 350"/>
                <a:gd name="T112" fmla="*/ 142 w 173"/>
                <a:gd name="T113" fmla="*/ 88 h 350"/>
                <a:gd name="T114" fmla="*/ 142 w 173"/>
                <a:gd name="T115" fmla="*/ 75 h 350"/>
                <a:gd name="T116" fmla="*/ 160 w 173"/>
                <a:gd name="T117" fmla="*/ 57 h 350"/>
                <a:gd name="T118" fmla="*/ 168 w 173"/>
                <a:gd name="T119" fmla="*/ 4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3" h="350">
                  <a:moveTo>
                    <a:pt x="89" y="350"/>
                  </a:moveTo>
                  <a:lnTo>
                    <a:pt x="89" y="350"/>
                  </a:lnTo>
                  <a:lnTo>
                    <a:pt x="84" y="350"/>
                  </a:lnTo>
                  <a:lnTo>
                    <a:pt x="84" y="350"/>
                  </a:lnTo>
                  <a:lnTo>
                    <a:pt x="84" y="350"/>
                  </a:lnTo>
                  <a:lnTo>
                    <a:pt x="84" y="350"/>
                  </a:lnTo>
                  <a:lnTo>
                    <a:pt x="84" y="350"/>
                  </a:lnTo>
                  <a:lnTo>
                    <a:pt x="84" y="350"/>
                  </a:lnTo>
                  <a:lnTo>
                    <a:pt x="84" y="350"/>
                  </a:lnTo>
                  <a:lnTo>
                    <a:pt x="89" y="350"/>
                  </a:lnTo>
                  <a:lnTo>
                    <a:pt x="89" y="350"/>
                  </a:lnTo>
                  <a:lnTo>
                    <a:pt x="89" y="350"/>
                  </a:lnTo>
                  <a:lnTo>
                    <a:pt x="89" y="350"/>
                  </a:lnTo>
                  <a:lnTo>
                    <a:pt x="89" y="350"/>
                  </a:lnTo>
                  <a:close/>
                  <a:moveTo>
                    <a:pt x="27" y="226"/>
                  </a:moveTo>
                  <a:lnTo>
                    <a:pt x="27" y="226"/>
                  </a:lnTo>
                  <a:lnTo>
                    <a:pt x="27" y="226"/>
                  </a:lnTo>
                  <a:lnTo>
                    <a:pt x="27" y="226"/>
                  </a:lnTo>
                  <a:lnTo>
                    <a:pt x="27" y="226"/>
                  </a:lnTo>
                  <a:lnTo>
                    <a:pt x="27" y="226"/>
                  </a:lnTo>
                  <a:lnTo>
                    <a:pt x="22" y="226"/>
                  </a:lnTo>
                  <a:lnTo>
                    <a:pt x="22" y="226"/>
                  </a:lnTo>
                  <a:lnTo>
                    <a:pt x="22" y="230"/>
                  </a:lnTo>
                  <a:lnTo>
                    <a:pt x="22" y="230"/>
                  </a:lnTo>
                  <a:lnTo>
                    <a:pt x="22" y="226"/>
                  </a:lnTo>
                  <a:lnTo>
                    <a:pt x="27" y="226"/>
                  </a:lnTo>
                  <a:close/>
                  <a:moveTo>
                    <a:pt x="173" y="40"/>
                  </a:moveTo>
                  <a:lnTo>
                    <a:pt x="173" y="35"/>
                  </a:lnTo>
                  <a:lnTo>
                    <a:pt x="173" y="35"/>
                  </a:lnTo>
                  <a:lnTo>
                    <a:pt x="168" y="35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0" y="31"/>
                  </a:lnTo>
                  <a:lnTo>
                    <a:pt x="160" y="31"/>
                  </a:lnTo>
                  <a:lnTo>
                    <a:pt x="160" y="31"/>
                  </a:lnTo>
                  <a:lnTo>
                    <a:pt x="160" y="31"/>
                  </a:lnTo>
                  <a:lnTo>
                    <a:pt x="160" y="35"/>
                  </a:lnTo>
                  <a:lnTo>
                    <a:pt x="160" y="35"/>
                  </a:lnTo>
                  <a:lnTo>
                    <a:pt x="155" y="31"/>
                  </a:lnTo>
                  <a:lnTo>
                    <a:pt x="155" y="31"/>
                  </a:lnTo>
                  <a:lnTo>
                    <a:pt x="155" y="31"/>
                  </a:lnTo>
                  <a:lnTo>
                    <a:pt x="155" y="31"/>
                  </a:lnTo>
                  <a:lnTo>
                    <a:pt x="155" y="26"/>
                  </a:lnTo>
                  <a:lnTo>
                    <a:pt x="155" y="26"/>
                  </a:lnTo>
                  <a:lnTo>
                    <a:pt x="155" y="26"/>
                  </a:lnTo>
                  <a:lnTo>
                    <a:pt x="155" y="26"/>
                  </a:lnTo>
                  <a:lnTo>
                    <a:pt x="155" y="26"/>
                  </a:lnTo>
                  <a:lnTo>
                    <a:pt x="155" y="26"/>
                  </a:lnTo>
                  <a:lnTo>
                    <a:pt x="155" y="18"/>
                  </a:lnTo>
                  <a:lnTo>
                    <a:pt x="160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38" y="13"/>
                  </a:lnTo>
                  <a:lnTo>
                    <a:pt x="138" y="13"/>
                  </a:lnTo>
                  <a:lnTo>
                    <a:pt x="133" y="13"/>
                  </a:lnTo>
                  <a:lnTo>
                    <a:pt x="133" y="13"/>
                  </a:lnTo>
                  <a:lnTo>
                    <a:pt x="133" y="13"/>
                  </a:lnTo>
                  <a:lnTo>
                    <a:pt x="133" y="13"/>
                  </a:lnTo>
                  <a:lnTo>
                    <a:pt x="129" y="13"/>
                  </a:lnTo>
                  <a:lnTo>
                    <a:pt x="129" y="13"/>
                  </a:lnTo>
                  <a:lnTo>
                    <a:pt x="129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1" y="22"/>
                  </a:lnTo>
                  <a:lnTo>
                    <a:pt x="111" y="22"/>
                  </a:lnTo>
                  <a:lnTo>
                    <a:pt x="111" y="22"/>
                  </a:lnTo>
                  <a:lnTo>
                    <a:pt x="111" y="22"/>
                  </a:lnTo>
                  <a:lnTo>
                    <a:pt x="111" y="22"/>
                  </a:lnTo>
                  <a:lnTo>
                    <a:pt x="111" y="22"/>
                  </a:lnTo>
                  <a:lnTo>
                    <a:pt x="111" y="22"/>
                  </a:lnTo>
                  <a:lnTo>
                    <a:pt x="107" y="18"/>
                  </a:lnTo>
                  <a:lnTo>
                    <a:pt x="107" y="18"/>
                  </a:lnTo>
                  <a:lnTo>
                    <a:pt x="107" y="18"/>
                  </a:lnTo>
                  <a:lnTo>
                    <a:pt x="107" y="18"/>
                  </a:lnTo>
                  <a:lnTo>
                    <a:pt x="107" y="18"/>
                  </a:lnTo>
                  <a:lnTo>
                    <a:pt x="107" y="18"/>
                  </a:lnTo>
                  <a:lnTo>
                    <a:pt x="107" y="18"/>
                  </a:lnTo>
                  <a:lnTo>
                    <a:pt x="107" y="18"/>
                  </a:lnTo>
                  <a:lnTo>
                    <a:pt x="107" y="22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102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3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22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71" y="18"/>
                  </a:lnTo>
                  <a:lnTo>
                    <a:pt x="71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3"/>
                  </a:lnTo>
                  <a:lnTo>
                    <a:pt x="71" y="13"/>
                  </a:lnTo>
                  <a:lnTo>
                    <a:pt x="71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5" y="4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45" y="26"/>
                  </a:lnTo>
                  <a:lnTo>
                    <a:pt x="45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36" y="35"/>
                  </a:lnTo>
                  <a:lnTo>
                    <a:pt x="36" y="35"/>
                  </a:lnTo>
                  <a:lnTo>
                    <a:pt x="36" y="35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5" y="66"/>
                  </a:lnTo>
                  <a:lnTo>
                    <a:pt x="45" y="66"/>
                  </a:lnTo>
                  <a:lnTo>
                    <a:pt x="45" y="66"/>
                  </a:lnTo>
                  <a:lnTo>
                    <a:pt x="45" y="71"/>
                  </a:lnTo>
                  <a:lnTo>
                    <a:pt x="45" y="71"/>
                  </a:lnTo>
                  <a:lnTo>
                    <a:pt x="45" y="71"/>
                  </a:lnTo>
                  <a:lnTo>
                    <a:pt x="45" y="75"/>
                  </a:lnTo>
                  <a:lnTo>
                    <a:pt x="45" y="79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88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0" y="102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0" y="110"/>
                  </a:lnTo>
                  <a:lnTo>
                    <a:pt x="40" y="115"/>
                  </a:lnTo>
                  <a:lnTo>
                    <a:pt x="36" y="128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7"/>
                  </a:lnTo>
                  <a:lnTo>
                    <a:pt x="31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37"/>
                  </a:lnTo>
                  <a:lnTo>
                    <a:pt x="36" y="141"/>
                  </a:lnTo>
                  <a:lnTo>
                    <a:pt x="27" y="159"/>
                  </a:lnTo>
                  <a:lnTo>
                    <a:pt x="22" y="168"/>
                  </a:lnTo>
                  <a:lnTo>
                    <a:pt x="22" y="172"/>
                  </a:lnTo>
                  <a:lnTo>
                    <a:pt x="22" y="172"/>
                  </a:lnTo>
                  <a:lnTo>
                    <a:pt x="22" y="177"/>
                  </a:lnTo>
                  <a:lnTo>
                    <a:pt x="22" y="177"/>
                  </a:lnTo>
                  <a:lnTo>
                    <a:pt x="22" y="177"/>
                  </a:lnTo>
                  <a:lnTo>
                    <a:pt x="22" y="181"/>
                  </a:lnTo>
                  <a:lnTo>
                    <a:pt x="22" y="181"/>
                  </a:lnTo>
                  <a:lnTo>
                    <a:pt x="18" y="181"/>
                  </a:lnTo>
                  <a:lnTo>
                    <a:pt x="18" y="181"/>
                  </a:lnTo>
                  <a:lnTo>
                    <a:pt x="18" y="181"/>
                  </a:lnTo>
                  <a:lnTo>
                    <a:pt x="18" y="186"/>
                  </a:lnTo>
                  <a:lnTo>
                    <a:pt x="14" y="186"/>
                  </a:lnTo>
                  <a:lnTo>
                    <a:pt x="18" y="186"/>
                  </a:lnTo>
                  <a:lnTo>
                    <a:pt x="18" y="190"/>
                  </a:lnTo>
                  <a:lnTo>
                    <a:pt x="18" y="190"/>
                  </a:lnTo>
                  <a:lnTo>
                    <a:pt x="14" y="190"/>
                  </a:lnTo>
                  <a:lnTo>
                    <a:pt x="14" y="186"/>
                  </a:lnTo>
                  <a:lnTo>
                    <a:pt x="14" y="186"/>
                  </a:lnTo>
                  <a:lnTo>
                    <a:pt x="14" y="190"/>
                  </a:lnTo>
                  <a:lnTo>
                    <a:pt x="9" y="190"/>
                  </a:lnTo>
                  <a:lnTo>
                    <a:pt x="5" y="190"/>
                  </a:lnTo>
                  <a:lnTo>
                    <a:pt x="5" y="190"/>
                  </a:lnTo>
                  <a:lnTo>
                    <a:pt x="5" y="190"/>
                  </a:lnTo>
                  <a:lnTo>
                    <a:pt x="9" y="195"/>
                  </a:lnTo>
                  <a:lnTo>
                    <a:pt x="9" y="195"/>
                  </a:lnTo>
                  <a:lnTo>
                    <a:pt x="9" y="199"/>
                  </a:lnTo>
                  <a:lnTo>
                    <a:pt x="9" y="199"/>
                  </a:lnTo>
                  <a:lnTo>
                    <a:pt x="9" y="203"/>
                  </a:lnTo>
                  <a:lnTo>
                    <a:pt x="9" y="203"/>
                  </a:lnTo>
                  <a:lnTo>
                    <a:pt x="9" y="208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7"/>
                  </a:lnTo>
                  <a:lnTo>
                    <a:pt x="5" y="221"/>
                  </a:lnTo>
                  <a:lnTo>
                    <a:pt x="5" y="226"/>
                  </a:lnTo>
                  <a:lnTo>
                    <a:pt x="0" y="226"/>
                  </a:lnTo>
                  <a:lnTo>
                    <a:pt x="0" y="230"/>
                  </a:lnTo>
                  <a:lnTo>
                    <a:pt x="0" y="230"/>
                  </a:lnTo>
                  <a:lnTo>
                    <a:pt x="0" y="230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5" y="234"/>
                  </a:lnTo>
                  <a:lnTo>
                    <a:pt x="5" y="234"/>
                  </a:lnTo>
                  <a:lnTo>
                    <a:pt x="5" y="234"/>
                  </a:lnTo>
                  <a:lnTo>
                    <a:pt x="9" y="239"/>
                  </a:lnTo>
                  <a:lnTo>
                    <a:pt x="9" y="239"/>
                  </a:lnTo>
                  <a:lnTo>
                    <a:pt x="14" y="239"/>
                  </a:lnTo>
                  <a:lnTo>
                    <a:pt x="14" y="234"/>
                  </a:lnTo>
                  <a:lnTo>
                    <a:pt x="18" y="239"/>
                  </a:lnTo>
                  <a:lnTo>
                    <a:pt x="18" y="234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22" y="230"/>
                  </a:lnTo>
                  <a:lnTo>
                    <a:pt x="22" y="230"/>
                  </a:lnTo>
                  <a:lnTo>
                    <a:pt x="22" y="230"/>
                  </a:lnTo>
                  <a:lnTo>
                    <a:pt x="22" y="226"/>
                  </a:lnTo>
                  <a:lnTo>
                    <a:pt x="22" y="226"/>
                  </a:lnTo>
                  <a:lnTo>
                    <a:pt x="22" y="226"/>
                  </a:lnTo>
                  <a:lnTo>
                    <a:pt x="27" y="221"/>
                  </a:lnTo>
                  <a:lnTo>
                    <a:pt x="31" y="217"/>
                  </a:lnTo>
                  <a:lnTo>
                    <a:pt x="31" y="212"/>
                  </a:lnTo>
                  <a:lnTo>
                    <a:pt x="31" y="212"/>
                  </a:lnTo>
                  <a:lnTo>
                    <a:pt x="36" y="212"/>
                  </a:lnTo>
                  <a:lnTo>
                    <a:pt x="40" y="212"/>
                  </a:lnTo>
                  <a:lnTo>
                    <a:pt x="40" y="208"/>
                  </a:lnTo>
                  <a:lnTo>
                    <a:pt x="40" y="212"/>
                  </a:lnTo>
                  <a:lnTo>
                    <a:pt x="40" y="212"/>
                  </a:lnTo>
                  <a:lnTo>
                    <a:pt x="36" y="212"/>
                  </a:lnTo>
                  <a:lnTo>
                    <a:pt x="36" y="212"/>
                  </a:lnTo>
                  <a:lnTo>
                    <a:pt x="31" y="212"/>
                  </a:lnTo>
                  <a:lnTo>
                    <a:pt x="31" y="212"/>
                  </a:lnTo>
                  <a:lnTo>
                    <a:pt x="31" y="217"/>
                  </a:lnTo>
                  <a:lnTo>
                    <a:pt x="27" y="217"/>
                  </a:lnTo>
                  <a:lnTo>
                    <a:pt x="27" y="221"/>
                  </a:lnTo>
                  <a:lnTo>
                    <a:pt x="27" y="226"/>
                  </a:lnTo>
                  <a:lnTo>
                    <a:pt x="27" y="226"/>
                  </a:lnTo>
                  <a:lnTo>
                    <a:pt x="27" y="226"/>
                  </a:lnTo>
                  <a:lnTo>
                    <a:pt x="31" y="226"/>
                  </a:lnTo>
                  <a:lnTo>
                    <a:pt x="27" y="226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27" y="234"/>
                  </a:lnTo>
                  <a:lnTo>
                    <a:pt x="27" y="234"/>
                  </a:lnTo>
                  <a:lnTo>
                    <a:pt x="27" y="234"/>
                  </a:lnTo>
                  <a:lnTo>
                    <a:pt x="27" y="234"/>
                  </a:lnTo>
                  <a:lnTo>
                    <a:pt x="27" y="239"/>
                  </a:lnTo>
                  <a:lnTo>
                    <a:pt x="22" y="239"/>
                  </a:lnTo>
                  <a:lnTo>
                    <a:pt x="22" y="239"/>
                  </a:lnTo>
                  <a:lnTo>
                    <a:pt x="22" y="239"/>
                  </a:lnTo>
                  <a:lnTo>
                    <a:pt x="22" y="239"/>
                  </a:lnTo>
                  <a:lnTo>
                    <a:pt x="22" y="239"/>
                  </a:lnTo>
                  <a:lnTo>
                    <a:pt x="22" y="239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8" y="243"/>
                  </a:lnTo>
                  <a:lnTo>
                    <a:pt x="18" y="248"/>
                  </a:lnTo>
                  <a:lnTo>
                    <a:pt x="18" y="248"/>
                  </a:lnTo>
                  <a:lnTo>
                    <a:pt x="18" y="252"/>
                  </a:lnTo>
                  <a:lnTo>
                    <a:pt x="18" y="252"/>
                  </a:lnTo>
                  <a:lnTo>
                    <a:pt x="14" y="252"/>
                  </a:lnTo>
                  <a:lnTo>
                    <a:pt x="14" y="252"/>
                  </a:lnTo>
                  <a:lnTo>
                    <a:pt x="14" y="257"/>
                  </a:lnTo>
                  <a:lnTo>
                    <a:pt x="14" y="257"/>
                  </a:lnTo>
                  <a:lnTo>
                    <a:pt x="14" y="257"/>
                  </a:lnTo>
                  <a:lnTo>
                    <a:pt x="14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27" y="252"/>
                  </a:lnTo>
                  <a:lnTo>
                    <a:pt x="27" y="252"/>
                  </a:lnTo>
                  <a:lnTo>
                    <a:pt x="27" y="252"/>
                  </a:lnTo>
                  <a:lnTo>
                    <a:pt x="31" y="248"/>
                  </a:lnTo>
                  <a:lnTo>
                    <a:pt x="31" y="248"/>
                  </a:lnTo>
                  <a:lnTo>
                    <a:pt x="36" y="248"/>
                  </a:lnTo>
                  <a:lnTo>
                    <a:pt x="36" y="252"/>
                  </a:lnTo>
                  <a:lnTo>
                    <a:pt x="36" y="252"/>
                  </a:lnTo>
                  <a:lnTo>
                    <a:pt x="40" y="252"/>
                  </a:lnTo>
                  <a:lnTo>
                    <a:pt x="40" y="252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36" y="248"/>
                  </a:lnTo>
                  <a:lnTo>
                    <a:pt x="36" y="248"/>
                  </a:lnTo>
                  <a:lnTo>
                    <a:pt x="40" y="248"/>
                  </a:lnTo>
                  <a:lnTo>
                    <a:pt x="40" y="243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40" y="252"/>
                  </a:lnTo>
                  <a:lnTo>
                    <a:pt x="40" y="252"/>
                  </a:lnTo>
                  <a:lnTo>
                    <a:pt x="40" y="252"/>
                  </a:lnTo>
                  <a:lnTo>
                    <a:pt x="40" y="252"/>
                  </a:lnTo>
                  <a:lnTo>
                    <a:pt x="45" y="257"/>
                  </a:lnTo>
                  <a:lnTo>
                    <a:pt x="45" y="257"/>
                  </a:lnTo>
                  <a:lnTo>
                    <a:pt x="49" y="257"/>
                  </a:lnTo>
                  <a:lnTo>
                    <a:pt x="45" y="257"/>
                  </a:lnTo>
                  <a:lnTo>
                    <a:pt x="40" y="257"/>
                  </a:lnTo>
                  <a:lnTo>
                    <a:pt x="40" y="257"/>
                  </a:lnTo>
                  <a:lnTo>
                    <a:pt x="40" y="252"/>
                  </a:lnTo>
                  <a:lnTo>
                    <a:pt x="36" y="252"/>
                  </a:lnTo>
                  <a:lnTo>
                    <a:pt x="36" y="252"/>
                  </a:lnTo>
                  <a:lnTo>
                    <a:pt x="31" y="252"/>
                  </a:lnTo>
                  <a:lnTo>
                    <a:pt x="31" y="252"/>
                  </a:lnTo>
                  <a:lnTo>
                    <a:pt x="31" y="252"/>
                  </a:lnTo>
                  <a:lnTo>
                    <a:pt x="31" y="252"/>
                  </a:lnTo>
                  <a:lnTo>
                    <a:pt x="36" y="252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40" y="261"/>
                  </a:lnTo>
                  <a:lnTo>
                    <a:pt x="40" y="261"/>
                  </a:lnTo>
                  <a:lnTo>
                    <a:pt x="40" y="265"/>
                  </a:lnTo>
                  <a:lnTo>
                    <a:pt x="40" y="270"/>
                  </a:lnTo>
                  <a:lnTo>
                    <a:pt x="40" y="274"/>
                  </a:lnTo>
                  <a:lnTo>
                    <a:pt x="36" y="279"/>
                  </a:lnTo>
                  <a:lnTo>
                    <a:pt x="36" y="283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1" y="288"/>
                  </a:lnTo>
                  <a:lnTo>
                    <a:pt x="31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40" y="292"/>
                  </a:lnTo>
                  <a:lnTo>
                    <a:pt x="40" y="292"/>
                  </a:lnTo>
                  <a:lnTo>
                    <a:pt x="36" y="296"/>
                  </a:lnTo>
                  <a:lnTo>
                    <a:pt x="36" y="301"/>
                  </a:lnTo>
                  <a:lnTo>
                    <a:pt x="36" y="301"/>
                  </a:lnTo>
                  <a:lnTo>
                    <a:pt x="40" y="301"/>
                  </a:lnTo>
                  <a:lnTo>
                    <a:pt x="40" y="301"/>
                  </a:lnTo>
                  <a:lnTo>
                    <a:pt x="40" y="301"/>
                  </a:lnTo>
                  <a:lnTo>
                    <a:pt x="40" y="301"/>
                  </a:lnTo>
                  <a:lnTo>
                    <a:pt x="40" y="301"/>
                  </a:lnTo>
                  <a:lnTo>
                    <a:pt x="40" y="301"/>
                  </a:lnTo>
                  <a:lnTo>
                    <a:pt x="40" y="305"/>
                  </a:lnTo>
                  <a:lnTo>
                    <a:pt x="36" y="305"/>
                  </a:lnTo>
                  <a:lnTo>
                    <a:pt x="36" y="305"/>
                  </a:lnTo>
                  <a:lnTo>
                    <a:pt x="36" y="310"/>
                  </a:lnTo>
                  <a:lnTo>
                    <a:pt x="36" y="310"/>
                  </a:lnTo>
                  <a:lnTo>
                    <a:pt x="36" y="310"/>
                  </a:lnTo>
                  <a:lnTo>
                    <a:pt x="36" y="314"/>
                  </a:lnTo>
                  <a:lnTo>
                    <a:pt x="40" y="314"/>
                  </a:lnTo>
                  <a:lnTo>
                    <a:pt x="40" y="319"/>
                  </a:lnTo>
                  <a:lnTo>
                    <a:pt x="36" y="319"/>
                  </a:lnTo>
                  <a:lnTo>
                    <a:pt x="36" y="323"/>
                  </a:lnTo>
                  <a:lnTo>
                    <a:pt x="36" y="323"/>
                  </a:lnTo>
                  <a:lnTo>
                    <a:pt x="36" y="327"/>
                  </a:lnTo>
                  <a:lnTo>
                    <a:pt x="36" y="327"/>
                  </a:lnTo>
                  <a:lnTo>
                    <a:pt x="36" y="327"/>
                  </a:lnTo>
                  <a:lnTo>
                    <a:pt x="36" y="332"/>
                  </a:lnTo>
                  <a:lnTo>
                    <a:pt x="36" y="332"/>
                  </a:lnTo>
                  <a:lnTo>
                    <a:pt x="36" y="336"/>
                  </a:lnTo>
                  <a:lnTo>
                    <a:pt x="31" y="336"/>
                  </a:lnTo>
                  <a:lnTo>
                    <a:pt x="31" y="336"/>
                  </a:lnTo>
                  <a:lnTo>
                    <a:pt x="31" y="336"/>
                  </a:lnTo>
                  <a:lnTo>
                    <a:pt x="31" y="341"/>
                  </a:lnTo>
                  <a:lnTo>
                    <a:pt x="31" y="341"/>
                  </a:lnTo>
                  <a:lnTo>
                    <a:pt x="27" y="345"/>
                  </a:lnTo>
                  <a:lnTo>
                    <a:pt x="27" y="345"/>
                  </a:lnTo>
                  <a:lnTo>
                    <a:pt x="27" y="345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1" y="345"/>
                  </a:lnTo>
                  <a:lnTo>
                    <a:pt x="36" y="345"/>
                  </a:lnTo>
                  <a:lnTo>
                    <a:pt x="36" y="345"/>
                  </a:lnTo>
                  <a:lnTo>
                    <a:pt x="36" y="345"/>
                  </a:lnTo>
                  <a:lnTo>
                    <a:pt x="36" y="345"/>
                  </a:lnTo>
                  <a:lnTo>
                    <a:pt x="40" y="345"/>
                  </a:lnTo>
                  <a:lnTo>
                    <a:pt x="40" y="345"/>
                  </a:lnTo>
                  <a:lnTo>
                    <a:pt x="40" y="345"/>
                  </a:lnTo>
                  <a:lnTo>
                    <a:pt x="40" y="345"/>
                  </a:lnTo>
                  <a:lnTo>
                    <a:pt x="45" y="345"/>
                  </a:lnTo>
                  <a:lnTo>
                    <a:pt x="45" y="341"/>
                  </a:lnTo>
                  <a:lnTo>
                    <a:pt x="45" y="341"/>
                  </a:lnTo>
                  <a:lnTo>
                    <a:pt x="49" y="341"/>
                  </a:lnTo>
                  <a:lnTo>
                    <a:pt x="49" y="341"/>
                  </a:lnTo>
                  <a:lnTo>
                    <a:pt x="53" y="341"/>
                  </a:lnTo>
                  <a:lnTo>
                    <a:pt x="53" y="345"/>
                  </a:lnTo>
                  <a:lnTo>
                    <a:pt x="53" y="345"/>
                  </a:lnTo>
                  <a:lnTo>
                    <a:pt x="58" y="345"/>
                  </a:lnTo>
                  <a:lnTo>
                    <a:pt x="58" y="345"/>
                  </a:lnTo>
                  <a:lnTo>
                    <a:pt x="62" y="345"/>
                  </a:lnTo>
                  <a:lnTo>
                    <a:pt x="62" y="345"/>
                  </a:lnTo>
                  <a:lnTo>
                    <a:pt x="67" y="345"/>
                  </a:lnTo>
                  <a:lnTo>
                    <a:pt x="67" y="345"/>
                  </a:lnTo>
                  <a:lnTo>
                    <a:pt x="71" y="345"/>
                  </a:lnTo>
                  <a:lnTo>
                    <a:pt x="71" y="345"/>
                  </a:lnTo>
                  <a:lnTo>
                    <a:pt x="76" y="345"/>
                  </a:lnTo>
                  <a:lnTo>
                    <a:pt x="80" y="345"/>
                  </a:lnTo>
                  <a:lnTo>
                    <a:pt x="80" y="350"/>
                  </a:lnTo>
                  <a:lnTo>
                    <a:pt x="80" y="350"/>
                  </a:lnTo>
                  <a:lnTo>
                    <a:pt x="80" y="350"/>
                  </a:lnTo>
                  <a:lnTo>
                    <a:pt x="80" y="350"/>
                  </a:lnTo>
                  <a:lnTo>
                    <a:pt x="80" y="350"/>
                  </a:lnTo>
                  <a:lnTo>
                    <a:pt x="80" y="350"/>
                  </a:lnTo>
                  <a:lnTo>
                    <a:pt x="80" y="350"/>
                  </a:lnTo>
                  <a:lnTo>
                    <a:pt x="84" y="350"/>
                  </a:lnTo>
                  <a:lnTo>
                    <a:pt x="84" y="350"/>
                  </a:lnTo>
                  <a:lnTo>
                    <a:pt x="84" y="350"/>
                  </a:lnTo>
                  <a:lnTo>
                    <a:pt x="89" y="350"/>
                  </a:lnTo>
                  <a:lnTo>
                    <a:pt x="89" y="350"/>
                  </a:lnTo>
                  <a:lnTo>
                    <a:pt x="89" y="350"/>
                  </a:lnTo>
                  <a:lnTo>
                    <a:pt x="89" y="350"/>
                  </a:lnTo>
                  <a:lnTo>
                    <a:pt x="93" y="350"/>
                  </a:lnTo>
                  <a:lnTo>
                    <a:pt x="98" y="341"/>
                  </a:lnTo>
                  <a:lnTo>
                    <a:pt x="98" y="341"/>
                  </a:lnTo>
                  <a:lnTo>
                    <a:pt x="102" y="341"/>
                  </a:lnTo>
                  <a:lnTo>
                    <a:pt x="102" y="341"/>
                  </a:lnTo>
                  <a:lnTo>
                    <a:pt x="107" y="336"/>
                  </a:lnTo>
                  <a:lnTo>
                    <a:pt x="107" y="336"/>
                  </a:lnTo>
                  <a:lnTo>
                    <a:pt x="107" y="336"/>
                  </a:lnTo>
                  <a:lnTo>
                    <a:pt x="111" y="336"/>
                  </a:lnTo>
                  <a:lnTo>
                    <a:pt x="111" y="336"/>
                  </a:lnTo>
                  <a:lnTo>
                    <a:pt x="111" y="341"/>
                  </a:lnTo>
                  <a:lnTo>
                    <a:pt x="111" y="336"/>
                  </a:lnTo>
                  <a:lnTo>
                    <a:pt x="111" y="336"/>
                  </a:lnTo>
                  <a:lnTo>
                    <a:pt x="111" y="336"/>
                  </a:lnTo>
                  <a:lnTo>
                    <a:pt x="111" y="336"/>
                  </a:lnTo>
                  <a:lnTo>
                    <a:pt x="111" y="336"/>
                  </a:lnTo>
                  <a:lnTo>
                    <a:pt x="111" y="336"/>
                  </a:lnTo>
                  <a:lnTo>
                    <a:pt x="111" y="332"/>
                  </a:lnTo>
                  <a:lnTo>
                    <a:pt x="111" y="332"/>
                  </a:lnTo>
                  <a:lnTo>
                    <a:pt x="111" y="332"/>
                  </a:lnTo>
                  <a:lnTo>
                    <a:pt x="111" y="327"/>
                  </a:lnTo>
                  <a:lnTo>
                    <a:pt x="111" y="323"/>
                  </a:lnTo>
                  <a:lnTo>
                    <a:pt x="107" y="323"/>
                  </a:lnTo>
                  <a:lnTo>
                    <a:pt x="107" y="323"/>
                  </a:lnTo>
                  <a:lnTo>
                    <a:pt x="107" y="319"/>
                  </a:lnTo>
                  <a:lnTo>
                    <a:pt x="107" y="319"/>
                  </a:lnTo>
                  <a:lnTo>
                    <a:pt x="107" y="319"/>
                  </a:lnTo>
                  <a:lnTo>
                    <a:pt x="107" y="319"/>
                  </a:lnTo>
                  <a:lnTo>
                    <a:pt x="107" y="314"/>
                  </a:lnTo>
                  <a:lnTo>
                    <a:pt x="107" y="314"/>
                  </a:lnTo>
                  <a:lnTo>
                    <a:pt x="107" y="314"/>
                  </a:lnTo>
                  <a:lnTo>
                    <a:pt x="107" y="314"/>
                  </a:lnTo>
                  <a:lnTo>
                    <a:pt x="107" y="314"/>
                  </a:lnTo>
                  <a:lnTo>
                    <a:pt x="107" y="314"/>
                  </a:lnTo>
                  <a:lnTo>
                    <a:pt x="107" y="314"/>
                  </a:lnTo>
                  <a:lnTo>
                    <a:pt x="107" y="314"/>
                  </a:lnTo>
                  <a:lnTo>
                    <a:pt x="107" y="314"/>
                  </a:lnTo>
                  <a:lnTo>
                    <a:pt x="107" y="314"/>
                  </a:lnTo>
                  <a:lnTo>
                    <a:pt x="107" y="310"/>
                  </a:lnTo>
                  <a:lnTo>
                    <a:pt x="107" y="310"/>
                  </a:lnTo>
                  <a:lnTo>
                    <a:pt x="107" y="310"/>
                  </a:lnTo>
                  <a:lnTo>
                    <a:pt x="107" y="310"/>
                  </a:lnTo>
                  <a:lnTo>
                    <a:pt x="107" y="310"/>
                  </a:lnTo>
                  <a:lnTo>
                    <a:pt x="107" y="310"/>
                  </a:lnTo>
                  <a:lnTo>
                    <a:pt x="107" y="310"/>
                  </a:lnTo>
                  <a:lnTo>
                    <a:pt x="107" y="310"/>
                  </a:lnTo>
                  <a:lnTo>
                    <a:pt x="107" y="305"/>
                  </a:lnTo>
                  <a:lnTo>
                    <a:pt x="107" y="305"/>
                  </a:lnTo>
                  <a:lnTo>
                    <a:pt x="107" y="305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5" y="296"/>
                  </a:lnTo>
                  <a:lnTo>
                    <a:pt x="115" y="292"/>
                  </a:lnTo>
                  <a:lnTo>
                    <a:pt x="115" y="292"/>
                  </a:lnTo>
                  <a:lnTo>
                    <a:pt x="120" y="288"/>
                  </a:lnTo>
                  <a:lnTo>
                    <a:pt x="120" y="288"/>
                  </a:lnTo>
                  <a:lnTo>
                    <a:pt x="120" y="288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4" y="283"/>
                  </a:lnTo>
                  <a:lnTo>
                    <a:pt x="124" y="283"/>
                  </a:lnTo>
                  <a:lnTo>
                    <a:pt x="124" y="283"/>
                  </a:lnTo>
                  <a:lnTo>
                    <a:pt x="124" y="283"/>
                  </a:lnTo>
                  <a:lnTo>
                    <a:pt x="124" y="283"/>
                  </a:lnTo>
                  <a:lnTo>
                    <a:pt x="124" y="283"/>
                  </a:lnTo>
                  <a:lnTo>
                    <a:pt x="124" y="283"/>
                  </a:lnTo>
                  <a:lnTo>
                    <a:pt x="124" y="279"/>
                  </a:lnTo>
                  <a:lnTo>
                    <a:pt x="129" y="279"/>
                  </a:lnTo>
                  <a:lnTo>
                    <a:pt x="129" y="283"/>
                  </a:lnTo>
                  <a:lnTo>
                    <a:pt x="133" y="283"/>
                  </a:lnTo>
                  <a:lnTo>
                    <a:pt x="133" y="279"/>
                  </a:lnTo>
                  <a:lnTo>
                    <a:pt x="133" y="279"/>
                  </a:lnTo>
                  <a:lnTo>
                    <a:pt x="133" y="279"/>
                  </a:lnTo>
                  <a:lnTo>
                    <a:pt x="133" y="274"/>
                  </a:lnTo>
                  <a:lnTo>
                    <a:pt x="133" y="274"/>
                  </a:lnTo>
                  <a:lnTo>
                    <a:pt x="133" y="270"/>
                  </a:lnTo>
                  <a:lnTo>
                    <a:pt x="138" y="270"/>
                  </a:lnTo>
                  <a:lnTo>
                    <a:pt x="138" y="270"/>
                  </a:lnTo>
                  <a:lnTo>
                    <a:pt x="133" y="270"/>
                  </a:lnTo>
                  <a:lnTo>
                    <a:pt x="133" y="270"/>
                  </a:lnTo>
                  <a:lnTo>
                    <a:pt x="133" y="270"/>
                  </a:lnTo>
                  <a:lnTo>
                    <a:pt x="133" y="270"/>
                  </a:lnTo>
                  <a:lnTo>
                    <a:pt x="133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24" y="270"/>
                  </a:lnTo>
                  <a:lnTo>
                    <a:pt x="124" y="265"/>
                  </a:lnTo>
                  <a:lnTo>
                    <a:pt x="124" y="265"/>
                  </a:lnTo>
                  <a:lnTo>
                    <a:pt x="124" y="265"/>
                  </a:lnTo>
                  <a:lnTo>
                    <a:pt x="124" y="265"/>
                  </a:lnTo>
                  <a:lnTo>
                    <a:pt x="124" y="265"/>
                  </a:lnTo>
                  <a:lnTo>
                    <a:pt x="120" y="261"/>
                  </a:lnTo>
                  <a:lnTo>
                    <a:pt x="120" y="261"/>
                  </a:lnTo>
                  <a:lnTo>
                    <a:pt x="115" y="257"/>
                  </a:lnTo>
                  <a:lnTo>
                    <a:pt x="115" y="252"/>
                  </a:lnTo>
                  <a:lnTo>
                    <a:pt x="115" y="252"/>
                  </a:lnTo>
                  <a:lnTo>
                    <a:pt x="115" y="252"/>
                  </a:lnTo>
                  <a:lnTo>
                    <a:pt x="115" y="252"/>
                  </a:lnTo>
                  <a:lnTo>
                    <a:pt x="115" y="252"/>
                  </a:lnTo>
                  <a:lnTo>
                    <a:pt x="115" y="252"/>
                  </a:lnTo>
                  <a:lnTo>
                    <a:pt x="115" y="248"/>
                  </a:lnTo>
                  <a:lnTo>
                    <a:pt x="115" y="248"/>
                  </a:lnTo>
                  <a:lnTo>
                    <a:pt x="120" y="243"/>
                  </a:lnTo>
                  <a:lnTo>
                    <a:pt x="120" y="243"/>
                  </a:lnTo>
                  <a:lnTo>
                    <a:pt x="120" y="243"/>
                  </a:lnTo>
                  <a:lnTo>
                    <a:pt x="120" y="243"/>
                  </a:lnTo>
                  <a:lnTo>
                    <a:pt x="120" y="239"/>
                  </a:lnTo>
                  <a:lnTo>
                    <a:pt x="115" y="239"/>
                  </a:lnTo>
                  <a:lnTo>
                    <a:pt x="115" y="239"/>
                  </a:lnTo>
                  <a:lnTo>
                    <a:pt x="115" y="239"/>
                  </a:lnTo>
                  <a:lnTo>
                    <a:pt x="115" y="239"/>
                  </a:lnTo>
                  <a:lnTo>
                    <a:pt x="120" y="234"/>
                  </a:lnTo>
                  <a:lnTo>
                    <a:pt x="120" y="234"/>
                  </a:lnTo>
                  <a:lnTo>
                    <a:pt x="120" y="234"/>
                  </a:lnTo>
                  <a:lnTo>
                    <a:pt x="120" y="234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4" y="230"/>
                  </a:lnTo>
                  <a:lnTo>
                    <a:pt x="124" y="230"/>
                  </a:lnTo>
                  <a:lnTo>
                    <a:pt x="124" y="230"/>
                  </a:lnTo>
                  <a:lnTo>
                    <a:pt x="124" y="230"/>
                  </a:lnTo>
                  <a:lnTo>
                    <a:pt x="124" y="230"/>
                  </a:lnTo>
                  <a:lnTo>
                    <a:pt x="129" y="226"/>
                  </a:lnTo>
                  <a:lnTo>
                    <a:pt x="129" y="226"/>
                  </a:lnTo>
                  <a:lnTo>
                    <a:pt x="129" y="226"/>
                  </a:lnTo>
                  <a:lnTo>
                    <a:pt x="129" y="226"/>
                  </a:lnTo>
                  <a:lnTo>
                    <a:pt x="129" y="226"/>
                  </a:lnTo>
                  <a:lnTo>
                    <a:pt x="129" y="226"/>
                  </a:lnTo>
                  <a:lnTo>
                    <a:pt x="129" y="226"/>
                  </a:lnTo>
                  <a:lnTo>
                    <a:pt x="129" y="221"/>
                  </a:lnTo>
                  <a:lnTo>
                    <a:pt x="129" y="221"/>
                  </a:lnTo>
                  <a:lnTo>
                    <a:pt x="133" y="221"/>
                  </a:lnTo>
                  <a:lnTo>
                    <a:pt x="133" y="217"/>
                  </a:lnTo>
                  <a:lnTo>
                    <a:pt x="133" y="217"/>
                  </a:lnTo>
                  <a:lnTo>
                    <a:pt x="133" y="217"/>
                  </a:lnTo>
                  <a:lnTo>
                    <a:pt x="133" y="217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4" y="208"/>
                  </a:lnTo>
                  <a:lnTo>
                    <a:pt x="124" y="208"/>
                  </a:lnTo>
                  <a:lnTo>
                    <a:pt x="124" y="208"/>
                  </a:lnTo>
                  <a:lnTo>
                    <a:pt x="124" y="208"/>
                  </a:lnTo>
                  <a:lnTo>
                    <a:pt x="124" y="208"/>
                  </a:lnTo>
                  <a:lnTo>
                    <a:pt x="124" y="208"/>
                  </a:lnTo>
                  <a:lnTo>
                    <a:pt x="124" y="208"/>
                  </a:lnTo>
                  <a:lnTo>
                    <a:pt x="124" y="203"/>
                  </a:lnTo>
                  <a:lnTo>
                    <a:pt x="124" y="203"/>
                  </a:lnTo>
                  <a:lnTo>
                    <a:pt x="120" y="203"/>
                  </a:lnTo>
                  <a:lnTo>
                    <a:pt x="120" y="203"/>
                  </a:lnTo>
                  <a:lnTo>
                    <a:pt x="120" y="203"/>
                  </a:lnTo>
                  <a:lnTo>
                    <a:pt x="120" y="199"/>
                  </a:lnTo>
                  <a:lnTo>
                    <a:pt x="120" y="199"/>
                  </a:lnTo>
                  <a:lnTo>
                    <a:pt x="120" y="199"/>
                  </a:lnTo>
                  <a:lnTo>
                    <a:pt x="115" y="195"/>
                  </a:lnTo>
                  <a:lnTo>
                    <a:pt x="115" y="195"/>
                  </a:lnTo>
                  <a:lnTo>
                    <a:pt x="115" y="195"/>
                  </a:lnTo>
                  <a:lnTo>
                    <a:pt x="115" y="190"/>
                  </a:lnTo>
                  <a:lnTo>
                    <a:pt x="115" y="190"/>
                  </a:lnTo>
                  <a:lnTo>
                    <a:pt x="115" y="190"/>
                  </a:lnTo>
                  <a:lnTo>
                    <a:pt x="115" y="190"/>
                  </a:lnTo>
                  <a:lnTo>
                    <a:pt x="115" y="186"/>
                  </a:lnTo>
                  <a:lnTo>
                    <a:pt x="115" y="186"/>
                  </a:lnTo>
                  <a:lnTo>
                    <a:pt x="115" y="186"/>
                  </a:lnTo>
                  <a:lnTo>
                    <a:pt x="115" y="186"/>
                  </a:lnTo>
                  <a:lnTo>
                    <a:pt x="111" y="181"/>
                  </a:lnTo>
                  <a:lnTo>
                    <a:pt x="111" y="181"/>
                  </a:lnTo>
                  <a:lnTo>
                    <a:pt x="111" y="181"/>
                  </a:lnTo>
                  <a:lnTo>
                    <a:pt x="111" y="181"/>
                  </a:lnTo>
                  <a:lnTo>
                    <a:pt x="111" y="181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7" y="177"/>
                  </a:lnTo>
                  <a:lnTo>
                    <a:pt x="102" y="172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15" y="172"/>
                  </a:lnTo>
                  <a:lnTo>
                    <a:pt x="115" y="172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20" y="168"/>
                  </a:lnTo>
                  <a:lnTo>
                    <a:pt x="120" y="168"/>
                  </a:lnTo>
                  <a:lnTo>
                    <a:pt x="120" y="168"/>
                  </a:lnTo>
                  <a:lnTo>
                    <a:pt x="124" y="172"/>
                  </a:lnTo>
                  <a:lnTo>
                    <a:pt x="133" y="168"/>
                  </a:lnTo>
                  <a:lnTo>
                    <a:pt x="133" y="168"/>
                  </a:lnTo>
                  <a:lnTo>
                    <a:pt x="133" y="168"/>
                  </a:lnTo>
                  <a:lnTo>
                    <a:pt x="133" y="168"/>
                  </a:lnTo>
                  <a:lnTo>
                    <a:pt x="133" y="168"/>
                  </a:lnTo>
                  <a:lnTo>
                    <a:pt x="133" y="168"/>
                  </a:lnTo>
                  <a:lnTo>
                    <a:pt x="133" y="164"/>
                  </a:lnTo>
                  <a:lnTo>
                    <a:pt x="133" y="164"/>
                  </a:lnTo>
                  <a:lnTo>
                    <a:pt x="133" y="164"/>
                  </a:lnTo>
                  <a:lnTo>
                    <a:pt x="133" y="164"/>
                  </a:lnTo>
                  <a:lnTo>
                    <a:pt x="133" y="164"/>
                  </a:lnTo>
                  <a:lnTo>
                    <a:pt x="133" y="164"/>
                  </a:lnTo>
                  <a:lnTo>
                    <a:pt x="133" y="159"/>
                  </a:lnTo>
                  <a:lnTo>
                    <a:pt x="133" y="159"/>
                  </a:lnTo>
                  <a:lnTo>
                    <a:pt x="133" y="159"/>
                  </a:lnTo>
                  <a:lnTo>
                    <a:pt x="138" y="159"/>
                  </a:lnTo>
                  <a:lnTo>
                    <a:pt x="138" y="159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0"/>
                  </a:lnTo>
                  <a:lnTo>
                    <a:pt x="138" y="150"/>
                  </a:lnTo>
                  <a:lnTo>
                    <a:pt x="138" y="150"/>
                  </a:lnTo>
                  <a:lnTo>
                    <a:pt x="138" y="150"/>
                  </a:lnTo>
                  <a:lnTo>
                    <a:pt x="138" y="146"/>
                  </a:lnTo>
                  <a:lnTo>
                    <a:pt x="138" y="141"/>
                  </a:lnTo>
                  <a:lnTo>
                    <a:pt x="138" y="141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3" y="137"/>
                  </a:lnTo>
                  <a:lnTo>
                    <a:pt x="133" y="137"/>
                  </a:lnTo>
                  <a:lnTo>
                    <a:pt x="129" y="137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8" y="133"/>
                  </a:lnTo>
                  <a:lnTo>
                    <a:pt x="138" y="133"/>
                  </a:lnTo>
                  <a:lnTo>
                    <a:pt x="138" y="133"/>
                  </a:lnTo>
                  <a:lnTo>
                    <a:pt x="138" y="133"/>
                  </a:lnTo>
                  <a:lnTo>
                    <a:pt x="138" y="128"/>
                  </a:lnTo>
                  <a:lnTo>
                    <a:pt x="138" y="128"/>
                  </a:lnTo>
                  <a:lnTo>
                    <a:pt x="138" y="128"/>
                  </a:lnTo>
                  <a:lnTo>
                    <a:pt x="138" y="128"/>
                  </a:lnTo>
                  <a:lnTo>
                    <a:pt x="138" y="128"/>
                  </a:lnTo>
                  <a:lnTo>
                    <a:pt x="142" y="128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42" y="119"/>
                  </a:lnTo>
                  <a:lnTo>
                    <a:pt x="142" y="119"/>
                  </a:lnTo>
                  <a:lnTo>
                    <a:pt x="142" y="115"/>
                  </a:lnTo>
                  <a:lnTo>
                    <a:pt x="142" y="115"/>
                  </a:lnTo>
                  <a:lnTo>
                    <a:pt x="142" y="110"/>
                  </a:lnTo>
                  <a:lnTo>
                    <a:pt x="142" y="110"/>
                  </a:lnTo>
                  <a:lnTo>
                    <a:pt x="142" y="110"/>
                  </a:lnTo>
                  <a:lnTo>
                    <a:pt x="142" y="110"/>
                  </a:lnTo>
                  <a:lnTo>
                    <a:pt x="142" y="110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97"/>
                  </a:lnTo>
                  <a:lnTo>
                    <a:pt x="142" y="97"/>
                  </a:lnTo>
                  <a:lnTo>
                    <a:pt x="142" y="97"/>
                  </a:lnTo>
                  <a:lnTo>
                    <a:pt x="142" y="93"/>
                  </a:lnTo>
                  <a:lnTo>
                    <a:pt x="142" y="93"/>
                  </a:lnTo>
                  <a:lnTo>
                    <a:pt x="142" y="93"/>
                  </a:lnTo>
                  <a:lnTo>
                    <a:pt x="142" y="93"/>
                  </a:lnTo>
                  <a:lnTo>
                    <a:pt x="142" y="93"/>
                  </a:lnTo>
                  <a:lnTo>
                    <a:pt x="142" y="93"/>
                  </a:lnTo>
                  <a:lnTo>
                    <a:pt x="142" y="88"/>
                  </a:lnTo>
                  <a:lnTo>
                    <a:pt x="142" y="88"/>
                  </a:lnTo>
                  <a:lnTo>
                    <a:pt x="142" y="88"/>
                  </a:lnTo>
                  <a:lnTo>
                    <a:pt x="142" y="88"/>
                  </a:lnTo>
                  <a:lnTo>
                    <a:pt x="142" y="88"/>
                  </a:lnTo>
                  <a:lnTo>
                    <a:pt x="142" y="88"/>
                  </a:lnTo>
                  <a:lnTo>
                    <a:pt x="142" y="88"/>
                  </a:lnTo>
                  <a:lnTo>
                    <a:pt x="142" y="84"/>
                  </a:lnTo>
                  <a:lnTo>
                    <a:pt x="138" y="84"/>
                  </a:lnTo>
                  <a:lnTo>
                    <a:pt x="138" y="79"/>
                  </a:lnTo>
                  <a:lnTo>
                    <a:pt x="138" y="79"/>
                  </a:lnTo>
                  <a:lnTo>
                    <a:pt x="138" y="79"/>
                  </a:lnTo>
                  <a:lnTo>
                    <a:pt x="138" y="79"/>
                  </a:lnTo>
                  <a:lnTo>
                    <a:pt x="138" y="75"/>
                  </a:lnTo>
                  <a:lnTo>
                    <a:pt x="138" y="75"/>
                  </a:lnTo>
                  <a:lnTo>
                    <a:pt x="138" y="75"/>
                  </a:lnTo>
                  <a:lnTo>
                    <a:pt x="138" y="75"/>
                  </a:lnTo>
                  <a:lnTo>
                    <a:pt x="142" y="75"/>
                  </a:lnTo>
                  <a:lnTo>
                    <a:pt x="142" y="75"/>
                  </a:lnTo>
                  <a:lnTo>
                    <a:pt x="142" y="75"/>
                  </a:lnTo>
                  <a:lnTo>
                    <a:pt x="146" y="71"/>
                  </a:lnTo>
                  <a:lnTo>
                    <a:pt x="146" y="71"/>
                  </a:lnTo>
                  <a:lnTo>
                    <a:pt x="146" y="66"/>
                  </a:lnTo>
                  <a:lnTo>
                    <a:pt x="146" y="66"/>
                  </a:lnTo>
                  <a:lnTo>
                    <a:pt x="146" y="66"/>
                  </a:lnTo>
                  <a:lnTo>
                    <a:pt x="146" y="66"/>
                  </a:lnTo>
                  <a:lnTo>
                    <a:pt x="151" y="66"/>
                  </a:lnTo>
                  <a:lnTo>
                    <a:pt x="151" y="62"/>
                  </a:lnTo>
                  <a:lnTo>
                    <a:pt x="151" y="62"/>
                  </a:lnTo>
                  <a:lnTo>
                    <a:pt x="151" y="62"/>
                  </a:lnTo>
                  <a:lnTo>
                    <a:pt x="151" y="62"/>
                  </a:lnTo>
                  <a:lnTo>
                    <a:pt x="155" y="62"/>
                  </a:lnTo>
                  <a:lnTo>
                    <a:pt x="155" y="62"/>
                  </a:lnTo>
                  <a:lnTo>
                    <a:pt x="160" y="57"/>
                  </a:lnTo>
                  <a:lnTo>
                    <a:pt x="160" y="57"/>
                  </a:lnTo>
                  <a:lnTo>
                    <a:pt x="164" y="57"/>
                  </a:lnTo>
                  <a:lnTo>
                    <a:pt x="164" y="53"/>
                  </a:lnTo>
                  <a:lnTo>
                    <a:pt x="164" y="53"/>
                  </a:lnTo>
                  <a:lnTo>
                    <a:pt x="164" y="53"/>
                  </a:lnTo>
                  <a:lnTo>
                    <a:pt x="164" y="53"/>
                  </a:lnTo>
                  <a:lnTo>
                    <a:pt x="164" y="53"/>
                  </a:lnTo>
                  <a:lnTo>
                    <a:pt x="164" y="53"/>
                  </a:lnTo>
                  <a:lnTo>
                    <a:pt x="164" y="53"/>
                  </a:lnTo>
                  <a:lnTo>
                    <a:pt x="164" y="53"/>
                  </a:lnTo>
                  <a:lnTo>
                    <a:pt x="164" y="48"/>
                  </a:lnTo>
                  <a:lnTo>
                    <a:pt x="168" y="48"/>
                  </a:lnTo>
                  <a:lnTo>
                    <a:pt x="168" y="48"/>
                  </a:lnTo>
                  <a:lnTo>
                    <a:pt x="168" y="48"/>
                  </a:lnTo>
                  <a:lnTo>
                    <a:pt x="168" y="48"/>
                  </a:lnTo>
                  <a:lnTo>
                    <a:pt x="168" y="44"/>
                  </a:lnTo>
                  <a:lnTo>
                    <a:pt x="168" y="44"/>
                  </a:lnTo>
                  <a:lnTo>
                    <a:pt x="168" y="44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73" y="40"/>
                  </a:lnTo>
                  <a:lnTo>
                    <a:pt x="173" y="40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88" name="Freeform 19"/>
            <p:cNvSpPr>
              <a:spLocks/>
            </p:cNvSpPr>
            <p:nvPr/>
          </p:nvSpPr>
          <p:spPr bwMode="auto">
            <a:xfrm>
              <a:off x="3675063" y="3965576"/>
              <a:ext cx="836612" cy="787400"/>
            </a:xfrm>
            <a:custGeom>
              <a:avLst/>
              <a:gdLst>
                <a:gd name="T0" fmla="*/ 523 w 527"/>
                <a:gd name="T1" fmla="*/ 372 h 496"/>
                <a:gd name="T2" fmla="*/ 496 w 527"/>
                <a:gd name="T3" fmla="*/ 394 h 496"/>
                <a:gd name="T4" fmla="*/ 456 w 527"/>
                <a:gd name="T5" fmla="*/ 443 h 496"/>
                <a:gd name="T6" fmla="*/ 452 w 527"/>
                <a:gd name="T7" fmla="*/ 483 h 496"/>
                <a:gd name="T8" fmla="*/ 456 w 527"/>
                <a:gd name="T9" fmla="*/ 496 h 496"/>
                <a:gd name="T10" fmla="*/ 425 w 527"/>
                <a:gd name="T11" fmla="*/ 487 h 496"/>
                <a:gd name="T12" fmla="*/ 399 w 527"/>
                <a:gd name="T13" fmla="*/ 469 h 496"/>
                <a:gd name="T14" fmla="*/ 372 w 527"/>
                <a:gd name="T15" fmla="*/ 465 h 496"/>
                <a:gd name="T16" fmla="*/ 355 w 527"/>
                <a:gd name="T17" fmla="*/ 474 h 496"/>
                <a:gd name="T18" fmla="*/ 328 w 527"/>
                <a:gd name="T19" fmla="*/ 465 h 496"/>
                <a:gd name="T20" fmla="*/ 310 w 527"/>
                <a:gd name="T21" fmla="*/ 483 h 496"/>
                <a:gd name="T22" fmla="*/ 297 w 527"/>
                <a:gd name="T23" fmla="*/ 474 h 496"/>
                <a:gd name="T24" fmla="*/ 288 w 527"/>
                <a:gd name="T25" fmla="*/ 465 h 496"/>
                <a:gd name="T26" fmla="*/ 270 w 527"/>
                <a:gd name="T27" fmla="*/ 456 h 496"/>
                <a:gd name="T28" fmla="*/ 262 w 527"/>
                <a:gd name="T29" fmla="*/ 465 h 496"/>
                <a:gd name="T30" fmla="*/ 244 w 527"/>
                <a:gd name="T31" fmla="*/ 443 h 496"/>
                <a:gd name="T32" fmla="*/ 231 w 527"/>
                <a:gd name="T33" fmla="*/ 425 h 496"/>
                <a:gd name="T34" fmla="*/ 208 w 527"/>
                <a:gd name="T35" fmla="*/ 416 h 496"/>
                <a:gd name="T36" fmla="*/ 191 w 527"/>
                <a:gd name="T37" fmla="*/ 412 h 496"/>
                <a:gd name="T38" fmla="*/ 182 w 527"/>
                <a:gd name="T39" fmla="*/ 403 h 496"/>
                <a:gd name="T40" fmla="*/ 186 w 527"/>
                <a:gd name="T41" fmla="*/ 390 h 496"/>
                <a:gd name="T42" fmla="*/ 169 w 527"/>
                <a:gd name="T43" fmla="*/ 390 h 496"/>
                <a:gd name="T44" fmla="*/ 147 w 527"/>
                <a:gd name="T45" fmla="*/ 381 h 496"/>
                <a:gd name="T46" fmla="*/ 147 w 527"/>
                <a:gd name="T47" fmla="*/ 398 h 496"/>
                <a:gd name="T48" fmla="*/ 129 w 527"/>
                <a:gd name="T49" fmla="*/ 407 h 496"/>
                <a:gd name="T50" fmla="*/ 111 w 527"/>
                <a:gd name="T51" fmla="*/ 385 h 496"/>
                <a:gd name="T52" fmla="*/ 116 w 527"/>
                <a:gd name="T53" fmla="*/ 372 h 496"/>
                <a:gd name="T54" fmla="*/ 107 w 527"/>
                <a:gd name="T55" fmla="*/ 363 h 496"/>
                <a:gd name="T56" fmla="*/ 85 w 527"/>
                <a:gd name="T57" fmla="*/ 354 h 496"/>
                <a:gd name="T58" fmla="*/ 58 w 527"/>
                <a:gd name="T59" fmla="*/ 345 h 496"/>
                <a:gd name="T60" fmla="*/ 49 w 527"/>
                <a:gd name="T61" fmla="*/ 332 h 496"/>
                <a:gd name="T62" fmla="*/ 45 w 527"/>
                <a:gd name="T63" fmla="*/ 345 h 496"/>
                <a:gd name="T64" fmla="*/ 45 w 527"/>
                <a:gd name="T65" fmla="*/ 314 h 496"/>
                <a:gd name="T66" fmla="*/ 31 w 527"/>
                <a:gd name="T67" fmla="*/ 288 h 496"/>
                <a:gd name="T68" fmla="*/ 27 w 527"/>
                <a:gd name="T69" fmla="*/ 257 h 496"/>
                <a:gd name="T70" fmla="*/ 23 w 527"/>
                <a:gd name="T71" fmla="*/ 226 h 496"/>
                <a:gd name="T72" fmla="*/ 14 w 527"/>
                <a:gd name="T73" fmla="*/ 186 h 496"/>
                <a:gd name="T74" fmla="*/ 9 w 527"/>
                <a:gd name="T75" fmla="*/ 155 h 496"/>
                <a:gd name="T76" fmla="*/ 9 w 527"/>
                <a:gd name="T77" fmla="*/ 119 h 496"/>
                <a:gd name="T78" fmla="*/ 5 w 527"/>
                <a:gd name="T79" fmla="*/ 97 h 496"/>
                <a:gd name="T80" fmla="*/ 23 w 527"/>
                <a:gd name="T81" fmla="*/ 106 h 496"/>
                <a:gd name="T82" fmla="*/ 23 w 527"/>
                <a:gd name="T83" fmla="*/ 93 h 496"/>
                <a:gd name="T84" fmla="*/ 14 w 527"/>
                <a:gd name="T85" fmla="*/ 84 h 496"/>
                <a:gd name="T86" fmla="*/ 5 w 527"/>
                <a:gd name="T87" fmla="*/ 88 h 496"/>
                <a:gd name="T88" fmla="*/ 80 w 527"/>
                <a:gd name="T89" fmla="*/ 57 h 496"/>
                <a:gd name="T90" fmla="*/ 111 w 527"/>
                <a:gd name="T91" fmla="*/ 40 h 496"/>
                <a:gd name="T92" fmla="*/ 124 w 527"/>
                <a:gd name="T93" fmla="*/ 31 h 496"/>
                <a:gd name="T94" fmla="*/ 222 w 527"/>
                <a:gd name="T95" fmla="*/ 0 h 496"/>
                <a:gd name="T96" fmla="*/ 231 w 527"/>
                <a:gd name="T97" fmla="*/ 4 h 496"/>
                <a:gd name="T98" fmla="*/ 231 w 527"/>
                <a:gd name="T99" fmla="*/ 18 h 496"/>
                <a:gd name="T100" fmla="*/ 253 w 527"/>
                <a:gd name="T101" fmla="*/ 40 h 496"/>
                <a:gd name="T102" fmla="*/ 417 w 527"/>
                <a:gd name="T103" fmla="*/ 40 h 496"/>
                <a:gd name="T104" fmla="*/ 470 w 527"/>
                <a:gd name="T105" fmla="*/ 44 h 496"/>
                <a:gd name="T106" fmla="*/ 492 w 527"/>
                <a:gd name="T107" fmla="*/ 62 h 496"/>
                <a:gd name="T108" fmla="*/ 496 w 527"/>
                <a:gd name="T109" fmla="*/ 93 h 496"/>
                <a:gd name="T110" fmla="*/ 509 w 527"/>
                <a:gd name="T111" fmla="*/ 155 h 496"/>
                <a:gd name="T112" fmla="*/ 505 w 527"/>
                <a:gd name="T113" fmla="*/ 195 h 496"/>
                <a:gd name="T114" fmla="*/ 487 w 527"/>
                <a:gd name="T115" fmla="*/ 235 h 496"/>
                <a:gd name="T116" fmla="*/ 501 w 527"/>
                <a:gd name="T117" fmla="*/ 239 h 496"/>
                <a:gd name="T118" fmla="*/ 501 w 527"/>
                <a:gd name="T119" fmla="*/ 266 h 496"/>
                <a:gd name="T120" fmla="*/ 496 w 527"/>
                <a:gd name="T121" fmla="*/ 279 h 496"/>
                <a:gd name="T122" fmla="*/ 501 w 527"/>
                <a:gd name="T123" fmla="*/ 301 h 496"/>
                <a:gd name="T124" fmla="*/ 514 w 527"/>
                <a:gd name="T125" fmla="*/ 332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27" h="496">
                  <a:moveTo>
                    <a:pt x="518" y="350"/>
                  </a:moveTo>
                  <a:lnTo>
                    <a:pt x="518" y="350"/>
                  </a:lnTo>
                  <a:lnTo>
                    <a:pt x="518" y="350"/>
                  </a:lnTo>
                  <a:lnTo>
                    <a:pt x="518" y="354"/>
                  </a:lnTo>
                  <a:lnTo>
                    <a:pt x="518" y="354"/>
                  </a:lnTo>
                  <a:lnTo>
                    <a:pt x="518" y="354"/>
                  </a:lnTo>
                  <a:lnTo>
                    <a:pt x="518" y="354"/>
                  </a:lnTo>
                  <a:lnTo>
                    <a:pt x="518" y="354"/>
                  </a:lnTo>
                  <a:lnTo>
                    <a:pt x="518" y="354"/>
                  </a:lnTo>
                  <a:lnTo>
                    <a:pt x="523" y="359"/>
                  </a:lnTo>
                  <a:lnTo>
                    <a:pt x="523" y="359"/>
                  </a:lnTo>
                  <a:lnTo>
                    <a:pt x="523" y="359"/>
                  </a:lnTo>
                  <a:lnTo>
                    <a:pt x="523" y="363"/>
                  </a:lnTo>
                  <a:lnTo>
                    <a:pt x="523" y="363"/>
                  </a:lnTo>
                  <a:lnTo>
                    <a:pt x="523" y="363"/>
                  </a:lnTo>
                  <a:lnTo>
                    <a:pt x="523" y="367"/>
                  </a:lnTo>
                  <a:lnTo>
                    <a:pt x="523" y="372"/>
                  </a:lnTo>
                  <a:lnTo>
                    <a:pt x="523" y="372"/>
                  </a:lnTo>
                  <a:lnTo>
                    <a:pt x="523" y="372"/>
                  </a:lnTo>
                  <a:lnTo>
                    <a:pt x="523" y="372"/>
                  </a:lnTo>
                  <a:lnTo>
                    <a:pt x="523" y="372"/>
                  </a:lnTo>
                  <a:lnTo>
                    <a:pt x="523" y="372"/>
                  </a:lnTo>
                  <a:lnTo>
                    <a:pt x="518" y="376"/>
                  </a:lnTo>
                  <a:lnTo>
                    <a:pt x="518" y="376"/>
                  </a:lnTo>
                  <a:lnTo>
                    <a:pt x="518" y="376"/>
                  </a:lnTo>
                  <a:lnTo>
                    <a:pt x="518" y="381"/>
                  </a:lnTo>
                  <a:lnTo>
                    <a:pt x="518" y="381"/>
                  </a:lnTo>
                  <a:lnTo>
                    <a:pt x="518" y="381"/>
                  </a:lnTo>
                  <a:lnTo>
                    <a:pt x="514" y="385"/>
                  </a:lnTo>
                  <a:lnTo>
                    <a:pt x="509" y="385"/>
                  </a:lnTo>
                  <a:lnTo>
                    <a:pt x="505" y="385"/>
                  </a:lnTo>
                  <a:lnTo>
                    <a:pt x="505" y="385"/>
                  </a:lnTo>
                  <a:lnTo>
                    <a:pt x="505" y="385"/>
                  </a:lnTo>
                  <a:lnTo>
                    <a:pt x="501" y="385"/>
                  </a:lnTo>
                  <a:lnTo>
                    <a:pt x="501" y="385"/>
                  </a:lnTo>
                  <a:lnTo>
                    <a:pt x="501" y="390"/>
                  </a:lnTo>
                  <a:lnTo>
                    <a:pt x="501" y="390"/>
                  </a:lnTo>
                  <a:lnTo>
                    <a:pt x="501" y="390"/>
                  </a:lnTo>
                  <a:lnTo>
                    <a:pt x="496" y="394"/>
                  </a:lnTo>
                  <a:lnTo>
                    <a:pt x="496" y="394"/>
                  </a:lnTo>
                  <a:lnTo>
                    <a:pt x="496" y="394"/>
                  </a:lnTo>
                  <a:lnTo>
                    <a:pt x="496" y="394"/>
                  </a:lnTo>
                  <a:lnTo>
                    <a:pt x="496" y="394"/>
                  </a:lnTo>
                  <a:lnTo>
                    <a:pt x="492" y="398"/>
                  </a:lnTo>
                  <a:lnTo>
                    <a:pt x="487" y="398"/>
                  </a:lnTo>
                  <a:lnTo>
                    <a:pt x="483" y="407"/>
                  </a:lnTo>
                  <a:lnTo>
                    <a:pt x="478" y="412"/>
                  </a:lnTo>
                  <a:lnTo>
                    <a:pt x="474" y="416"/>
                  </a:lnTo>
                  <a:lnTo>
                    <a:pt x="474" y="416"/>
                  </a:lnTo>
                  <a:lnTo>
                    <a:pt x="470" y="421"/>
                  </a:lnTo>
                  <a:lnTo>
                    <a:pt x="465" y="429"/>
                  </a:lnTo>
                  <a:lnTo>
                    <a:pt x="465" y="429"/>
                  </a:lnTo>
                  <a:lnTo>
                    <a:pt x="465" y="429"/>
                  </a:lnTo>
                  <a:lnTo>
                    <a:pt x="461" y="434"/>
                  </a:lnTo>
                  <a:lnTo>
                    <a:pt x="461" y="434"/>
                  </a:lnTo>
                  <a:lnTo>
                    <a:pt x="461" y="434"/>
                  </a:lnTo>
                  <a:lnTo>
                    <a:pt x="461" y="434"/>
                  </a:lnTo>
                  <a:lnTo>
                    <a:pt x="461" y="434"/>
                  </a:lnTo>
                  <a:lnTo>
                    <a:pt x="461" y="434"/>
                  </a:lnTo>
                  <a:lnTo>
                    <a:pt x="456" y="443"/>
                  </a:lnTo>
                  <a:lnTo>
                    <a:pt x="456" y="443"/>
                  </a:lnTo>
                  <a:lnTo>
                    <a:pt x="456" y="443"/>
                  </a:lnTo>
                  <a:lnTo>
                    <a:pt x="456" y="443"/>
                  </a:lnTo>
                  <a:lnTo>
                    <a:pt x="452" y="443"/>
                  </a:lnTo>
                  <a:lnTo>
                    <a:pt x="452" y="443"/>
                  </a:lnTo>
                  <a:lnTo>
                    <a:pt x="452" y="447"/>
                  </a:lnTo>
                  <a:lnTo>
                    <a:pt x="448" y="452"/>
                  </a:lnTo>
                  <a:lnTo>
                    <a:pt x="448" y="456"/>
                  </a:lnTo>
                  <a:lnTo>
                    <a:pt x="448" y="456"/>
                  </a:lnTo>
                  <a:lnTo>
                    <a:pt x="448" y="460"/>
                  </a:lnTo>
                  <a:lnTo>
                    <a:pt x="448" y="460"/>
                  </a:lnTo>
                  <a:lnTo>
                    <a:pt x="448" y="465"/>
                  </a:lnTo>
                  <a:lnTo>
                    <a:pt x="448" y="465"/>
                  </a:lnTo>
                  <a:lnTo>
                    <a:pt x="452" y="465"/>
                  </a:lnTo>
                  <a:lnTo>
                    <a:pt x="452" y="465"/>
                  </a:lnTo>
                  <a:lnTo>
                    <a:pt x="452" y="465"/>
                  </a:lnTo>
                  <a:lnTo>
                    <a:pt x="452" y="469"/>
                  </a:lnTo>
                  <a:lnTo>
                    <a:pt x="452" y="474"/>
                  </a:lnTo>
                  <a:lnTo>
                    <a:pt x="452" y="478"/>
                  </a:lnTo>
                  <a:lnTo>
                    <a:pt x="452" y="478"/>
                  </a:lnTo>
                  <a:lnTo>
                    <a:pt x="452" y="483"/>
                  </a:lnTo>
                  <a:lnTo>
                    <a:pt x="452" y="483"/>
                  </a:lnTo>
                  <a:lnTo>
                    <a:pt x="448" y="483"/>
                  </a:lnTo>
                  <a:lnTo>
                    <a:pt x="452" y="483"/>
                  </a:lnTo>
                  <a:lnTo>
                    <a:pt x="452" y="483"/>
                  </a:lnTo>
                  <a:lnTo>
                    <a:pt x="452" y="483"/>
                  </a:lnTo>
                  <a:lnTo>
                    <a:pt x="452" y="483"/>
                  </a:lnTo>
                  <a:lnTo>
                    <a:pt x="452" y="483"/>
                  </a:lnTo>
                  <a:lnTo>
                    <a:pt x="452" y="483"/>
                  </a:lnTo>
                  <a:lnTo>
                    <a:pt x="452" y="487"/>
                  </a:lnTo>
                  <a:lnTo>
                    <a:pt x="456" y="487"/>
                  </a:lnTo>
                  <a:lnTo>
                    <a:pt x="456" y="487"/>
                  </a:lnTo>
                  <a:lnTo>
                    <a:pt x="456" y="491"/>
                  </a:lnTo>
                  <a:lnTo>
                    <a:pt x="456" y="491"/>
                  </a:lnTo>
                  <a:lnTo>
                    <a:pt x="456" y="491"/>
                  </a:lnTo>
                  <a:lnTo>
                    <a:pt x="456" y="491"/>
                  </a:lnTo>
                  <a:lnTo>
                    <a:pt x="456" y="491"/>
                  </a:lnTo>
                  <a:lnTo>
                    <a:pt x="456" y="496"/>
                  </a:lnTo>
                  <a:lnTo>
                    <a:pt x="461" y="496"/>
                  </a:lnTo>
                  <a:lnTo>
                    <a:pt x="461" y="496"/>
                  </a:lnTo>
                  <a:lnTo>
                    <a:pt x="461" y="496"/>
                  </a:lnTo>
                  <a:lnTo>
                    <a:pt x="461" y="496"/>
                  </a:lnTo>
                  <a:lnTo>
                    <a:pt x="456" y="496"/>
                  </a:lnTo>
                  <a:lnTo>
                    <a:pt x="456" y="496"/>
                  </a:lnTo>
                  <a:lnTo>
                    <a:pt x="456" y="496"/>
                  </a:lnTo>
                  <a:lnTo>
                    <a:pt x="456" y="496"/>
                  </a:lnTo>
                  <a:lnTo>
                    <a:pt x="452" y="496"/>
                  </a:lnTo>
                  <a:lnTo>
                    <a:pt x="452" y="491"/>
                  </a:lnTo>
                  <a:lnTo>
                    <a:pt x="452" y="491"/>
                  </a:lnTo>
                  <a:lnTo>
                    <a:pt x="452" y="496"/>
                  </a:lnTo>
                  <a:lnTo>
                    <a:pt x="448" y="491"/>
                  </a:lnTo>
                  <a:lnTo>
                    <a:pt x="448" y="496"/>
                  </a:lnTo>
                  <a:lnTo>
                    <a:pt x="448" y="491"/>
                  </a:lnTo>
                  <a:lnTo>
                    <a:pt x="448" y="491"/>
                  </a:lnTo>
                  <a:lnTo>
                    <a:pt x="443" y="491"/>
                  </a:lnTo>
                  <a:lnTo>
                    <a:pt x="443" y="491"/>
                  </a:lnTo>
                  <a:lnTo>
                    <a:pt x="443" y="491"/>
                  </a:lnTo>
                  <a:lnTo>
                    <a:pt x="439" y="491"/>
                  </a:lnTo>
                  <a:lnTo>
                    <a:pt x="434" y="491"/>
                  </a:lnTo>
                  <a:lnTo>
                    <a:pt x="434" y="491"/>
                  </a:lnTo>
                  <a:lnTo>
                    <a:pt x="430" y="487"/>
                  </a:lnTo>
                  <a:lnTo>
                    <a:pt x="430" y="487"/>
                  </a:lnTo>
                  <a:lnTo>
                    <a:pt x="425" y="487"/>
                  </a:lnTo>
                  <a:lnTo>
                    <a:pt x="425" y="487"/>
                  </a:lnTo>
                  <a:lnTo>
                    <a:pt x="425" y="487"/>
                  </a:lnTo>
                  <a:lnTo>
                    <a:pt x="425" y="487"/>
                  </a:lnTo>
                  <a:lnTo>
                    <a:pt x="425" y="483"/>
                  </a:lnTo>
                  <a:lnTo>
                    <a:pt x="425" y="483"/>
                  </a:lnTo>
                  <a:lnTo>
                    <a:pt x="425" y="483"/>
                  </a:lnTo>
                  <a:lnTo>
                    <a:pt x="425" y="483"/>
                  </a:lnTo>
                  <a:lnTo>
                    <a:pt x="421" y="483"/>
                  </a:lnTo>
                  <a:lnTo>
                    <a:pt x="421" y="483"/>
                  </a:lnTo>
                  <a:lnTo>
                    <a:pt x="421" y="483"/>
                  </a:lnTo>
                  <a:lnTo>
                    <a:pt x="421" y="483"/>
                  </a:lnTo>
                  <a:lnTo>
                    <a:pt x="417" y="483"/>
                  </a:lnTo>
                  <a:lnTo>
                    <a:pt x="412" y="478"/>
                  </a:lnTo>
                  <a:lnTo>
                    <a:pt x="412" y="478"/>
                  </a:lnTo>
                  <a:lnTo>
                    <a:pt x="412" y="474"/>
                  </a:lnTo>
                  <a:lnTo>
                    <a:pt x="412" y="474"/>
                  </a:lnTo>
                  <a:lnTo>
                    <a:pt x="408" y="469"/>
                  </a:lnTo>
                  <a:lnTo>
                    <a:pt x="408" y="469"/>
                  </a:lnTo>
                  <a:lnTo>
                    <a:pt x="403" y="469"/>
                  </a:lnTo>
                  <a:lnTo>
                    <a:pt x="403" y="465"/>
                  </a:lnTo>
                  <a:lnTo>
                    <a:pt x="403" y="465"/>
                  </a:lnTo>
                  <a:lnTo>
                    <a:pt x="403" y="469"/>
                  </a:lnTo>
                  <a:lnTo>
                    <a:pt x="403" y="469"/>
                  </a:lnTo>
                  <a:lnTo>
                    <a:pt x="399" y="469"/>
                  </a:lnTo>
                  <a:lnTo>
                    <a:pt x="399" y="469"/>
                  </a:lnTo>
                  <a:lnTo>
                    <a:pt x="399" y="465"/>
                  </a:lnTo>
                  <a:lnTo>
                    <a:pt x="399" y="465"/>
                  </a:lnTo>
                  <a:lnTo>
                    <a:pt x="399" y="465"/>
                  </a:lnTo>
                  <a:lnTo>
                    <a:pt x="394" y="465"/>
                  </a:lnTo>
                  <a:lnTo>
                    <a:pt x="394" y="465"/>
                  </a:lnTo>
                  <a:lnTo>
                    <a:pt x="394" y="465"/>
                  </a:lnTo>
                  <a:lnTo>
                    <a:pt x="394" y="465"/>
                  </a:lnTo>
                  <a:lnTo>
                    <a:pt x="394" y="465"/>
                  </a:lnTo>
                  <a:lnTo>
                    <a:pt x="394" y="465"/>
                  </a:lnTo>
                  <a:lnTo>
                    <a:pt x="390" y="465"/>
                  </a:lnTo>
                  <a:lnTo>
                    <a:pt x="390" y="465"/>
                  </a:lnTo>
                  <a:lnTo>
                    <a:pt x="386" y="465"/>
                  </a:lnTo>
                  <a:lnTo>
                    <a:pt x="386" y="465"/>
                  </a:lnTo>
                  <a:lnTo>
                    <a:pt x="386" y="465"/>
                  </a:lnTo>
                  <a:lnTo>
                    <a:pt x="386" y="465"/>
                  </a:lnTo>
                  <a:lnTo>
                    <a:pt x="377" y="460"/>
                  </a:lnTo>
                  <a:lnTo>
                    <a:pt x="377" y="460"/>
                  </a:lnTo>
                  <a:lnTo>
                    <a:pt x="377" y="460"/>
                  </a:lnTo>
                  <a:lnTo>
                    <a:pt x="372" y="460"/>
                  </a:lnTo>
                  <a:lnTo>
                    <a:pt x="372" y="465"/>
                  </a:lnTo>
                  <a:lnTo>
                    <a:pt x="372" y="465"/>
                  </a:lnTo>
                  <a:lnTo>
                    <a:pt x="368" y="465"/>
                  </a:lnTo>
                  <a:lnTo>
                    <a:pt x="368" y="465"/>
                  </a:lnTo>
                  <a:lnTo>
                    <a:pt x="368" y="465"/>
                  </a:lnTo>
                  <a:lnTo>
                    <a:pt x="368" y="465"/>
                  </a:lnTo>
                  <a:lnTo>
                    <a:pt x="368" y="465"/>
                  </a:lnTo>
                  <a:lnTo>
                    <a:pt x="363" y="465"/>
                  </a:lnTo>
                  <a:lnTo>
                    <a:pt x="363" y="465"/>
                  </a:lnTo>
                  <a:lnTo>
                    <a:pt x="363" y="465"/>
                  </a:lnTo>
                  <a:lnTo>
                    <a:pt x="363" y="465"/>
                  </a:lnTo>
                  <a:lnTo>
                    <a:pt x="363" y="465"/>
                  </a:lnTo>
                  <a:lnTo>
                    <a:pt x="363" y="469"/>
                  </a:lnTo>
                  <a:lnTo>
                    <a:pt x="363" y="469"/>
                  </a:lnTo>
                  <a:lnTo>
                    <a:pt x="363" y="469"/>
                  </a:lnTo>
                  <a:lnTo>
                    <a:pt x="363" y="469"/>
                  </a:lnTo>
                  <a:lnTo>
                    <a:pt x="363" y="469"/>
                  </a:lnTo>
                  <a:lnTo>
                    <a:pt x="359" y="469"/>
                  </a:lnTo>
                  <a:lnTo>
                    <a:pt x="359" y="474"/>
                  </a:lnTo>
                  <a:lnTo>
                    <a:pt x="359" y="474"/>
                  </a:lnTo>
                  <a:lnTo>
                    <a:pt x="355" y="474"/>
                  </a:lnTo>
                  <a:lnTo>
                    <a:pt x="355" y="474"/>
                  </a:lnTo>
                  <a:lnTo>
                    <a:pt x="355" y="474"/>
                  </a:lnTo>
                  <a:lnTo>
                    <a:pt x="355" y="474"/>
                  </a:lnTo>
                  <a:lnTo>
                    <a:pt x="355" y="469"/>
                  </a:lnTo>
                  <a:lnTo>
                    <a:pt x="350" y="469"/>
                  </a:lnTo>
                  <a:lnTo>
                    <a:pt x="350" y="469"/>
                  </a:lnTo>
                  <a:lnTo>
                    <a:pt x="350" y="469"/>
                  </a:lnTo>
                  <a:lnTo>
                    <a:pt x="350" y="469"/>
                  </a:lnTo>
                  <a:lnTo>
                    <a:pt x="346" y="465"/>
                  </a:lnTo>
                  <a:lnTo>
                    <a:pt x="346" y="465"/>
                  </a:lnTo>
                  <a:lnTo>
                    <a:pt x="341" y="465"/>
                  </a:lnTo>
                  <a:lnTo>
                    <a:pt x="341" y="465"/>
                  </a:lnTo>
                  <a:lnTo>
                    <a:pt x="341" y="465"/>
                  </a:lnTo>
                  <a:lnTo>
                    <a:pt x="341" y="465"/>
                  </a:lnTo>
                  <a:lnTo>
                    <a:pt x="337" y="465"/>
                  </a:lnTo>
                  <a:lnTo>
                    <a:pt x="337" y="465"/>
                  </a:lnTo>
                  <a:lnTo>
                    <a:pt x="337" y="469"/>
                  </a:lnTo>
                  <a:lnTo>
                    <a:pt x="337" y="465"/>
                  </a:lnTo>
                  <a:lnTo>
                    <a:pt x="332" y="465"/>
                  </a:lnTo>
                  <a:lnTo>
                    <a:pt x="332" y="465"/>
                  </a:lnTo>
                  <a:lnTo>
                    <a:pt x="332" y="465"/>
                  </a:lnTo>
                  <a:lnTo>
                    <a:pt x="328" y="465"/>
                  </a:lnTo>
                  <a:lnTo>
                    <a:pt x="324" y="465"/>
                  </a:lnTo>
                  <a:lnTo>
                    <a:pt x="324" y="465"/>
                  </a:lnTo>
                  <a:lnTo>
                    <a:pt x="324" y="465"/>
                  </a:lnTo>
                  <a:lnTo>
                    <a:pt x="324" y="465"/>
                  </a:lnTo>
                  <a:lnTo>
                    <a:pt x="324" y="469"/>
                  </a:lnTo>
                  <a:lnTo>
                    <a:pt x="324" y="469"/>
                  </a:lnTo>
                  <a:lnTo>
                    <a:pt x="324" y="469"/>
                  </a:lnTo>
                  <a:lnTo>
                    <a:pt x="324" y="469"/>
                  </a:lnTo>
                  <a:lnTo>
                    <a:pt x="319" y="469"/>
                  </a:lnTo>
                  <a:lnTo>
                    <a:pt x="319" y="469"/>
                  </a:lnTo>
                  <a:lnTo>
                    <a:pt x="319" y="474"/>
                  </a:lnTo>
                  <a:lnTo>
                    <a:pt x="315" y="474"/>
                  </a:lnTo>
                  <a:lnTo>
                    <a:pt x="315" y="474"/>
                  </a:lnTo>
                  <a:lnTo>
                    <a:pt x="315" y="474"/>
                  </a:lnTo>
                  <a:lnTo>
                    <a:pt x="315" y="474"/>
                  </a:lnTo>
                  <a:lnTo>
                    <a:pt x="315" y="474"/>
                  </a:lnTo>
                  <a:lnTo>
                    <a:pt x="315" y="474"/>
                  </a:lnTo>
                  <a:lnTo>
                    <a:pt x="315" y="478"/>
                  </a:lnTo>
                  <a:lnTo>
                    <a:pt x="315" y="478"/>
                  </a:lnTo>
                  <a:lnTo>
                    <a:pt x="310" y="478"/>
                  </a:lnTo>
                  <a:lnTo>
                    <a:pt x="310" y="483"/>
                  </a:lnTo>
                  <a:lnTo>
                    <a:pt x="310" y="483"/>
                  </a:lnTo>
                  <a:lnTo>
                    <a:pt x="310" y="483"/>
                  </a:lnTo>
                  <a:lnTo>
                    <a:pt x="306" y="478"/>
                  </a:lnTo>
                  <a:lnTo>
                    <a:pt x="306" y="478"/>
                  </a:lnTo>
                  <a:lnTo>
                    <a:pt x="301" y="478"/>
                  </a:lnTo>
                  <a:lnTo>
                    <a:pt x="301" y="478"/>
                  </a:lnTo>
                  <a:lnTo>
                    <a:pt x="301" y="483"/>
                  </a:lnTo>
                  <a:lnTo>
                    <a:pt x="301" y="483"/>
                  </a:lnTo>
                  <a:lnTo>
                    <a:pt x="301" y="483"/>
                  </a:lnTo>
                  <a:lnTo>
                    <a:pt x="297" y="483"/>
                  </a:lnTo>
                  <a:lnTo>
                    <a:pt x="297" y="483"/>
                  </a:lnTo>
                  <a:lnTo>
                    <a:pt x="297" y="483"/>
                  </a:lnTo>
                  <a:lnTo>
                    <a:pt x="297" y="483"/>
                  </a:lnTo>
                  <a:lnTo>
                    <a:pt x="297" y="478"/>
                  </a:lnTo>
                  <a:lnTo>
                    <a:pt x="297" y="478"/>
                  </a:lnTo>
                  <a:lnTo>
                    <a:pt x="297" y="478"/>
                  </a:lnTo>
                  <a:lnTo>
                    <a:pt x="297" y="474"/>
                  </a:lnTo>
                  <a:lnTo>
                    <a:pt x="297" y="474"/>
                  </a:lnTo>
                  <a:lnTo>
                    <a:pt x="297" y="474"/>
                  </a:lnTo>
                  <a:lnTo>
                    <a:pt x="297" y="474"/>
                  </a:lnTo>
                  <a:lnTo>
                    <a:pt x="297" y="474"/>
                  </a:lnTo>
                  <a:lnTo>
                    <a:pt x="297" y="474"/>
                  </a:lnTo>
                  <a:lnTo>
                    <a:pt x="297" y="474"/>
                  </a:lnTo>
                  <a:lnTo>
                    <a:pt x="297" y="474"/>
                  </a:lnTo>
                  <a:lnTo>
                    <a:pt x="297" y="474"/>
                  </a:lnTo>
                  <a:lnTo>
                    <a:pt x="297" y="474"/>
                  </a:lnTo>
                  <a:lnTo>
                    <a:pt x="297" y="474"/>
                  </a:lnTo>
                  <a:lnTo>
                    <a:pt x="297" y="474"/>
                  </a:lnTo>
                  <a:lnTo>
                    <a:pt x="297" y="474"/>
                  </a:lnTo>
                  <a:lnTo>
                    <a:pt x="297" y="474"/>
                  </a:lnTo>
                  <a:lnTo>
                    <a:pt x="297" y="474"/>
                  </a:lnTo>
                  <a:lnTo>
                    <a:pt x="297" y="469"/>
                  </a:lnTo>
                  <a:lnTo>
                    <a:pt x="297" y="465"/>
                  </a:lnTo>
                  <a:lnTo>
                    <a:pt x="297" y="465"/>
                  </a:lnTo>
                  <a:lnTo>
                    <a:pt x="297" y="465"/>
                  </a:lnTo>
                  <a:lnTo>
                    <a:pt x="297" y="465"/>
                  </a:lnTo>
                  <a:lnTo>
                    <a:pt x="293" y="465"/>
                  </a:lnTo>
                  <a:lnTo>
                    <a:pt x="293" y="465"/>
                  </a:lnTo>
                  <a:lnTo>
                    <a:pt x="293" y="465"/>
                  </a:lnTo>
                  <a:lnTo>
                    <a:pt x="288" y="465"/>
                  </a:lnTo>
                  <a:lnTo>
                    <a:pt x="288" y="465"/>
                  </a:lnTo>
                  <a:lnTo>
                    <a:pt x="288" y="465"/>
                  </a:lnTo>
                  <a:lnTo>
                    <a:pt x="288" y="460"/>
                  </a:lnTo>
                  <a:lnTo>
                    <a:pt x="288" y="460"/>
                  </a:lnTo>
                  <a:lnTo>
                    <a:pt x="288" y="460"/>
                  </a:lnTo>
                  <a:lnTo>
                    <a:pt x="288" y="460"/>
                  </a:lnTo>
                  <a:lnTo>
                    <a:pt x="284" y="460"/>
                  </a:lnTo>
                  <a:lnTo>
                    <a:pt x="284" y="460"/>
                  </a:lnTo>
                  <a:lnTo>
                    <a:pt x="284" y="460"/>
                  </a:lnTo>
                  <a:lnTo>
                    <a:pt x="284" y="456"/>
                  </a:lnTo>
                  <a:lnTo>
                    <a:pt x="284" y="452"/>
                  </a:lnTo>
                  <a:lnTo>
                    <a:pt x="284" y="452"/>
                  </a:lnTo>
                  <a:lnTo>
                    <a:pt x="279" y="452"/>
                  </a:lnTo>
                  <a:lnTo>
                    <a:pt x="279" y="452"/>
                  </a:lnTo>
                  <a:lnTo>
                    <a:pt x="279" y="447"/>
                  </a:lnTo>
                  <a:lnTo>
                    <a:pt x="279" y="447"/>
                  </a:lnTo>
                  <a:lnTo>
                    <a:pt x="279" y="447"/>
                  </a:lnTo>
                  <a:lnTo>
                    <a:pt x="279" y="447"/>
                  </a:lnTo>
                  <a:lnTo>
                    <a:pt x="279" y="447"/>
                  </a:lnTo>
                  <a:lnTo>
                    <a:pt x="275" y="456"/>
                  </a:lnTo>
                  <a:lnTo>
                    <a:pt x="275" y="456"/>
                  </a:lnTo>
                  <a:lnTo>
                    <a:pt x="270" y="456"/>
                  </a:lnTo>
                  <a:lnTo>
                    <a:pt x="270" y="456"/>
                  </a:lnTo>
                  <a:lnTo>
                    <a:pt x="270" y="456"/>
                  </a:lnTo>
                  <a:lnTo>
                    <a:pt x="270" y="456"/>
                  </a:lnTo>
                  <a:lnTo>
                    <a:pt x="270" y="456"/>
                  </a:lnTo>
                  <a:lnTo>
                    <a:pt x="266" y="456"/>
                  </a:lnTo>
                  <a:lnTo>
                    <a:pt x="266" y="456"/>
                  </a:lnTo>
                  <a:lnTo>
                    <a:pt x="266" y="460"/>
                  </a:lnTo>
                  <a:lnTo>
                    <a:pt x="266" y="460"/>
                  </a:lnTo>
                  <a:lnTo>
                    <a:pt x="266" y="460"/>
                  </a:lnTo>
                  <a:lnTo>
                    <a:pt x="266" y="460"/>
                  </a:lnTo>
                  <a:lnTo>
                    <a:pt x="266" y="460"/>
                  </a:lnTo>
                  <a:lnTo>
                    <a:pt x="266" y="460"/>
                  </a:lnTo>
                  <a:lnTo>
                    <a:pt x="266" y="460"/>
                  </a:lnTo>
                  <a:lnTo>
                    <a:pt x="266" y="460"/>
                  </a:lnTo>
                  <a:lnTo>
                    <a:pt x="266" y="465"/>
                  </a:lnTo>
                  <a:lnTo>
                    <a:pt x="266" y="465"/>
                  </a:lnTo>
                  <a:lnTo>
                    <a:pt x="266" y="465"/>
                  </a:lnTo>
                  <a:lnTo>
                    <a:pt x="262" y="465"/>
                  </a:lnTo>
                  <a:lnTo>
                    <a:pt x="262" y="465"/>
                  </a:lnTo>
                  <a:lnTo>
                    <a:pt x="262" y="465"/>
                  </a:lnTo>
                  <a:lnTo>
                    <a:pt x="262" y="465"/>
                  </a:lnTo>
                  <a:lnTo>
                    <a:pt x="262" y="465"/>
                  </a:lnTo>
                  <a:lnTo>
                    <a:pt x="257" y="465"/>
                  </a:lnTo>
                  <a:lnTo>
                    <a:pt x="257" y="465"/>
                  </a:lnTo>
                  <a:lnTo>
                    <a:pt x="257" y="465"/>
                  </a:lnTo>
                  <a:lnTo>
                    <a:pt x="253" y="465"/>
                  </a:lnTo>
                  <a:lnTo>
                    <a:pt x="253" y="465"/>
                  </a:lnTo>
                  <a:lnTo>
                    <a:pt x="253" y="465"/>
                  </a:lnTo>
                  <a:lnTo>
                    <a:pt x="253" y="460"/>
                  </a:lnTo>
                  <a:lnTo>
                    <a:pt x="253" y="460"/>
                  </a:lnTo>
                  <a:lnTo>
                    <a:pt x="253" y="460"/>
                  </a:lnTo>
                  <a:lnTo>
                    <a:pt x="253" y="460"/>
                  </a:lnTo>
                  <a:lnTo>
                    <a:pt x="253" y="456"/>
                  </a:lnTo>
                  <a:lnTo>
                    <a:pt x="253" y="456"/>
                  </a:lnTo>
                  <a:lnTo>
                    <a:pt x="248" y="456"/>
                  </a:lnTo>
                  <a:lnTo>
                    <a:pt x="248" y="456"/>
                  </a:lnTo>
                  <a:lnTo>
                    <a:pt x="248" y="452"/>
                  </a:lnTo>
                  <a:lnTo>
                    <a:pt x="244" y="452"/>
                  </a:lnTo>
                  <a:lnTo>
                    <a:pt x="244" y="447"/>
                  </a:lnTo>
                  <a:lnTo>
                    <a:pt x="244" y="447"/>
                  </a:lnTo>
                  <a:lnTo>
                    <a:pt x="244" y="447"/>
                  </a:lnTo>
                  <a:lnTo>
                    <a:pt x="244" y="443"/>
                  </a:lnTo>
                  <a:lnTo>
                    <a:pt x="244" y="443"/>
                  </a:lnTo>
                  <a:lnTo>
                    <a:pt x="244" y="443"/>
                  </a:lnTo>
                  <a:lnTo>
                    <a:pt x="244" y="443"/>
                  </a:lnTo>
                  <a:lnTo>
                    <a:pt x="244" y="443"/>
                  </a:lnTo>
                  <a:lnTo>
                    <a:pt x="239" y="443"/>
                  </a:lnTo>
                  <a:lnTo>
                    <a:pt x="239" y="443"/>
                  </a:lnTo>
                  <a:lnTo>
                    <a:pt x="239" y="443"/>
                  </a:lnTo>
                  <a:lnTo>
                    <a:pt x="239" y="443"/>
                  </a:lnTo>
                  <a:lnTo>
                    <a:pt x="239" y="443"/>
                  </a:lnTo>
                  <a:lnTo>
                    <a:pt x="235" y="438"/>
                  </a:lnTo>
                  <a:lnTo>
                    <a:pt x="235" y="438"/>
                  </a:lnTo>
                  <a:lnTo>
                    <a:pt x="235" y="438"/>
                  </a:lnTo>
                  <a:lnTo>
                    <a:pt x="235" y="438"/>
                  </a:lnTo>
                  <a:lnTo>
                    <a:pt x="235" y="434"/>
                  </a:lnTo>
                  <a:lnTo>
                    <a:pt x="231" y="434"/>
                  </a:lnTo>
                  <a:lnTo>
                    <a:pt x="231" y="429"/>
                  </a:lnTo>
                  <a:lnTo>
                    <a:pt x="235" y="429"/>
                  </a:lnTo>
                  <a:lnTo>
                    <a:pt x="231" y="429"/>
                  </a:lnTo>
                  <a:lnTo>
                    <a:pt x="231" y="425"/>
                  </a:lnTo>
                  <a:lnTo>
                    <a:pt x="231" y="425"/>
                  </a:lnTo>
                  <a:lnTo>
                    <a:pt x="231" y="425"/>
                  </a:lnTo>
                  <a:lnTo>
                    <a:pt x="231" y="425"/>
                  </a:lnTo>
                  <a:lnTo>
                    <a:pt x="231" y="425"/>
                  </a:lnTo>
                  <a:lnTo>
                    <a:pt x="226" y="425"/>
                  </a:lnTo>
                  <a:lnTo>
                    <a:pt x="226" y="421"/>
                  </a:lnTo>
                  <a:lnTo>
                    <a:pt x="222" y="421"/>
                  </a:lnTo>
                  <a:lnTo>
                    <a:pt x="222" y="421"/>
                  </a:lnTo>
                  <a:lnTo>
                    <a:pt x="222" y="421"/>
                  </a:lnTo>
                  <a:lnTo>
                    <a:pt x="222" y="421"/>
                  </a:lnTo>
                  <a:lnTo>
                    <a:pt x="222" y="421"/>
                  </a:lnTo>
                  <a:lnTo>
                    <a:pt x="222" y="421"/>
                  </a:lnTo>
                  <a:lnTo>
                    <a:pt x="217" y="425"/>
                  </a:lnTo>
                  <a:lnTo>
                    <a:pt x="217" y="425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16"/>
                  </a:lnTo>
                  <a:lnTo>
                    <a:pt x="213" y="416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4" y="412"/>
                  </a:lnTo>
                  <a:lnTo>
                    <a:pt x="204" y="412"/>
                  </a:lnTo>
                  <a:lnTo>
                    <a:pt x="204" y="412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0" y="416"/>
                  </a:lnTo>
                  <a:lnTo>
                    <a:pt x="200" y="416"/>
                  </a:lnTo>
                  <a:lnTo>
                    <a:pt x="200" y="416"/>
                  </a:lnTo>
                  <a:lnTo>
                    <a:pt x="195" y="421"/>
                  </a:lnTo>
                  <a:lnTo>
                    <a:pt x="195" y="416"/>
                  </a:lnTo>
                  <a:lnTo>
                    <a:pt x="191" y="416"/>
                  </a:lnTo>
                  <a:lnTo>
                    <a:pt x="191" y="416"/>
                  </a:lnTo>
                  <a:lnTo>
                    <a:pt x="191" y="412"/>
                  </a:lnTo>
                  <a:lnTo>
                    <a:pt x="191" y="412"/>
                  </a:lnTo>
                  <a:lnTo>
                    <a:pt x="191" y="412"/>
                  </a:lnTo>
                  <a:lnTo>
                    <a:pt x="186" y="412"/>
                  </a:lnTo>
                  <a:lnTo>
                    <a:pt x="186" y="412"/>
                  </a:lnTo>
                  <a:lnTo>
                    <a:pt x="186" y="407"/>
                  </a:lnTo>
                  <a:lnTo>
                    <a:pt x="186" y="407"/>
                  </a:lnTo>
                  <a:lnTo>
                    <a:pt x="186" y="407"/>
                  </a:lnTo>
                  <a:lnTo>
                    <a:pt x="191" y="407"/>
                  </a:lnTo>
                  <a:lnTo>
                    <a:pt x="191" y="407"/>
                  </a:lnTo>
                  <a:lnTo>
                    <a:pt x="191" y="407"/>
                  </a:lnTo>
                  <a:lnTo>
                    <a:pt x="186" y="407"/>
                  </a:lnTo>
                  <a:lnTo>
                    <a:pt x="186" y="407"/>
                  </a:lnTo>
                  <a:lnTo>
                    <a:pt x="186" y="407"/>
                  </a:lnTo>
                  <a:lnTo>
                    <a:pt x="186" y="407"/>
                  </a:lnTo>
                  <a:lnTo>
                    <a:pt x="186" y="407"/>
                  </a:lnTo>
                  <a:lnTo>
                    <a:pt x="186" y="407"/>
                  </a:lnTo>
                  <a:lnTo>
                    <a:pt x="186" y="407"/>
                  </a:lnTo>
                  <a:lnTo>
                    <a:pt x="182" y="407"/>
                  </a:lnTo>
                  <a:lnTo>
                    <a:pt x="182" y="403"/>
                  </a:lnTo>
                  <a:lnTo>
                    <a:pt x="182" y="403"/>
                  </a:lnTo>
                  <a:lnTo>
                    <a:pt x="182" y="403"/>
                  </a:lnTo>
                  <a:lnTo>
                    <a:pt x="182" y="403"/>
                  </a:lnTo>
                  <a:lnTo>
                    <a:pt x="186" y="403"/>
                  </a:lnTo>
                  <a:lnTo>
                    <a:pt x="186" y="403"/>
                  </a:lnTo>
                  <a:lnTo>
                    <a:pt x="186" y="398"/>
                  </a:lnTo>
                  <a:lnTo>
                    <a:pt x="191" y="398"/>
                  </a:lnTo>
                  <a:lnTo>
                    <a:pt x="191" y="398"/>
                  </a:lnTo>
                  <a:lnTo>
                    <a:pt x="186" y="398"/>
                  </a:lnTo>
                  <a:lnTo>
                    <a:pt x="186" y="394"/>
                  </a:lnTo>
                  <a:lnTo>
                    <a:pt x="186" y="394"/>
                  </a:lnTo>
                  <a:lnTo>
                    <a:pt x="186" y="394"/>
                  </a:lnTo>
                  <a:lnTo>
                    <a:pt x="186" y="394"/>
                  </a:lnTo>
                  <a:lnTo>
                    <a:pt x="191" y="394"/>
                  </a:lnTo>
                  <a:lnTo>
                    <a:pt x="191" y="394"/>
                  </a:lnTo>
                  <a:lnTo>
                    <a:pt x="191" y="394"/>
                  </a:lnTo>
                  <a:lnTo>
                    <a:pt x="186" y="394"/>
                  </a:lnTo>
                  <a:lnTo>
                    <a:pt x="186" y="390"/>
                  </a:lnTo>
                  <a:lnTo>
                    <a:pt x="186" y="390"/>
                  </a:lnTo>
                  <a:lnTo>
                    <a:pt x="186" y="390"/>
                  </a:lnTo>
                  <a:lnTo>
                    <a:pt x="186" y="390"/>
                  </a:lnTo>
                  <a:lnTo>
                    <a:pt x="186" y="390"/>
                  </a:lnTo>
                  <a:lnTo>
                    <a:pt x="186" y="390"/>
                  </a:lnTo>
                  <a:lnTo>
                    <a:pt x="182" y="394"/>
                  </a:lnTo>
                  <a:lnTo>
                    <a:pt x="182" y="394"/>
                  </a:lnTo>
                  <a:lnTo>
                    <a:pt x="182" y="394"/>
                  </a:lnTo>
                  <a:lnTo>
                    <a:pt x="178" y="394"/>
                  </a:lnTo>
                  <a:lnTo>
                    <a:pt x="173" y="394"/>
                  </a:lnTo>
                  <a:lnTo>
                    <a:pt x="173" y="394"/>
                  </a:lnTo>
                  <a:lnTo>
                    <a:pt x="173" y="398"/>
                  </a:lnTo>
                  <a:lnTo>
                    <a:pt x="173" y="398"/>
                  </a:lnTo>
                  <a:lnTo>
                    <a:pt x="173" y="398"/>
                  </a:lnTo>
                  <a:lnTo>
                    <a:pt x="173" y="394"/>
                  </a:lnTo>
                  <a:lnTo>
                    <a:pt x="173" y="394"/>
                  </a:lnTo>
                  <a:lnTo>
                    <a:pt x="169" y="394"/>
                  </a:lnTo>
                  <a:lnTo>
                    <a:pt x="169" y="394"/>
                  </a:lnTo>
                  <a:lnTo>
                    <a:pt x="169" y="394"/>
                  </a:lnTo>
                  <a:lnTo>
                    <a:pt x="169" y="394"/>
                  </a:lnTo>
                  <a:lnTo>
                    <a:pt x="169" y="394"/>
                  </a:lnTo>
                  <a:lnTo>
                    <a:pt x="169" y="394"/>
                  </a:lnTo>
                  <a:lnTo>
                    <a:pt x="169" y="390"/>
                  </a:lnTo>
                  <a:lnTo>
                    <a:pt x="169" y="390"/>
                  </a:lnTo>
                  <a:lnTo>
                    <a:pt x="169" y="390"/>
                  </a:lnTo>
                  <a:lnTo>
                    <a:pt x="169" y="390"/>
                  </a:lnTo>
                  <a:lnTo>
                    <a:pt x="169" y="390"/>
                  </a:lnTo>
                  <a:lnTo>
                    <a:pt x="169" y="390"/>
                  </a:lnTo>
                  <a:lnTo>
                    <a:pt x="169" y="390"/>
                  </a:lnTo>
                  <a:lnTo>
                    <a:pt x="164" y="390"/>
                  </a:lnTo>
                  <a:lnTo>
                    <a:pt x="164" y="390"/>
                  </a:lnTo>
                  <a:lnTo>
                    <a:pt x="160" y="390"/>
                  </a:lnTo>
                  <a:lnTo>
                    <a:pt x="160" y="390"/>
                  </a:lnTo>
                  <a:lnTo>
                    <a:pt x="160" y="385"/>
                  </a:lnTo>
                  <a:lnTo>
                    <a:pt x="160" y="385"/>
                  </a:lnTo>
                  <a:lnTo>
                    <a:pt x="160" y="385"/>
                  </a:lnTo>
                  <a:lnTo>
                    <a:pt x="160" y="385"/>
                  </a:lnTo>
                  <a:lnTo>
                    <a:pt x="160" y="385"/>
                  </a:lnTo>
                  <a:lnTo>
                    <a:pt x="160" y="385"/>
                  </a:lnTo>
                  <a:lnTo>
                    <a:pt x="155" y="385"/>
                  </a:lnTo>
                  <a:lnTo>
                    <a:pt x="155" y="385"/>
                  </a:lnTo>
                  <a:lnTo>
                    <a:pt x="155" y="385"/>
                  </a:lnTo>
                  <a:lnTo>
                    <a:pt x="155" y="385"/>
                  </a:lnTo>
                  <a:lnTo>
                    <a:pt x="151" y="381"/>
                  </a:lnTo>
                  <a:lnTo>
                    <a:pt x="147" y="381"/>
                  </a:lnTo>
                  <a:lnTo>
                    <a:pt x="147" y="381"/>
                  </a:lnTo>
                  <a:lnTo>
                    <a:pt x="147" y="381"/>
                  </a:lnTo>
                  <a:lnTo>
                    <a:pt x="147" y="381"/>
                  </a:lnTo>
                  <a:lnTo>
                    <a:pt x="142" y="381"/>
                  </a:lnTo>
                  <a:lnTo>
                    <a:pt x="142" y="381"/>
                  </a:lnTo>
                  <a:lnTo>
                    <a:pt x="147" y="385"/>
                  </a:lnTo>
                  <a:lnTo>
                    <a:pt x="147" y="385"/>
                  </a:lnTo>
                  <a:lnTo>
                    <a:pt x="147" y="390"/>
                  </a:lnTo>
                  <a:lnTo>
                    <a:pt x="147" y="390"/>
                  </a:lnTo>
                  <a:lnTo>
                    <a:pt x="147" y="390"/>
                  </a:lnTo>
                  <a:lnTo>
                    <a:pt x="147" y="390"/>
                  </a:lnTo>
                  <a:lnTo>
                    <a:pt x="151" y="394"/>
                  </a:lnTo>
                  <a:lnTo>
                    <a:pt x="151" y="394"/>
                  </a:lnTo>
                  <a:lnTo>
                    <a:pt x="151" y="394"/>
                  </a:lnTo>
                  <a:lnTo>
                    <a:pt x="151" y="398"/>
                  </a:lnTo>
                  <a:lnTo>
                    <a:pt x="151" y="398"/>
                  </a:lnTo>
                  <a:lnTo>
                    <a:pt x="151" y="398"/>
                  </a:lnTo>
                  <a:lnTo>
                    <a:pt x="151" y="398"/>
                  </a:lnTo>
                  <a:lnTo>
                    <a:pt x="151" y="398"/>
                  </a:lnTo>
                  <a:lnTo>
                    <a:pt x="151" y="398"/>
                  </a:lnTo>
                  <a:lnTo>
                    <a:pt x="147" y="398"/>
                  </a:lnTo>
                  <a:lnTo>
                    <a:pt x="147" y="398"/>
                  </a:lnTo>
                  <a:lnTo>
                    <a:pt x="147" y="398"/>
                  </a:lnTo>
                  <a:lnTo>
                    <a:pt x="147" y="398"/>
                  </a:lnTo>
                  <a:lnTo>
                    <a:pt x="147" y="398"/>
                  </a:lnTo>
                  <a:lnTo>
                    <a:pt x="147" y="398"/>
                  </a:lnTo>
                  <a:lnTo>
                    <a:pt x="147" y="398"/>
                  </a:lnTo>
                  <a:lnTo>
                    <a:pt x="147" y="398"/>
                  </a:lnTo>
                  <a:lnTo>
                    <a:pt x="147" y="398"/>
                  </a:lnTo>
                  <a:lnTo>
                    <a:pt x="142" y="398"/>
                  </a:lnTo>
                  <a:lnTo>
                    <a:pt x="142" y="398"/>
                  </a:lnTo>
                  <a:lnTo>
                    <a:pt x="142" y="398"/>
                  </a:lnTo>
                  <a:lnTo>
                    <a:pt x="142" y="403"/>
                  </a:lnTo>
                  <a:lnTo>
                    <a:pt x="142" y="398"/>
                  </a:lnTo>
                  <a:lnTo>
                    <a:pt x="142" y="403"/>
                  </a:lnTo>
                  <a:lnTo>
                    <a:pt x="138" y="403"/>
                  </a:lnTo>
                  <a:lnTo>
                    <a:pt x="138" y="403"/>
                  </a:lnTo>
                  <a:lnTo>
                    <a:pt x="138" y="403"/>
                  </a:lnTo>
                  <a:lnTo>
                    <a:pt x="138" y="407"/>
                  </a:lnTo>
                  <a:lnTo>
                    <a:pt x="138" y="407"/>
                  </a:lnTo>
                  <a:lnTo>
                    <a:pt x="133" y="407"/>
                  </a:lnTo>
                  <a:lnTo>
                    <a:pt x="133" y="407"/>
                  </a:lnTo>
                  <a:lnTo>
                    <a:pt x="129" y="407"/>
                  </a:lnTo>
                  <a:lnTo>
                    <a:pt x="129" y="407"/>
                  </a:lnTo>
                  <a:lnTo>
                    <a:pt x="129" y="403"/>
                  </a:lnTo>
                  <a:lnTo>
                    <a:pt x="129" y="403"/>
                  </a:lnTo>
                  <a:lnTo>
                    <a:pt x="124" y="398"/>
                  </a:lnTo>
                  <a:lnTo>
                    <a:pt x="124" y="398"/>
                  </a:lnTo>
                  <a:lnTo>
                    <a:pt x="124" y="398"/>
                  </a:lnTo>
                  <a:lnTo>
                    <a:pt x="124" y="394"/>
                  </a:lnTo>
                  <a:lnTo>
                    <a:pt x="124" y="394"/>
                  </a:lnTo>
                  <a:lnTo>
                    <a:pt x="120" y="394"/>
                  </a:lnTo>
                  <a:lnTo>
                    <a:pt x="120" y="390"/>
                  </a:lnTo>
                  <a:lnTo>
                    <a:pt x="120" y="390"/>
                  </a:lnTo>
                  <a:lnTo>
                    <a:pt x="116" y="390"/>
                  </a:lnTo>
                  <a:lnTo>
                    <a:pt x="116" y="390"/>
                  </a:lnTo>
                  <a:lnTo>
                    <a:pt x="116" y="390"/>
                  </a:lnTo>
                  <a:lnTo>
                    <a:pt x="116" y="385"/>
                  </a:lnTo>
                  <a:lnTo>
                    <a:pt x="116" y="385"/>
                  </a:lnTo>
                  <a:lnTo>
                    <a:pt x="116" y="385"/>
                  </a:lnTo>
                  <a:lnTo>
                    <a:pt x="116" y="385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07" y="381"/>
                  </a:lnTo>
                  <a:lnTo>
                    <a:pt x="107" y="381"/>
                  </a:lnTo>
                  <a:lnTo>
                    <a:pt x="107" y="381"/>
                  </a:lnTo>
                  <a:lnTo>
                    <a:pt x="107" y="381"/>
                  </a:lnTo>
                  <a:lnTo>
                    <a:pt x="107" y="381"/>
                  </a:lnTo>
                  <a:lnTo>
                    <a:pt x="107" y="381"/>
                  </a:lnTo>
                  <a:lnTo>
                    <a:pt x="107" y="381"/>
                  </a:lnTo>
                  <a:lnTo>
                    <a:pt x="111" y="381"/>
                  </a:lnTo>
                  <a:lnTo>
                    <a:pt x="111" y="376"/>
                  </a:lnTo>
                  <a:lnTo>
                    <a:pt x="111" y="376"/>
                  </a:lnTo>
                  <a:lnTo>
                    <a:pt x="111" y="376"/>
                  </a:lnTo>
                  <a:lnTo>
                    <a:pt x="111" y="376"/>
                  </a:lnTo>
                  <a:lnTo>
                    <a:pt x="111" y="376"/>
                  </a:lnTo>
                  <a:lnTo>
                    <a:pt x="111" y="376"/>
                  </a:lnTo>
                  <a:lnTo>
                    <a:pt x="116" y="376"/>
                  </a:lnTo>
                  <a:lnTo>
                    <a:pt x="116" y="376"/>
                  </a:lnTo>
                  <a:lnTo>
                    <a:pt x="116" y="376"/>
                  </a:lnTo>
                  <a:lnTo>
                    <a:pt x="116" y="372"/>
                  </a:lnTo>
                  <a:lnTo>
                    <a:pt x="120" y="372"/>
                  </a:lnTo>
                  <a:lnTo>
                    <a:pt x="116" y="372"/>
                  </a:lnTo>
                  <a:lnTo>
                    <a:pt x="116" y="372"/>
                  </a:lnTo>
                  <a:lnTo>
                    <a:pt x="120" y="372"/>
                  </a:lnTo>
                  <a:lnTo>
                    <a:pt x="120" y="372"/>
                  </a:lnTo>
                  <a:lnTo>
                    <a:pt x="120" y="372"/>
                  </a:lnTo>
                  <a:lnTo>
                    <a:pt x="120" y="372"/>
                  </a:lnTo>
                  <a:lnTo>
                    <a:pt x="120" y="372"/>
                  </a:lnTo>
                  <a:lnTo>
                    <a:pt x="120" y="372"/>
                  </a:lnTo>
                  <a:lnTo>
                    <a:pt x="120" y="367"/>
                  </a:lnTo>
                  <a:lnTo>
                    <a:pt x="120" y="367"/>
                  </a:lnTo>
                  <a:lnTo>
                    <a:pt x="116" y="363"/>
                  </a:lnTo>
                  <a:lnTo>
                    <a:pt x="111" y="363"/>
                  </a:lnTo>
                  <a:lnTo>
                    <a:pt x="111" y="363"/>
                  </a:lnTo>
                  <a:lnTo>
                    <a:pt x="111" y="363"/>
                  </a:lnTo>
                  <a:lnTo>
                    <a:pt x="107" y="363"/>
                  </a:lnTo>
                  <a:lnTo>
                    <a:pt x="107" y="363"/>
                  </a:lnTo>
                  <a:lnTo>
                    <a:pt x="107" y="363"/>
                  </a:lnTo>
                  <a:lnTo>
                    <a:pt x="107" y="363"/>
                  </a:lnTo>
                  <a:lnTo>
                    <a:pt x="107" y="363"/>
                  </a:lnTo>
                  <a:lnTo>
                    <a:pt x="107" y="363"/>
                  </a:lnTo>
                  <a:lnTo>
                    <a:pt x="102" y="363"/>
                  </a:lnTo>
                  <a:lnTo>
                    <a:pt x="102" y="363"/>
                  </a:lnTo>
                  <a:lnTo>
                    <a:pt x="98" y="367"/>
                  </a:lnTo>
                  <a:lnTo>
                    <a:pt x="98" y="367"/>
                  </a:lnTo>
                  <a:lnTo>
                    <a:pt x="98" y="367"/>
                  </a:lnTo>
                  <a:lnTo>
                    <a:pt x="98" y="367"/>
                  </a:lnTo>
                  <a:lnTo>
                    <a:pt x="98" y="367"/>
                  </a:lnTo>
                  <a:lnTo>
                    <a:pt x="98" y="367"/>
                  </a:lnTo>
                  <a:lnTo>
                    <a:pt x="98" y="363"/>
                  </a:lnTo>
                  <a:lnTo>
                    <a:pt x="98" y="363"/>
                  </a:lnTo>
                  <a:lnTo>
                    <a:pt x="98" y="363"/>
                  </a:lnTo>
                  <a:lnTo>
                    <a:pt x="98" y="363"/>
                  </a:lnTo>
                  <a:lnTo>
                    <a:pt x="98" y="359"/>
                  </a:lnTo>
                  <a:lnTo>
                    <a:pt x="93" y="359"/>
                  </a:lnTo>
                  <a:lnTo>
                    <a:pt x="93" y="359"/>
                  </a:lnTo>
                  <a:lnTo>
                    <a:pt x="89" y="359"/>
                  </a:lnTo>
                  <a:lnTo>
                    <a:pt x="89" y="359"/>
                  </a:lnTo>
                  <a:lnTo>
                    <a:pt x="89" y="359"/>
                  </a:lnTo>
                  <a:lnTo>
                    <a:pt x="85" y="354"/>
                  </a:lnTo>
                  <a:lnTo>
                    <a:pt x="85" y="354"/>
                  </a:lnTo>
                  <a:lnTo>
                    <a:pt x="85" y="354"/>
                  </a:lnTo>
                  <a:lnTo>
                    <a:pt x="85" y="354"/>
                  </a:lnTo>
                  <a:lnTo>
                    <a:pt x="80" y="354"/>
                  </a:lnTo>
                  <a:lnTo>
                    <a:pt x="80" y="354"/>
                  </a:lnTo>
                  <a:lnTo>
                    <a:pt x="80" y="354"/>
                  </a:lnTo>
                  <a:lnTo>
                    <a:pt x="80" y="354"/>
                  </a:lnTo>
                  <a:lnTo>
                    <a:pt x="80" y="354"/>
                  </a:lnTo>
                  <a:lnTo>
                    <a:pt x="67" y="350"/>
                  </a:lnTo>
                  <a:lnTo>
                    <a:pt x="67" y="350"/>
                  </a:lnTo>
                  <a:lnTo>
                    <a:pt x="67" y="350"/>
                  </a:lnTo>
                  <a:lnTo>
                    <a:pt x="67" y="350"/>
                  </a:lnTo>
                  <a:lnTo>
                    <a:pt x="62" y="354"/>
                  </a:lnTo>
                  <a:lnTo>
                    <a:pt x="62" y="354"/>
                  </a:lnTo>
                  <a:lnTo>
                    <a:pt x="62" y="354"/>
                  </a:lnTo>
                  <a:lnTo>
                    <a:pt x="62" y="350"/>
                  </a:lnTo>
                  <a:lnTo>
                    <a:pt x="62" y="350"/>
                  </a:lnTo>
                  <a:lnTo>
                    <a:pt x="62" y="350"/>
                  </a:lnTo>
                  <a:lnTo>
                    <a:pt x="62" y="350"/>
                  </a:lnTo>
                  <a:lnTo>
                    <a:pt x="62" y="345"/>
                  </a:lnTo>
                  <a:lnTo>
                    <a:pt x="62" y="345"/>
                  </a:lnTo>
                  <a:lnTo>
                    <a:pt x="62" y="345"/>
                  </a:lnTo>
                  <a:lnTo>
                    <a:pt x="58" y="345"/>
                  </a:lnTo>
                  <a:lnTo>
                    <a:pt x="58" y="345"/>
                  </a:lnTo>
                  <a:lnTo>
                    <a:pt x="58" y="345"/>
                  </a:lnTo>
                  <a:lnTo>
                    <a:pt x="58" y="341"/>
                  </a:lnTo>
                  <a:lnTo>
                    <a:pt x="58" y="341"/>
                  </a:lnTo>
                  <a:lnTo>
                    <a:pt x="58" y="341"/>
                  </a:lnTo>
                  <a:lnTo>
                    <a:pt x="58" y="336"/>
                  </a:lnTo>
                  <a:lnTo>
                    <a:pt x="58" y="336"/>
                  </a:lnTo>
                  <a:lnTo>
                    <a:pt x="58" y="336"/>
                  </a:lnTo>
                  <a:lnTo>
                    <a:pt x="58" y="336"/>
                  </a:lnTo>
                  <a:lnTo>
                    <a:pt x="54" y="336"/>
                  </a:lnTo>
                  <a:lnTo>
                    <a:pt x="54" y="332"/>
                  </a:lnTo>
                  <a:lnTo>
                    <a:pt x="54" y="332"/>
                  </a:lnTo>
                  <a:lnTo>
                    <a:pt x="54" y="332"/>
                  </a:lnTo>
                  <a:lnTo>
                    <a:pt x="54" y="332"/>
                  </a:lnTo>
                  <a:lnTo>
                    <a:pt x="49" y="332"/>
                  </a:lnTo>
                  <a:lnTo>
                    <a:pt x="49" y="332"/>
                  </a:lnTo>
                  <a:lnTo>
                    <a:pt x="49" y="336"/>
                  </a:lnTo>
                  <a:lnTo>
                    <a:pt x="49" y="336"/>
                  </a:lnTo>
                  <a:lnTo>
                    <a:pt x="49" y="336"/>
                  </a:lnTo>
                  <a:lnTo>
                    <a:pt x="49" y="332"/>
                  </a:lnTo>
                  <a:lnTo>
                    <a:pt x="49" y="332"/>
                  </a:lnTo>
                  <a:lnTo>
                    <a:pt x="45" y="332"/>
                  </a:lnTo>
                  <a:lnTo>
                    <a:pt x="45" y="332"/>
                  </a:lnTo>
                  <a:lnTo>
                    <a:pt x="45" y="332"/>
                  </a:lnTo>
                  <a:lnTo>
                    <a:pt x="45" y="332"/>
                  </a:lnTo>
                  <a:lnTo>
                    <a:pt x="45" y="332"/>
                  </a:lnTo>
                  <a:lnTo>
                    <a:pt x="45" y="332"/>
                  </a:lnTo>
                  <a:lnTo>
                    <a:pt x="45" y="332"/>
                  </a:lnTo>
                  <a:lnTo>
                    <a:pt x="45" y="332"/>
                  </a:lnTo>
                  <a:lnTo>
                    <a:pt x="40" y="332"/>
                  </a:lnTo>
                  <a:lnTo>
                    <a:pt x="40" y="332"/>
                  </a:lnTo>
                  <a:lnTo>
                    <a:pt x="45" y="336"/>
                  </a:lnTo>
                  <a:lnTo>
                    <a:pt x="45" y="336"/>
                  </a:lnTo>
                  <a:lnTo>
                    <a:pt x="45" y="336"/>
                  </a:lnTo>
                  <a:lnTo>
                    <a:pt x="45" y="341"/>
                  </a:lnTo>
                  <a:lnTo>
                    <a:pt x="45" y="341"/>
                  </a:lnTo>
                  <a:lnTo>
                    <a:pt x="45" y="341"/>
                  </a:lnTo>
                  <a:lnTo>
                    <a:pt x="45" y="341"/>
                  </a:lnTo>
                  <a:lnTo>
                    <a:pt x="45" y="341"/>
                  </a:lnTo>
                  <a:lnTo>
                    <a:pt x="45" y="341"/>
                  </a:lnTo>
                  <a:lnTo>
                    <a:pt x="45" y="341"/>
                  </a:lnTo>
                  <a:lnTo>
                    <a:pt x="45" y="345"/>
                  </a:lnTo>
                  <a:lnTo>
                    <a:pt x="45" y="345"/>
                  </a:lnTo>
                  <a:lnTo>
                    <a:pt x="36" y="345"/>
                  </a:lnTo>
                  <a:lnTo>
                    <a:pt x="36" y="345"/>
                  </a:lnTo>
                  <a:lnTo>
                    <a:pt x="36" y="345"/>
                  </a:lnTo>
                  <a:lnTo>
                    <a:pt x="36" y="345"/>
                  </a:lnTo>
                  <a:lnTo>
                    <a:pt x="36" y="341"/>
                  </a:lnTo>
                  <a:lnTo>
                    <a:pt x="36" y="341"/>
                  </a:lnTo>
                  <a:lnTo>
                    <a:pt x="40" y="332"/>
                  </a:lnTo>
                  <a:lnTo>
                    <a:pt x="40" y="328"/>
                  </a:lnTo>
                  <a:lnTo>
                    <a:pt x="40" y="328"/>
                  </a:lnTo>
                  <a:lnTo>
                    <a:pt x="40" y="328"/>
                  </a:lnTo>
                  <a:lnTo>
                    <a:pt x="40" y="323"/>
                  </a:lnTo>
                  <a:lnTo>
                    <a:pt x="45" y="323"/>
                  </a:lnTo>
                  <a:lnTo>
                    <a:pt x="45" y="323"/>
                  </a:lnTo>
                  <a:lnTo>
                    <a:pt x="45" y="323"/>
                  </a:lnTo>
                  <a:lnTo>
                    <a:pt x="45" y="323"/>
                  </a:lnTo>
                  <a:lnTo>
                    <a:pt x="45" y="319"/>
                  </a:lnTo>
                  <a:lnTo>
                    <a:pt x="45" y="319"/>
                  </a:lnTo>
                  <a:lnTo>
                    <a:pt x="45" y="314"/>
                  </a:lnTo>
                  <a:lnTo>
                    <a:pt x="45" y="314"/>
                  </a:lnTo>
                  <a:lnTo>
                    <a:pt x="45" y="314"/>
                  </a:lnTo>
                  <a:lnTo>
                    <a:pt x="45" y="314"/>
                  </a:lnTo>
                  <a:lnTo>
                    <a:pt x="45" y="310"/>
                  </a:lnTo>
                  <a:lnTo>
                    <a:pt x="45" y="310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0" y="305"/>
                  </a:lnTo>
                  <a:lnTo>
                    <a:pt x="40" y="305"/>
                  </a:lnTo>
                  <a:lnTo>
                    <a:pt x="40" y="305"/>
                  </a:lnTo>
                  <a:lnTo>
                    <a:pt x="40" y="301"/>
                  </a:lnTo>
                  <a:lnTo>
                    <a:pt x="40" y="297"/>
                  </a:lnTo>
                  <a:lnTo>
                    <a:pt x="40" y="297"/>
                  </a:lnTo>
                  <a:lnTo>
                    <a:pt x="40" y="297"/>
                  </a:lnTo>
                  <a:lnTo>
                    <a:pt x="40" y="297"/>
                  </a:lnTo>
                  <a:lnTo>
                    <a:pt x="40" y="292"/>
                  </a:lnTo>
                  <a:lnTo>
                    <a:pt x="40" y="292"/>
                  </a:lnTo>
                  <a:lnTo>
                    <a:pt x="36" y="292"/>
                  </a:lnTo>
                  <a:lnTo>
                    <a:pt x="36" y="292"/>
                  </a:lnTo>
                  <a:lnTo>
                    <a:pt x="36" y="292"/>
                  </a:lnTo>
                  <a:lnTo>
                    <a:pt x="36" y="292"/>
                  </a:lnTo>
                  <a:lnTo>
                    <a:pt x="31" y="292"/>
                  </a:lnTo>
                  <a:lnTo>
                    <a:pt x="31" y="288"/>
                  </a:lnTo>
                  <a:lnTo>
                    <a:pt x="27" y="288"/>
                  </a:lnTo>
                  <a:lnTo>
                    <a:pt x="27" y="288"/>
                  </a:lnTo>
                  <a:lnTo>
                    <a:pt x="31" y="288"/>
                  </a:lnTo>
                  <a:lnTo>
                    <a:pt x="31" y="283"/>
                  </a:lnTo>
                  <a:lnTo>
                    <a:pt x="31" y="283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1" y="274"/>
                  </a:lnTo>
                  <a:lnTo>
                    <a:pt x="27" y="274"/>
                  </a:lnTo>
                  <a:lnTo>
                    <a:pt x="27" y="274"/>
                  </a:lnTo>
                  <a:lnTo>
                    <a:pt x="27" y="270"/>
                  </a:lnTo>
                  <a:lnTo>
                    <a:pt x="27" y="270"/>
                  </a:lnTo>
                  <a:lnTo>
                    <a:pt x="23" y="266"/>
                  </a:lnTo>
                  <a:lnTo>
                    <a:pt x="23" y="266"/>
                  </a:lnTo>
                  <a:lnTo>
                    <a:pt x="23" y="266"/>
                  </a:lnTo>
                  <a:lnTo>
                    <a:pt x="23" y="266"/>
                  </a:lnTo>
                  <a:lnTo>
                    <a:pt x="23" y="261"/>
                  </a:lnTo>
                  <a:lnTo>
                    <a:pt x="27" y="261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31" y="248"/>
                  </a:lnTo>
                  <a:lnTo>
                    <a:pt x="31" y="248"/>
                  </a:lnTo>
                  <a:lnTo>
                    <a:pt x="31" y="243"/>
                  </a:lnTo>
                  <a:lnTo>
                    <a:pt x="31" y="243"/>
                  </a:lnTo>
                  <a:lnTo>
                    <a:pt x="31" y="243"/>
                  </a:lnTo>
                  <a:lnTo>
                    <a:pt x="31" y="243"/>
                  </a:lnTo>
                  <a:lnTo>
                    <a:pt x="27" y="239"/>
                  </a:lnTo>
                  <a:lnTo>
                    <a:pt x="27" y="239"/>
                  </a:lnTo>
                  <a:lnTo>
                    <a:pt x="27" y="235"/>
                  </a:lnTo>
                  <a:lnTo>
                    <a:pt x="27" y="235"/>
                  </a:lnTo>
                  <a:lnTo>
                    <a:pt x="27" y="235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27" y="226"/>
                  </a:lnTo>
                  <a:lnTo>
                    <a:pt x="27" y="226"/>
                  </a:lnTo>
                  <a:lnTo>
                    <a:pt x="27" y="226"/>
                  </a:lnTo>
                  <a:lnTo>
                    <a:pt x="23" y="226"/>
                  </a:lnTo>
                  <a:lnTo>
                    <a:pt x="23" y="226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17"/>
                  </a:lnTo>
                  <a:lnTo>
                    <a:pt x="18" y="212"/>
                  </a:lnTo>
                  <a:lnTo>
                    <a:pt x="23" y="208"/>
                  </a:lnTo>
                  <a:lnTo>
                    <a:pt x="23" y="208"/>
                  </a:lnTo>
                  <a:lnTo>
                    <a:pt x="27" y="208"/>
                  </a:lnTo>
                  <a:lnTo>
                    <a:pt x="27" y="204"/>
                  </a:lnTo>
                  <a:lnTo>
                    <a:pt x="23" y="204"/>
                  </a:lnTo>
                  <a:lnTo>
                    <a:pt x="23" y="204"/>
                  </a:lnTo>
                  <a:lnTo>
                    <a:pt x="27" y="199"/>
                  </a:lnTo>
                  <a:lnTo>
                    <a:pt x="23" y="199"/>
                  </a:lnTo>
                  <a:lnTo>
                    <a:pt x="23" y="199"/>
                  </a:lnTo>
                  <a:lnTo>
                    <a:pt x="23" y="195"/>
                  </a:lnTo>
                  <a:lnTo>
                    <a:pt x="18" y="195"/>
                  </a:lnTo>
                  <a:lnTo>
                    <a:pt x="18" y="190"/>
                  </a:lnTo>
                  <a:lnTo>
                    <a:pt x="14" y="190"/>
                  </a:lnTo>
                  <a:lnTo>
                    <a:pt x="14" y="190"/>
                  </a:lnTo>
                  <a:lnTo>
                    <a:pt x="14" y="186"/>
                  </a:lnTo>
                  <a:lnTo>
                    <a:pt x="14" y="186"/>
                  </a:lnTo>
                  <a:lnTo>
                    <a:pt x="5" y="181"/>
                  </a:lnTo>
                  <a:lnTo>
                    <a:pt x="5" y="181"/>
                  </a:lnTo>
                  <a:lnTo>
                    <a:pt x="5" y="177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5" y="164"/>
                  </a:lnTo>
                  <a:lnTo>
                    <a:pt x="9" y="159"/>
                  </a:lnTo>
                  <a:lnTo>
                    <a:pt x="9" y="159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14" y="150"/>
                  </a:lnTo>
                  <a:lnTo>
                    <a:pt x="14" y="150"/>
                  </a:lnTo>
                  <a:lnTo>
                    <a:pt x="14" y="150"/>
                  </a:lnTo>
                  <a:lnTo>
                    <a:pt x="14" y="146"/>
                  </a:lnTo>
                  <a:lnTo>
                    <a:pt x="14" y="146"/>
                  </a:lnTo>
                  <a:lnTo>
                    <a:pt x="14" y="146"/>
                  </a:lnTo>
                  <a:lnTo>
                    <a:pt x="14" y="146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3"/>
                  </a:lnTo>
                  <a:lnTo>
                    <a:pt x="14" y="133"/>
                  </a:lnTo>
                  <a:lnTo>
                    <a:pt x="9" y="128"/>
                  </a:lnTo>
                  <a:lnTo>
                    <a:pt x="9" y="124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1"/>
                  </a:lnTo>
                  <a:lnTo>
                    <a:pt x="9" y="111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2"/>
                  </a:lnTo>
                  <a:lnTo>
                    <a:pt x="5" y="102"/>
                  </a:lnTo>
                  <a:lnTo>
                    <a:pt x="5" y="102"/>
                  </a:lnTo>
                  <a:lnTo>
                    <a:pt x="5" y="102"/>
                  </a:lnTo>
                  <a:lnTo>
                    <a:pt x="5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97"/>
                  </a:lnTo>
                  <a:lnTo>
                    <a:pt x="5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5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102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18" y="106"/>
                  </a:lnTo>
                  <a:lnTo>
                    <a:pt x="23" y="106"/>
                  </a:lnTo>
                  <a:lnTo>
                    <a:pt x="23" y="111"/>
                  </a:lnTo>
                  <a:lnTo>
                    <a:pt x="23" y="111"/>
                  </a:lnTo>
                  <a:lnTo>
                    <a:pt x="23" y="111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3" y="102"/>
                  </a:lnTo>
                  <a:lnTo>
                    <a:pt x="23" y="97"/>
                  </a:lnTo>
                  <a:lnTo>
                    <a:pt x="23" y="93"/>
                  </a:lnTo>
                  <a:lnTo>
                    <a:pt x="23" y="93"/>
                  </a:lnTo>
                  <a:lnTo>
                    <a:pt x="23" y="93"/>
                  </a:lnTo>
                  <a:lnTo>
                    <a:pt x="23" y="93"/>
                  </a:lnTo>
                  <a:lnTo>
                    <a:pt x="23" y="93"/>
                  </a:lnTo>
                  <a:lnTo>
                    <a:pt x="23" y="93"/>
                  </a:lnTo>
                  <a:lnTo>
                    <a:pt x="23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93"/>
                  </a:lnTo>
                  <a:lnTo>
                    <a:pt x="23" y="93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5" y="88"/>
                  </a:lnTo>
                  <a:lnTo>
                    <a:pt x="5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9" y="80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8" y="75"/>
                  </a:lnTo>
                  <a:lnTo>
                    <a:pt x="31" y="71"/>
                  </a:lnTo>
                  <a:lnTo>
                    <a:pt x="45" y="66"/>
                  </a:lnTo>
                  <a:lnTo>
                    <a:pt x="58" y="62"/>
                  </a:lnTo>
                  <a:lnTo>
                    <a:pt x="71" y="57"/>
                  </a:lnTo>
                  <a:lnTo>
                    <a:pt x="80" y="57"/>
                  </a:lnTo>
                  <a:lnTo>
                    <a:pt x="89" y="53"/>
                  </a:lnTo>
                  <a:lnTo>
                    <a:pt x="98" y="49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2" y="53"/>
                  </a:lnTo>
                  <a:lnTo>
                    <a:pt x="107" y="49"/>
                  </a:lnTo>
                  <a:lnTo>
                    <a:pt x="107" y="49"/>
                  </a:lnTo>
                  <a:lnTo>
                    <a:pt x="107" y="49"/>
                  </a:lnTo>
                  <a:lnTo>
                    <a:pt x="107" y="49"/>
                  </a:lnTo>
                  <a:lnTo>
                    <a:pt x="107" y="49"/>
                  </a:lnTo>
                  <a:lnTo>
                    <a:pt x="107" y="49"/>
                  </a:lnTo>
                  <a:lnTo>
                    <a:pt x="107" y="49"/>
                  </a:lnTo>
                  <a:lnTo>
                    <a:pt x="107" y="49"/>
                  </a:lnTo>
                  <a:lnTo>
                    <a:pt x="107" y="49"/>
                  </a:lnTo>
                  <a:lnTo>
                    <a:pt x="107" y="49"/>
                  </a:lnTo>
                  <a:lnTo>
                    <a:pt x="107" y="49"/>
                  </a:lnTo>
                  <a:lnTo>
                    <a:pt x="107" y="49"/>
                  </a:lnTo>
                  <a:lnTo>
                    <a:pt x="107" y="49"/>
                  </a:lnTo>
                  <a:lnTo>
                    <a:pt x="107" y="44"/>
                  </a:lnTo>
                  <a:lnTo>
                    <a:pt x="111" y="40"/>
                  </a:lnTo>
                  <a:lnTo>
                    <a:pt x="111" y="44"/>
                  </a:lnTo>
                  <a:lnTo>
                    <a:pt x="111" y="44"/>
                  </a:lnTo>
                  <a:lnTo>
                    <a:pt x="111" y="44"/>
                  </a:lnTo>
                  <a:lnTo>
                    <a:pt x="111" y="44"/>
                  </a:lnTo>
                  <a:lnTo>
                    <a:pt x="111" y="44"/>
                  </a:lnTo>
                  <a:lnTo>
                    <a:pt x="111" y="44"/>
                  </a:lnTo>
                  <a:lnTo>
                    <a:pt x="111" y="44"/>
                  </a:lnTo>
                  <a:lnTo>
                    <a:pt x="116" y="44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1" y="40"/>
                  </a:lnTo>
                  <a:lnTo>
                    <a:pt x="111" y="40"/>
                  </a:lnTo>
                  <a:lnTo>
                    <a:pt x="116" y="40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4" y="31"/>
                  </a:lnTo>
                  <a:lnTo>
                    <a:pt x="124" y="31"/>
                  </a:lnTo>
                  <a:lnTo>
                    <a:pt x="124" y="31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0" y="26"/>
                  </a:lnTo>
                  <a:lnTo>
                    <a:pt x="124" y="26"/>
                  </a:lnTo>
                  <a:lnTo>
                    <a:pt x="129" y="22"/>
                  </a:lnTo>
                  <a:lnTo>
                    <a:pt x="138" y="22"/>
                  </a:lnTo>
                  <a:lnTo>
                    <a:pt x="142" y="22"/>
                  </a:lnTo>
                  <a:lnTo>
                    <a:pt x="147" y="22"/>
                  </a:lnTo>
                  <a:lnTo>
                    <a:pt x="147" y="18"/>
                  </a:lnTo>
                  <a:lnTo>
                    <a:pt x="151" y="13"/>
                  </a:lnTo>
                  <a:lnTo>
                    <a:pt x="160" y="9"/>
                  </a:lnTo>
                  <a:lnTo>
                    <a:pt x="169" y="4"/>
                  </a:lnTo>
                  <a:lnTo>
                    <a:pt x="178" y="4"/>
                  </a:lnTo>
                  <a:lnTo>
                    <a:pt x="186" y="4"/>
                  </a:lnTo>
                  <a:lnTo>
                    <a:pt x="191" y="0"/>
                  </a:lnTo>
                  <a:lnTo>
                    <a:pt x="195" y="0"/>
                  </a:lnTo>
                  <a:lnTo>
                    <a:pt x="213" y="0"/>
                  </a:lnTo>
                  <a:lnTo>
                    <a:pt x="217" y="0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26" y="0"/>
                  </a:lnTo>
                  <a:lnTo>
                    <a:pt x="244" y="13"/>
                  </a:lnTo>
                  <a:lnTo>
                    <a:pt x="244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4" y="22"/>
                  </a:lnTo>
                  <a:lnTo>
                    <a:pt x="244" y="18"/>
                  </a:lnTo>
                  <a:lnTo>
                    <a:pt x="244" y="18"/>
                  </a:lnTo>
                  <a:lnTo>
                    <a:pt x="244" y="18"/>
                  </a:lnTo>
                  <a:lnTo>
                    <a:pt x="244" y="18"/>
                  </a:lnTo>
                  <a:lnTo>
                    <a:pt x="244" y="18"/>
                  </a:lnTo>
                  <a:lnTo>
                    <a:pt x="244" y="13"/>
                  </a:lnTo>
                  <a:lnTo>
                    <a:pt x="239" y="9"/>
                  </a:lnTo>
                  <a:lnTo>
                    <a:pt x="239" y="9"/>
                  </a:lnTo>
                  <a:lnTo>
                    <a:pt x="239" y="9"/>
                  </a:lnTo>
                  <a:lnTo>
                    <a:pt x="235" y="9"/>
                  </a:lnTo>
                  <a:lnTo>
                    <a:pt x="235" y="9"/>
                  </a:lnTo>
                  <a:lnTo>
                    <a:pt x="235" y="9"/>
                  </a:lnTo>
                  <a:lnTo>
                    <a:pt x="231" y="4"/>
                  </a:lnTo>
                  <a:lnTo>
                    <a:pt x="231" y="4"/>
                  </a:lnTo>
                  <a:lnTo>
                    <a:pt x="231" y="4"/>
                  </a:lnTo>
                  <a:lnTo>
                    <a:pt x="226" y="4"/>
                  </a:lnTo>
                  <a:lnTo>
                    <a:pt x="226" y="4"/>
                  </a:lnTo>
                  <a:lnTo>
                    <a:pt x="226" y="4"/>
                  </a:lnTo>
                  <a:lnTo>
                    <a:pt x="226" y="4"/>
                  </a:lnTo>
                  <a:lnTo>
                    <a:pt x="226" y="4"/>
                  </a:lnTo>
                  <a:lnTo>
                    <a:pt x="226" y="9"/>
                  </a:lnTo>
                  <a:lnTo>
                    <a:pt x="226" y="9"/>
                  </a:lnTo>
                  <a:lnTo>
                    <a:pt x="226" y="9"/>
                  </a:lnTo>
                  <a:lnTo>
                    <a:pt x="226" y="9"/>
                  </a:lnTo>
                  <a:lnTo>
                    <a:pt x="226" y="9"/>
                  </a:lnTo>
                  <a:lnTo>
                    <a:pt x="226" y="9"/>
                  </a:lnTo>
                  <a:lnTo>
                    <a:pt x="226" y="13"/>
                  </a:lnTo>
                  <a:lnTo>
                    <a:pt x="226" y="13"/>
                  </a:lnTo>
                  <a:lnTo>
                    <a:pt x="226" y="13"/>
                  </a:lnTo>
                  <a:lnTo>
                    <a:pt x="226" y="13"/>
                  </a:lnTo>
                  <a:lnTo>
                    <a:pt x="226" y="13"/>
                  </a:lnTo>
                  <a:lnTo>
                    <a:pt x="226" y="18"/>
                  </a:lnTo>
                  <a:lnTo>
                    <a:pt x="226" y="18"/>
                  </a:lnTo>
                  <a:lnTo>
                    <a:pt x="231" y="18"/>
                  </a:lnTo>
                  <a:lnTo>
                    <a:pt x="231" y="18"/>
                  </a:lnTo>
                  <a:lnTo>
                    <a:pt x="231" y="18"/>
                  </a:lnTo>
                  <a:lnTo>
                    <a:pt x="231" y="18"/>
                  </a:lnTo>
                  <a:lnTo>
                    <a:pt x="231" y="18"/>
                  </a:lnTo>
                  <a:lnTo>
                    <a:pt x="231" y="22"/>
                  </a:lnTo>
                  <a:lnTo>
                    <a:pt x="231" y="26"/>
                  </a:lnTo>
                  <a:lnTo>
                    <a:pt x="231" y="26"/>
                  </a:lnTo>
                  <a:lnTo>
                    <a:pt x="231" y="31"/>
                  </a:lnTo>
                  <a:lnTo>
                    <a:pt x="235" y="35"/>
                  </a:lnTo>
                  <a:lnTo>
                    <a:pt x="235" y="35"/>
                  </a:lnTo>
                  <a:lnTo>
                    <a:pt x="235" y="35"/>
                  </a:lnTo>
                  <a:lnTo>
                    <a:pt x="235" y="35"/>
                  </a:lnTo>
                  <a:lnTo>
                    <a:pt x="235" y="35"/>
                  </a:lnTo>
                  <a:lnTo>
                    <a:pt x="239" y="35"/>
                  </a:lnTo>
                  <a:lnTo>
                    <a:pt x="239" y="35"/>
                  </a:lnTo>
                  <a:lnTo>
                    <a:pt x="239" y="40"/>
                  </a:lnTo>
                  <a:lnTo>
                    <a:pt x="239" y="40"/>
                  </a:lnTo>
                  <a:lnTo>
                    <a:pt x="239" y="40"/>
                  </a:lnTo>
                  <a:lnTo>
                    <a:pt x="248" y="44"/>
                  </a:lnTo>
                  <a:lnTo>
                    <a:pt x="253" y="44"/>
                  </a:lnTo>
                  <a:lnTo>
                    <a:pt x="253" y="40"/>
                  </a:lnTo>
                  <a:lnTo>
                    <a:pt x="253" y="44"/>
                  </a:lnTo>
                  <a:lnTo>
                    <a:pt x="253" y="44"/>
                  </a:lnTo>
                  <a:lnTo>
                    <a:pt x="257" y="44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4" y="35"/>
                  </a:lnTo>
                  <a:lnTo>
                    <a:pt x="284" y="35"/>
                  </a:lnTo>
                  <a:lnTo>
                    <a:pt x="288" y="35"/>
                  </a:lnTo>
                  <a:lnTo>
                    <a:pt x="288" y="31"/>
                  </a:lnTo>
                  <a:lnTo>
                    <a:pt x="288" y="35"/>
                  </a:lnTo>
                  <a:lnTo>
                    <a:pt x="293" y="35"/>
                  </a:lnTo>
                  <a:lnTo>
                    <a:pt x="297" y="35"/>
                  </a:lnTo>
                  <a:lnTo>
                    <a:pt x="306" y="35"/>
                  </a:lnTo>
                  <a:lnTo>
                    <a:pt x="315" y="35"/>
                  </a:lnTo>
                  <a:lnTo>
                    <a:pt x="328" y="35"/>
                  </a:lnTo>
                  <a:lnTo>
                    <a:pt x="341" y="35"/>
                  </a:lnTo>
                  <a:lnTo>
                    <a:pt x="359" y="40"/>
                  </a:lnTo>
                  <a:lnTo>
                    <a:pt x="377" y="40"/>
                  </a:lnTo>
                  <a:lnTo>
                    <a:pt x="386" y="40"/>
                  </a:lnTo>
                  <a:lnTo>
                    <a:pt x="399" y="40"/>
                  </a:lnTo>
                  <a:lnTo>
                    <a:pt x="417" y="40"/>
                  </a:lnTo>
                  <a:lnTo>
                    <a:pt x="430" y="44"/>
                  </a:lnTo>
                  <a:lnTo>
                    <a:pt x="439" y="44"/>
                  </a:lnTo>
                  <a:lnTo>
                    <a:pt x="452" y="44"/>
                  </a:lnTo>
                  <a:lnTo>
                    <a:pt x="452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61" y="40"/>
                  </a:lnTo>
                  <a:lnTo>
                    <a:pt x="461" y="40"/>
                  </a:lnTo>
                  <a:lnTo>
                    <a:pt x="461" y="40"/>
                  </a:lnTo>
                  <a:lnTo>
                    <a:pt x="465" y="40"/>
                  </a:lnTo>
                  <a:lnTo>
                    <a:pt x="465" y="40"/>
                  </a:lnTo>
                  <a:lnTo>
                    <a:pt x="465" y="40"/>
                  </a:lnTo>
                  <a:lnTo>
                    <a:pt x="465" y="40"/>
                  </a:lnTo>
                  <a:lnTo>
                    <a:pt x="465" y="40"/>
                  </a:lnTo>
                  <a:lnTo>
                    <a:pt x="465" y="44"/>
                  </a:lnTo>
                  <a:lnTo>
                    <a:pt x="465" y="44"/>
                  </a:lnTo>
                  <a:lnTo>
                    <a:pt x="470" y="44"/>
                  </a:lnTo>
                  <a:lnTo>
                    <a:pt x="470" y="44"/>
                  </a:lnTo>
                  <a:lnTo>
                    <a:pt x="470" y="44"/>
                  </a:lnTo>
                  <a:lnTo>
                    <a:pt x="470" y="44"/>
                  </a:lnTo>
                  <a:lnTo>
                    <a:pt x="470" y="44"/>
                  </a:lnTo>
                  <a:lnTo>
                    <a:pt x="470" y="49"/>
                  </a:lnTo>
                  <a:lnTo>
                    <a:pt x="470" y="49"/>
                  </a:lnTo>
                  <a:lnTo>
                    <a:pt x="470" y="49"/>
                  </a:lnTo>
                  <a:lnTo>
                    <a:pt x="474" y="49"/>
                  </a:lnTo>
                  <a:lnTo>
                    <a:pt x="474" y="49"/>
                  </a:lnTo>
                  <a:lnTo>
                    <a:pt x="478" y="49"/>
                  </a:lnTo>
                  <a:lnTo>
                    <a:pt x="478" y="53"/>
                  </a:lnTo>
                  <a:lnTo>
                    <a:pt x="483" y="53"/>
                  </a:lnTo>
                  <a:lnTo>
                    <a:pt x="483" y="53"/>
                  </a:lnTo>
                  <a:lnTo>
                    <a:pt x="483" y="53"/>
                  </a:lnTo>
                  <a:lnTo>
                    <a:pt x="487" y="57"/>
                  </a:lnTo>
                  <a:lnTo>
                    <a:pt x="487" y="57"/>
                  </a:lnTo>
                  <a:lnTo>
                    <a:pt x="487" y="57"/>
                  </a:lnTo>
                  <a:lnTo>
                    <a:pt x="487" y="57"/>
                  </a:lnTo>
                  <a:lnTo>
                    <a:pt x="487" y="57"/>
                  </a:lnTo>
                  <a:lnTo>
                    <a:pt x="487" y="57"/>
                  </a:lnTo>
                  <a:lnTo>
                    <a:pt x="492" y="62"/>
                  </a:lnTo>
                  <a:lnTo>
                    <a:pt x="492" y="62"/>
                  </a:lnTo>
                  <a:lnTo>
                    <a:pt x="492" y="62"/>
                  </a:lnTo>
                  <a:lnTo>
                    <a:pt x="492" y="66"/>
                  </a:lnTo>
                  <a:lnTo>
                    <a:pt x="492" y="71"/>
                  </a:lnTo>
                  <a:lnTo>
                    <a:pt x="492" y="71"/>
                  </a:lnTo>
                  <a:lnTo>
                    <a:pt x="492" y="75"/>
                  </a:lnTo>
                  <a:lnTo>
                    <a:pt x="492" y="75"/>
                  </a:lnTo>
                  <a:lnTo>
                    <a:pt x="492" y="75"/>
                  </a:lnTo>
                  <a:lnTo>
                    <a:pt x="492" y="75"/>
                  </a:lnTo>
                  <a:lnTo>
                    <a:pt x="492" y="75"/>
                  </a:lnTo>
                  <a:lnTo>
                    <a:pt x="492" y="75"/>
                  </a:lnTo>
                  <a:lnTo>
                    <a:pt x="492" y="75"/>
                  </a:lnTo>
                  <a:lnTo>
                    <a:pt x="492" y="80"/>
                  </a:lnTo>
                  <a:lnTo>
                    <a:pt x="492" y="80"/>
                  </a:lnTo>
                  <a:lnTo>
                    <a:pt x="492" y="80"/>
                  </a:lnTo>
                  <a:lnTo>
                    <a:pt x="492" y="80"/>
                  </a:lnTo>
                  <a:lnTo>
                    <a:pt x="492" y="80"/>
                  </a:lnTo>
                  <a:lnTo>
                    <a:pt x="492" y="84"/>
                  </a:lnTo>
                  <a:lnTo>
                    <a:pt x="492" y="84"/>
                  </a:lnTo>
                  <a:lnTo>
                    <a:pt x="492" y="88"/>
                  </a:lnTo>
                  <a:lnTo>
                    <a:pt x="492" y="88"/>
                  </a:lnTo>
                  <a:lnTo>
                    <a:pt x="496" y="93"/>
                  </a:lnTo>
                  <a:lnTo>
                    <a:pt x="496" y="93"/>
                  </a:lnTo>
                  <a:lnTo>
                    <a:pt x="496" y="97"/>
                  </a:lnTo>
                  <a:lnTo>
                    <a:pt x="496" y="97"/>
                  </a:lnTo>
                  <a:lnTo>
                    <a:pt x="496" y="97"/>
                  </a:lnTo>
                  <a:lnTo>
                    <a:pt x="496" y="102"/>
                  </a:lnTo>
                  <a:lnTo>
                    <a:pt x="496" y="111"/>
                  </a:lnTo>
                  <a:lnTo>
                    <a:pt x="501" y="124"/>
                  </a:lnTo>
                  <a:lnTo>
                    <a:pt x="505" y="128"/>
                  </a:lnTo>
                  <a:lnTo>
                    <a:pt x="505" y="128"/>
                  </a:lnTo>
                  <a:lnTo>
                    <a:pt x="509" y="137"/>
                  </a:lnTo>
                  <a:lnTo>
                    <a:pt x="509" y="142"/>
                  </a:lnTo>
                  <a:lnTo>
                    <a:pt x="509" y="142"/>
                  </a:lnTo>
                  <a:lnTo>
                    <a:pt x="509" y="142"/>
                  </a:lnTo>
                  <a:lnTo>
                    <a:pt x="509" y="146"/>
                  </a:lnTo>
                  <a:lnTo>
                    <a:pt x="509" y="146"/>
                  </a:lnTo>
                  <a:lnTo>
                    <a:pt x="514" y="146"/>
                  </a:lnTo>
                  <a:lnTo>
                    <a:pt x="514" y="146"/>
                  </a:lnTo>
                  <a:lnTo>
                    <a:pt x="514" y="150"/>
                  </a:lnTo>
                  <a:lnTo>
                    <a:pt x="514" y="150"/>
                  </a:lnTo>
                  <a:lnTo>
                    <a:pt x="514" y="150"/>
                  </a:lnTo>
                  <a:lnTo>
                    <a:pt x="514" y="155"/>
                  </a:lnTo>
                  <a:lnTo>
                    <a:pt x="509" y="155"/>
                  </a:lnTo>
                  <a:lnTo>
                    <a:pt x="509" y="155"/>
                  </a:lnTo>
                  <a:lnTo>
                    <a:pt x="514" y="159"/>
                  </a:lnTo>
                  <a:lnTo>
                    <a:pt x="514" y="159"/>
                  </a:lnTo>
                  <a:lnTo>
                    <a:pt x="514" y="159"/>
                  </a:lnTo>
                  <a:lnTo>
                    <a:pt x="514" y="164"/>
                  </a:lnTo>
                  <a:lnTo>
                    <a:pt x="514" y="164"/>
                  </a:lnTo>
                  <a:lnTo>
                    <a:pt x="514" y="164"/>
                  </a:lnTo>
                  <a:lnTo>
                    <a:pt x="514" y="168"/>
                  </a:lnTo>
                  <a:lnTo>
                    <a:pt x="514" y="168"/>
                  </a:lnTo>
                  <a:lnTo>
                    <a:pt x="514" y="168"/>
                  </a:lnTo>
                  <a:lnTo>
                    <a:pt x="514" y="168"/>
                  </a:lnTo>
                  <a:lnTo>
                    <a:pt x="514" y="168"/>
                  </a:lnTo>
                  <a:lnTo>
                    <a:pt x="514" y="168"/>
                  </a:lnTo>
                  <a:lnTo>
                    <a:pt x="514" y="173"/>
                  </a:lnTo>
                  <a:lnTo>
                    <a:pt x="514" y="173"/>
                  </a:lnTo>
                  <a:lnTo>
                    <a:pt x="514" y="173"/>
                  </a:lnTo>
                  <a:lnTo>
                    <a:pt x="514" y="181"/>
                  </a:lnTo>
                  <a:lnTo>
                    <a:pt x="514" y="186"/>
                  </a:lnTo>
                  <a:lnTo>
                    <a:pt x="514" y="190"/>
                  </a:lnTo>
                  <a:lnTo>
                    <a:pt x="514" y="190"/>
                  </a:lnTo>
                  <a:lnTo>
                    <a:pt x="505" y="195"/>
                  </a:lnTo>
                  <a:lnTo>
                    <a:pt x="496" y="199"/>
                  </a:lnTo>
                  <a:lnTo>
                    <a:pt x="492" y="199"/>
                  </a:lnTo>
                  <a:lnTo>
                    <a:pt x="487" y="204"/>
                  </a:lnTo>
                  <a:lnTo>
                    <a:pt x="478" y="217"/>
                  </a:lnTo>
                  <a:lnTo>
                    <a:pt x="478" y="217"/>
                  </a:lnTo>
                  <a:lnTo>
                    <a:pt x="478" y="217"/>
                  </a:lnTo>
                  <a:lnTo>
                    <a:pt x="474" y="226"/>
                  </a:lnTo>
                  <a:lnTo>
                    <a:pt x="474" y="226"/>
                  </a:lnTo>
                  <a:lnTo>
                    <a:pt x="474" y="226"/>
                  </a:lnTo>
                  <a:lnTo>
                    <a:pt x="474" y="226"/>
                  </a:lnTo>
                  <a:lnTo>
                    <a:pt x="478" y="226"/>
                  </a:lnTo>
                  <a:lnTo>
                    <a:pt x="478" y="226"/>
                  </a:lnTo>
                  <a:lnTo>
                    <a:pt x="474" y="230"/>
                  </a:lnTo>
                  <a:lnTo>
                    <a:pt x="478" y="230"/>
                  </a:lnTo>
                  <a:lnTo>
                    <a:pt x="483" y="230"/>
                  </a:lnTo>
                  <a:lnTo>
                    <a:pt x="483" y="230"/>
                  </a:lnTo>
                  <a:lnTo>
                    <a:pt x="483" y="230"/>
                  </a:lnTo>
                  <a:lnTo>
                    <a:pt x="487" y="230"/>
                  </a:lnTo>
                  <a:lnTo>
                    <a:pt x="487" y="230"/>
                  </a:lnTo>
                  <a:lnTo>
                    <a:pt x="487" y="230"/>
                  </a:lnTo>
                  <a:lnTo>
                    <a:pt x="487" y="235"/>
                  </a:lnTo>
                  <a:lnTo>
                    <a:pt x="487" y="235"/>
                  </a:lnTo>
                  <a:lnTo>
                    <a:pt x="487" y="235"/>
                  </a:lnTo>
                  <a:lnTo>
                    <a:pt x="487" y="235"/>
                  </a:lnTo>
                  <a:lnTo>
                    <a:pt x="487" y="235"/>
                  </a:lnTo>
                  <a:lnTo>
                    <a:pt x="487" y="235"/>
                  </a:lnTo>
                  <a:lnTo>
                    <a:pt x="492" y="235"/>
                  </a:lnTo>
                  <a:lnTo>
                    <a:pt x="492" y="235"/>
                  </a:lnTo>
                  <a:lnTo>
                    <a:pt x="492" y="235"/>
                  </a:lnTo>
                  <a:lnTo>
                    <a:pt x="492" y="235"/>
                  </a:lnTo>
                  <a:lnTo>
                    <a:pt x="492" y="235"/>
                  </a:lnTo>
                  <a:lnTo>
                    <a:pt x="492" y="235"/>
                  </a:lnTo>
                  <a:lnTo>
                    <a:pt x="492" y="235"/>
                  </a:lnTo>
                  <a:lnTo>
                    <a:pt x="492" y="235"/>
                  </a:lnTo>
                  <a:lnTo>
                    <a:pt x="492" y="239"/>
                  </a:lnTo>
                  <a:lnTo>
                    <a:pt x="496" y="239"/>
                  </a:lnTo>
                  <a:lnTo>
                    <a:pt x="496" y="239"/>
                  </a:lnTo>
                  <a:lnTo>
                    <a:pt x="496" y="239"/>
                  </a:lnTo>
                  <a:lnTo>
                    <a:pt x="496" y="239"/>
                  </a:lnTo>
                  <a:lnTo>
                    <a:pt x="501" y="239"/>
                  </a:lnTo>
                  <a:lnTo>
                    <a:pt x="501" y="239"/>
                  </a:lnTo>
                  <a:lnTo>
                    <a:pt x="501" y="239"/>
                  </a:lnTo>
                  <a:lnTo>
                    <a:pt x="501" y="243"/>
                  </a:lnTo>
                  <a:lnTo>
                    <a:pt x="501" y="243"/>
                  </a:lnTo>
                  <a:lnTo>
                    <a:pt x="501" y="243"/>
                  </a:lnTo>
                  <a:lnTo>
                    <a:pt x="501" y="243"/>
                  </a:lnTo>
                  <a:lnTo>
                    <a:pt x="501" y="248"/>
                  </a:lnTo>
                  <a:lnTo>
                    <a:pt x="501" y="248"/>
                  </a:lnTo>
                  <a:lnTo>
                    <a:pt x="501" y="248"/>
                  </a:lnTo>
                  <a:lnTo>
                    <a:pt x="501" y="252"/>
                  </a:lnTo>
                  <a:lnTo>
                    <a:pt x="501" y="252"/>
                  </a:lnTo>
                  <a:lnTo>
                    <a:pt x="501" y="257"/>
                  </a:lnTo>
                  <a:lnTo>
                    <a:pt x="501" y="257"/>
                  </a:lnTo>
                  <a:lnTo>
                    <a:pt x="501" y="257"/>
                  </a:lnTo>
                  <a:lnTo>
                    <a:pt x="501" y="257"/>
                  </a:lnTo>
                  <a:lnTo>
                    <a:pt x="501" y="257"/>
                  </a:lnTo>
                  <a:lnTo>
                    <a:pt x="501" y="257"/>
                  </a:lnTo>
                  <a:lnTo>
                    <a:pt x="501" y="261"/>
                  </a:lnTo>
                  <a:lnTo>
                    <a:pt x="501" y="261"/>
                  </a:lnTo>
                  <a:lnTo>
                    <a:pt x="496" y="261"/>
                  </a:lnTo>
                  <a:lnTo>
                    <a:pt x="496" y="261"/>
                  </a:lnTo>
                  <a:lnTo>
                    <a:pt x="501" y="266"/>
                  </a:lnTo>
                  <a:lnTo>
                    <a:pt x="501" y="266"/>
                  </a:lnTo>
                  <a:lnTo>
                    <a:pt x="501" y="266"/>
                  </a:lnTo>
                  <a:lnTo>
                    <a:pt x="496" y="270"/>
                  </a:lnTo>
                  <a:lnTo>
                    <a:pt x="496" y="270"/>
                  </a:lnTo>
                  <a:lnTo>
                    <a:pt x="496" y="270"/>
                  </a:lnTo>
                  <a:lnTo>
                    <a:pt x="496" y="270"/>
                  </a:lnTo>
                  <a:lnTo>
                    <a:pt x="496" y="270"/>
                  </a:lnTo>
                  <a:lnTo>
                    <a:pt x="496" y="274"/>
                  </a:lnTo>
                  <a:lnTo>
                    <a:pt x="496" y="274"/>
                  </a:lnTo>
                  <a:lnTo>
                    <a:pt x="496" y="274"/>
                  </a:lnTo>
                  <a:lnTo>
                    <a:pt x="496" y="274"/>
                  </a:lnTo>
                  <a:lnTo>
                    <a:pt x="496" y="274"/>
                  </a:lnTo>
                  <a:lnTo>
                    <a:pt x="496" y="274"/>
                  </a:lnTo>
                  <a:lnTo>
                    <a:pt x="496" y="274"/>
                  </a:lnTo>
                  <a:lnTo>
                    <a:pt x="496" y="274"/>
                  </a:lnTo>
                  <a:lnTo>
                    <a:pt x="496" y="279"/>
                  </a:lnTo>
                  <a:lnTo>
                    <a:pt x="496" y="279"/>
                  </a:lnTo>
                  <a:lnTo>
                    <a:pt x="496" y="279"/>
                  </a:lnTo>
                  <a:lnTo>
                    <a:pt x="496" y="279"/>
                  </a:lnTo>
                  <a:lnTo>
                    <a:pt x="496" y="279"/>
                  </a:lnTo>
                  <a:lnTo>
                    <a:pt x="496" y="279"/>
                  </a:lnTo>
                  <a:lnTo>
                    <a:pt x="496" y="279"/>
                  </a:lnTo>
                  <a:lnTo>
                    <a:pt x="496" y="283"/>
                  </a:lnTo>
                  <a:lnTo>
                    <a:pt x="496" y="283"/>
                  </a:lnTo>
                  <a:lnTo>
                    <a:pt x="496" y="283"/>
                  </a:lnTo>
                  <a:lnTo>
                    <a:pt x="496" y="288"/>
                  </a:lnTo>
                  <a:lnTo>
                    <a:pt x="496" y="288"/>
                  </a:lnTo>
                  <a:lnTo>
                    <a:pt x="496" y="288"/>
                  </a:lnTo>
                  <a:lnTo>
                    <a:pt x="496" y="288"/>
                  </a:lnTo>
                  <a:lnTo>
                    <a:pt x="496" y="288"/>
                  </a:lnTo>
                  <a:lnTo>
                    <a:pt x="496" y="288"/>
                  </a:lnTo>
                  <a:lnTo>
                    <a:pt x="496" y="288"/>
                  </a:lnTo>
                  <a:lnTo>
                    <a:pt x="496" y="292"/>
                  </a:lnTo>
                  <a:lnTo>
                    <a:pt x="501" y="292"/>
                  </a:lnTo>
                  <a:lnTo>
                    <a:pt x="501" y="292"/>
                  </a:lnTo>
                  <a:lnTo>
                    <a:pt x="501" y="292"/>
                  </a:lnTo>
                  <a:lnTo>
                    <a:pt x="501" y="292"/>
                  </a:lnTo>
                  <a:lnTo>
                    <a:pt x="501" y="297"/>
                  </a:lnTo>
                  <a:lnTo>
                    <a:pt x="501" y="297"/>
                  </a:lnTo>
                  <a:lnTo>
                    <a:pt x="501" y="297"/>
                  </a:lnTo>
                  <a:lnTo>
                    <a:pt x="505" y="301"/>
                  </a:lnTo>
                  <a:lnTo>
                    <a:pt x="501" y="301"/>
                  </a:lnTo>
                  <a:lnTo>
                    <a:pt x="501" y="301"/>
                  </a:lnTo>
                  <a:lnTo>
                    <a:pt x="501" y="301"/>
                  </a:lnTo>
                  <a:lnTo>
                    <a:pt x="501" y="301"/>
                  </a:lnTo>
                  <a:lnTo>
                    <a:pt x="501" y="301"/>
                  </a:lnTo>
                  <a:lnTo>
                    <a:pt x="501" y="305"/>
                  </a:lnTo>
                  <a:lnTo>
                    <a:pt x="501" y="305"/>
                  </a:lnTo>
                  <a:lnTo>
                    <a:pt x="501" y="305"/>
                  </a:lnTo>
                  <a:lnTo>
                    <a:pt x="501" y="310"/>
                  </a:lnTo>
                  <a:lnTo>
                    <a:pt x="501" y="310"/>
                  </a:lnTo>
                  <a:lnTo>
                    <a:pt x="501" y="310"/>
                  </a:lnTo>
                  <a:lnTo>
                    <a:pt x="501" y="310"/>
                  </a:lnTo>
                  <a:lnTo>
                    <a:pt x="505" y="314"/>
                  </a:lnTo>
                  <a:lnTo>
                    <a:pt x="505" y="319"/>
                  </a:lnTo>
                  <a:lnTo>
                    <a:pt x="509" y="319"/>
                  </a:lnTo>
                  <a:lnTo>
                    <a:pt x="514" y="323"/>
                  </a:lnTo>
                  <a:lnTo>
                    <a:pt x="514" y="323"/>
                  </a:lnTo>
                  <a:lnTo>
                    <a:pt x="509" y="323"/>
                  </a:lnTo>
                  <a:lnTo>
                    <a:pt x="509" y="323"/>
                  </a:lnTo>
                  <a:lnTo>
                    <a:pt x="514" y="323"/>
                  </a:lnTo>
                  <a:lnTo>
                    <a:pt x="514" y="328"/>
                  </a:lnTo>
                  <a:lnTo>
                    <a:pt x="514" y="328"/>
                  </a:lnTo>
                  <a:lnTo>
                    <a:pt x="514" y="332"/>
                  </a:lnTo>
                  <a:lnTo>
                    <a:pt x="514" y="332"/>
                  </a:lnTo>
                  <a:lnTo>
                    <a:pt x="514" y="332"/>
                  </a:lnTo>
                  <a:lnTo>
                    <a:pt x="514" y="332"/>
                  </a:lnTo>
                  <a:lnTo>
                    <a:pt x="514" y="332"/>
                  </a:lnTo>
                  <a:lnTo>
                    <a:pt x="514" y="332"/>
                  </a:lnTo>
                  <a:lnTo>
                    <a:pt x="518" y="336"/>
                  </a:lnTo>
                  <a:lnTo>
                    <a:pt x="518" y="336"/>
                  </a:lnTo>
                  <a:lnTo>
                    <a:pt x="518" y="336"/>
                  </a:lnTo>
                  <a:lnTo>
                    <a:pt x="518" y="336"/>
                  </a:lnTo>
                  <a:lnTo>
                    <a:pt x="518" y="336"/>
                  </a:lnTo>
                  <a:lnTo>
                    <a:pt x="523" y="341"/>
                  </a:lnTo>
                  <a:lnTo>
                    <a:pt x="527" y="345"/>
                  </a:lnTo>
                  <a:lnTo>
                    <a:pt x="527" y="345"/>
                  </a:lnTo>
                  <a:lnTo>
                    <a:pt x="527" y="345"/>
                  </a:lnTo>
                  <a:lnTo>
                    <a:pt x="523" y="345"/>
                  </a:lnTo>
                  <a:lnTo>
                    <a:pt x="523" y="345"/>
                  </a:lnTo>
                  <a:lnTo>
                    <a:pt x="523" y="350"/>
                  </a:lnTo>
                  <a:lnTo>
                    <a:pt x="518" y="345"/>
                  </a:lnTo>
                  <a:lnTo>
                    <a:pt x="518" y="345"/>
                  </a:lnTo>
                  <a:lnTo>
                    <a:pt x="518" y="35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89" name="Freeform 20"/>
            <p:cNvSpPr>
              <a:spLocks noEditPoints="1"/>
            </p:cNvSpPr>
            <p:nvPr/>
          </p:nvSpPr>
          <p:spPr bwMode="auto">
            <a:xfrm>
              <a:off x="2768600" y="4148138"/>
              <a:ext cx="323850" cy="379413"/>
            </a:xfrm>
            <a:custGeom>
              <a:avLst/>
              <a:gdLst>
                <a:gd name="T0" fmla="*/ 36 w 204"/>
                <a:gd name="T1" fmla="*/ 186 h 239"/>
                <a:gd name="T2" fmla="*/ 9 w 204"/>
                <a:gd name="T3" fmla="*/ 182 h 239"/>
                <a:gd name="T4" fmla="*/ 9 w 204"/>
                <a:gd name="T5" fmla="*/ 199 h 239"/>
                <a:gd name="T6" fmla="*/ 23 w 204"/>
                <a:gd name="T7" fmla="*/ 199 h 239"/>
                <a:gd name="T8" fmla="*/ 45 w 204"/>
                <a:gd name="T9" fmla="*/ 186 h 239"/>
                <a:gd name="T10" fmla="*/ 31 w 204"/>
                <a:gd name="T11" fmla="*/ 164 h 239"/>
                <a:gd name="T12" fmla="*/ 36 w 204"/>
                <a:gd name="T13" fmla="*/ 155 h 239"/>
                <a:gd name="T14" fmla="*/ 76 w 204"/>
                <a:gd name="T15" fmla="*/ 49 h 239"/>
                <a:gd name="T16" fmla="*/ 85 w 204"/>
                <a:gd name="T17" fmla="*/ 31 h 239"/>
                <a:gd name="T18" fmla="*/ 85 w 204"/>
                <a:gd name="T19" fmla="*/ 27 h 239"/>
                <a:gd name="T20" fmla="*/ 107 w 204"/>
                <a:gd name="T21" fmla="*/ 13 h 239"/>
                <a:gd name="T22" fmla="*/ 111 w 204"/>
                <a:gd name="T23" fmla="*/ 9 h 239"/>
                <a:gd name="T24" fmla="*/ 204 w 204"/>
                <a:gd name="T25" fmla="*/ 27 h 239"/>
                <a:gd name="T26" fmla="*/ 195 w 204"/>
                <a:gd name="T27" fmla="*/ 22 h 239"/>
                <a:gd name="T28" fmla="*/ 178 w 204"/>
                <a:gd name="T29" fmla="*/ 9 h 239"/>
                <a:gd name="T30" fmla="*/ 133 w 204"/>
                <a:gd name="T31" fmla="*/ 13 h 239"/>
                <a:gd name="T32" fmla="*/ 107 w 204"/>
                <a:gd name="T33" fmla="*/ 40 h 239"/>
                <a:gd name="T34" fmla="*/ 80 w 204"/>
                <a:gd name="T35" fmla="*/ 53 h 239"/>
                <a:gd name="T36" fmla="*/ 71 w 204"/>
                <a:gd name="T37" fmla="*/ 75 h 239"/>
                <a:gd name="T38" fmla="*/ 36 w 204"/>
                <a:gd name="T39" fmla="*/ 137 h 239"/>
                <a:gd name="T40" fmla="*/ 40 w 204"/>
                <a:gd name="T41" fmla="*/ 146 h 239"/>
                <a:gd name="T42" fmla="*/ 31 w 204"/>
                <a:gd name="T43" fmla="*/ 151 h 239"/>
                <a:gd name="T44" fmla="*/ 45 w 204"/>
                <a:gd name="T45" fmla="*/ 159 h 239"/>
                <a:gd name="T46" fmla="*/ 45 w 204"/>
                <a:gd name="T47" fmla="*/ 168 h 239"/>
                <a:gd name="T48" fmla="*/ 49 w 204"/>
                <a:gd name="T49" fmla="*/ 173 h 239"/>
                <a:gd name="T50" fmla="*/ 40 w 204"/>
                <a:gd name="T51" fmla="*/ 182 h 239"/>
                <a:gd name="T52" fmla="*/ 27 w 204"/>
                <a:gd name="T53" fmla="*/ 168 h 239"/>
                <a:gd name="T54" fmla="*/ 18 w 204"/>
                <a:gd name="T55" fmla="*/ 182 h 239"/>
                <a:gd name="T56" fmla="*/ 31 w 204"/>
                <a:gd name="T57" fmla="*/ 182 h 239"/>
                <a:gd name="T58" fmla="*/ 49 w 204"/>
                <a:gd name="T59" fmla="*/ 186 h 239"/>
                <a:gd name="T60" fmla="*/ 58 w 204"/>
                <a:gd name="T61" fmla="*/ 182 h 239"/>
                <a:gd name="T62" fmla="*/ 67 w 204"/>
                <a:gd name="T63" fmla="*/ 182 h 239"/>
                <a:gd name="T64" fmla="*/ 80 w 204"/>
                <a:gd name="T65" fmla="*/ 182 h 239"/>
                <a:gd name="T66" fmla="*/ 89 w 204"/>
                <a:gd name="T67" fmla="*/ 182 h 239"/>
                <a:gd name="T68" fmla="*/ 93 w 204"/>
                <a:gd name="T69" fmla="*/ 190 h 239"/>
                <a:gd name="T70" fmla="*/ 111 w 204"/>
                <a:gd name="T71" fmla="*/ 195 h 239"/>
                <a:gd name="T72" fmla="*/ 124 w 204"/>
                <a:gd name="T73" fmla="*/ 204 h 239"/>
                <a:gd name="T74" fmla="*/ 133 w 204"/>
                <a:gd name="T75" fmla="*/ 208 h 239"/>
                <a:gd name="T76" fmla="*/ 129 w 204"/>
                <a:gd name="T77" fmla="*/ 217 h 239"/>
                <a:gd name="T78" fmla="*/ 120 w 204"/>
                <a:gd name="T79" fmla="*/ 235 h 239"/>
                <a:gd name="T80" fmla="*/ 129 w 204"/>
                <a:gd name="T81" fmla="*/ 239 h 239"/>
                <a:gd name="T82" fmla="*/ 138 w 204"/>
                <a:gd name="T83" fmla="*/ 235 h 239"/>
                <a:gd name="T84" fmla="*/ 142 w 204"/>
                <a:gd name="T85" fmla="*/ 226 h 239"/>
                <a:gd name="T86" fmla="*/ 138 w 204"/>
                <a:gd name="T87" fmla="*/ 221 h 239"/>
                <a:gd name="T88" fmla="*/ 138 w 204"/>
                <a:gd name="T89" fmla="*/ 217 h 239"/>
                <a:gd name="T90" fmla="*/ 142 w 204"/>
                <a:gd name="T91" fmla="*/ 199 h 239"/>
                <a:gd name="T92" fmla="*/ 151 w 204"/>
                <a:gd name="T93" fmla="*/ 182 h 239"/>
                <a:gd name="T94" fmla="*/ 142 w 204"/>
                <a:gd name="T95" fmla="*/ 155 h 239"/>
                <a:gd name="T96" fmla="*/ 142 w 204"/>
                <a:gd name="T97" fmla="*/ 146 h 239"/>
                <a:gd name="T98" fmla="*/ 151 w 204"/>
                <a:gd name="T99" fmla="*/ 146 h 239"/>
                <a:gd name="T100" fmla="*/ 164 w 204"/>
                <a:gd name="T101" fmla="*/ 146 h 239"/>
                <a:gd name="T102" fmla="*/ 182 w 204"/>
                <a:gd name="T103" fmla="*/ 137 h 239"/>
                <a:gd name="T104" fmla="*/ 182 w 204"/>
                <a:gd name="T105" fmla="*/ 124 h 239"/>
                <a:gd name="T106" fmla="*/ 195 w 204"/>
                <a:gd name="T107" fmla="*/ 115 h 239"/>
                <a:gd name="T108" fmla="*/ 186 w 204"/>
                <a:gd name="T109" fmla="*/ 97 h 239"/>
                <a:gd name="T110" fmla="*/ 178 w 204"/>
                <a:gd name="T111" fmla="*/ 84 h 239"/>
                <a:gd name="T112" fmla="*/ 195 w 204"/>
                <a:gd name="T113" fmla="*/ 80 h 239"/>
                <a:gd name="T114" fmla="*/ 204 w 204"/>
                <a:gd name="T115" fmla="*/ 35 h 239"/>
                <a:gd name="T116" fmla="*/ 120 w 204"/>
                <a:gd name="T117" fmla="*/ 9 h 239"/>
                <a:gd name="T118" fmla="*/ 151 w 204"/>
                <a:gd name="T119" fmla="*/ 4 h 239"/>
                <a:gd name="T120" fmla="*/ 164 w 204"/>
                <a:gd name="T121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4" h="239">
                  <a:moveTo>
                    <a:pt x="45" y="186"/>
                  </a:moveTo>
                  <a:lnTo>
                    <a:pt x="45" y="186"/>
                  </a:lnTo>
                  <a:lnTo>
                    <a:pt x="45" y="190"/>
                  </a:lnTo>
                  <a:lnTo>
                    <a:pt x="40" y="186"/>
                  </a:lnTo>
                  <a:lnTo>
                    <a:pt x="40" y="186"/>
                  </a:lnTo>
                  <a:lnTo>
                    <a:pt x="40" y="186"/>
                  </a:lnTo>
                  <a:lnTo>
                    <a:pt x="40" y="186"/>
                  </a:lnTo>
                  <a:lnTo>
                    <a:pt x="40" y="186"/>
                  </a:lnTo>
                  <a:lnTo>
                    <a:pt x="40" y="186"/>
                  </a:lnTo>
                  <a:lnTo>
                    <a:pt x="40" y="186"/>
                  </a:lnTo>
                  <a:lnTo>
                    <a:pt x="36" y="186"/>
                  </a:lnTo>
                  <a:lnTo>
                    <a:pt x="36" y="186"/>
                  </a:lnTo>
                  <a:lnTo>
                    <a:pt x="36" y="186"/>
                  </a:lnTo>
                  <a:lnTo>
                    <a:pt x="36" y="186"/>
                  </a:lnTo>
                  <a:lnTo>
                    <a:pt x="36" y="186"/>
                  </a:lnTo>
                  <a:lnTo>
                    <a:pt x="36" y="186"/>
                  </a:lnTo>
                  <a:lnTo>
                    <a:pt x="31" y="186"/>
                  </a:lnTo>
                  <a:lnTo>
                    <a:pt x="27" y="190"/>
                  </a:lnTo>
                  <a:lnTo>
                    <a:pt x="27" y="190"/>
                  </a:lnTo>
                  <a:lnTo>
                    <a:pt x="27" y="190"/>
                  </a:lnTo>
                  <a:lnTo>
                    <a:pt x="23" y="190"/>
                  </a:lnTo>
                  <a:lnTo>
                    <a:pt x="23" y="190"/>
                  </a:lnTo>
                  <a:lnTo>
                    <a:pt x="18" y="186"/>
                  </a:lnTo>
                  <a:lnTo>
                    <a:pt x="14" y="186"/>
                  </a:lnTo>
                  <a:lnTo>
                    <a:pt x="9" y="182"/>
                  </a:lnTo>
                  <a:lnTo>
                    <a:pt x="9" y="182"/>
                  </a:lnTo>
                  <a:lnTo>
                    <a:pt x="9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90"/>
                  </a:lnTo>
                  <a:lnTo>
                    <a:pt x="0" y="190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5" y="199"/>
                  </a:lnTo>
                  <a:lnTo>
                    <a:pt x="5" y="199"/>
                  </a:lnTo>
                  <a:lnTo>
                    <a:pt x="5" y="199"/>
                  </a:lnTo>
                  <a:lnTo>
                    <a:pt x="5" y="199"/>
                  </a:lnTo>
                  <a:lnTo>
                    <a:pt x="9" y="199"/>
                  </a:lnTo>
                  <a:lnTo>
                    <a:pt x="9" y="199"/>
                  </a:lnTo>
                  <a:lnTo>
                    <a:pt x="9" y="195"/>
                  </a:lnTo>
                  <a:lnTo>
                    <a:pt x="9" y="195"/>
                  </a:lnTo>
                  <a:lnTo>
                    <a:pt x="9" y="195"/>
                  </a:lnTo>
                  <a:lnTo>
                    <a:pt x="9" y="195"/>
                  </a:lnTo>
                  <a:lnTo>
                    <a:pt x="14" y="195"/>
                  </a:lnTo>
                  <a:lnTo>
                    <a:pt x="14" y="195"/>
                  </a:lnTo>
                  <a:lnTo>
                    <a:pt x="14" y="195"/>
                  </a:lnTo>
                  <a:lnTo>
                    <a:pt x="18" y="195"/>
                  </a:lnTo>
                  <a:lnTo>
                    <a:pt x="23" y="195"/>
                  </a:lnTo>
                  <a:lnTo>
                    <a:pt x="23" y="195"/>
                  </a:lnTo>
                  <a:lnTo>
                    <a:pt x="23" y="199"/>
                  </a:lnTo>
                  <a:lnTo>
                    <a:pt x="23" y="199"/>
                  </a:lnTo>
                  <a:lnTo>
                    <a:pt x="23" y="199"/>
                  </a:lnTo>
                  <a:lnTo>
                    <a:pt x="27" y="199"/>
                  </a:lnTo>
                  <a:lnTo>
                    <a:pt x="27" y="199"/>
                  </a:lnTo>
                  <a:lnTo>
                    <a:pt x="31" y="199"/>
                  </a:lnTo>
                  <a:lnTo>
                    <a:pt x="31" y="199"/>
                  </a:lnTo>
                  <a:lnTo>
                    <a:pt x="36" y="199"/>
                  </a:lnTo>
                  <a:lnTo>
                    <a:pt x="40" y="195"/>
                  </a:lnTo>
                  <a:lnTo>
                    <a:pt x="45" y="195"/>
                  </a:lnTo>
                  <a:lnTo>
                    <a:pt x="45" y="190"/>
                  </a:lnTo>
                  <a:lnTo>
                    <a:pt x="45" y="190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5" y="186"/>
                  </a:lnTo>
                  <a:lnTo>
                    <a:pt x="45" y="186"/>
                  </a:lnTo>
                  <a:close/>
                  <a:moveTo>
                    <a:pt x="23" y="159"/>
                  </a:moveTo>
                  <a:lnTo>
                    <a:pt x="23" y="159"/>
                  </a:lnTo>
                  <a:lnTo>
                    <a:pt x="23" y="159"/>
                  </a:lnTo>
                  <a:lnTo>
                    <a:pt x="27" y="159"/>
                  </a:lnTo>
                  <a:lnTo>
                    <a:pt x="27" y="159"/>
                  </a:lnTo>
                  <a:lnTo>
                    <a:pt x="27" y="159"/>
                  </a:lnTo>
                  <a:lnTo>
                    <a:pt x="27" y="159"/>
                  </a:lnTo>
                  <a:lnTo>
                    <a:pt x="27" y="159"/>
                  </a:lnTo>
                  <a:lnTo>
                    <a:pt x="27" y="159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36" y="164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40" y="159"/>
                  </a:lnTo>
                  <a:lnTo>
                    <a:pt x="36" y="159"/>
                  </a:lnTo>
                  <a:lnTo>
                    <a:pt x="36" y="159"/>
                  </a:lnTo>
                  <a:lnTo>
                    <a:pt x="36" y="159"/>
                  </a:lnTo>
                  <a:lnTo>
                    <a:pt x="36" y="159"/>
                  </a:lnTo>
                  <a:lnTo>
                    <a:pt x="36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23" y="155"/>
                  </a:lnTo>
                  <a:lnTo>
                    <a:pt x="18" y="159"/>
                  </a:lnTo>
                  <a:lnTo>
                    <a:pt x="18" y="159"/>
                  </a:lnTo>
                  <a:lnTo>
                    <a:pt x="18" y="159"/>
                  </a:lnTo>
                  <a:lnTo>
                    <a:pt x="23" y="159"/>
                  </a:lnTo>
                  <a:close/>
                  <a:moveTo>
                    <a:pt x="76" y="49"/>
                  </a:moveTo>
                  <a:lnTo>
                    <a:pt x="76" y="49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35"/>
                  </a:lnTo>
                  <a:lnTo>
                    <a:pt x="85" y="35"/>
                  </a:lnTo>
                  <a:lnTo>
                    <a:pt x="85" y="35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5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6" y="49"/>
                  </a:lnTo>
                  <a:lnTo>
                    <a:pt x="76" y="49"/>
                  </a:lnTo>
                  <a:close/>
                  <a:moveTo>
                    <a:pt x="85" y="27"/>
                  </a:moveTo>
                  <a:lnTo>
                    <a:pt x="85" y="27"/>
                  </a:lnTo>
                  <a:lnTo>
                    <a:pt x="89" y="22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3" y="18"/>
                  </a:lnTo>
                  <a:lnTo>
                    <a:pt x="89" y="22"/>
                  </a:lnTo>
                  <a:lnTo>
                    <a:pt x="85" y="27"/>
                  </a:lnTo>
                  <a:lnTo>
                    <a:pt x="80" y="27"/>
                  </a:lnTo>
                  <a:lnTo>
                    <a:pt x="85" y="31"/>
                  </a:lnTo>
                  <a:lnTo>
                    <a:pt x="85" y="27"/>
                  </a:lnTo>
                  <a:close/>
                  <a:moveTo>
                    <a:pt x="98" y="18"/>
                  </a:moveTo>
                  <a:lnTo>
                    <a:pt x="107" y="13"/>
                  </a:lnTo>
                  <a:lnTo>
                    <a:pt x="107" y="13"/>
                  </a:lnTo>
                  <a:lnTo>
                    <a:pt x="111" y="13"/>
                  </a:lnTo>
                  <a:lnTo>
                    <a:pt x="111" y="13"/>
                  </a:lnTo>
                  <a:lnTo>
                    <a:pt x="116" y="13"/>
                  </a:lnTo>
                  <a:lnTo>
                    <a:pt x="116" y="9"/>
                  </a:lnTo>
                  <a:lnTo>
                    <a:pt x="116" y="9"/>
                  </a:lnTo>
                  <a:lnTo>
                    <a:pt x="116" y="9"/>
                  </a:lnTo>
                  <a:lnTo>
                    <a:pt x="116" y="9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8" y="18"/>
                  </a:lnTo>
                  <a:lnTo>
                    <a:pt x="98" y="18"/>
                  </a:lnTo>
                  <a:close/>
                  <a:moveTo>
                    <a:pt x="204" y="31"/>
                  </a:moveTo>
                  <a:lnTo>
                    <a:pt x="204" y="31"/>
                  </a:lnTo>
                  <a:lnTo>
                    <a:pt x="204" y="31"/>
                  </a:lnTo>
                  <a:lnTo>
                    <a:pt x="204" y="27"/>
                  </a:lnTo>
                  <a:lnTo>
                    <a:pt x="204" y="27"/>
                  </a:lnTo>
                  <a:lnTo>
                    <a:pt x="204" y="27"/>
                  </a:lnTo>
                  <a:lnTo>
                    <a:pt x="200" y="27"/>
                  </a:lnTo>
                  <a:lnTo>
                    <a:pt x="200" y="22"/>
                  </a:lnTo>
                  <a:lnTo>
                    <a:pt x="200" y="22"/>
                  </a:lnTo>
                  <a:lnTo>
                    <a:pt x="200" y="22"/>
                  </a:lnTo>
                  <a:lnTo>
                    <a:pt x="200" y="22"/>
                  </a:lnTo>
                  <a:lnTo>
                    <a:pt x="200" y="22"/>
                  </a:lnTo>
                  <a:lnTo>
                    <a:pt x="200" y="22"/>
                  </a:lnTo>
                  <a:lnTo>
                    <a:pt x="200" y="22"/>
                  </a:lnTo>
                  <a:lnTo>
                    <a:pt x="200" y="22"/>
                  </a:lnTo>
                  <a:lnTo>
                    <a:pt x="200" y="22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86" y="18"/>
                  </a:lnTo>
                  <a:lnTo>
                    <a:pt x="186" y="9"/>
                  </a:lnTo>
                  <a:lnTo>
                    <a:pt x="186" y="9"/>
                  </a:lnTo>
                  <a:lnTo>
                    <a:pt x="186" y="9"/>
                  </a:lnTo>
                  <a:lnTo>
                    <a:pt x="178" y="9"/>
                  </a:lnTo>
                  <a:lnTo>
                    <a:pt x="169" y="9"/>
                  </a:lnTo>
                  <a:lnTo>
                    <a:pt x="160" y="13"/>
                  </a:lnTo>
                  <a:lnTo>
                    <a:pt x="160" y="13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1" y="13"/>
                  </a:lnTo>
                  <a:lnTo>
                    <a:pt x="147" y="13"/>
                  </a:lnTo>
                  <a:lnTo>
                    <a:pt x="142" y="13"/>
                  </a:lnTo>
                  <a:lnTo>
                    <a:pt x="138" y="13"/>
                  </a:lnTo>
                  <a:lnTo>
                    <a:pt x="133" y="13"/>
                  </a:lnTo>
                  <a:lnTo>
                    <a:pt x="133" y="13"/>
                  </a:lnTo>
                  <a:lnTo>
                    <a:pt x="124" y="18"/>
                  </a:lnTo>
                  <a:lnTo>
                    <a:pt x="124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16" y="22"/>
                  </a:lnTo>
                  <a:lnTo>
                    <a:pt x="116" y="27"/>
                  </a:lnTo>
                  <a:lnTo>
                    <a:pt x="116" y="27"/>
                  </a:lnTo>
                  <a:lnTo>
                    <a:pt x="111" y="27"/>
                  </a:lnTo>
                  <a:lnTo>
                    <a:pt x="111" y="31"/>
                  </a:lnTo>
                  <a:lnTo>
                    <a:pt x="111" y="35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93" y="53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85" y="53"/>
                  </a:lnTo>
                  <a:lnTo>
                    <a:pt x="85" y="58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49"/>
                  </a:lnTo>
                  <a:lnTo>
                    <a:pt x="80" y="49"/>
                  </a:lnTo>
                  <a:lnTo>
                    <a:pt x="80" y="49"/>
                  </a:lnTo>
                  <a:lnTo>
                    <a:pt x="76" y="49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6" y="58"/>
                  </a:lnTo>
                  <a:lnTo>
                    <a:pt x="71" y="58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1" y="71"/>
                  </a:lnTo>
                  <a:lnTo>
                    <a:pt x="71" y="75"/>
                  </a:lnTo>
                  <a:lnTo>
                    <a:pt x="67" y="89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7"/>
                  </a:lnTo>
                  <a:lnTo>
                    <a:pt x="62" y="106"/>
                  </a:lnTo>
                  <a:lnTo>
                    <a:pt x="58" y="115"/>
                  </a:lnTo>
                  <a:lnTo>
                    <a:pt x="49" y="124"/>
                  </a:lnTo>
                  <a:lnTo>
                    <a:pt x="45" y="133"/>
                  </a:lnTo>
                  <a:lnTo>
                    <a:pt x="40" y="133"/>
                  </a:lnTo>
                  <a:lnTo>
                    <a:pt x="40" y="133"/>
                  </a:lnTo>
                  <a:lnTo>
                    <a:pt x="36" y="133"/>
                  </a:lnTo>
                  <a:lnTo>
                    <a:pt x="36" y="133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1" y="146"/>
                  </a:lnTo>
                  <a:lnTo>
                    <a:pt x="31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9"/>
                  </a:lnTo>
                  <a:lnTo>
                    <a:pt x="45" y="159"/>
                  </a:lnTo>
                  <a:lnTo>
                    <a:pt x="45" y="159"/>
                  </a:lnTo>
                  <a:lnTo>
                    <a:pt x="45" y="159"/>
                  </a:lnTo>
                  <a:lnTo>
                    <a:pt x="45" y="159"/>
                  </a:lnTo>
                  <a:lnTo>
                    <a:pt x="40" y="159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45" y="168"/>
                  </a:lnTo>
                  <a:lnTo>
                    <a:pt x="45" y="168"/>
                  </a:lnTo>
                  <a:lnTo>
                    <a:pt x="45" y="168"/>
                  </a:lnTo>
                  <a:lnTo>
                    <a:pt x="45" y="168"/>
                  </a:lnTo>
                  <a:lnTo>
                    <a:pt x="45" y="168"/>
                  </a:lnTo>
                  <a:lnTo>
                    <a:pt x="45" y="168"/>
                  </a:lnTo>
                  <a:lnTo>
                    <a:pt x="45" y="168"/>
                  </a:lnTo>
                  <a:lnTo>
                    <a:pt x="45" y="168"/>
                  </a:lnTo>
                  <a:lnTo>
                    <a:pt x="45" y="168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6" y="168"/>
                  </a:lnTo>
                  <a:lnTo>
                    <a:pt x="40" y="173"/>
                  </a:lnTo>
                  <a:lnTo>
                    <a:pt x="40" y="173"/>
                  </a:lnTo>
                  <a:lnTo>
                    <a:pt x="40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9" y="177"/>
                  </a:lnTo>
                  <a:lnTo>
                    <a:pt x="49" y="177"/>
                  </a:lnTo>
                  <a:lnTo>
                    <a:pt x="49" y="177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0" y="182"/>
                  </a:lnTo>
                  <a:lnTo>
                    <a:pt x="40" y="182"/>
                  </a:lnTo>
                  <a:lnTo>
                    <a:pt x="40" y="182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36" y="173"/>
                  </a:lnTo>
                  <a:lnTo>
                    <a:pt x="36" y="173"/>
                  </a:lnTo>
                  <a:lnTo>
                    <a:pt x="27" y="173"/>
                  </a:lnTo>
                  <a:lnTo>
                    <a:pt x="27" y="173"/>
                  </a:lnTo>
                  <a:lnTo>
                    <a:pt x="31" y="173"/>
                  </a:lnTo>
                  <a:lnTo>
                    <a:pt x="31" y="173"/>
                  </a:lnTo>
                  <a:lnTo>
                    <a:pt x="31" y="168"/>
                  </a:lnTo>
                  <a:lnTo>
                    <a:pt x="31" y="168"/>
                  </a:lnTo>
                  <a:lnTo>
                    <a:pt x="31" y="168"/>
                  </a:lnTo>
                  <a:lnTo>
                    <a:pt x="27" y="168"/>
                  </a:lnTo>
                  <a:lnTo>
                    <a:pt x="27" y="168"/>
                  </a:lnTo>
                  <a:lnTo>
                    <a:pt x="27" y="168"/>
                  </a:lnTo>
                  <a:lnTo>
                    <a:pt x="14" y="168"/>
                  </a:lnTo>
                  <a:lnTo>
                    <a:pt x="5" y="173"/>
                  </a:lnTo>
                  <a:lnTo>
                    <a:pt x="5" y="173"/>
                  </a:lnTo>
                  <a:lnTo>
                    <a:pt x="5" y="173"/>
                  </a:lnTo>
                  <a:lnTo>
                    <a:pt x="9" y="173"/>
                  </a:lnTo>
                  <a:lnTo>
                    <a:pt x="9" y="177"/>
                  </a:lnTo>
                  <a:lnTo>
                    <a:pt x="9" y="177"/>
                  </a:lnTo>
                  <a:lnTo>
                    <a:pt x="9" y="177"/>
                  </a:lnTo>
                  <a:lnTo>
                    <a:pt x="9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23" y="182"/>
                  </a:lnTo>
                  <a:lnTo>
                    <a:pt x="23" y="182"/>
                  </a:lnTo>
                  <a:lnTo>
                    <a:pt x="27" y="186"/>
                  </a:lnTo>
                  <a:lnTo>
                    <a:pt x="27" y="186"/>
                  </a:lnTo>
                  <a:lnTo>
                    <a:pt x="27" y="186"/>
                  </a:lnTo>
                  <a:lnTo>
                    <a:pt x="27" y="186"/>
                  </a:lnTo>
                  <a:lnTo>
                    <a:pt x="31" y="186"/>
                  </a:lnTo>
                  <a:lnTo>
                    <a:pt x="31" y="186"/>
                  </a:lnTo>
                  <a:lnTo>
                    <a:pt x="31" y="182"/>
                  </a:lnTo>
                  <a:lnTo>
                    <a:pt x="31" y="182"/>
                  </a:lnTo>
                  <a:lnTo>
                    <a:pt x="31" y="182"/>
                  </a:lnTo>
                  <a:lnTo>
                    <a:pt x="36" y="182"/>
                  </a:lnTo>
                  <a:lnTo>
                    <a:pt x="36" y="182"/>
                  </a:lnTo>
                  <a:lnTo>
                    <a:pt x="40" y="182"/>
                  </a:lnTo>
                  <a:lnTo>
                    <a:pt x="40" y="186"/>
                  </a:lnTo>
                  <a:lnTo>
                    <a:pt x="40" y="186"/>
                  </a:lnTo>
                  <a:lnTo>
                    <a:pt x="45" y="186"/>
                  </a:lnTo>
                  <a:lnTo>
                    <a:pt x="49" y="186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54" y="190"/>
                  </a:lnTo>
                  <a:lnTo>
                    <a:pt x="54" y="190"/>
                  </a:lnTo>
                  <a:lnTo>
                    <a:pt x="58" y="190"/>
                  </a:lnTo>
                  <a:lnTo>
                    <a:pt x="58" y="190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4" y="186"/>
                  </a:lnTo>
                  <a:lnTo>
                    <a:pt x="54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4" y="182"/>
                  </a:lnTo>
                  <a:lnTo>
                    <a:pt x="58" y="182"/>
                  </a:lnTo>
                  <a:lnTo>
                    <a:pt x="62" y="177"/>
                  </a:lnTo>
                  <a:lnTo>
                    <a:pt x="62" y="177"/>
                  </a:lnTo>
                  <a:lnTo>
                    <a:pt x="62" y="177"/>
                  </a:lnTo>
                  <a:lnTo>
                    <a:pt x="62" y="177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7" y="182"/>
                  </a:lnTo>
                  <a:lnTo>
                    <a:pt x="67" y="182"/>
                  </a:lnTo>
                  <a:lnTo>
                    <a:pt x="67" y="182"/>
                  </a:lnTo>
                  <a:lnTo>
                    <a:pt x="67" y="182"/>
                  </a:lnTo>
                  <a:lnTo>
                    <a:pt x="71" y="182"/>
                  </a:lnTo>
                  <a:lnTo>
                    <a:pt x="71" y="182"/>
                  </a:lnTo>
                  <a:lnTo>
                    <a:pt x="76" y="177"/>
                  </a:lnTo>
                  <a:lnTo>
                    <a:pt x="76" y="177"/>
                  </a:lnTo>
                  <a:lnTo>
                    <a:pt x="76" y="177"/>
                  </a:lnTo>
                  <a:lnTo>
                    <a:pt x="76" y="177"/>
                  </a:lnTo>
                  <a:lnTo>
                    <a:pt x="80" y="177"/>
                  </a:lnTo>
                  <a:lnTo>
                    <a:pt x="80" y="177"/>
                  </a:lnTo>
                  <a:lnTo>
                    <a:pt x="80" y="182"/>
                  </a:lnTo>
                  <a:lnTo>
                    <a:pt x="80" y="182"/>
                  </a:lnTo>
                  <a:lnTo>
                    <a:pt x="80" y="182"/>
                  </a:lnTo>
                  <a:lnTo>
                    <a:pt x="80" y="182"/>
                  </a:lnTo>
                  <a:lnTo>
                    <a:pt x="76" y="182"/>
                  </a:lnTo>
                  <a:lnTo>
                    <a:pt x="76" y="182"/>
                  </a:lnTo>
                  <a:lnTo>
                    <a:pt x="76" y="182"/>
                  </a:lnTo>
                  <a:lnTo>
                    <a:pt x="76" y="186"/>
                  </a:lnTo>
                  <a:lnTo>
                    <a:pt x="80" y="186"/>
                  </a:lnTo>
                  <a:lnTo>
                    <a:pt x="80" y="186"/>
                  </a:lnTo>
                  <a:lnTo>
                    <a:pt x="85" y="186"/>
                  </a:lnTo>
                  <a:lnTo>
                    <a:pt x="85" y="186"/>
                  </a:lnTo>
                  <a:lnTo>
                    <a:pt x="85" y="186"/>
                  </a:lnTo>
                  <a:lnTo>
                    <a:pt x="89" y="182"/>
                  </a:lnTo>
                  <a:lnTo>
                    <a:pt x="89" y="182"/>
                  </a:lnTo>
                  <a:lnTo>
                    <a:pt x="89" y="182"/>
                  </a:lnTo>
                  <a:lnTo>
                    <a:pt x="89" y="177"/>
                  </a:lnTo>
                  <a:lnTo>
                    <a:pt x="89" y="177"/>
                  </a:lnTo>
                  <a:lnTo>
                    <a:pt x="89" y="177"/>
                  </a:lnTo>
                  <a:lnTo>
                    <a:pt x="89" y="177"/>
                  </a:lnTo>
                  <a:lnTo>
                    <a:pt x="93" y="182"/>
                  </a:lnTo>
                  <a:lnTo>
                    <a:pt x="93" y="182"/>
                  </a:lnTo>
                  <a:lnTo>
                    <a:pt x="93" y="182"/>
                  </a:lnTo>
                  <a:lnTo>
                    <a:pt x="93" y="186"/>
                  </a:lnTo>
                  <a:lnTo>
                    <a:pt x="93" y="186"/>
                  </a:lnTo>
                  <a:lnTo>
                    <a:pt x="93" y="186"/>
                  </a:lnTo>
                  <a:lnTo>
                    <a:pt x="93" y="190"/>
                  </a:lnTo>
                  <a:lnTo>
                    <a:pt x="93" y="190"/>
                  </a:lnTo>
                  <a:lnTo>
                    <a:pt x="93" y="190"/>
                  </a:lnTo>
                  <a:lnTo>
                    <a:pt x="93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95"/>
                  </a:lnTo>
                  <a:lnTo>
                    <a:pt x="98" y="195"/>
                  </a:lnTo>
                  <a:lnTo>
                    <a:pt x="102" y="195"/>
                  </a:lnTo>
                  <a:lnTo>
                    <a:pt x="102" y="195"/>
                  </a:lnTo>
                  <a:lnTo>
                    <a:pt x="102" y="195"/>
                  </a:lnTo>
                  <a:lnTo>
                    <a:pt x="107" y="195"/>
                  </a:lnTo>
                  <a:lnTo>
                    <a:pt x="111" y="195"/>
                  </a:lnTo>
                  <a:lnTo>
                    <a:pt x="111" y="195"/>
                  </a:lnTo>
                  <a:lnTo>
                    <a:pt x="111" y="195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6" y="199"/>
                  </a:lnTo>
                  <a:lnTo>
                    <a:pt x="116" y="199"/>
                  </a:lnTo>
                  <a:lnTo>
                    <a:pt x="116" y="199"/>
                  </a:lnTo>
                  <a:lnTo>
                    <a:pt x="120" y="199"/>
                  </a:lnTo>
                  <a:lnTo>
                    <a:pt x="120" y="204"/>
                  </a:lnTo>
                  <a:lnTo>
                    <a:pt x="120" y="204"/>
                  </a:lnTo>
                  <a:lnTo>
                    <a:pt x="124" y="204"/>
                  </a:lnTo>
                  <a:lnTo>
                    <a:pt x="124" y="204"/>
                  </a:lnTo>
                  <a:lnTo>
                    <a:pt x="124" y="204"/>
                  </a:lnTo>
                  <a:lnTo>
                    <a:pt x="124" y="204"/>
                  </a:lnTo>
                  <a:lnTo>
                    <a:pt x="129" y="204"/>
                  </a:lnTo>
                  <a:lnTo>
                    <a:pt x="129" y="204"/>
                  </a:lnTo>
                  <a:lnTo>
                    <a:pt x="129" y="204"/>
                  </a:lnTo>
                  <a:lnTo>
                    <a:pt x="129" y="204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29" y="208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33" y="213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29" y="217"/>
                  </a:lnTo>
                  <a:lnTo>
                    <a:pt x="129" y="217"/>
                  </a:lnTo>
                  <a:lnTo>
                    <a:pt x="129" y="217"/>
                  </a:lnTo>
                  <a:lnTo>
                    <a:pt x="124" y="221"/>
                  </a:lnTo>
                  <a:lnTo>
                    <a:pt x="129" y="221"/>
                  </a:lnTo>
                  <a:lnTo>
                    <a:pt x="129" y="221"/>
                  </a:lnTo>
                  <a:lnTo>
                    <a:pt x="129" y="221"/>
                  </a:lnTo>
                  <a:lnTo>
                    <a:pt x="129" y="221"/>
                  </a:lnTo>
                  <a:lnTo>
                    <a:pt x="129" y="226"/>
                  </a:lnTo>
                  <a:lnTo>
                    <a:pt x="124" y="226"/>
                  </a:lnTo>
                  <a:lnTo>
                    <a:pt x="124" y="226"/>
                  </a:lnTo>
                  <a:lnTo>
                    <a:pt x="124" y="226"/>
                  </a:lnTo>
                  <a:lnTo>
                    <a:pt x="124" y="226"/>
                  </a:lnTo>
                  <a:lnTo>
                    <a:pt x="120" y="230"/>
                  </a:lnTo>
                  <a:lnTo>
                    <a:pt x="120" y="235"/>
                  </a:lnTo>
                  <a:lnTo>
                    <a:pt x="120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9" y="239"/>
                  </a:lnTo>
                  <a:lnTo>
                    <a:pt x="129" y="239"/>
                  </a:lnTo>
                  <a:lnTo>
                    <a:pt x="129" y="239"/>
                  </a:lnTo>
                  <a:lnTo>
                    <a:pt x="129" y="239"/>
                  </a:lnTo>
                  <a:lnTo>
                    <a:pt x="129" y="239"/>
                  </a:lnTo>
                  <a:lnTo>
                    <a:pt x="129" y="239"/>
                  </a:lnTo>
                  <a:lnTo>
                    <a:pt x="129" y="239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8" y="239"/>
                  </a:lnTo>
                  <a:lnTo>
                    <a:pt x="138" y="239"/>
                  </a:lnTo>
                  <a:lnTo>
                    <a:pt x="142" y="239"/>
                  </a:lnTo>
                  <a:lnTo>
                    <a:pt x="142" y="239"/>
                  </a:lnTo>
                  <a:lnTo>
                    <a:pt x="142" y="239"/>
                  </a:lnTo>
                  <a:lnTo>
                    <a:pt x="142" y="239"/>
                  </a:lnTo>
                  <a:lnTo>
                    <a:pt x="138" y="235"/>
                  </a:lnTo>
                  <a:lnTo>
                    <a:pt x="138" y="235"/>
                  </a:lnTo>
                  <a:lnTo>
                    <a:pt x="142" y="235"/>
                  </a:lnTo>
                  <a:lnTo>
                    <a:pt x="142" y="235"/>
                  </a:lnTo>
                  <a:lnTo>
                    <a:pt x="142" y="235"/>
                  </a:lnTo>
                  <a:lnTo>
                    <a:pt x="142" y="235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7" y="230"/>
                  </a:lnTo>
                  <a:lnTo>
                    <a:pt x="147" y="230"/>
                  </a:lnTo>
                  <a:lnTo>
                    <a:pt x="142" y="226"/>
                  </a:lnTo>
                  <a:lnTo>
                    <a:pt x="142" y="226"/>
                  </a:lnTo>
                  <a:lnTo>
                    <a:pt x="147" y="226"/>
                  </a:lnTo>
                  <a:lnTo>
                    <a:pt x="147" y="226"/>
                  </a:lnTo>
                  <a:lnTo>
                    <a:pt x="142" y="226"/>
                  </a:lnTo>
                  <a:lnTo>
                    <a:pt x="142" y="226"/>
                  </a:lnTo>
                  <a:lnTo>
                    <a:pt x="142" y="226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8" y="221"/>
                  </a:lnTo>
                  <a:lnTo>
                    <a:pt x="138" y="221"/>
                  </a:lnTo>
                  <a:lnTo>
                    <a:pt x="138" y="221"/>
                  </a:lnTo>
                  <a:lnTo>
                    <a:pt x="138" y="221"/>
                  </a:lnTo>
                  <a:lnTo>
                    <a:pt x="133" y="221"/>
                  </a:lnTo>
                  <a:lnTo>
                    <a:pt x="133" y="221"/>
                  </a:lnTo>
                  <a:lnTo>
                    <a:pt x="133" y="217"/>
                  </a:lnTo>
                  <a:lnTo>
                    <a:pt x="133" y="217"/>
                  </a:lnTo>
                  <a:lnTo>
                    <a:pt x="133" y="213"/>
                  </a:lnTo>
                  <a:lnTo>
                    <a:pt x="133" y="213"/>
                  </a:lnTo>
                  <a:lnTo>
                    <a:pt x="138" y="213"/>
                  </a:lnTo>
                  <a:lnTo>
                    <a:pt x="138" y="217"/>
                  </a:lnTo>
                  <a:lnTo>
                    <a:pt x="138" y="217"/>
                  </a:lnTo>
                  <a:lnTo>
                    <a:pt x="138" y="217"/>
                  </a:lnTo>
                  <a:lnTo>
                    <a:pt x="138" y="217"/>
                  </a:lnTo>
                  <a:lnTo>
                    <a:pt x="138" y="213"/>
                  </a:lnTo>
                  <a:lnTo>
                    <a:pt x="142" y="213"/>
                  </a:lnTo>
                  <a:lnTo>
                    <a:pt x="147" y="208"/>
                  </a:lnTo>
                  <a:lnTo>
                    <a:pt x="147" y="208"/>
                  </a:lnTo>
                  <a:lnTo>
                    <a:pt x="151" y="204"/>
                  </a:lnTo>
                  <a:lnTo>
                    <a:pt x="147" y="204"/>
                  </a:lnTo>
                  <a:lnTo>
                    <a:pt x="151" y="204"/>
                  </a:lnTo>
                  <a:lnTo>
                    <a:pt x="151" y="204"/>
                  </a:lnTo>
                  <a:lnTo>
                    <a:pt x="147" y="204"/>
                  </a:lnTo>
                  <a:lnTo>
                    <a:pt x="147" y="204"/>
                  </a:lnTo>
                  <a:lnTo>
                    <a:pt x="142" y="204"/>
                  </a:lnTo>
                  <a:lnTo>
                    <a:pt x="142" y="204"/>
                  </a:lnTo>
                  <a:lnTo>
                    <a:pt x="142" y="199"/>
                  </a:lnTo>
                  <a:lnTo>
                    <a:pt x="147" y="199"/>
                  </a:lnTo>
                  <a:lnTo>
                    <a:pt x="147" y="199"/>
                  </a:lnTo>
                  <a:lnTo>
                    <a:pt x="147" y="195"/>
                  </a:lnTo>
                  <a:lnTo>
                    <a:pt x="151" y="190"/>
                  </a:lnTo>
                  <a:lnTo>
                    <a:pt x="151" y="190"/>
                  </a:lnTo>
                  <a:lnTo>
                    <a:pt x="151" y="190"/>
                  </a:lnTo>
                  <a:lnTo>
                    <a:pt x="151" y="190"/>
                  </a:lnTo>
                  <a:lnTo>
                    <a:pt x="151" y="190"/>
                  </a:lnTo>
                  <a:lnTo>
                    <a:pt x="151" y="186"/>
                  </a:lnTo>
                  <a:lnTo>
                    <a:pt x="151" y="186"/>
                  </a:lnTo>
                  <a:lnTo>
                    <a:pt x="151" y="186"/>
                  </a:lnTo>
                  <a:lnTo>
                    <a:pt x="151" y="182"/>
                  </a:lnTo>
                  <a:lnTo>
                    <a:pt x="151" y="182"/>
                  </a:lnTo>
                  <a:lnTo>
                    <a:pt x="151" y="182"/>
                  </a:lnTo>
                  <a:lnTo>
                    <a:pt x="151" y="177"/>
                  </a:lnTo>
                  <a:lnTo>
                    <a:pt x="151" y="177"/>
                  </a:lnTo>
                  <a:lnTo>
                    <a:pt x="151" y="173"/>
                  </a:lnTo>
                  <a:lnTo>
                    <a:pt x="147" y="168"/>
                  </a:lnTo>
                  <a:lnTo>
                    <a:pt x="147" y="168"/>
                  </a:lnTo>
                  <a:lnTo>
                    <a:pt x="147" y="164"/>
                  </a:lnTo>
                  <a:lnTo>
                    <a:pt x="147" y="164"/>
                  </a:lnTo>
                  <a:lnTo>
                    <a:pt x="142" y="164"/>
                  </a:lnTo>
                  <a:lnTo>
                    <a:pt x="142" y="159"/>
                  </a:lnTo>
                  <a:lnTo>
                    <a:pt x="142" y="159"/>
                  </a:lnTo>
                  <a:lnTo>
                    <a:pt x="142" y="159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1"/>
                  </a:lnTo>
                  <a:lnTo>
                    <a:pt x="138" y="151"/>
                  </a:lnTo>
                  <a:lnTo>
                    <a:pt x="138" y="151"/>
                  </a:lnTo>
                  <a:lnTo>
                    <a:pt x="138" y="151"/>
                  </a:lnTo>
                  <a:lnTo>
                    <a:pt x="142" y="151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51" y="146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47" y="142"/>
                  </a:lnTo>
                  <a:lnTo>
                    <a:pt x="147" y="142"/>
                  </a:lnTo>
                  <a:lnTo>
                    <a:pt x="151" y="142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60" y="146"/>
                  </a:lnTo>
                  <a:lnTo>
                    <a:pt x="160" y="146"/>
                  </a:lnTo>
                  <a:lnTo>
                    <a:pt x="160" y="151"/>
                  </a:lnTo>
                  <a:lnTo>
                    <a:pt x="160" y="151"/>
                  </a:lnTo>
                  <a:lnTo>
                    <a:pt x="160" y="146"/>
                  </a:lnTo>
                  <a:lnTo>
                    <a:pt x="160" y="146"/>
                  </a:lnTo>
                  <a:lnTo>
                    <a:pt x="164" y="146"/>
                  </a:lnTo>
                  <a:lnTo>
                    <a:pt x="164" y="146"/>
                  </a:lnTo>
                  <a:lnTo>
                    <a:pt x="164" y="146"/>
                  </a:lnTo>
                  <a:lnTo>
                    <a:pt x="169" y="146"/>
                  </a:lnTo>
                  <a:lnTo>
                    <a:pt x="173" y="142"/>
                  </a:lnTo>
                  <a:lnTo>
                    <a:pt x="178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2" y="137"/>
                  </a:lnTo>
                  <a:lnTo>
                    <a:pt x="182" y="137"/>
                  </a:lnTo>
                  <a:lnTo>
                    <a:pt x="182" y="137"/>
                  </a:lnTo>
                  <a:lnTo>
                    <a:pt x="182" y="137"/>
                  </a:lnTo>
                  <a:lnTo>
                    <a:pt x="182" y="137"/>
                  </a:lnTo>
                  <a:lnTo>
                    <a:pt x="182" y="137"/>
                  </a:lnTo>
                  <a:lnTo>
                    <a:pt x="182" y="137"/>
                  </a:lnTo>
                  <a:lnTo>
                    <a:pt x="182" y="133"/>
                  </a:lnTo>
                  <a:lnTo>
                    <a:pt x="178" y="133"/>
                  </a:lnTo>
                  <a:lnTo>
                    <a:pt x="178" y="133"/>
                  </a:lnTo>
                  <a:lnTo>
                    <a:pt x="178" y="133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6" y="124"/>
                  </a:lnTo>
                  <a:lnTo>
                    <a:pt x="186" y="124"/>
                  </a:lnTo>
                  <a:lnTo>
                    <a:pt x="186" y="120"/>
                  </a:lnTo>
                  <a:lnTo>
                    <a:pt x="186" y="120"/>
                  </a:lnTo>
                  <a:lnTo>
                    <a:pt x="191" y="120"/>
                  </a:lnTo>
                  <a:lnTo>
                    <a:pt x="191" y="120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1"/>
                  </a:lnTo>
                  <a:lnTo>
                    <a:pt x="195" y="111"/>
                  </a:lnTo>
                  <a:lnTo>
                    <a:pt x="195" y="111"/>
                  </a:lnTo>
                  <a:lnTo>
                    <a:pt x="195" y="106"/>
                  </a:lnTo>
                  <a:lnTo>
                    <a:pt x="195" y="106"/>
                  </a:lnTo>
                  <a:lnTo>
                    <a:pt x="195" y="102"/>
                  </a:lnTo>
                  <a:lnTo>
                    <a:pt x="195" y="102"/>
                  </a:lnTo>
                  <a:lnTo>
                    <a:pt x="191" y="93"/>
                  </a:lnTo>
                  <a:lnTo>
                    <a:pt x="191" y="97"/>
                  </a:lnTo>
                  <a:lnTo>
                    <a:pt x="191" y="97"/>
                  </a:lnTo>
                  <a:lnTo>
                    <a:pt x="191" y="97"/>
                  </a:lnTo>
                  <a:lnTo>
                    <a:pt x="191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2" y="93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8" y="89"/>
                  </a:lnTo>
                  <a:lnTo>
                    <a:pt x="178" y="89"/>
                  </a:lnTo>
                  <a:lnTo>
                    <a:pt x="178" y="89"/>
                  </a:lnTo>
                  <a:lnTo>
                    <a:pt x="178" y="89"/>
                  </a:lnTo>
                  <a:lnTo>
                    <a:pt x="182" y="84"/>
                  </a:lnTo>
                  <a:lnTo>
                    <a:pt x="178" y="84"/>
                  </a:lnTo>
                  <a:lnTo>
                    <a:pt x="178" y="84"/>
                  </a:lnTo>
                  <a:lnTo>
                    <a:pt x="178" y="84"/>
                  </a:lnTo>
                  <a:lnTo>
                    <a:pt x="178" y="84"/>
                  </a:lnTo>
                  <a:lnTo>
                    <a:pt x="178" y="80"/>
                  </a:lnTo>
                  <a:lnTo>
                    <a:pt x="178" y="80"/>
                  </a:lnTo>
                  <a:lnTo>
                    <a:pt x="178" y="80"/>
                  </a:lnTo>
                  <a:lnTo>
                    <a:pt x="182" y="80"/>
                  </a:lnTo>
                  <a:lnTo>
                    <a:pt x="182" y="80"/>
                  </a:lnTo>
                  <a:lnTo>
                    <a:pt x="186" y="80"/>
                  </a:lnTo>
                  <a:lnTo>
                    <a:pt x="191" y="80"/>
                  </a:lnTo>
                  <a:lnTo>
                    <a:pt x="191" y="80"/>
                  </a:lnTo>
                  <a:lnTo>
                    <a:pt x="191" y="80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5" y="75"/>
                  </a:lnTo>
                  <a:lnTo>
                    <a:pt x="195" y="66"/>
                  </a:lnTo>
                  <a:lnTo>
                    <a:pt x="195" y="62"/>
                  </a:lnTo>
                  <a:lnTo>
                    <a:pt x="200" y="62"/>
                  </a:lnTo>
                  <a:lnTo>
                    <a:pt x="200" y="62"/>
                  </a:lnTo>
                  <a:lnTo>
                    <a:pt x="204" y="53"/>
                  </a:lnTo>
                  <a:lnTo>
                    <a:pt x="204" y="49"/>
                  </a:lnTo>
                  <a:lnTo>
                    <a:pt x="204" y="49"/>
                  </a:lnTo>
                  <a:lnTo>
                    <a:pt x="204" y="44"/>
                  </a:lnTo>
                  <a:lnTo>
                    <a:pt x="204" y="40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4" y="31"/>
                  </a:lnTo>
                  <a:close/>
                  <a:moveTo>
                    <a:pt x="124" y="9"/>
                  </a:moveTo>
                  <a:lnTo>
                    <a:pt x="129" y="9"/>
                  </a:lnTo>
                  <a:lnTo>
                    <a:pt x="129" y="9"/>
                  </a:lnTo>
                  <a:lnTo>
                    <a:pt x="133" y="9"/>
                  </a:lnTo>
                  <a:lnTo>
                    <a:pt x="138" y="9"/>
                  </a:lnTo>
                  <a:lnTo>
                    <a:pt x="138" y="4"/>
                  </a:lnTo>
                  <a:lnTo>
                    <a:pt x="124" y="4"/>
                  </a:lnTo>
                  <a:lnTo>
                    <a:pt x="124" y="4"/>
                  </a:lnTo>
                  <a:lnTo>
                    <a:pt x="124" y="9"/>
                  </a:lnTo>
                  <a:lnTo>
                    <a:pt x="120" y="9"/>
                  </a:lnTo>
                  <a:lnTo>
                    <a:pt x="124" y="9"/>
                  </a:lnTo>
                  <a:lnTo>
                    <a:pt x="124" y="9"/>
                  </a:lnTo>
                  <a:close/>
                  <a:moveTo>
                    <a:pt x="147" y="9"/>
                  </a:moveTo>
                  <a:lnTo>
                    <a:pt x="147" y="9"/>
                  </a:lnTo>
                  <a:lnTo>
                    <a:pt x="147" y="9"/>
                  </a:lnTo>
                  <a:lnTo>
                    <a:pt x="151" y="4"/>
                  </a:lnTo>
                  <a:lnTo>
                    <a:pt x="160" y="4"/>
                  </a:lnTo>
                  <a:lnTo>
                    <a:pt x="160" y="4"/>
                  </a:lnTo>
                  <a:lnTo>
                    <a:pt x="160" y="4"/>
                  </a:lnTo>
                  <a:lnTo>
                    <a:pt x="155" y="0"/>
                  </a:lnTo>
                  <a:lnTo>
                    <a:pt x="151" y="4"/>
                  </a:lnTo>
                  <a:lnTo>
                    <a:pt x="151" y="4"/>
                  </a:lnTo>
                  <a:lnTo>
                    <a:pt x="151" y="4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47" y="9"/>
                  </a:lnTo>
                  <a:close/>
                  <a:moveTo>
                    <a:pt x="164" y="0"/>
                  </a:moveTo>
                  <a:lnTo>
                    <a:pt x="169" y="0"/>
                  </a:lnTo>
                  <a:lnTo>
                    <a:pt x="169" y="0"/>
                  </a:lnTo>
                  <a:lnTo>
                    <a:pt x="169" y="0"/>
                  </a:lnTo>
                  <a:lnTo>
                    <a:pt x="169" y="0"/>
                  </a:lnTo>
                  <a:lnTo>
                    <a:pt x="169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90" name="Freeform 21"/>
            <p:cNvSpPr>
              <a:spLocks/>
            </p:cNvSpPr>
            <p:nvPr/>
          </p:nvSpPr>
          <p:spPr bwMode="auto">
            <a:xfrm>
              <a:off x="4033838" y="5413376"/>
              <a:ext cx="161925" cy="190500"/>
            </a:xfrm>
            <a:custGeom>
              <a:avLst/>
              <a:gdLst>
                <a:gd name="T0" fmla="*/ 89 w 102"/>
                <a:gd name="T1" fmla="*/ 40 h 120"/>
                <a:gd name="T2" fmla="*/ 80 w 102"/>
                <a:gd name="T3" fmla="*/ 35 h 120"/>
                <a:gd name="T4" fmla="*/ 75 w 102"/>
                <a:gd name="T5" fmla="*/ 31 h 120"/>
                <a:gd name="T6" fmla="*/ 71 w 102"/>
                <a:gd name="T7" fmla="*/ 31 h 120"/>
                <a:gd name="T8" fmla="*/ 62 w 102"/>
                <a:gd name="T9" fmla="*/ 27 h 120"/>
                <a:gd name="T10" fmla="*/ 58 w 102"/>
                <a:gd name="T11" fmla="*/ 22 h 120"/>
                <a:gd name="T12" fmla="*/ 49 w 102"/>
                <a:gd name="T13" fmla="*/ 13 h 120"/>
                <a:gd name="T14" fmla="*/ 36 w 102"/>
                <a:gd name="T15" fmla="*/ 0 h 120"/>
                <a:gd name="T16" fmla="*/ 31 w 102"/>
                <a:gd name="T17" fmla="*/ 0 h 120"/>
                <a:gd name="T18" fmla="*/ 27 w 102"/>
                <a:gd name="T19" fmla="*/ 4 h 120"/>
                <a:gd name="T20" fmla="*/ 27 w 102"/>
                <a:gd name="T21" fmla="*/ 4 h 120"/>
                <a:gd name="T22" fmla="*/ 27 w 102"/>
                <a:gd name="T23" fmla="*/ 9 h 120"/>
                <a:gd name="T24" fmla="*/ 31 w 102"/>
                <a:gd name="T25" fmla="*/ 18 h 120"/>
                <a:gd name="T26" fmla="*/ 27 w 102"/>
                <a:gd name="T27" fmla="*/ 22 h 120"/>
                <a:gd name="T28" fmla="*/ 27 w 102"/>
                <a:gd name="T29" fmla="*/ 18 h 120"/>
                <a:gd name="T30" fmla="*/ 22 w 102"/>
                <a:gd name="T31" fmla="*/ 13 h 120"/>
                <a:gd name="T32" fmla="*/ 13 w 102"/>
                <a:gd name="T33" fmla="*/ 22 h 120"/>
                <a:gd name="T34" fmla="*/ 9 w 102"/>
                <a:gd name="T35" fmla="*/ 40 h 120"/>
                <a:gd name="T36" fmla="*/ 0 w 102"/>
                <a:gd name="T37" fmla="*/ 44 h 120"/>
                <a:gd name="T38" fmla="*/ 0 w 102"/>
                <a:gd name="T39" fmla="*/ 53 h 120"/>
                <a:gd name="T40" fmla="*/ 5 w 102"/>
                <a:gd name="T41" fmla="*/ 62 h 120"/>
                <a:gd name="T42" fmla="*/ 5 w 102"/>
                <a:gd name="T43" fmla="*/ 66 h 120"/>
                <a:gd name="T44" fmla="*/ 0 w 102"/>
                <a:gd name="T45" fmla="*/ 71 h 120"/>
                <a:gd name="T46" fmla="*/ 0 w 102"/>
                <a:gd name="T47" fmla="*/ 75 h 120"/>
                <a:gd name="T48" fmla="*/ 5 w 102"/>
                <a:gd name="T49" fmla="*/ 80 h 120"/>
                <a:gd name="T50" fmla="*/ 5 w 102"/>
                <a:gd name="T51" fmla="*/ 80 h 120"/>
                <a:gd name="T52" fmla="*/ 13 w 102"/>
                <a:gd name="T53" fmla="*/ 80 h 120"/>
                <a:gd name="T54" fmla="*/ 9 w 102"/>
                <a:gd name="T55" fmla="*/ 80 h 120"/>
                <a:gd name="T56" fmla="*/ 9 w 102"/>
                <a:gd name="T57" fmla="*/ 84 h 120"/>
                <a:gd name="T58" fmla="*/ 9 w 102"/>
                <a:gd name="T59" fmla="*/ 84 h 120"/>
                <a:gd name="T60" fmla="*/ 13 w 102"/>
                <a:gd name="T61" fmla="*/ 84 h 120"/>
                <a:gd name="T62" fmla="*/ 13 w 102"/>
                <a:gd name="T63" fmla="*/ 89 h 120"/>
                <a:gd name="T64" fmla="*/ 18 w 102"/>
                <a:gd name="T65" fmla="*/ 93 h 120"/>
                <a:gd name="T66" fmla="*/ 18 w 102"/>
                <a:gd name="T67" fmla="*/ 89 h 120"/>
                <a:gd name="T68" fmla="*/ 22 w 102"/>
                <a:gd name="T69" fmla="*/ 89 h 120"/>
                <a:gd name="T70" fmla="*/ 27 w 102"/>
                <a:gd name="T71" fmla="*/ 97 h 120"/>
                <a:gd name="T72" fmla="*/ 31 w 102"/>
                <a:gd name="T73" fmla="*/ 102 h 120"/>
                <a:gd name="T74" fmla="*/ 36 w 102"/>
                <a:gd name="T75" fmla="*/ 106 h 120"/>
                <a:gd name="T76" fmla="*/ 40 w 102"/>
                <a:gd name="T77" fmla="*/ 115 h 120"/>
                <a:gd name="T78" fmla="*/ 40 w 102"/>
                <a:gd name="T79" fmla="*/ 115 h 120"/>
                <a:gd name="T80" fmla="*/ 49 w 102"/>
                <a:gd name="T81" fmla="*/ 120 h 120"/>
                <a:gd name="T82" fmla="*/ 49 w 102"/>
                <a:gd name="T83" fmla="*/ 115 h 120"/>
                <a:gd name="T84" fmla="*/ 49 w 102"/>
                <a:gd name="T85" fmla="*/ 115 h 120"/>
                <a:gd name="T86" fmla="*/ 49 w 102"/>
                <a:gd name="T87" fmla="*/ 111 h 120"/>
                <a:gd name="T88" fmla="*/ 49 w 102"/>
                <a:gd name="T89" fmla="*/ 102 h 120"/>
                <a:gd name="T90" fmla="*/ 44 w 102"/>
                <a:gd name="T91" fmla="*/ 97 h 120"/>
                <a:gd name="T92" fmla="*/ 53 w 102"/>
                <a:gd name="T93" fmla="*/ 84 h 120"/>
                <a:gd name="T94" fmla="*/ 58 w 102"/>
                <a:gd name="T95" fmla="*/ 75 h 120"/>
                <a:gd name="T96" fmla="*/ 62 w 102"/>
                <a:gd name="T97" fmla="*/ 71 h 120"/>
                <a:gd name="T98" fmla="*/ 62 w 102"/>
                <a:gd name="T99" fmla="*/ 66 h 120"/>
                <a:gd name="T100" fmla="*/ 67 w 102"/>
                <a:gd name="T101" fmla="*/ 71 h 120"/>
                <a:gd name="T102" fmla="*/ 67 w 102"/>
                <a:gd name="T103" fmla="*/ 71 h 120"/>
                <a:gd name="T104" fmla="*/ 71 w 102"/>
                <a:gd name="T105" fmla="*/ 80 h 120"/>
                <a:gd name="T106" fmla="*/ 75 w 102"/>
                <a:gd name="T107" fmla="*/ 75 h 120"/>
                <a:gd name="T108" fmla="*/ 84 w 102"/>
                <a:gd name="T109" fmla="*/ 71 h 120"/>
                <a:gd name="T110" fmla="*/ 89 w 102"/>
                <a:gd name="T111" fmla="*/ 66 h 120"/>
                <a:gd name="T112" fmla="*/ 84 w 102"/>
                <a:gd name="T113" fmla="*/ 58 h 120"/>
                <a:gd name="T114" fmla="*/ 89 w 102"/>
                <a:gd name="T115" fmla="*/ 58 h 120"/>
                <a:gd name="T116" fmla="*/ 93 w 102"/>
                <a:gd name="T117" fmla="*/ 53 h 120"/>
                <a:gd name="T118" fmla="*/ 102 w 102"/>
                <a:gd name="T119" fmla="*/ 4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2" h="120">
                  <a:moveTo>
                    <a:pt x="102" y="49"/>
                  </a:moveTo>
                  <a:lnTo>
                    <a:pt x="102" y="44"/>
                  </a:lnTo>
                  <a:lnTo>
                    <a:pt x="98" y="44"/>
                  </a:lnTo>
                  <a:lnTo>
                    <a:pt x="93" y="44"/>
                  </a:lnTo>
                  <a:lnTo>
                    <a:pt x="93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5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67" y="31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31" y="9"/>
                  </a:lnTo>
                  <a:lnTo>
                    <a:pt x="31" y="13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18" y="13"/>
                  </a:lnTo>
                  <a:lnTo>
                    <a:pt x="22" y="13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18" y="18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5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8"/>
                  </a:lnTo>
                  <a:lnTo>
                    <a:pt x="5" y="58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0" y="71"/>
                  </a:lnTo>
                  <a:lnTo>
                    <a:pt x="5" y="71"/>
                  </a:lnTo>
                  <a:lnTo>
                    <a:pt x="5" y="71"/>
                  </a:lnTo>
                  <a:lnTo>
                    <a:pt x="5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5" y="84"/>
                  </a:lnTo>
                  <a:lnTo>
                    <a:pt x="5" y="84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13" y="75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3" y="84"/>
                  </a:lnTo>
                  <a:lnTo>
                    <a:pt x="13" y="84"/>
                  </a:lnTo>
                  <a:lnTo>
                    <a:pt x="13" y="80"/>
                  </a:lnTo>
                  <a:lnTo>
                    <a:pt x="9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5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13" y="84"/>
                  </a:lnTo>
                  <a:lnTo>
                    <a:pt x="13" y="84"/>
                  </a:lnTo>
                  <a:lnTo>
                    <a:pt x="13" y="84"/>
                  </a:lnTo>
                  <a:lnTo>
                    <a:pt x="13" y="84"/>
                  </a:lnTo>
                  <a:lnTo>
                    <a:pt x="13" y="84"/>
                  </a:lnTo>
                  <a:lnTo>
                    <a:pt x="13" y="84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8" y="89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89"/>
                  </a:lnTo>
                  <a:lnTo>
                    <a:pt x="18" y="89"/>
                  </a:lnTo>
                  <a:lnTo>
                    <a:pt x="18" y="89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7" y="93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1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5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44" y="120"/>
                  </a:lnTo>
                  <a:lnTo>
                    <a:pt x="44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4" y="102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49" y="84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8" y="80"/>
                  </a:lnTo>
                  <a:lnTo>
                    <a:pt x="58" y="80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2" y="66"/>
                  </a:lnTo>
                  <a:lnTo>
                    <a:pt x="62" y="66"/>
                  </a:lnTo>
                  <a:lnTo>
                    <a:pt x="62" y="66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7" y="71"/>
                  </a:lnTo>
                  <a:lnTo>
                    <a:pt x="71" y="71"/>
                  </a:lnTo>
                  <a:lnTo>
                    <a:pt x="67" y="71"/>
                  </a:lnTo>
                  <a:lnTo>
                    <a:pt x="67" y="71"/>
                  </a:lnTo>
                  <a:lnTo>
                    <a:pt x="67" y="71"/>
                  </a:lnTo>
                  <a:lnTo>
                    <a:pt x="67" y="71"/>
                  </a:lnTo>
                  <a:lnTo>
                    <a:pt x="67" y="71"/>
                  </a:lnTo>
                  <a:lnTo>
                    <a:pt x="67" y="71"/>
                  </a:lnTo>
                  <a:lnTo>
                    <a:pt x="67" y="75"/>
                  </a:lnTo>
                  <a:lnTo>
                    <a:pt x="71" y="75"/>
                  </a:lnTo>
                  <a:lnTo>
                    <a:pt x="71" y="75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5" y="80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80" y="75"/>
                  </a:lnTo>
                  <a:lnTo>
                    <a:pt x="80" y="75"/>
                  </a:lnTo>
                  <a:lnTo>
                    <a:pt x="84" y="71"/>
                  </a:lnTo>
                  <a:lnTo>
                    <a:pt x="84" y="71"/>
                  </a:lnTo>
                  <a:lnTo>
                    <a:pt x="84" y="71"/>
                  </a:lnTo>
                  <a:lnTo>
                    <a:pt x="84" y="71"/>
                  </a:lnTo>
                  <a:lnTo>
                    <a:pt x="84" y="71"/>
                  </a:lnTo>
                  <a:lnTo>
                    <a:pt x="84" y="71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9" y="66"/>
                  </a:lnTo>
                  <a:lnTo>
                    <a:pt x="89" y="66"/>
                  </a:lnTo>
                  <a:lnTo>
                    <a:pt x="89" y="66"/>
                  </a:lnTo>
                  <a:lnTo>
                    <a:pt x="89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9" y="58"/>
                  </a:lnTo>
                  <a:lnTo>
                    <a:pt x="89" y="58"/>
                  </a:lnTo>
                  <a:lnTo>
                    <a:pt x="93" y="58"/>
                  </a:lnTo>
                  <a:lnTo>
                    <a:pt x="93" y="58"/>
                  </a:lnTo>
                  <a:lnTo>
                    <a:pt x="93" y="58"/>
                  </a:lnTo>
                  <a:lnTo>
                    <a:pt x="93" y="53"/>
                  </a:lnTo>
                  <a:lnTo>
                    <a:pt x="93" y="53"/>
                  </a:lnTo>
                  <a:lnTo>
                    <a:pt x="93" y="53"/>
                  </a:lnTo>
                  <a:lnTo>
                    <a:pt x="93" y="53"/>
                  </a:lnTo>
                  <a:lnTo>
                    <a:pt x="98" y="53"/>
                  </a:lnTo>
                  <a:lnTo>
                    <a:pt x="102" y="53"/>
                  </a:lnTo>
                  <a:lnTo>
                    <a:pt x="102" y="49"/>
                  </a:lnTo>
                  <a:lnTo>
                    <a:pt x="102" y="49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91" name="Freeform 22"/>
            <p:cNvSpPr>
              <a:spLocks/>
            </p:cNvSpPr>
            <p:nvPr/>
          </p:nvSpPr>
          <p:spPr bwMode="auto">
            <a:xfrm>
              <a:off x="3106738" y="5384801"/>
              <a:ext cx="6350" cy="7938"/>
            </a:xfrm>
            <a:custGeom>
              <a:avLst/>
              <a:gdLst>
                <a:gd name="T0" fmla="*/ 4 w 4"/>
                <a:gd name="T1" fmla="*/ 5 h 5"/>
                <a:gd name="T2" fmla="*/ 4 w 4"/>
                <a:gd name="T3" fmla="*/ 0 h 5"/>
                <a:gd name="T4" fmla="*/ 0 w 4"/>
                <a:gd name="T5" fmla="*/ 5 h 5"/>
                <a:gd name="T6" fmla="*/ 0 w 4"/>
                <a:gd name="T7" fmla="*/ 5 h 5"/>
                <a:gd name="T8" fmla="*/ 0 w 4"/>
                <a:gd name="T9" fmla="*/ 5 h 5"/>
                <a:gd name="T10" fmla="*/ 0 w 4"/>
                <a:gd name="T11" fmla="*/ 5 h 5"/>
                <a:gd name="T12" fmla="*/ 0 w 4"/>
                <a:gd name="T13" fmla="*/ 5 h 5"/>
                <a:gd name="T14" fmla="*/ 0 w 4"/>
                <a:gd name="T15" fmla="*/ 5 h 5"/>
                <a:gd name="T16" fmla="*/ 4 w 4"/>
                <a:gd name="T17" fmla="*/ 5 h 5"/>
                <a:gd name="T18" fmla="*/ 4 w 4"/>
                <a:gd name="T19" fmla="*/ 5 h 5"/>
                <a:gd name="T20" fmla="*/ 4 w 4"/>
                <a:gd name="T21" fmla="*/ 5 h 5"/>
                <a:gd name="T22" fmla="*/ 4 w 4"/>
                <a:gd name="T2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5">
                  <a:moveTo>
                    <a:pt x="4" y="5"/>
                  </a:moveTo>
                  <a:lnTo>
                    <a:pt x="4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92" name="Freeform 23"/>
            <p:cNvSpPr>
              <a:spLocks/>
            </p:cNvSpPr>
            <p:nvPr/>
          </p:nvSpPr>
          <p:spPr bwMode="auto">
            <a:xfrm>
              <a:off x="3106738" y="5384801"/>
              <a:ext cx="6350" cy="7938"/>
            </a:xfrm>
            <a:custGeom>
              <a:avLst/>
              <a:gdLst>
                <a:gd name="T0" fmla="*/ 4 w 4"/>
                <a:gd name="T1" fmla="*/ 5 h 5"/>
                <a:gd name="T2" fmla="*/ 4 w 4"/>
                <a:gd name="T3" fmla="*/ 0 h 5"/>
                <a:gd name="T4" fmla="*/ 0 w 4"/>
                <a:gd name="T5" fmla="*/ 5 h 5"/>
                <a:gd name="T6" fmla="*/ 0 w 4"/>
                <a:gd name="T7" fmla="*/ 5 h 5"/>
                <a:gd name="T8" fmla="*/ 0 w 4"/>
                <a:gd name="T9" fmla="*/ 5 h 5"/>
                <a:gd name="T10" fmla="*/ 0 w 4"/>
                <a:gd name="T11" fmla="*/ 5 h 5"/>
                <a:gd name="T12" fmla="*/ 0 w 4"/>
                <a:gd name="T13" fmla="*/ 5 h 5"/>
                <a:gd name="T14" fmla="*/ 0 w 4"/>
                <a:gd name="T15" fmla="*/ 5 h 5"/>
                <a:gd name="T16" fmla="*/ 4 w 4"/>
                <a:gd name="T17" fmla="*/ 5 h 5"/>
                <a:gd name="T18" fmla="*/ 4 w 4"/>
                <a:gd name="T19" fmla="*/ 5 h 5"/>
                <a:gd name="T20" fmla="*/ 4 w 4"/>
                <a:gd name="T21" fmla="*/ 5 h 5"/>
                <a:gd name="T22" fmla="*/ 4 w 4"/>
                <a:gd name="T2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5">
                  <a:moveTo>
                    <a:pt x="4" y="5"/>
                  </a:moveTo>
                  <a:lnTo>
                    <a:pt x="4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93" name="Freeform 24"/>
            <p:cNvSpPr>
              <a:spLocks/>
            </p:cNvSpPr>
            <p:nvPr/>
          </p:nvSpPr>
          <p:spPr bwMode="auto">
            <a:xfrm>
              <a:off x="4716463" y="4822826"/>
              <a:ext cx="293687" cy="365125"/>
            </a:xfrm>
            <a:custGeom>
              <a:avLst/>
              <a:gdLst>
                <a:gd name="T0" fmla="*/ 177 w 185"/>
                <a:gd name="T1" fmla="*/ 155 h 230"/>
                <a:gd name="T2" fmla="*/ 177 w 185"/>
                <a:gd name="T3" fmla="*/ 146 h 230"/>
                <a:gd name="T4" fmla="*/ 177 w 185"/>
                <a:gd name="T5" fmla="*/ 128 h 230"/>
                <a:gd name="T6" fmla="*/ 168 w 185"/>
                <a:gd name="T7" fmla="*/ 124 h 230"/>
                <a:gd name="T8" fmla="*/ 154 w 185"/>
                <a:gd name="T9" fmla="*/ 120 h 230"/>
                <a:gd name="T10" fmla="*/ 154 w 185"/>
                <a:gd name="T11" fmla="*/ 106 h 230"/>
                <a:gd name="T12" fmla="*/ 154 w 185"/>
                <a:gd name="T13" fmla="*/ 102 h 230"/>
                <a:gd name="T14" fmla="*/ 150 w 185"/>
                <a:gd name="T15" fmla="*/ 89 h 230"/>
                <a:gd name="T16" fmla="*/ 146 w 185"/>
                <a:gd name="T17" fmla="*/ 89 h 230"/>
                <a:gd name="T18" fmla="*/ 137 w 185"/>
                <a:gd name="T19" fmla="*/ 80 h 230"/>
                <a:gd name="T20" fmla="*/ 137 w 185"/>
                <a:gd name="T21" fmla="*/ 71 h 230"/>
                <a:gd name="T22" fmla="*/ 137 w 185"/>
                <a:gd name="T23" fmla="*/ 49 h 230"/>
                <a:gd name="T24" fmla="*/ 132 w 185"/>
                <a:gd name="T25" fmla="*/ 40 h 230"/>
                <a:gd name="T26" fmla="*/ 119 w 185"/>
                <a:gd name="T27" fmla="*/ 35 h 230"/>
                <a:gd name="T28" fmla="*/ 106 w 185"/>
                <a:gd name="T29" fmla="*/ 22 h 230"/>
                <a:gd name="T30" fmla="*/ 97 w 185"/>
                <a:gd name="T31" fmla="*/ 27 h 230"/>
                <a:gd name="T32" fmla="*/ 92 w 185"/>
                <a:gd name="T33" fmla="*/ 22 h 230"/>
                <a:gd name="T34" fmla="*/ 84 w 185"/>
                <a:gd name="T35" fmla="*/ 18 h 230"/>
                <a:gd name="T36" fmla="*/ 75 w 185"/>
                <a:gd name="T37" fmla="*/ 9 h 230"/>
                <a:gd name="T38" fmla="*/ 53 w 185"/>
                <a:gd name="T39" fmla="*/ 0 h 230"/>
                <a:gd name="T40" fmla="*/ 39 w 185"/>
                <a:gd name="T41" fmla="*/ 4 h 230"/>
                <a:gd name="T42" fmla="*/ 22 w 185"/>
                <a:gd name="T43" fmla="*/ 9 h 230"/>
                <a:gd name="T44" fmla="*/ 13 w 185"/>
                <a:gd name="T45" fmla="*/ 4 h 230"/>
                <a:gd name="T46" fmla="*/ 8 w 185"/>
                <a:gd name="T47" fmla="*/ 13 h 230"/>
                <a:gd name="T48" fmla="*/ 0 w 185"/>
                <a:gd name="T49" fmla="*/ 13 h 230"/>
                <a:gd name="T50" fmla="*/ 13 w 185"/>
                <a:gd name="T51" fmla="*/ 18 h 230"/>
                <a:gd name="T52" fmla="*/ 22 w 185"/>
                <a:gd name="T53" fmla="*/ 22 h 230"/>
                <a:gd name="T54" fmla="*/ 22 w 185"/>
                <a:gd name="T55" fmla="*/ 27 h 230"/>
                <a:gd name="T56" fmla="*/ 26 w 185"/>
                <a:gd name="T57" fmla="*/ 35 h 230"/>
                <a:gd name="T58" fmla="*/ 31 w 185"/>
                <a:gd name="T59" fmla="*/ 44 h 230"/>
                <a:gd name="T60" fmla="*/ 35 w 185"/>
                <a:gd name="T61" fmla="*/ 53 h 230"/>
                <a:gd name="T62" fmla="*/ 35 w 185"/>
                <a:gd name="T63" fmla="*/ 58 h 230"/>
                <a:gd name="T64" fmla="*/ 44 w 185"/>
                <a:gd name="T65" fmla="*/ 71 h 230"/>
                <a:gd name="T66" fmla="*/ 48 w 185"/>
                <a:gd name="T67" fmla="*/ 75 h 230"/>
                <a:gd name="T68" fmla="*/ 53 w 185"/>
                <a:gd name="T69" fmla="*/ 84 h 230"/>
                <a:gd name="T70" fmla="*/ 62 w 185"/>
                <a:gd name="T71" fmla="*/ 97 h 230"/>
                <a:gd name="T72" fmla="*/ 66 w 185"/>
                <a:gd name="T73" fmla="*/ 106 h 230"/>
                <a:gd name="T74" fmla="*/ 75 w 185"/>
                <a:gd name="T75" fmla="*/ 111 h 230"/>
                <a:gd name="T76" fmla="*/ 79 w 185"/>
                <a:gd name="T77" fmla="*/ 124 h 230"/>
                <a:gd name="T78" fmla="*/ 88 w 185"/>
                <a:gd name="T79" fmla="*/ 146 h 230"/>
                <a:gd name="T80" fmla="*/ 88 w 185"/>
                <a:gd name="T81" fmla="*/ 159 h 230"/>
                <a:gd name="T82" fmla="*/ 84 w 185"/>
                <a:gd name="T83" fmla="*/ 164 h 230"/>
                <a:gd name="T84" fmla="*/ 79 w 185"/>
                <a:gd name="T85" fmla="*/ 173 h 230"/>
                <a:gd name="T86" fmla="*/ 79 w 185"/>
                <a:gd name="T87" fmla="*/ 186 h 230"/>
                <a:gd name="T88" fmla="*/ 79 w 185"/>
                <a:gd name="T89" fmla="*/ 195 h 230"/>
                <a:gd name="T90" fmla="*/ 84 w 185"/>
                <a:gd name="T91" fmla="*/ 208 h 230"/>
                <a:gd name="T92" fmla="*/ 79 w 185"/>
                <a:gd name="T93" fmla="*/ 221 h 230"/>
                <a:gd name="T94" fmla="*/ 88 w 185"/>
                <a:gd name="T95" fmla="*/ 226 h 230"/>
                <a:gd name="T96" fmla="*/ 101 w 185"/>
                <a:gd name="T97" fmla="*/ 221 h 230"/>
                <a:gd name="T98" fmla="*/ 101 w 185"/>
                <a:gd name="T99" fmla="*/ 213 h 230"/>
                <a:gd name="T100" fmla="*/ 110 w 185"/>
                <a:gd name="T101" fmla="*/ 204 h 230"/>
                <a:gd name="T102" fmla="*/ 123 w 185"/>
                <a:gd name="T103" fmla="*/ 190 h 230"/>
                <a:gd name="T104" fmla="*/ 123 w 185"/>
                <a:gd name="T105" fmla="*/ 168 h 230"/>
                <a:gd name="T106" fmla="*/ 137 w 185"/>
                <a:gd name="T107" fmla="*/ 151 h 230"/>
                <a:gd name="T108" fmla="*/ 141 w 185"/>
                <a:gd name="T109" fmla="*/ 159 h 230"/>
                <a:gd name="T110" fmla="*/ 146 w 185"/>
                <a:gd name="T111" fmla="*/ 159 h 230"/>
                <a:gd name="T112" fmla="*/ 150 w 185"/>
                <a:gd name="T113" fmla="*/ 159 h 230"/>
                <a:gd name="T114" fmla="*/ 159 w 185"/>
                <a:gd name="T115" fmla="*/ 159 h 230"/>
                <a:gd name="T116" fmla="*/ 168 w 185"/>
                <a:gd name="T117" fmla="*/ 16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30">
                  <a:moveTo>
                    <a:pt x="185" y="159"/>
                  </a:moveTo>
                  <a:lnTo>
                    <a:pt x="185" y="159"/>
                  </a:lnTo>
                  <a:lnTo>
                    <a:pt x="185" y="159"/>
                  </a:lnTo>
                  <a:lnTo>
                    <a:pt x="185" y="159"/>
                  </a:lnTo>
                  <a:lnTo>
                    <a:pt x="181" y="159"/>
                  </a:lnTo>
                  <a:lnTo>
                    <a:pt x="181" y="155"/>
                  </a:lnTo>
                  <a:lnTo>
                    <a:pt x="181" y="155"/>
                  </a:lnTo>
                  <a:lnTo>
                    <a:pt x="181" y="155"/>
                  </a:lnTo>
                  <a:lnTo>
                    <a:pt x="181" y="155"/>
                  </a:lnTo>
                  <a:lnTo>
                    <a:pt x="181" y="151"/>
                  </a:lnTo>
                  <a:lnTo>
                    <a:pt x="177" y="151"/>
                  </a:lnTo>
                  <a:lnTo>
                    <a:pt x="177" y="155"/>
                  </a:lnTo>
                  <a:lnTo>
                    <a:pt x="177" y="155"/>
                  </a:lnTo>
                  <a:lnTo>
                    <a:pt x="177" y="155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2" y="151"/>
                  </a:lnTo>
                  <a:lnTo>
                    <a:pt x="172" y="151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2"/>
                  </a:lnTo>
                  <a:lnTo>
                    <a:pt x="177" y="142"/>
                  </a:lnTo>
                  <a:lnTo>
                    <a:pt x="177" y="142"/>
                  </a:lnTo>
                  <a:lnTo>
                    <a:pt x="177" y="142"/>
                  </a:lnTo>
                  <a:lnTo>
                    <a:pt x="177" y="142"/>
                  </a:lnTo>
                  <a:lnTo>
                    <a:pt x="177" y="137"/>
                  </a:lnTo>
                  <a:lnTo>
                    <a:pt x="177" y="133"/>
                  </a:lnTo>
                  <a:lnTo>
                    <a:pt x="177" y="133"/>
                  </a:lnTo>
                  <a:lnTo>
                    <a:pt x="177" y="133"/>
                  </a:lnTo>
                  <a:lnTo>
                    <a:pt x="177" y="133"/>
                  </a:lnTo>
                  <a:lnTo>
                    <a:pt x="177" y="133"/>
                  </a:lnTo>
                  <a:lnTo>
                    <a:pt x="177" y="128"/>
                  </a:lnTo>
                  <a:lnTo>
                    <a:pt x="177" y="128"/>
                  </a:lnTo>
                  <a:lnTo>
                    <a:pt x="177" y="128"/>
                  </a:lnTo>
                  <a:lnTo>
                    <a:pt x="177" y="128"/>
                  </a:lnTo>
                  <a:lnTo>
                    <a:pt x="172" y="128"/>
                  </a:lnTo>
                  <a:lnTo>
                    <a:pt x="172" y="128"/>
                  </a:lnTo>
                  <a:lnTo>
                    <a:pt x="172" y="128"/>
                  </a:lnTo>
                  <a:lnTo>
                    <a:pt x="172" y="128"/>
                  </a:lnTo>
                  <a:lnTo>
                    <a:pt x="172" y="128"/>
                  </a:lnTo>
                  <a:lnTo>
                    <a:pt x="172" y="124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63" y="124"/>
                  </a:lnTo>
                  <a:lnTo>
                    <a:pt x="163" y="124"/>
                  </a:lnTo>
                  <a:lnTo>
                    <a:pt x="163" y="120"/>
                  </a:lnTo>
                  <a:lnTo>
                    <a:pt x="163" y="120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54" y="120"/>
                  </a:lnTo>
                  <a:lnTo>
                    <a:pt x="154" y="120"/>
                  </a:lnTo>
                  <a:lnTo>
                    <a:pt x="154" y="115"/>
                  </a:lnTo>
                  <a:lnTo>
                    <a:pt x="154" y="115"/>
                  </a:lnTo>
                  <a:lnTo>
                    <a:pt x="154" y="115"/>
                  </a:lnTo>
                  <a:lnTo>
                    <a:pt x="159" y="115"/>
                  </a:lnTo>
                  <a:lnTo>
                    <a:pt x="159" y="111"/>
                  </a:lnTo>
                  <a:lnTo>
                    <a:pt x="159" y="111"/>
                  </a:lnTo>
                  <a:lnTo>
                    <a:pt x="159" y="111"/>
                  </a:lnTo>
                  <a:lnTo>
                    <a:pt x="159" y="111"/>
                  </a:lnTo>
                  <a:lnTo>
                    <a:pt x="159" y="106"/>
                  </a:lnTo>
                  <a:lnTo>
                    <a:pt x="159" y="106"/>
                  </a:lnTo>
                  <a:lnTo>
                    <a:pt x="154" y="106"/>
                  </a:lnTo>
                  <a:lnTo>
                    <a:pt x="154" y="106"/>
                  </a:lnTo>
                  <a:lnTo>
                    <a:pt x="154" y="106"/>
                  </a:lnTo>
                  <a:lnTo>
                    <a:pt x="154" y="111"/>
                  </a:lnTo>
                  <a:lnTo>
                    <a:pt x="154" y="111"/>
                  </a:lnTo>
                  <a:lnTo>
                    <a:pt x="154" y="111"/>
                  </a:lnTo>
                  <a:lnTo>
                    <a:pt x="150" y="106"/>
                  </a:lnTo>
                  <a:lnTo>
                    <a:pt x="150" y="106"/>
                  </a:lnTo>
                  <a:lnTo>
                    <a:pt x="150" y="106"/>
                  </a:lnTo>
                  <a:lnTo>
                    <a:pt x="150" y="106"/>
                  </a:lnTo>
                  <a:lnTo>
                    <a:pt x="150" y="106"/>
                  </a:lnTo>
                  <a:lnTo>
                    <a:pt x="154" y="106"/>
                  </a:lnTo>
                  <a:lnTo>
                    <a:pt x="154" y="106"/>
                  </a:lnTo>
                  <a:lnTo>
                    <a:pt x="154" y="102"/>
                  </a:lnTo>
                  <a:lnTo>
                    <a:pt x="154" y="102"/>
                  </a:lnTo>
                  <a:lnTo>
                    <a:pt x="154" y="97"/>
                  </a:lnTo>
                  <a:lnTo>
                    <a:pt x="154" y="97"/>
                  </a:lnTo>
                  <a:lnTo>
                    <a:pt x="154" y="97"/>
                  </a:lnTo>
                  <a:lnTo>
                    <a:pt x="159" y="93"/>
                  </a:lnTo>
                  <a:lnTo>
                    <a:pt x="159" y="93"/>
                  </a:lnTo>
                  <a:lnTo>
                    <a:pt x="154" y="89"/>
                  </a:lnTo>
                  <a:lnTo>
                    <a:pt x="154" y="89"/>
                  </a:lnTo>
                  <a:lnTo>
                    <a:pt x="154" y="89"/>
                  </a:lnTo>
                  <a:lnTo>
                    <a:pt x="154" y="89"/>
                  </a:lnTo>
                  <a:lnTo>
                    <a:pt x="154" y="89"/>
                  </a:lnTo>
                  <a:lnTo>
                    <a:pt x="150" y="89"/>
                  </a:lnTo>
                  <a:lnTo>
                    <a:pt x="150" y="89"/>
                  </a:lnTo>
                  <a:lnTo>
                    <a:pt x="150" y="89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46" y="93"/>
                  </a:lnTo>
                  <a:lnTo>
                    <a:pt x="146" y="93"/>
                  </a:lnTo>
                  <a:lnTo>
                    <a:pt x="146" y="89"/>
                  </a:lnTo>
                  <a:lnTo>
                    <a:pt x="146" y="89"/>
                  </a:lnTo>
                  <a:lnTo>
                    <a:pt x="146" y="89"/>
                  </a:lnTo>
                  <a:lnTo>
                    <a:pt x="146" y="89"/>
                  </a:lnTo>
                  <a:lnTo>
                    <a:pt x="146" y="89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1" y="84"/>
                  </a:lnTo>
                  <a:lnTo>
                    <a:pt x="141" y="84"/>
                  </a:lnTo>
                  <a:lnTo>
                    <a:pt x="141" y="84"/>
                  </a:lnTo>
                  <a:lnTo>
                    <a:pt x="141" y="84"/>
                  </a:lnTo>
                  <a:lnTo>
                    <a:pt x="141" y="84"/>
                  </a:lnTo>
                  <a:lnTo>
                    <a:pt x="141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2" y="75"/>
                  </a:lnTo>
                  <a:lnTo>
                    <a:pt x="132" y="75"/>
                  </a:lnTo>
                  <a:lnTo>
                    <a:pt x="132" y="75"/>
                  </a:lnTo>
                  <a:lnTo>
                    <a:pt x="132" y="75"/>
                  </a:lnTo>
                  <a:lnTo>
                    <a:pt x="132" y="75"/>
                  </a:lnTo>
                  <a:lnTo>
                    <a:pt x="132" y="71"/>
                  </a:lnTo>
                  <a:lnTo>
                    <a:pt x="132" y="71"/>
                  </a:lnTo>
                  <a:lnTo>
                    <a:pt x="137" y="71"/>
                  </a:lnTo>
                  <a:lnTo>
                    <a:pt x="137" y="66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37" y="58"/>
                  </a:lnTo>
                  <a:lnTo>
                    <a:pt x="137" y="58"/>
                  </a:lnTo>
                  <a:lnTo>
                    <a:pt x="141" y="58"/>
                  </a:lnTo>
                  <a:lnTo>
                    <a:pt x="137" y="53"/>
                  </a:lnTo>
                  <a:lnTo>
                    <a:pt x="137" y="53"/>
                  </a:lnTo>
                  <a:lnTo>
                    <a:pt x="137" y="53"/>
                  </a:lnTo>
                  <a:lnTo>
                    <a:pt x="137" y="53"/>
                  </a:lnTo>
                  <a:lnTo>
                    <a:pt x="137" y="53"/>
                  </a:lnTo>
                  <a:lnTo>
                    <a:pt x="137" y="49"/>
                  </a:lnTo>
                  <a:lnTo>
                    <a:pt x="137" y="49"/>
                  </a:lnTo>
                  <a:lnTo>
                    <a:pt x="137" y="49"/>
                  </a:lnTo>
                  <a:lnTo>
                    <a:pt x="137" y="49"/>
                  </a:lnTo>
                  <a:lnTo>
                    <a:pt x="141" y="44"/>
                  </a:lnTo>
                  <a:lnTo>
                    <a:pt x="137" y="44"/>
                  </a:lnTo>
                  <a:lnTo>
                    <a:pt x="137" y="44"/>
                  </a:lnTo>
                  <a:lnTo>
                    <a:pt x="137" y="44"/>
                  </a:lnTo>
                  <a:lnTo>
                    <a:pt x="137" y="44"/>
                  </a:lnTo>
                  <a:lnTo>
                    <a:pt x="137" y="40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19" y="40"/>
                  </a:lnTo>
                  <a:lnTo>
                    <a:pt x="119" y="35"/>
                  </a:lnTo>
                  <a:lnTo>
                    <a:pt x="119" y="35"/>
                  </a:lnTo>
                  <a:lnTo>
                    <a:pt x="119" y="35"/>
                  </a:lnTo>
                  <a:lnTo>
                    <a:pt x="119" y="35"/>
                  </a:lnTo>
                  <a:lnTo>
                    <a:pt x="119" y="35"/>
                  </a:lnTo>
                  <a:lnTo>
                    <a:pt x="119" y="31"/>
                  </a:lnTo>
                  <a:lnTo>
                    <a:pt x="115" y="31"/>
                  </a:lnTo>
                  <a:lnTo>
                    <a:pt x="115" y="31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0" y="27"/>
                  </a:lnTo>
                  <a:lnTo>
                    <a:pt x="106" y="22"/>
                  </a:lnTo>
                  <a:lnTo>
                    <a:pt x="101" y="22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2"/>
                  </a:lnTo>
                  <a:lnTo>
                    <a:pt x="97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4"/>
                  </a:lnTo>
                  <a:lnTo>
                    <a:pt x="35" y="4"/>
                  </a:lnTo>
                  <a:lnTo>
                    <a:pt x="35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26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4" y="13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8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8"/>
                  </a:lnTo>
                  <a:lnTo>
                    <a:pt x="8" y="18"/>
                  </a:lnTo>
                  <a:lnTo>
                    <a:pt x="8" y="13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7" y="18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1" y="49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9" y="66"/>
                  </a:lnTo>
                  <a:lnTo>
                    <a:pt x="44" y="66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7" y="89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70" y="106"/>
                  </a:lnTo>
                  <a:lnTo>
                    <a:pt x="70" y="111"/>
                  </a:lnTo>
                  <a:lnTo>
                    <a:pt x="70" y="111"/>
                  </a:lnTo>
                  <a:lnTo>
                    <a:pt x="70" y="111"/>
                  </a:lnTo>
                  <a:lnTo>
                    <a:pt x="70" y="111"/>
                  </a:lnTo>
                  <a:lnTo>
                    <a:pt x="75" y="111"/>
                  </a:lnTo>
                  <a:lnTo>
                    <a:pt x="75" y="111"/>
                  </a:lnTo>
                  <a:lnTo>
                    <a:pt x="75" y="111"/>
                  </a:lnTo>
                  <a:lnTo>
                    <a:pt x="75" y="111"/>
                  </a:lnTo>
                  <a:lnTo>
                    <a:pt x="75" y="111"/>
                  </a:lnTo>
                  <a:lnTo>
                    <a:pt x="79" y="115"/>
                  </a:lnTo>
                  <a:lnTo>
                    <a:pt x="79" y="115"/>
                  </a:lnTo>
                  <a:lnTo>
                    <a:pt x="79" y="120"/>
                  </a:lnTo>
                  <a:lnTo>
                    <a:pt x="79" y="120"/>
                  </a:lnTo>
                  <a:lnTo>
                    <a:pt x="79" y="120"/>
                  </a:lnTo>
                  <a:lnTo>
                    <a:pt x="79" y="120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84" y="133"/>
                  </a:lnTo>
                  <a:lnTo>
                    <a:pt x="84" y="133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84" y="146"/>
                  </a:lnTo>
                  <a:lnTo>
                    <a:pt x="88" y="151"/>
                  </a:lnTo>
                  <a:lnTo>
                    <a:pt x="84" y="151"/>
                  </a:lnTo>
                  <a:lnTo>
                    <a:pt x="84" y="151"/>
                  </a:lnTo>
                  <a:lnTo>
                    <a:pt x="84" y="151"/>
                  </a:lnTo>
                  <a:lnTo>
                    <a:pt x="84" y="151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59"/>
                  </a:lnTo>
                  <a:lnTo>
                    <a:pt x="84" y="159"/>
                  </a:lnTo>
                  <a:lnTo>
                    <a:pt x="84" y="159"/>
                  </a:lnTo>
                  <a:lnTo>
                    <a:pt x="84" y="164"/>
                  </a:lnTo>
                  <a:lnTo>
                    <a:pt x="84" y="164"/>
                  </a:lnTo>
                  <a:lnTo>
                    <a:pt x="84" y="164"/>
                  </a:lnTo>
                  <a:lnTo>
                    <a:pt x="84" y="164"/>
                  </a:lnTo>
                  <a:lnTo>
                    <a:pt x="84" y="164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79" y="168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7"/>
                  </a:lnTo>
                  <a:lnTo>
                    <a:pt x="79" y="177"/>
                  </a:lnTo>
                  <a:lnTo>
                    <a:pt x="79" y="177"/>
                  </a:lnTo>
                  <a:lnTo>
                    <a:pt x="84" y="177"/>
                  </a:lnTo>
                  <a:lnTo>
                    <a:pt x="79" y="177"/>
                  </a:lnTo>
                  <a:lnTo>
                    <a:pt x="79" y="182"/>
                  </a:lnTo>
                  <a:lnTo>
                    <a:pt x="79" y="182"/>
                  </a:lnTo>
                  <a:lnTo>
                    <a:pt x="79" y="182"/>
                  </a:lnTo>
                  <a:lnTo>
                    <a:pt x="79" y="186"/>
                  </a:lnTo>
                  <a:lnTo>
                    <a:pt x="79" y="186"/>
                  </a:lnTo>
                  <a:lnTo>
                    <a:pt x="79" y="186"/>
                  </a:lnTo>
                  <a:lnTo>
                    <a:pt x="79" y="186"/>
                  </a:lnTo>
                  <a:lnTo>
                    <a:pt x="79" y="186"/>
                  </a:lnTo>
                  <a:lnTo>
                    <a:pt x="79" y="186"/>
                  </a:lnTo>
                  <a:lnTo>
                    <a:pt x="79" y="190"/>
                  </a:lnTo>
                  <a:lnTo>
                    <a:pt x="79" y="190"/>
                  </a:lnTo>
                  <a:lnTo>
                    <a:pt x="79" y="190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204"/>
                  </a:lnTo>
                  <a:lnTo>
                    <a:pt x="79" y="208"/>
                  </a:lnTo>
                  <a:lnTo>
                    <a:pt x="84" y="208"/>
                  </a:lnTo>
                  <a:lnTo>
                    <a:pt x="84" y="208"/>
                  </a:lnTo>
                  <a:lnTo>
                    <a:pt x="84" y="217"/>
                  </a:lnTo>
                  <a:lnTo>
                    <a:pt x="84" y="217"/>
                  </a:lnTo>
                  <a:lnTo>
                    <a:pt x="84" y="217"/>
                  </a:lnTo>
                  <a:lnTo>
                    <a:pt x="84" y="217"/>
                  </a:lnTo>
                  <a:lnTo>
                    <a:pt x="79" y="217"/>
                  </a:lnTo>
                  <a:lnTo>
                    <a:pt x="79" y="217"/>
                  </a:lnTo>
                  <a:lnTo>
                    <a:pt x="79" y="221"/>
                  </a:lnTo>
                  <a:lnTo>
                    <a:pt x="79" y="221"/>
                  </a:lnTo>
                  <a:lnTo>
                    <a:pt x="79" y="221"/>
                  </a:lnTo>
                  <a:lnTo>
                    <a:pt x="79" y="221"/>
                  </a:lnTo>
                  <a:lnTo>
                    <a:pt x="79" y="221"/>
                  </a:lnTo>
                  <a:lnTo>
                    <a:pt x="84" y="226"/>
                  </a:lnTo>
                  <a:lnTo>
                    <a:pt x="84" y="226"/>
                  </a:lnTo>
                  <a:lnTo>
                    <a:pt x="84" y="226"/>
                  </a:lnTo>
                  <a:lnTo>
                    <a:pt x="84" y="226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8" y="226"/>
                  </a:lnTo>
                  <a:lnTo>
                    <a:pt x="92" y="226"/>
                  </a:lnTo>
                  <a:lnTo>
                    <a:pt x="97" y="226"/>
                  </a:lnTo>
                  <a:lnTo>
                    <a:pt x="101" y="226"/>
                  </a:lnTo>
                  <a:lnTo>
                    <a:pt x="101" y="226"/>
                  </a:lnTo>
                  <a:lnTo>
                    <a:pt x="101" y="226"/>
                  </a:lnTo>
                  <a:lnTo>
                    <a:pt x="101" y="226"/>
                  </a:lnTo>
                  <a:lnTo>
                    <a:pt x="101" y="226"/>
                  </a:lnTo>
                  <a:lnTo>
                    <a:pt x="101" y="226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17"/>
                  </a:lnTo>
                  <a:lnTo>
                    <a:pt x="101" y="217"/>
                  </a:lnTo>
                  <a:lnTo>
                    <a:pt x="101" y="217"/>
                  </a:lnTo>
                  <a:lnTo>
                    <a:pt x="101" y="217"/>
                  </a:lnTo>
                  <a:lnTo>
                    <a:pt x="97" y="217"/>
                  </a:lnTo>
                  <a:lnTo>
                    <a:pt x="101" y="217"/>
                  </a:lnTo>
                  <a:lnTo>
                    <a:pt x="101" y="213"/>
                  </a:lnTo>
                  <a:lnTo>
                    <a:pt x="101" y="213"/>
                  </a:lnTo>
                  <a:lnTo>
                    <a:pt x="101" y="213"/>
                  </a:lnTo>
                  <a:lnTo>
                    <a:pt x="101" y="213"/>
                  </a:lnTo>
                  <a:lnTo>
                    <a:pt x="106" y="213"/>
                  </a:lnTo>
                  <a:lnTo>
                    <a:pt x="101" y="213"/>
                  </a:lnTo>
                  <a:lnTo>
                    <a:pt x="101" y="208"/>
                  </a:lnTo>
                  <a:lnTo>
                    <a:pt x="106" y="208"/>
                  </a:lnTo>
                  <a:lnTo>
                    <a:pt x="106" y="208"/>
                  </a:lnTo>
                  <a:lnTo>
                    <a:pt x="110" y="208"/>
                  </a:lnTo>
                  <a:lnTo>
                    <a:pt x="110" y="208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5" y="199"/>
                  </a:lnTo>
                  <a:lnTo>
                    <a:pt x="115" y="199"/>
                  </a:lnTo>
                  <a:lnTo>
                    <a:pt x="110" y="195"/>
                  </a:lnTo>
                  <a:lnTo>
                    <a:pt x="110" y="195"/>
                  </a:lnTo>
                  <a:lnTo>
                    <a:pt x="115" y="195"/>
                  </a:lnTo>
                  <a:lnTo>
                    <a:pt x="115" y="195"/>
                  </a:lnTo>
                  <a:lnTo>
                    <a:pt x="123" y="190"/>
                  </a:lnTo>
                  <a:lnTo>
                    <a:pt x="123" y="190"/>
                  </a:lnTo>
                  <a:lnTo>
                    <a:pt x="123" y="190"/>
                  </a:lnTo>
                  <a:lnTo>
                    <a:pt x="123" y="186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8" y="177"/>
                  </a:lnTo>
                  <a:lnTo>
                    <a:pt x="128" y="177"/>
                  </a:lnTo>
                  <a:lnTo>
                    <a:pt x="128" y="177"/>
                  </a:lnTo>
                  <a:lnTo>
                    <a:pt x="128" y="173"/>
                  </a:lnTo>
                  <a:lnTo>
                    <a:pt x="123" y="173"/>
                  </a:lnTo>
                  <a:lnTo>
                    <a:pt x="123" y="173"/>
                  </a:lnTo>
                  <a:lnTo>
                    <a:pt x="123" y="173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3" y="164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3" y="155"/>
                  </a:lnTo>
                  <a:lnTo>
                    <a:pt x="128" y="155"/>
                  </a:lnTo>
                  <a:lnTo>
                    <a:pt x="128" y="151"/>
                  </a:lnTo>
                  <a:lnTo>
                    <a:pt x="132" y="151"/>
                  </a:lnTo>
                  <a:lnTo>
                    <a:pt x="137" y="151"/>
                  </a:lnTo>
                  <a:lnTo>
                    <a:pt x="137" y="151"/>
                  </a:lnTo>
                  <a:lnTo>
                    <a:pt x="137" y="151"/>
                  </a:lnTo>
                  <a:lnTo>
                    <a:pt x="137" y="151"/>
                  </a:lnTo>
                  <a:lnTo>
                    <a:pt x="137" y="151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6" y="155"/>
                  </a:lnTo>
                  <a:lnTo>
                    <a:pt x="146" y="159"/>
                  </a:lnTo>
                  <a:lnTo>
                    <a:pt x="146" y="159"/>
                  </a:lnTo>
                  <a:lnTo>
                    <a:pt x="146" y="159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4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4" y="159"/>
                  </a:lnTo>
                  <a:lnTo>
                    <a:pt x="154" y="159"/>
                  </a:lnTo>
                  <a:lnTo>
                    <a:pt x="154" y="159"/>
                  </a:lnTo>
                  <a:lnTo>
                    <a:pt x="154" y="159"/>
                  </a:lnTo>
                  <a:lnTo>
                    <a:pt x="154" y="159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63" y="155"/>
                  </a:lnTo>
                  <a:lnTo>
                    <a:pt x="163" y="155"/>
                  </a:lnTo>
                  <a:lnTo>
                    <a:pt x="163" y="155"/>
                  </a:lnTo>
                  <a:lnTo>
                    <a:pt x="168" y="159"/>
                  </a:lnTo>
                  <a:lnTo>
                    <a:pt x="168" y="159"/>
                  </a:lnTo>
                  <a:lnTo>
                    <a:pt x="168" y="159"/>
                  </a:lnTo>
                  <a:lnTo>
                    <a:pt x="168" y="159"/>
                  </a:lnTo>
                  <a:lnTo>
                    <a:pt x="168" y="164"/>
                  </a:lnTo>
                  <a:lnTo>
                    <a:pt x="168" y="164"/>
                  </a:lnTo>
                  <a:lnTo>
                    <a:pt x="172" y="164"/>
                  </a:lnTo>
                  <a:lnTo>
                    <a:pt x="172" y="164"/>
                  </a:lnTo>
                  <a:lnTo>
                    <a:pt x="172" y="164"/>
                  </a:lnTo>
                  <a:lnTo>
                    <a:pt x="172" y="164"/>
                  </a:lnTo>
                  <a:lnTo>
                    <a:pt x="177" y="164"/>
                  </a:lnTo>
                  <a:lnTo>
                    <a:pt x="181" y="164"/>
                  </a:lnTo>
                  <a:lnTo>
                    <a:pt x="185" y="164"/>
                  </a:lnTo>
                  <a:lnTo>
                    <a:pt x="185" y="159"/>
                  </a:lnTo>
                  <a:lnTo>
                    <a:pt x="185" y="159"/>
                  </a:lnTo>
                  <a:lnTo>
                    <a:pt x="185" y="159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94" name="Freeform 25"/>
            <p:cNvSpPr>
              <a:spLocks/>
            </p:cNvSpPr>
            <p:nvPr/>
          </p:nvSpPr>
          <p:spPr bwMode="auto">
            <a:xfrm>
              <a:off x="4716463" y="4822826"/>
              <a:ext cx="293687" cy="365125"/>
            </a:xfrm>
            <a:custGeom>
              <a:avLst/>
              <a:gdLst>
                <a:gd name="T0" fmla="*/ 177 w 185"/>
                <a:gd name="T1" fmla="*/ 155 h 230"/>
                <a:gd name="T2" fmla="*/ 177 w 185"/>
                <a:gd name="T3" fmla="*/ 146 h 230"/>
                <a:gd name="T4" fmla="*/ 177 w 185"/>
                <a:gd name="T5" fmla="*/ 128 h 230"/>
                <a:gd name="T6" fmla="*/ 168 w 185"/>
                <a:gd name="T7" fmla="*/ 124 h 230"/>
                <a:gd name="T8" fmla="*/ 154 w 185"/>
                <a:gd name="T9" fmla="*/ 120 h 230"/>
                <a:gd name="T10" fmla="*/ 154 w 185"/>
                <a:gd name="T11" fmla="*/ 106 h 230"/>
                <a:gd name="T12" fmla="*/ 154 w 185"/>
                <a:gd name="T13" fmla="*/ 102 h 230"/>
                <a:gd name="T14" fmla="*/ 150 w 185"/>
                <a:gd name="T15" fmla="*/ 89 h 230"/>
                <a:gd name="T16" fmla="*/ 146 w 185"/>
                <a:gd name="T17" fmla="*/ 89 h 230"/>
                <a:gd name="T18" fmla="*/ 137 w 185"/>
                <a:gd name="T19" fmla="*/ 80 h 230"/>
                <a:gd name="T20" fmla="*/ 137 w 185"/>
                <a:gd name="T21" fmla="*/ 71 h 230"/>
                <a:gd name="T22" fmla="*/ 137 w 185"/>
                <a:gd name="T23" fmla="*/ 49 h 230"/>
                <a:gd name="T24" fmla="*/ 132 w 185"/>
                <a:gd name="T25" fmla="*/ 40 h 230"/>
                <a:gd name="T26" fmla="*/ 119 w 185"/>
                <a:gd name="T27" fmla="*/ 35 h 230"/>
                <a:gd name="T28" fmla="*/ 106 w 185"/>
                <a:gd name="T29" fmla="*/ 22 h 230"/>
                <a:gd name="T30" fmla="*/ 97 w 185"/>
                <a:gd name="T31" fmla="*/ 27 h 230"/>
                <a:gd name="T32" fmla="*/ 92 w 185"/>
                <a:gd name="T33" fmla="*/ 22 h 230"/>
                <a:gd name="T34" fmla="*/ 84 w 185"/>
                <a:gd name="T35" fmla="*/ 18 h 230"/>
                <a:gd name="T36" fmla="*/ 75 w 185"/>
                <a:gd name="T37" fmla="*/ 9 h 230"/>
                <a:gd name="T38" fmla="*/ 53 w 185"/>
                <a:gd name="T39" fmla="*/ 0 h 230"/>
                <a:gd name="T40" fmla="*/ 39 w 185"/>
                <a:gd name="T41" fmla="*/ 4 h 230"/>
                <a:gd name="T42" fmla="*/ 22 w 185"/>
                <a:gd name="T43" fmla="*/ 9 h 230"/>
                <a:gd name="T44" fmla="*/ 13 w 185"/>
                <a:gd name="T45" fmla="*/ 4 h 230"/>
                <a:gd name="T46" fmla="*/ 8 w 185"/>
                <a:gd name="T47" fmla="*/ 13 h 230"/>
                <a:gd name="T48" fmla="*/ 0 w 185"/>
                <a:gd name="T49" fmla="*/ 13 h 230"/>
                <a:gd name="T50" fmla="*/ 13 w 185"/>
                <a:gd name="T51" fmla="*/ 18 h 230"/>
                <a:gd name="T52" fmla="*/ 22 w 185"/>
                <a:gd name="T53" fmla="*/ 22 h 230"/>
                <a:gd name="T54" fmla="*/ 22 w 185"/>
                <a:gd name="T55" fmla="*/ 27 h 230"/>
                <a:gd name="T56" fmla="*/ 26 w 185"/>
                <a:gd name="T57" fmla="*/ 35 h 230"/>
                <a:gd name="T58" fmla="*/ 31 w 185"/>
                <a:gd name="T59" fmla="*/ 44 h 230"/>
                <a:gd name="T60" fmla="*/ 35 w 185"/>
                <a:gd name="T61" fmla="*/ 53 h 230"/>
                <a:gd name="T62" fmla="*/ 35 w 185"/>
                <a:gd name="T63" fmla="*/ 58 h 230"/>
                <a:gd name="T64" fmla="*/ 44 w 185"/>
                <a:gd name="T65" fmla="*/ 71 h 230"/>
                <a:gd name="T66" fmla="*/ 48 w 185"/>
                <a:gd name="T67" fmla="*/ 75 h 230"/>
                <a:gd name="T68" fmla="*/ 53 w 185"/>
                <a:gd name="T69" fmla="*/ 84 h 230"/>
                <a:gd name="T70" fmla="*/ 62 w 185"/>
                <a:gd name="T71" fmla="*/ 97 h 230"/>
                <a:gd name="T72" fmla="*/ 66 w 185"/>
                <a:gd name="T73" fmla="*/ 106 h 230"/>
                <a:gd name="T74" fmla="*/ 75 w 185"/>
                <a:gd name="T75" fmla="*/ 111 h 230"/>
                <a:gd name="T76" fmla="*/ 79 w 185"/>
                <a:gd name="T77" fmla="*/ 124 h 230"/>
                <a:gd name="T78" fmla="*/ 88 w 185"/>
                <a:gd name="T79" fmla="*/ 146 h 230"/>
                <a:gd name="T80" fmla="*/ 88 w 185"/>
                <a:gd name="T81" fmla="*/ 159 h 230"/>
                <a:gd name="T82" fmla="*/ 84 w 185"/>
                <a:gd name="T83" fmla="*/ 164 h 230"/>
                <a:gd name="T84" fmla="*/ 79 w 185"/>
                <a:gd name="T85" fmla="*/ 173 h 230"/>
                <a:gd name="T86" fmla="*/ 79 w 185"/>
                <a:gd name="T87" fmla="*/ 186 h 230"/>
                <a:gd name="T88" fmla="*/ 79 w 185"/>
                <a:gd name="T89" fmla="*/ 195 h 230"/>
                <a:gd name="T90" fmla="*/ 84 w 185"/>
                <a:gd name="T91" fmla="*/ 208 h 230"/>
                <a:gd name="T92" fmla="*/ 79 w 185"/>
                <a:gd name="T93" fmla="*/ 221 h 230"/>
                <a:gd name="T94" fmla="*/ 88 w 185"/>
                <a:gd name="T95" fmla="*/ 226 h 230"/>
                <a:gd name="T96" fmla="*/ 101 w 185"/>
                <a:gd name="T97" fmla="*/ 221 h 230"/>
                <a:gd name="T98" fmla="*/ 101 w 185"/>
                <a:gd name="T99" fmla="*/ 213 h 230"/>
                <a:gd name="T100" fmla="*/ 110 w 185"/>
                <a:gd name="T101" fmla="*/ 204 h 230"/>
                <a:gd name="T102" fmla="*/ 123 w 185"/>
                <a:gd name="T103" fmla="*/ 190 h 230"/>
                <a:gd name="T104" fmla="*/ 123 w 185"/>
                <a:gd name="T105" fmla="*/ 168 h 230"/>
                <a:gd name="T106" fmla="*/ 137 w 185"/>
                <a:gd name="T107" fmla="*/ 151 h 230"/>
                <a:gd name="T108" fmla="*/ 141 w 185"/>
                <a:gd name="T109" fmla="*/ 159 h 230"/>
                <a:gd name="T110" fmla="*/ 146 w 185"/>
                <a:gd name="T111" fmla="*/ 159 h 230"/>
                <a:gd name="T112" fmla="*/ 150 w 185"/>
                <a:gd name="T113" fmla="*/ 159 h 230"/>
                <a:gd name="T114" fmla="*/ 159 w 185"/>
                <a:gd name="T115" fmla="*/ 159 h 230"/>
                <a:gd name="T116" fmla="*/ 168 w 185"/>
                <a:gd name="T117" fmla="*/ 16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30">
                  <a:moveTo>
                    <a:pt x="185" y="159"/>
                  </a:moveTo>
                  <a:lnTo>
                    <a:pt x="185" y="159"/>
                  </a:lnTo>
                  <a:lnTo>
                    <a:pt x="185" y="159"/>
                  </a:lnTo>
                  <a:lnTo>
                    <a:pt x="185" y="159"/>
                  </a:lnTo>
                  <a:lnTo>
                    <a:pt x="181" y="159"/>
                  </a:lnTo>
                  <a:lnTo>
                    <a:pt x="181" y="155"/>
                  </a:lnTo>
                  <a:lnTo>
                    <a:pt x="181" y="155"/>
                  </a:lnTo>
                  <a:lnTo>
                    <a:pt x="181" y="155"/>
                  </a:lnTo>
                  <a:lnTo>
                    <a:pt x="181" y="155"/>
                  </a:lnTo>
                  <a:lnTo>
                    <a:pt x="181" y="151"/>
                  </a:lnTo>
                  <a:lnTo>
                    <a:pt x="177" y="151"/>
                  </a:lnTo>
                  <a:lnTo>
                    <a:pt x="177" y="155"/>
                  </a:lnTo>
                  <a:lnTo>
                    <a:pt x="177" y="155"/>
                  </a:lnTo>
                  <a:lnTo>
                    <a:pt x="177" y="155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2" y="151"/>
                  </a:lnTo>
                  <a:lnTo>
                    <a:pt x="172" y="151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2"/>
                  </a:lnTo>
                  <a:lnTo>
                    <a:pt x="177" y="142"/>
                  </a:lnTo>
                  <a:lnTo>
                    <a:pt x="177" y="142"/>
                  </a:lnTo>
                  <a:lnTo>
                    <a:pt x="177" y="142"/>
                  </a:lnTo>
                  <a:lnTo>
                    <a:pt x="177" y="142"/>
                  </a:lnTo>
                  <a:lnTo>
                    <a:pt x="177" y="137"/>
                  </a:lnTo>
                  <a:lnTo>
                    <a:pt x="177" y="133"/>
                  </a:lnTo>
                  <a:lnTo>
                    <a:pt x="177" y="133"/>
                  </a:lnTo>
                  <a:lnTo>
                    <a:pt x="177" y="133"/>
                  </a:lnTo>
                  <a:lnTo>
                    <a:pt x="177" y="133"/>
                  </a:lnTo>
                  <a:lnTo>
                    <a:pt x="177" y="133"/>
                  </a:lnTo>
                  <a:lnTo>
                    <a:pt x="177" y="128"/>
                  </a:lnTo>
                  <a:lnTo>
                    <a:pt x="177" y="128"/>
                  </a:lnTo>
                  <a:lnTo>
                    <a:pt x="177" y="128"/>
                  </a:lnTo>
                  <a:lnTo>
                    <a:pt x="177" y="128"/>
                  </a:lnTo>
                  <a:lnTo>
                    <a:pt x="172" y="128"/>
                  </a:lnTo>
                  <a:lnTo>
                    <a:pt x="172" y="128"/>
                  </a:lnTo>
                  <a:lnTo>
                    <a:pt x="172" y="128"/>
                  </a:lnTo>
                  <a:lnTo>
                    <a:pt x="172" y="128"/>
                  </a:lnTo>
                  <a:lnTo>
                    <a:pt x="172" y="128"/>
                  </a:lnTo>
                  <a:lnTo>
                    <a:pt x="172" y="124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63" y="124"/>
                  </a:lnTo>
                  <a:lnTo>
                    <a:pt x="163" y="124"/>
                  </a:lnTo>
                  <a:lnTo>
                    <a:pt x="163" y="120"/>
                  </a:lnTo>
                  <a:lnTo>
                    <a:pt x="163" y="120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54" y="120"/>
                  </a:lnTo>
                  <a:lnTo>
                    <a:pt x="154" y="120"/>
                  </a:lnTo>
                  <a:lnTo>
                    <a:pt x="154" y="115"/>
                  </a:lnTo>
                  <a:lnTo>
                    <a:pt x="154" y="115"/>
                  </a:lnTo>
                  <a:lnTo>
                    <a:pt x="154" y="115"/>
                  </a:lnTo>
                  <a:lnTo>
                    <a:pt x="159" y="115"/>
                  </a:lnTo>
                  <a:lnTo>
                    <a:pt x="159" y="111"/>
                  </a:lnTo>
                  <a:lnTo>
                    <a:pt x="159" y="111"/>
                  </a:lnTo>
                  <a:lnTo>
                    <a:pt x="159" y="111"/>
                  </a:lnTo>
                  <a:lnTo>
                    <a:pt x="159" y="111"/>
                  </a:lnTo>
                  <a:lnTo>
                    <a:pt x="159" y="106"/>
                  </a:lnTo>
                  <a:lnTo>
                    <a:pt x="159" y="106"/>
                  </a:lnTo>
                  <a:lnTo>
                    <a:pt x="154" y="106"/>
                  </a:lnTo>
                  <a:lnTo>
                    <a:pt x="154" y="106"/>
                  </a:lnTo>
                  <a:lnTo>
                    <a:pt x="154" y="106"/>
                  </a:lnTo>
                  <a:lnTo>
                    <a:pt x="154" y="111"/>
                  </a:lnTo>
                  <a:lnTo>
                    <a:pt x="154" y="111"/>
                  </a:lnTo>
                  <a:lnTo>
                    <a:pt x="154" y="111"/>
                  </a:lnTo>
                  <a:lnTo>
                    <a:pt x="150" y="106"/>
                  </a:lnTo>
                  <a:lnTo>
                    <a:pt x="150" y="106"/>
                  </a:lnTo>
                  <a:lnTo>
                    <a:pt x="150" y="106"/>
                  </a:lnTo>
                  <a:lnTo>
                    <a:pt x="150" y="106"/>
                  </a:lnTo>
                  <a:lnTo>
                    <a:pt x="150" y="106"/>
                  </a:lnTo>
                  <a:lnTo>
                    <a:pt x="154" y="106"/>
                  </a:lnTo>
                  <a:lnTo>
                    <a:pt x="154" y="106"/>
                  </a:lnTo>
                  <a:lnTo>
                    <a:pt x="154" y="102"/>
                  </a:lnTo>
                  <a:lnTo>
                    <a:pt x="154" y="102"/>
                  </a:lnTo>
                  <a:lnTo>
                    <a:pt x="154" y="97"/>
                  </a:lnTo>
                  <a:lnTo>
                    <a:pt x="154" y="97"/>
                  </a:lnTo>
                  <a:lnTo>
                    <a:pt x="154" y="97"/>
                  </a:lnTo>
                  <a:lnTo>
                    <a:pt x="159" y="93"/>
                  </a:lnTo>
                  <a:lnTo>
                    <a:pt x="159" y="93"/>
                  </a:lnTo>
                  <a:lnTo>
                    <a:pt x="154" y="89"/>
                  </a:lnTo>
                  <a:lnTo>
                    <a:pt x="154" y="89"/>
                  </a:lnTo>
                  <a:lnTo>
                    <a:pt x="154" y="89"/>
                  </a:lnTo>
                  <a:lnTo>
                    <a:pt x="154" y="89"/>
                  </a:lnTo>
                  <a:lnTo>
                    <a:pt x="154" y="89"/>
                  </a:lnTo>
                  <a:lnTo>
                    <a:pt x="150" y="89"/>
                  </a:lnTo>
                  <a:lnTo>
                    <a:pt x="150" y="89"/>
                  </a:lnTo>
                  <a:lnTo>
                    <a:pt x="150" y="89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46" y="93"/>
                  </a:lnTo>
                  <a:lnTo>
                    <a:pt x="146" y="93"/>
                  </a:lnTo>
                  <a:lnTo>
                    <a:pt x="146" y="89"/>
                  </a:lnTo>
                  <a:lnTo>
                    <a:pt x="146" y="89"/>
                  </a:lnTo>
                  <a:lnTo>
                    <a:pt x="146" y="89"/>
                  </a:lnTo>
                  <a:lnTo>
                    <a:pt x="146" y="89"/>
                  </a:lnTo>
                  <a:lnTo>
                    <a:pt x="146" y="89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1" y="84"/>
                  </a:lnTo>
                  <a:lnTo>
                    <a:pt x="141" y="84"/>
                  </a:lnTo>
                  <a:lnTo>
                    <a:pt x="141" y="84"/>
                  </a:lnTo>
                  <a:lnTo>
                    <a:pt x="141" y="84"/>
                  </a:lnTo>
                  <a:lnTo>
                    <a:pt x="141" y="84"/>
                  </a:lnTo>
                  <a:lnTo>
                    <a:pt x="141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7" y="80"/>
                  </a:lnTo>
                  <a:lnTo>
                    <a:pt x="132" y="75"/>
                  </a:lnTo>
                  <a:lnTo>
                    <a:pt x="132" y="75"/>
                  </a:lnTo>
                  <a:lnTo>
                    <a:pt x="132" y="75"/>
                  </a:lnTo>
                  <a:lnTo>
                    <a:pt x="132" y="75"/>
                  </a:lnTo>
                  <a:lnTo>
                    <a:pt x="132" y="75"/>
                  </a:lnTo>
                  <a:lnTo>
                    <a:pt x="132" y="71"/>
                  </a:lnTo>
                  <a:lnTo>
                    <a:pt x="132" y="71"/>
                  </a:lnTo>
                  <a:lnTo>
                    <a:pt x="137" y="71"/>
                  </a:lnTo>
                  <a:lnTo>
                    <a:pt x="137" y="66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37" y="58"/>
                  </a:lnTo>
                  <a:lnTo>
                    <a:pt x="137" y="58"/>
                  </a:lnTo>
                  <a:lnTo>
                    <a:pt x="141" y="58"/>
                  </a:lnTo>
                  <a:lnTo>
                    <a:pt x="137" y="53"/>
                  </a:lnTo>
                  <a:lnTo>
                    <a:pt x="137" y="53"/>
                  </a:lnTo>
                  <a:lnTo>
                    <a:pt x="137" y="53"/>
                  </a:lnTo>
                  <a:lnTo>
                    <a:pt x="137" y="53"/>
                  </a:lnTo>
                  <a:lnTo>
                    <a:pt x="137" y="53"/>
                  </a:lnTo>
                  <a:lnTo>
                    <a:pt x="137" y="49"/>
                  </a:lnTo>
                  <a:lnTo>
                    <a:pt x="137" y="49"/>
                  </a:lnTo>
                  <a:lnTo>
                    <a:pt x="137" y="49"/>
                  </a:lnTo>
                  <a:lnTo>
                    <a:pt x="137" y="49"/>
                  </a:lnTo>
                  <a:lnTo>
                    <a:pt x="141" y="44"/>
                  </a:lnTo>
                  <a:lnTo>
                    <a:pt x="137" y="44"/>
                  </a:lnTo>
                  <a:lnTo>
                    <a:pt x="137" y="44"/>
                  </a:lnTo>
                  <a:lnTo>
                    <a:pt x="137" y="44"/>
                  </a:lnTo>
                  <a:lnTo>
                    <a:pt x="137" y="44"/>
                  </a:lnTo>
                  <a:lnTo>
                    <a:pt x="137" y="40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19" y="40"/>
                  </a:lnTo>
                  <a:lnTo>
                    <a:pt x="119" y="35"/>
                  </a:lnTo>
                  <a:lnTo>
                    <a:pt x="119" y="35"/>
                  </a:lnTo>
                  <a:lnTo>
                    <a:pt x="119" y="35"/>
                  </a:lnTo>
                  <a:lnTo>
                    <a:pt x="119" y="35"/>
                  </a:lnTo>
                  <a:lnTo>
                    <a:pt x="119" y="35"/>
                  </a:lnTo>
                  <a:lnTo>
                    <a:pt x="119" y="31"/>
                  </a:lnTo>
                  <a:lnTo>
                    <a:pt x="115" y="31"/>
                  </a:lnTo>
                  <a:lnTo>
                    <a:pt x="115" y="31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0" y="27"/>
                  </a:lnTo>
                  <a:lnTo>
                    <a:pt x="106" y="22"/>
                  </a:lnTo>
                  <a:lnTo>
                    <a:pt x="101" y="22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2"/>
                  </a:lnTo>
                  <a:lnTo>
                    <a:pt x="97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4"/>
                  </a:lnTo>
                  <a:lnTo>
                    <a:pt x="35" y="4"/>
                  </a:lnTo>
                  <a:lnTo>
                    <a:pt x="35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26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4" y="13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8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8"/>
                  </a:lnTo>
                  <a:lnTo>
                    <a:pt x="8" y="18"/>
                  </a:lnTo>
                  <a:lnTo>
                    <a:pt x="8" y="13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7" y="18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1" y="49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9" y="66"/>
                  </a:lnTo>
                  <a:lnTo>
                    <a:pt x="44" y="66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7" y="89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70" y="106"/>
                  </a:lnTo>
                  <a:lnTo>
                    <a:pt x="70" y="111"/>
                  </a:lnTo>
                  <a:lnTo>
                    <a:pt x="70" y="111"/>
                  </a:lnTo>
                  <a:lnTo>
                    <a:pt x="70" y="111"/>
                  </a:lnTo>
                  <a:lnTo>
                    <a:pt x="70" y="111"/>
                  </a:lnTo>
                  <a:lnTo>
                    <a:pt x="75" y="111"/>
                  </a:lnTo>
                  <a:lnTo>
                    <a:pt x="75" y="111"/>
                  </a:lnTo>
                  <a:lnTo>
                    <a:pt x="75" y="111"/>
                  </a:lnTo>
                  <a:lnTo>
                    <a:pt x="75" y="111"/>
                  </a:lnTo>
                  <a:lnTo>
                    <a:pt x="75" y="111"/>
                  </a:lnTo>
                  <a:lnTo>
                    <a:pt x="79" y="115"/>
                  </a:lnTo>
                  <a:lnTo>
                    <a:pt x="79" y="115"/>
                  </a:lnTo>
                  <a:lnTo>
                    <a:pt x="79" y="120"/>
                  </a:lnTo>
                  <a:lnTo>
                    <a:pt x="79" y="120"/>
                  </a:lnTo>
                  <a:lnTo>
                    <a:pt x="79" y="120"/>
                  </a:lnTo>
                  <a:lnTo>
                    <a:pt x="79" y="120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84" y="133"/>
                  </a:lnTo>
                  <a:lnTo>
                    <a:pt x="84" y="133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84" y="146"/>
                  </a:lnTo>
                  <a:lnTo>
                    <a:pt x="88" y="151"/>
                  </a:lnTo>
                  <a:lnTo>
                    <a:pt x="84" y="151"/>
                  </a:lnTo>
                  <a:lnTo>
                    <a:pt x="84" y="151"/>
                  </a:lnTo>
                  <a:lnTo>
                    <a:pt x="84" y="151"/>
                  </a:lnTo>
                  <a:lnTo>
                    <a:pt x="84" y="151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59"/>
                  </a:lnTo>
                  <a:lnTo>
                    <a:pt x="84" y="159"/>
                  </a:lnTo>
                  <a:lnTo>
                    <a:pt x="84" y="159"/>
                  </a:lnTo>
                  <a:lnTo>
                    <a:pt x="84" y="164"/>
                  </a:lnTo>
                  <a:lnTo>
                    <a:pt x="84" y="164"/>
                  </a:lnTo>
                  <a:lnTo>
                    <a:pt x="84" y="164"/>
                  </a:lnTo>
                  <a:lnTo>
                    <a:pt x="84" y="164"/>
                  </a:lnTo>
                  <a:lnTo>
                    <a:pt x="84" y="164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79" y="168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7"/>
                  </a:lnTo>
                  <a:lnTo>
                    <a:pt x="79" y="177"/>
                  </a:lnTo>
                  <a:lnTo>
                    <a:pt x="79" y="177"/>
                  </a:lnTo>
                  <a:lnTo>
                    <a:pt x="84" y="177"/>
                  </a:lnTo>
                  <a:lnTo>
                    <a:pt x="79" y="177"/>
                  </a:lnTo>
                  <a:lnTo>
                    <a:pt x="79" y="182"/>
                  </a:lnTo>
                  <a:lnTo>
                    <a:pt x="79" y="182"/>
                  </a:lnTo>
                  <a:lnTo>
                    <a:pt x="79" y="182"/>
                  </a:lnTo>
                  <a:lnTo>
                    <a:pt x="79" y="186"/>
                  </a:lnTo>
                  <a:lnTo>
                    <a:pt x="79" y="186"/>
                  </a:lnTo>
                  <a:lnTo>
                    <a:pt x="79" y="186"/>
                  </a:lnTo>
                  <a:lnTo>
                    <a:pt x="79" y="186"/>
                  </a:lnTo>
                  <a:lnTo>
                    <a:pt x="79" y="186"/>
                  </a:lnTo>
                  <a:lnTo>
                    <a:pt x="79" y="186"/>
                  </a:lnTo>
                  <a:lnTo>
                    <a:pt x="79" y="190"/>
                  </a:lnTo>
                  <a:lnTo>
                    <a:pt x="79" y="190"/>
                  </a:lnTo>
                  <a:lnTo>
                    <a:pt x="79" y="190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204"/>
                  </a:lnTo>
                  <a:lnTo>
                    <a:pt x="79" y="208"/>
                  </a:lnTo>
                  <a:lnTo>
                    <a:pt x="84" y="208"/>
                  </a:lnTo>
                  <a:lnTo>
                    <a:pt x="84" y="208"/>
                  </a:lnTo>
                  <a:lnTo>
                    <a:pt x="84" y="217"/>
                  </a:lnTo>
                  <a:lnTo>
                    <a:pt x="84" y="217"/>
                  </a:lnTo>
                  <a:lnTo>
                    <a:pt x="84" y="217"/>
                  </a:lnTo>
                  <a:lnTo>
                    <a:pt x="84" y="217"/>
                  </a:lnTo>
                  <a:lnTo>
                    <a:pt x="79" y="217"/>
                  </a:lnTo>
                  <a:lnTo>
                    <a:pt x="79" y="217"/>
                  </a:lnTo>
                  <a:lnTo>
                    <a:pt x="79" y="221"/>
                  </a:lnTo>
                  <a:lnTo>
                    <a:pt x="79" y="221"/>
                  </a:lnTo>
                  <a:lnTo>
                    <a:pt x="79" y="221"/>
                  </a:lnTo>
                  <a:lnTo>
                    <a:pt x="79" y="221"/>
                  </a:lnTo>
                  <a:lnTo>
                    <a:pt x="79" y="221"/>
                  </a:lnTo>
                  <a:lnTo>
                    <a:pt x="84" y="226"/>
                  </a:lnTo>
                  <a:lnTo>
                    <a:pt x="84" y="226"/>
                  </a:lnTo>
                  <a:lnTo>
                    <a:pt x="84" y="226"/>
                  </a:lnTo>
                  <a:lnTo>
                    <a:pt x="84" y="226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8" y="226"/>
                  </a:lnTo>
                  <a:lnTo>
                    <a:pt x="92" y="226"/>
                  </a:lnTo>
                  <a:lnTo>
                    <a:pt x="97" y="226"/>
                  </a:lnTo>
                  <a:lnTo>
                    <a:pt x="101" y="226"/>
                  </a:lnTo>
                  <a:lnTo>
                    <a:pt x="101" y="226"/>
                  </a:lnTo>
                  <a:lnTo>
                    <a:pt x="101" y="226"/>
                  </a:lnTo>
                  <a:lnTo>
                    <a:pt x="101" y="226"/>
                  </a:lnTo>
                  <a:lnTo>
                    <a:pt x="101" y="226"/>
                  </a:lnTo>
                  <a:lnTo>
                    <a:pt x="101" y="226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17"/>
                  </a:lnTo>
                  <a:lnTo>
                    <a:pt x="101" y="217"/>
                  </a:lnTo>
                  <a:lnTo>
                    <a:pt x="101" y="217"/>
                  </a:lnTo>
                  <a:lnTo>
                    <a:pt x="101" y="217"/>
                  </a:lnTo>
                  <a:lnTo>
                    <a:pt x="97" y="217"/>
                  </a:lnTo>
                  <a:lnTo>
                    <a:pt x="101" y="217"/>
                  </a:lnTo>
                  <a:lnTo>
                    <a:pt x="101" y="213"/>
                  </a:lnTo>
                  <a:lnTo>
                    <a:pt x="101" y="213"/>
                  </a:lnTo>
                  <a:lnTo>
                    <a:pt x="101" y="213"/>
                  </a:lnTo>
                  <a:lnTo>
                    <a:pt x="101" y="213"/>
                  </a:lnTo>
                  <a:lnTo>
                    <a:pt x="106" y="213"/>
                  </a:lnTo>
                  <a:lnTo>
                    <a:pt x="101" y="213"/>
                  </a:lnTo>
                  <a:lnTo>
                    <a:pt x="101" y="208"/>
                  </a:lnTo>
                  <a:lnTo>
                    <a:pt x="106" y="208"/>
                  </a:lnTo>
                  <a:lnTo>
                    <a:pt x="106" y="208"/>
                  </a:lnTo>
                  <a:lnTo>
                    <a:pt x="110" y="208"/>
                  </a:lnTo>
                  <a:lnTo>
                    <a:pt x="110" y="208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5" y="199"/>
                  </a:lnTo>
                  <a:lnTo>
                    <a:pt x="115" y="199"/>
                  </a:lnTo>
                  <a:lnTo>
                    <a:pt x="110" y="195"/>
                  </a:lnTo>
                  <a:lnTo>
                    <a:pt x="110" y="195"/>
                  </a:lnTo>
                  <a:lnTo>
                    <a:pt x="115" y="195"/>
                  </a:lnTo>
                  <a:lnTo>
                    <a:pt x="115" y="195"/>
                  </a:lnTo>
                  <a:lnTo>
                    <a:pt x="123" y="190"/>
                  </a:lnTo>
                  <a:lnTo>
                    <a:pt x="123" y="190"/>
                  </a:lnTo>
                  <a:lnTo>
                    <a:pt x="123" y="190"/>
                  </a:lnTo>
                  <a:lnTo>
                    <a:pt x="123" y="186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8" y="177"/>
                  </a:lnTo>
                  <a:lnTo>
                    <a:pt x="128" y="177"/>
                  </a:lnTo>
                  <a:lnTo>
                    <a:pt x="128" y="177"/>
                  </a:lnTo>
                  <a:lnTo>
                    <a:pt x="128" y="173"/>
                  </a:lnTo>
                  <a:lnTo>
                    <a:pt x="123" y="173"/>
                  </a:lnTo>
                  <a:lnTo>
                    <a:pt x="123" y="173"/>
                  </a:lnTo>
                  <a:lnTo>
                    <a:pt x="123" y="173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3" y="164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3" y="155"/>
                  </a:lnTo>
                  <a:lnTo>
                    <a:pt x="128" y="155"/>
                  </a:lnTo>
                  <a:lnTo>
                    <a:pt x="128" y="151"/>
                  </a:lnTo>
                  <a:lnTo>
                    <a:pt x="132" y="151"/>
                  </a:lnTo>
                  <a:lnTo>
                    <a:pt x="137" y="151"/>
                  </a:lnTo>
                  <a:lnTo>
                    <a:pt x="137" y="151"/>
                  </a:lnTo>
                  <a:lnTo>
                    <a:pt x="137" y="151"/>
                  </a:lnTo>
                  <a:lnTo>
                    <a:pt x="137" y="151"/>
                  </a:lnTo>
                  <a:lnTo>
                    <a:pt x="137" y="151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6" y="155"/>
                  </a:lnTo>
                  <a:lnTo>
                    <a:pt x="146" y="159"/>
                  </a:lnTo>
                  <a:lnTo>
                    <a:pt x="146" y="159"/>
                  </a:lnTo>
                  <a:lnTo>
                    <a:pt x="146" y="159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4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4" y="159"/>
                  </a:lnTo>
                  <a:lnTo>
                    <a:pt x="154" y="159"/>
                  </a:lnTo>
                  <a:lnTo>
                    <a:pt x="154" y="159"/>
                  </a:lnTo>
                  <a:lnTo>
                    <a:pt x="154" y="159"/>
                  </a:lnTo>
                  <a:lnTo>
                    <a:pt x="154" y="159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63" y="155"/>
                  </a:lnTo>
                  <a:lnTo>
                    <a:pt x="163" y="155"/>
                  </a:lnTo>
                  <a:lnTo>
                    <a:pt x="163" y="155"/>
                  </a:lnTo>
                  <a:lnTo>
                    <a:pt x="168" y="159"/>
                  </a:lnTo>
                  <a:lnTo>
                    <a:pt x="168" y="159"/>
                  </a:lnTo>
                  <a:lnTo>
                    <a:pt x="168" y="159"/>
                  </a:lnTo>
                  <a:lnTo>
                    <a:pt x="168" y="159"/>
                  </a:lnTo>
                  <a:lnTo>
                    <a:pt x="168" y="164"/>
                  </a:lnTo>
                  <a:lnTo>
                    <a:pt x="168" y="164"/>
                  </a:lnTo>
                  <a:lnTo>
                    <a:pt x="172" y="164"/>
                  </a:lnTo>
                  <a:lnTo>
                    <a:pt x="172" y="164"/>
                  </a:lnTo>
                  <a:lnTo>
                    <a:pt x="172" y="164"/>
                  </a:lnTo>
                  <a:lnTo>
                    <a:pt x="172" y="164"/>
                  </a:lnTo>
                  <a:lnTo>
                    <a:pt x="177" y="164"/>
                  </a:lnTo>
                  <a:lnTo>
                    <a:pt x="181" y="164"/>
                  </a:lnTo>
                  <a:lnTo>
                    <a:pt x="185" y="164"/>
                  </a:lnTo>
                  <a:lnTo>
                    <a:pt x="185" y="159"/>
                  </a:lnTo>
                  <a:lnTo>
                    <a:pt x="185" y="159"/>
                  </a:lnTo>
                  <a:lnTo>
                    <a:pt x="185" y="159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95" name="Freeform 26"/>
            <p:cNvSpPr>
              <a:spLocks/>
            </p:cNvSpPr>
            <p:nvPr/>
          </p:nvSpPr>
          <p:spPr bwMode="auto">
            <a:xfrm>
              <a:off x="4202113" y="5546726"/>
              <a:ext cx="211137" cy="168275"/>
            </a:xfrm>
            <a:custGeom>
              <a:avLst/>
              <a:gdLst>
                <a:gd name="T0" fmla="*/ 133 w 133"/>
                <a:gd name="T1" fmla="*/ 44 h 106"/>
                <a:gd name="T2" fmla="*/ 129 w 133"/>
                <a:gd name="T3" fmla="*/ 36 h 106"/>
                <a:gd name="T4" fmla="*/ 129 w 133"/>
                <a:gd name="T5" fmla="*/ 31 h 106"/>
                <a:gd name="T6" fmla="*/ 124 w 133"/>
                <a:gd name="T7" fmla="*/ 27 h 106"/>
                <a:gd name="T8" fmla="*/ 124 w 133"/>
                <a:gd name="T9" fmla="*/ 27 h 106"/>
                <a:gd name="T10" fmla="*/ 120 w 133"/>
                <a:gd name="T11" fmla="*/ 22 h 106"/>
                <a:gd name="T12" fmla="*/ 116 w 133"/>
                <a:gd name="T13" fmla="*/ 22 h 106"/>
                <a:gd name="T14" fmla="*/ 107 w 133"/>
                <a:gd name="T15" fmla="*/ 13 h 106"/>
                <a:gd name="T16" fmla="*/ 98 w 133"/>
                <a:gd name="T17" fmla="*/ 5 h 106"/>
                <a:gd name="T18" fmla="*/ 85 w 133"/>
                <a:gd name="T19" fmla="*/ 5 h 106"/>
                <a:gd name="T20" fmla="*/ 76 w 133"/>
                <a:gd name="T21" fmla="*/ 5 h 106"/>
                <a:gd name="T22" fmla="*/ 67 w 133"/>
                <a:gd name="T23" fmla="*/ 9 h 106"/>
                <a:gd name="T24" fmla="*/ 62 w 133"/>
                <a:gd name="T25" fmla="*/ 9 h 106"/>
                <a:gd name="T26" fmla="*/ 54 w 133"/>
                <a:gd name="T27" fmla="*/ 9 h 106"/>
                <a:gd name="T28" fmla="*/ 49 w 133"/>
                <a:gd name="T29" fmla="*/ 9 h 106"/>
                <a:gd name="T30" fmla="*/ 49 w 133"/>
                <a:gd name="T31" fmla="*/ 9 h 106"/>
                <a:gd name="T32" fmla="*/ 45 w 133"/>
                <a:gd name="T33" fmla="*/ 18 h 106"/>
                <a:gd name="T34" fmla="*/ 40 w 133"/>
                <a:gd name="T35" fmla="*/ 22 h 106"/>
                <a:gd name="T36" fmla="*/ 36 w 133"/>
                <a:gd name="T37" fmla="*/ 13 h 106"/>
                <a:gd name="T38" fmla="*/ 31 w 133"/>
                <a:gd name="T39" fmla="*/ 13 h 106"/>
                <a:gd name="T40" fmla="*/ 18 w 133"/>
                <a:gd name="T41" fmla="*/ 22 h 106"/>
                <a:gd name="T42" fmla="*/ 14 w 133"/>
                <a:gd name="T43" fmla="*/ 31 h 106"/>
                <a:gd name="T44" fmla="*/ 14 w 133"/>
                <a:gd name="T45" fmla="*/ 36 h 106"/>
                <a:gd name="T46" fmla="*/ 9 w 133"/>
                <a:gd name="T47" fmla="*/ 36 h 106"/>
                <a:gd name="T48" fmla="*/ 5 w 133"/>
                <a:gd name="T49" fmla="*/ 40 h 106"/>
                <a:gd name="T50" fmla="*/ 5 w 133"/>
                <a:gd name="T51" fmla="*/ 44 h 106"/>
                <a:gd name="T52" fmla="*/ 5 w 133"/>
                <a:gd name="T53" fmla="*/ 58 h 106"/>
                <a:gd name="T54" fmla="*/ 0 w 133"/>
                <a:gd name="T55" fmla="*/ 58 h 106"/>
                <a:gd name="T56" fmla="*/ 0 w 133"/>
                <a:gd name="T57" fmla="*/ 62 h 106"/>
                <a:gd name="T58" fmla="*/ 0 w 133"/>
                <a:gd name="T59" fmla="*/ 66 h 106"/>
                <a:gd name="T60" fmla="*/ 5 w 133"/>
                <a:gd name="T61" fmla="*/ 71 h 106"/>
                <a:gd name="T62" fmla="*/ 0 w 133"/>
                <a:gd name="T63" fmla="*/ 75 h 106"/>
                <a:gd name="T64" fmla="*/ 5 w 133"/>
                <a:gd name="T65" fmla="*/ 89 h 106"/>
                <a:gd name="T66" fmla="*/ 9 w 133"/>
                <a:gd name="T67" fmla="*/ 93 h 106"/>
                <a:gd name="T68" fmla="*/ 14 w 133"/>
                <a:gd name="T69" fmla="*/ 97 h 106"/>
                <a:gd name="T70" fmla="*/ 18 w 133"/>
                <a:gd name="T71" fmla="*/ 102 h 106"/>
                <a:gd name="T72" fmla="*/ 27 w 133"/>
                <a:gd name="T73" fmla="*/ 106 h 106"/>
                <a:gd name="T74" fmla="*/ 40 w 133"/>
                <a:gd name="T75" fmla="*/ 106 h 106"/>
                <a:gd name="T76" fmla="*/ 49 w 133"/>
                <a:gd name="T77" fmla="*/ 102 h 106"/>
                <a:gd name="T78" fmla="*/ 58 w 133"/>
                <a:gd name="T79" fmla="*/ 106 h 106"/>
                <a:gd name="T80" fmla="*/ 62 w 133"/>
                <a:gd name="T81" fmla="*/ 102 h 106"/>
                <a:gd name="T82" fmla="*/ 71 w 133"/>
                <a:gd name="T83" fmla="*/ 102 h 106"/>
                <a:gd name="T84" fmla="*/ 71 w 133"/>
                <a:gd name="T85" fmla="*/ 97 h 106"/>
                <a:gd name="T86" fmla="*/ 76 w 133"/>
                <a:gd name="T87" fmla="*/ 93 h 106"/>
                <a:gd name="T88" fmla="*/ 76 w 133"/>
                <a:gd name="T89" fmla="*/ 89 h 106"/>
                <a:gd name="T90" fmla="*/ 85 w 133"/>
                <a:gd name="T91" fmla="*/ 84 h 106"/>
                <a:gd name="T92" fmla="*/ 89 w 133"/>
                <a:gd name="T93" fmla="*/ 89 h 106"/>
                <a:gd name="T94" fmla="*/ 93 w 133"/>
                <a:gd name="T95" fmla="*/ 84 h 106"/>
                <a:gd name="T96" fmla="*/ 98 w 133"/>
                <a:gd name="T97" fmla="*/ 89 h 106"/>
                <a:gd name="T98" fmla="*/ 102 w 133"/>
                <a:gd name="T99" fmla="*/ 89 h 106"/>
                <a:gd name="T100" fmla="*/ 107 w 133"/>
                <a:gd name="T101" fmla="*/ 89 h 106"/>
                <a:gd name="T102" fmla="*/ 116 w 133"/>
                <a:gd name="T103" fmla="*/ 89 h 106"/>
                <a:gd name="T104" fmla="*/ 116 w 133"/>
                <a:gd name="T105" fmla="*/ 84 h 106"/>
                <a:gd name="T106" fmla="*/ 120 w 133"/>
                <a:gd name="T107" fmla="*/ 89 h 106"/>
                <a:gd name="T108" fmla="*/ 120 w 133"/>
                <a:gd name="T109" fmla="*/ 75 h 106"/>
                <a:gd name="T110" fmla="*/ 133 w 133"/>
                <a:gd name="T111" fmla="*/ 71 h 106"/>
                <a:gd name="T112" fmla="*/ 133 w 133"/>
                <a:gd name="T113" fmla="*/ 66 h 106"/>
                <a:gd name="T114" fmla="*/ 133 w 133"/>
                <a:gd name="T115" fmla="*/ 58 h 106"/>
                <a:gd name="T116" fmla="*/ 129 w 133"/>
                <a:gd name="T117" fmla="*/ 53 h 106"/>
                <a:gd name="T118" fmla="*/ 133 w 133"/>
                <a:gd name="T119" fmla="*/ 5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3" h="106">
                  <a:moveTo>
                    <a:pt x="133" y="44"/>
                  </a:moveTo>
                  <a:lnTo>
                    <a:pt x="133" y="44"/>
                  </a:lnTo>
                  <a:lnTo>
                    <a:pt x="133" y="44"/>
                  </a:lnTo>
                  <a:lnTo>
                    <a:pt x="133" y="44"/>
                  </a:lnTo>
                  <a:lnTo>
                    <a:pt x="133" y="44"/>
                  </a:lnTo>
                  <a:lnTo>
                    <a:pt x="133" y="44"/>
                  </a:lnTo>
                  <a:lnTo>
                    <a:pt x="129" y="40"/>
                  </a:lnTo>
                  <a:lnTo>
                    <a:pt x="129" y="36"/>
                  </a:lnTo>
                  <a:lnTo>
                    <a:pt x="129" y="36"/>
                  </a:lnTo>
                  <a:lnTo>
                    <a:pt x="129" y="36"/>
                  </a:lnTo>
                  <a:lnTo>
                    <a:pt x="129" y="36"/>
                  </a:lnTo>
                  <a:lnTo>
                    <a:pt x="129" y="36"/>
                  </a:lnTo>
                  <a:lnTo>
                    <a:pt x="129" y="36"/>
                  </a:lnTo>
                  <a:lnTo>
                    <a:pt x="129" y="36"/>
                  </a:lnTo>
                  <a:lnTo>
                    <a:pt x="129" y="36"/>
                  </a:lnTo>
                  <a:lnTo>
                    <a:pt x="129" y="36"/>
                  </a:lnTo>
                  <a:lnTo>
                    <a:pt x="129" y="31"/>
                  </a:lnTo>
                  <a:lnTo>
                    <a:pt x="129" y="31"/>
                  </a:lnTo>
                  <a:lnTo>
                    <a:pt x="129" y="27"/>
                  </a:lnTo>
                  <a:lnTo>
                    <a:pt x="129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1" y="18"/>
                  </a:lnTo>
                  <a:lnTo>
                    <a:pt x="107" y="18"/>
                  </a:lnTo>
                  <a:lnTo>
                    <a:pt x="107" y="18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54" y="9"/>
                  </a:lnTo>
                  <a:lnTo>
                    <a:pt x="54" y="13"/>
                  </a:lnTo>
                  <a:lnTo>
                    <a:pt x="49" y="13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0" y="22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3" y="18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4" y="27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40"/>
                  </a:lnTo>
                  <a:lnTo>
                    <a:pt x="14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0" y="44"/>
                  </a:lnTo>
                  <a:lnTo>
                    <a:pt x="5" y="49"/>
                  </a:lnTo>
                  <a:lnTo>
                    <a:pt x="5" y="53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71"/>
                  </a:lnTo>
                  <a:lnTo>
                    <a:pt x="5" y="71"/>
                  </a:lnTo>
                  <a:lnTo>
                    <a:pt x="5" y="71"/>
                  </a:lnTo>
                  <a:lnTo>
                    <a:pt x="5" y="71"/>
                  </a:lnTo>
                  <a:lnTo>
                    <a:pt x="5" y="71"/>
                  </a:lnTo>
                  <a:lnTo>
                    <a:pt x="5" y="71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80"/>
                  </a:lnTo>
                  <a:lnTo>
                    <a:pt x="5" y="84"/>
                  </a:lnTo>
                  <a:lnTo>
                    <a:pt x="5" y="84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14" y="97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8" y="106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23" y="102"/>
                  </a:lnTo>
                  <a:lnTo>
                    <a:pt x="27" y="102"/>
                  </a:lnTo>
                  <a:lnTo>
                    <a:pt x="27" y="106"/>
                  </a:lnTo>
                  <a:lnTo>
                    <a:pt x="27" y="106"/>
                  </a:lnTo>
                  <a:lnTo>
                    <a:pt x="27" y="106"/>
                  </a:lnTo>
                  <a:lnTo>
                    <a:pt x="36" y="106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9" y="106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8" y="106"/>
                  </a:lnTo>
                  <a:lnTo>
                    <a:pt x="58" y="106"/>
                  </a:lnTo>
                  <a:lnTo>
                    <a:pt x="58" y="106"/>
                  </a:lnTo>
                  <a:lnTo>
                    <a:pt x="62" y="106"/>
                  </a:lnTo>
                  <a:lnTo>
                    <a:pt x="62" y="106"/>
                  </a:lnTo>
                  <a:lnTo>
                    <a:pt x="62" y="106"/>
                  </a:lnTo>
                  <a:lnTo>
                    <a:pt x="62" y="106"/>
                  </a:lnTo>
                  <a:lnTo>
                    <a:pt x="62" y="106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7" y="102"/>
                  </a:lnTo>
                  <a:lnTo>
                    <a:pt x="67" y="102"/>
                  </a:lnTo>
                  <a:lnTo>
                    <a:pt x="67" y="102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80" y="89"/>
                  </a:lnTo>
                  <a:lnTo>
                    <a:pt x="80" y="89"/>
                  </a:lnTo>
                  <a:lnTo>
                    <a:pt x="85" y="89"/>
                  </a:lnTo>
                  <a:lnTo>
                    <a:pt x="85" y="89"/>
                  </a:lnTo>
                  <a:lnTo>
                    <a:pt x="85" y="89"/>
                  </a:lnTo>
                  <a:lnTo>
                    <a:pt x="85" y="84"/>
                  </a:lnTo>
                  <a:lnTo>
                    <a:pt x="85" y="89"/>
                  </a:lnTo>
                  <a:lnTo>
                    <a:pt x="85" y="89"/>
                  </a:lnTo>
                  <a:lnTo>
                    <a:pt x="85" y="89"/>
                  </a:lnTo>
                  <a:lnTo>
                    <a:pt x="85" y="89"/>
                  </a:lnTo>
                  <a:lnTo>
                    <a:pt x="85" y="89"/>
                  </a:lnTo>
                  <a:lnTo>
                    <a:pt x="89" y="89"/>
                  </a:lnTo>
                  <a:lnTo>
                    <a:pt x="89" y="89"/>
                  </a:lnTo>
                  <a:lnTo>
                    <a:pt x="89" y="84"/>
                  </a:lnTo>
                  <a:lnTo>
                    <a:pt x="93" y="84"/>
                  </a:lnTo>
                  <a:lnTo>
                    <a:pt x="93" y="84"/>
                  </a:lnTo>
                  <a:lnTo>
                    <a:pt x="93" y="84"/>
                  </a:lnTo>
                  <a:lnTo>
                    <a:pt x="93" y="84"/>
                  </a:lnTo>
                  <a:lnTo>
                    <a:pt x="93" y="89"/>
                  </a:lnTo>
                  <a:lnTo>
                    <a:pt x="98" y="89"/>
                  </a:lnTo>
                  <a:lnTo>
                    <a:pt x="98" y="89"/>
                  </a:lnTo>
                  <a:lnTo>
                    <a:pt x="98" y="89"/>
                  </a:lnTo>
                  <a:lnTo>
                    <a:pt x="98" y="89"/>
                  </a:lnTo>
                  <a:lnTo>
                    <a:pt x="98" y="89"/>
                  </a:lnTo>
                  <a:lnTo>
                    <a:pt x="98" y="89"/>
                  </a:lnTo>
                  <a:lnTo>
                    <a:pt x="98" y="89"/>
                  </a:lnTo>
                  <a:lnTo>
                    <a:pt x="98" y="89"/>
                  </a:lnTo>
                  <a:lnTo>
                    <a:pt x="102" y="89"/>
                  </a:lnTo>
                  <a:lnTo>
                    <a:pt x="102" y="89"/>
                  </a:lnTo>
                  <a:lnTo>
                    <a:pt x="102" y="89"/>
                  </a:lnTo>
                  <a:lnTo>
                    <a:pt x="102" y="89"/>
                  </a:lnTo>
                  <a:lnTo>
                    <a:pt x="102" y="89"/>
                  </a:lnTo>
                  <a:lnTo>
                    <a:pt x="107" y="89"/>
                  </a:lnTo>
                  <a:lnTo>
                    <a:pt x="107" y="89"/>
                  </a:lnTo>
                  <a:lnTo>
                    <a:pt x="107" y="89"/>
                  </a:lnTo>
                  <a:lnTo>
                    <a:pt x="107" y="89"/>
                  </a:lnTo>
                  <a:lnTo>
                    <a:pt x="107" y="89"/>
                  </a:lnTo>
                  <a:lnTo>
                    <a:pt x="111" y="89"/>
                  </a:lnTo>
                  <a:lnTo>
                    <a:pt x="111" y="89"/>
                  </a:lnTo>
                  <a:lnTo>
                    <a:pt x="111" y="89"/>
                  </a:lnTo>
                  <a:lnTo>
                    <a:pt x="111" y="89"/>
                  </a:lnTo>
                  <a:lnTo>
                    <a:pt x="116" y="89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20" y="89"/>
                  </a:lnTo>
                  <a:lnTo>
                    <a:pt x="120" y="89"/>
                  </a:lnTo>
                  <a:lnTo>
                    <a:pt x="120" y="89"/>
                  </a:lnTo>
                  <a:lnTo>
                    <a:pt x="120" y="84"/>
                  </a:lnTo>
                  <a:lnTo>
                    <a:pt x="120" y="84"/>
                  </a:lnTo>
                  <a:lnTo>
                    <a:pt x="120" y="75"/>
                  </a:lnTo>
                  <a:lnTo>
                    <a:pt x="120" y="75"/>
                  </a:lnTo>
                  <a:lnTo>
                    <a:pt x="120" y="75"/>
                  </a:lnTo>
                  <a:lnTo>
                    <a:pt x="120" y="75"/>
                  </a:lnTo>
                  <a:lnTo>
                    <a:pt x="124" y="75"/>
                  </a:lnTo>
                  <a:lnTo>
                    <a:pt x="124" y="75"/>
                  </a:lnTo>
                  <a:lnTo>
                    <a:pt x="124" y="75"/>
                  </a:lnTo>
                  <a:lnTo>
                    <a:pt x="129" y="75"/>
                  </a:lnTo>
                  <a:lnTo>
                    <a:pt x="133" y="71"/>
                  </a:lnTo>
                  <a:lnTo>
                    <a:pt x="133" y="71"/>
                  </a:lnTo>
                  <a:lnTo>
                    <a:pt x="133" y="71"/>
                  </a:lnTo>
                  <a:lnTo>
                    <a:pt x="129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2"/>
                  </a:lnTo>
                  <a:lnTo>
                    <a:pt x="133" y="58"/>
                  </a:lnTo>
                  <a:lnTo>
                    <a:pt x="133" y="58"/>
                  </a:lnTo>
                  <a:lnTo>
                    <a:pt x="133" y="58"/>
                  </a:lnTo>
                  <a:lnTo>
                    <a:pt x="133" y="58"/>
                  </a:lnTo>
                  <a:lnTo>
                    <a:pt x="129" y="58"/>
                  </a:lnTo>
                  <a:lnTo>
                    <a:pt x="129" y="58"/>
                  </a:lnTo>
                  <a:lnTo>
                    <a:pt x="129" y="53"/>
                  </a:lnTo>
                  <a:lnTo>
                    <a:pt x="129" y="53"/>
                  </a:lnTo>
                  <a:lnTo>
                    <a:pt x="129" y="53"/>
                  </a:lnTo>
                  <a:lnTo>
                    <a:pt x="133" y="53"/>
                  </a:lnTo>
                  <a:lnTo>
                    <a:pt x="133" y="53"/>
                  </a:lnTo>
                  <a:lnTo>
                    <a:pt x="133" y="53"/>
                  </a:lnTo>
                  <a:lnTo>
                    <a:pt x="133" y="53"/>
                  </a:lnTo>
                  <a:lnTo>
                    <a:pt x="133" y="53"/>
                  </a:lnTo>
                  <a:lnTo>
                    <a:pt x="133" y="49"/>
                  </a:lnTo>
                  <a:lnTo>
                    <a:pt x="133" y="49"/>
                  </a:lnTo>
                  <a:lnTo>
                    <a:pt x="133" y="49"/>
                  </a:lnTo>
                  <a:lnTo>
                    <a:pt x="133" y="49"/>
                  </a:lnTo>
                  <a:lnTo>
                    <a:pt x="133" y="44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96" name="Freeform 27"/>
            <p:cNvSpPr>
              <a:spLocks/>
            </p:cNvSpPr>
            <p:nvPr/>
          </p:nvSpPr>
          <p:spPr bwMode="auto">
            <a:xfrm>
              <a:off x="2965450" y="4605338"/>
              <a:ext cx="71437" cy="90488"/>
            </a:xfrm>
            <a:custGeom>
              <a:avLst/>
              <a:gdLst>
                <a:gd name="T0" fmla="*/ 40 w 45"/>
                <a:gd name="T1" fmla="*/ 31 h 57"/>
                <a:gd name="T2" fmla="*/ 36 w 45"/>
                <a:gd name="T3" fmla="*/ 26 h 57"/>
                <a:gd name="T4" fmla="*/ 31 w 45"/>
                <a:gd name="T5" fmla="*/ 26 h 57"/>
                <a:gd name="T6" fmla="*/ 31 w 45"/>
                <a:gd name="T7" fmla="*/ 22 h 57"/>
                <a:gd name="T8" fmla="*/ 27 w 45"/>
                <a:gd name="T9" fmla="*/ 18 h 57"/>
                <a:gd name="T10" fmla="*/ 23 w 45"/>
                <a:gd name="T11" fmla="*/ 13 h 57"/>
                <a:gd name="T12" fmla="*/ 23 w 45"/>
                <a:gd name="T13" fmla="*/ 9 h 57"/>
                <a:gd name="T14" fmla="*/ 23 w 45"/>
                <a:gd name="T15" fmla="*/ 9 h 57"/>
                <a:gd name="T16" fmla="*/ 23 w 45"/>
                <a:gd name="T17" fmla="*/ 4 h 57"/>
                <a:gd name="T18" fmla="*/ 23 w 45"/>
                <a:gd name="T19" fmla="*/ 0 h 57"/>
                <a:gd name="T20" fmla="*/ 23 w 45"/>
                <a:gd name="T21" fmla="*/ 0 h 57"/>
                <a:gd name="T22" fmla="*/ 18 w 45"/>
                <a:gd name="T23" fmla="*/ 0 h 57"/>
                <a:gd name="T24" fmla="*/ 18 w 45"/>
                <a:gd name="T25" fmla="*/ 0 h 57"/>
                <a:gd name="T26" fmla="*/ 14 w 45"/>
                <a:gd name="T27" fmla="*/ 0 h 57"/>
                <a:gd name="T28" fmla="*/ 9 w 45"/>
                <a:gd name="T29" fmla="*/ 4 h 57"/>
                <a:gd name="T30" fmla="*/ 9 w 45"/>
                <a:gd name="T31" fmla="*/ 9 h 57"/>
                <a:gd name="T32" fmla="*/ 9 w 45"/>
                <a:gd name="T33" fmla="*/ 9 h 57"/>
                <a:gd name="T34" fmla="*/ 5 w 45"/>
                <a:gd name="T35" fmla="*/ 13 h 57"/>
                <a:gd name="T36" fmla="*/ 5 w 45"/>
                <a:gd name="T37" fmla="*/ 18 h 57"/>
                <a:gd name="T38" fmla="*/ 5 w 45"/>
                <a:gd name="T39" fmla="*/ 18 h 57"/>
                <a:gd name="T40" fmla="*/ 0 w 45"/>
                <a:gd name="T41" fmla="*/ 22 h 57"/>
                <a:gd name="T42" fmla="*/ 5 w 45"/>
                <a:gd name="T43" fmla="*/ 26 h 57"/>
                <a:gd name="T44" fmla="*/ 5 w 45"/>
                <a:gd name="T45" fmla="*/ 26 h 57"/>
                <a:gd name="T46" fmla="*/ 0 w 45"/>
                <a:gd name="T47" fmla="*/ 26 h 57"/>
                <a:gd name="T48" fmla="*/ 5 w 45"/>
                <a:gd name="T49" fmla="*/ 31 h 57"/>
                <a:gd name="T50" fmla="*/ 5 w 45"/>
                <a:gd name="T51" fmla="*/ 35 h 57"/>
                <a:gd name="T52" fmla="*/ 9 w 45"/>
                <a:gd name="T53" fmla="*/ 35 h 57"/>
                <a:gd name="T54" fmla="*/ 9 w 45"/>
                <a:gd name="T55" fmla="*/ 35 h 57"/>
                <a:gd name="T56" fmla="*/ 9 w 45"/>
                <a:gd name="T57" fmla="*/ 35 h 57"/>
                <a:gd name="T58" fmla="*/ 9 w 45"/>
                <a:gd name="T59" fmla="*/ 40 h 57"/>
                <a:gd name="T60" fmla="*/ 9 w 45"/>
                <a:gd name="T61" fmla="*/ 40 h 57"/>
                <a:gd name="T62" fmla="*/ 9 w 45"/>
                <a:gd name="T63" fmla="*/ 44 h 57"/>
                <a:gd name="T64" fmla="*/ 9 w 45"/>
                <a:gd name="T65" fmla="*/ 49 h 57"/>
                <a:gd name="T66" fmla="*/ 9 w 45"/>
                <a:gd name="T67" fmla="*/ 49 h 57"/>
                <a:gd name="T68" fmla="*/ 9 w 45"/>
                <a:gd name="T69" fmla="*/ 53 h 57"/>
                <a:gd name="T70" fmla="*/ 18 w 45"/>
                <a:gd name="T71" fmla="*/ 57 h 57"/>
                <a:gd name="T72" fmla="*/ 23 w 45"/>
                <a:gd name="T73" fmla="*/ 57 h 57"/>
                <a:gd name="T74" fmla="*/ 23 w 45"/>
                <a:gd name="T75" fmla="*/ 53 h 57"/>
                <a:gd name="T76" fmla="*/ 27 w 45"/>
                <a:gd name="T77" fmla="*/ 53 h 57"/>
                <a:gd name="T78" fmla="*/ 36 w 45"/>
                <a:gd name="T79" fmla="*/ 57 h 57"/>
                <a:gd name="T80" fmla="*/ 36 w 45"/>
                <a:gd name="T81" fmla="*/ 53 h 57"/>
                <a:gd name="T82" fmla="*/ 36 w 45"/>
                <a:gd name="T83" fmla="*/ 44 h 57"/>
                <a:gd name="T84" fmla="*/ 40 w 45"/>
                <a:gd name="T85" fmla="*/ 44 h 57"/>
                <a:gd name="T86" fmla="*/ 40 w 45"/>
                <a:gd name="T87" fmla="*/ 40 h 57"/>
                <a:gd name="T88" fmla="*/ 45 w 45"/>
                <a:gd name="T89" fmla="*/ 35 h 57"/>
                <a:gd name="T90" fmla="*/ 45 w 45"/>
                <a:gd name="T91" fmla="*/ 35 h 57"/>
                <a:gd name="T92" fmla="*/ 45 w 45"/>
                <a:gd name="T93" fmla="*/ 35 h 57"/>
                <a:gd name="T94" fmla="*/ 45 w 45"/>
                <a:gd name="T95" fmla="*/ 31 h 57"/>
                <a:gd name="T96" fmla="*/ 45 w 45"/>
                <a:gd name="T97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" h="57">
                  <a:moveTo>
                    <a:pt x="45" y="31"/>
                  </a:moveTo>
                  <a:lnTo>
                    <a:pt x="45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27" y="22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9" y="13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5" y="49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14" y="53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8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31" y="53"/>
                  </a:lnTo>
                  <a:lnTo>
                    <a:pt x="31" y="53"/>
                  </a:lnTo>
                  <a:lnTo>
                    <a:pt x="31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97" name="Freeform 28"/>
            <p:cNvSpPr>
              <a:spLocks noEditPoints="1"/>
            </p:cNvSpPr>
            <p:nvPr/>
          </p:nvSpPr>
          <p:spPr bwMode="auto">
            <a:xfrm>
              <a:off x="4244975" y="3725863"/>
              <a:ext cx="492125" cy="373063"/>
            </a:xfrm>
            <a:custGeom>
              <a:avLst/>
              <a:gdLst>
                <a:gd name="T0" fmla="*/ 4 w 310"/>
                <a:gd name="T1" fmla="*/ 89 h 235"/>
                <a:gd name="T2" fmla="*/ 4 w 310"/>
                <a:gd name="T3" fmla="*/ 102 h 235"/>
                <a:gd name="T4" fmla="*/ 9 w 310"/>
                <a:gd name="T5" fmla="*/ 85 h 235"/>
                <a:gd name="T6" fmla="*/ 292 w 310"/>
                <a:gd name="T7" fmla="*/ 107 h 235"/>
                <a:gd name="T8" fmla="*/ 292 w 310"/>
                <a:gd name="T9" fmla="*/ 93 h 235"/>
                <a:gd name="T10" fmla="*/ 297 w 310"/>
                <a:gd name="T11" fmla="*/ 76 h 235"/>
                <a:gd name="T12" fmla="*/ 274 w 310"/>
                <a:gd name="T13" fmla="*/ 54 h 235"/>
                <a:gd name="T14" fmla="*/ 248 w 310"/>
                <a:gd name="T15" fmla="*/ 31 h 235"/>
                <a:gd name="T16" fmla="*/ 217 w 310"/>
                <a:gd name="T17" fmla="*/ 23 h 235"/>
                <a:gd name="T18" fmla="*/ 208 w 310"/>
                <a:gd name="T19" fmla="*/ 0 h 235"/>
                <a:gd name="T20" fmla="*/ 204 w 310"/>
                <a:gd name="T21" fmla="*/ 5 h 235"/>
                <a:gd name="T22" fmla="*/ 177 w 310"/>
                <a:gd name="T23" fmla="*/ 14 h 235"/>
                <a:gd name="T24" fmla="*/ 155 w 310"/>
                <a:gd name="T25" fmla="*/ 9 h 235"/>
                <a:gd name="T26" fmla="*/ 146 w 310"/>
                <a:gd name="T27" fmla="*/ 9 h 235"/>
                <a:gd name="T28" fmla="*/ 115 w 310"/>
                <a:gd name="T29" fmla="*/ 9 h 235"/>
                <a:gd name="T30" fmla="*/ 102 w 310"/>
                <a:gd name="T31" fmla="*/ 5 h 235"/>
                <a:gd name="T32" fmla="*/ 80 w 310"/>
                <a:gd name="T33" fmla="*/ 5 h 235"/>
                <a:gd name="T34" fmla="*/ 35 w 310"/>
                <a:gd name="T35" fmla="*/ 14 h 235"/>
                <a:gd name="T36" fmla="*/ 13 w 310"/>
                <a:gd name="T37" fmla="*/ 27 h 235"/>
                <a:gd name="T38" fmla="*/ 4 w 310"/>
                <a:gd name="T39" fmla="*/ 49 h 235"/>
                <a:gd name="T40" fmla="*/ 9 w 310"/>
                <a:gd name="T41" fmla="*/ 71 h 235"/>
                <a:gd name="T42" fmla="*/ 13 w 310"/>
                <a:gd name="T43" fmla="*/ 85 h 235"/>
                <a:gd name="T44" fmla="*/ 13 w 310"/>
                <a:gd name="T45" fmla="*/ 98 h 235"/>
                <a:gd name="T46" fmla="*/ 18 w 310"/>
                <a:gd name="T47" fmla="*/ 102 h 235"/>
                <a:gd name="T48" fmla="*/ 18 w 310"/>
                <a:gd name="T49" fmla="*/ 111 h 235"/>
                <a:gd name="T50" fmla="*/ 35 w 310"/>
                <a:gd name="T51" fmla="*/ 116 h 235"/>
                <a:gd name="T52" fmla="*/ 53 w 310"/>
                <a:gd name="T53" fmla="*/ 129 h 235"/>
                <a:gd name="T54" fmla="*/ 58 w 310"/>
                <a:gd name="T55" fmla="*/ 133 h 235"/>
                <a:gd name="T56" fmla="*/ 84 w 310"/>
                <a:gd name="T57" fmla="*/ 129 h 235"/>
                <a:gd name="T58" fmla="*/ 93 w 310"/>
                <a:gd name="T59" fmla="*/ 138 h 235"/>
                <a:gd name="T60" fmla="*/ 97 w 310"/>
                <a:gd name="T61" fmla="*/ 146 h 235"/>
                <a:gd name="T62" fmla="*/ 93 w 310"/>
                <a:gd name="T63" fmla="*/ 160 h 235"/>
                <a:gd name="T64" fmla="*/ 93 w 310"/>
                <a:gd name="T65" fmla="*/ 164 h 235"/>
                <a:gd name="T66" fmla="*/ 93 w 310"/>
                <a:gd name="T67" fmla="*/ 186 h 235"/>
                <a:gd name="T68" fmla="*/ 106 w 310"/>
                <a:gd name="T69" fmla="*/ 191 h 235"/>
                <a:gd name="T70" fmla="*/ 111 w 310"/>
                <a:gd name="T71" fmla="*/ 195 h 235"/>
                <a:gd name="T72" fmla="*/ 119 w 310"/>
                <a:gd name="T73" fmla="*/ 204 h 235"/>
                <a:gd name="T74" fmla="*/ 128 w 310"/>
                <a:gd name="T75" fmla="*/ 208 h 235"/>
                <a:gd name="T76" fmla="*/ 133 w 310"/>
                <a:gd name="T77" fmla="*/ 226 h 235"/>
                <a:gd name="T78" fmla="*/ 133 w 310"/>
                <a:gd name="T79" fmla="*/ 231 h 235"/>
                <a:gd name="T80" fmla="*/ 150 w 310"/>
                <a:gd name="T81" fmla="*/ 231 h 235"/>
                <a:gd name="T82" fmla="*/ 164 w 310"/>
                <a:gd name="T83" fmla="*/ 231 h 235"/>
                <a:gd name="T84" fmla="*/ 177 w 310"/>
                <a:gd name="T85" fmla="*/ 235 h 235"/>
                <a:gd name="T86" fmla="*/ 195 w 310"/>
                <a:gd name="T87" fmla="*/ 226 h 235"/>
                <a:gd name="T88" fmla="*/ 204 w 310"/>
                <a:gd name="T89" fmla="*/ 226 h 235"/>
                <a:gd name="T90" fmla="*/ 204 w 310"/>
                <a:gd name="T91" fmla="*/ 213 h 235"/>
                <a:gd name="T92" fmla="*/ 212 w 310"/>
                <a:gd name="T93" fmla="*/ 213 h 235"/>
                <a:gd name="T94" fmla="*/ 230 w 310"/>
                <a:gd name="T95" fmla="*/ 204 h 235"/>
                <a:gd name="T96" fmla="*/ 239 w 310"/>
                <a:gd name="T97" fmla="*/ 204 h 235"/>
                <a:gd name="T98" fmla="*/ 239 w 310"/>
                <a:gd name="T99" fmla="*/ 213 h 235"/>
                <a:gd name="T100" fmla="*/ 252 w 310"/>
                <a:gd name="T101" fmla="*/ 213 h 235"/>
                <a:gd name="T102" fmla="*/ 252 w 310"/>
                <a:gd name="T103" fmla="*/ 204 h 235"/>
                <a:gd name="T104" fmla="*/ 248 w 310"/>
                <a:gd name="T105" fmla="*/ 200 h 235"/>
                <a:gd name="T106" fmla="*/ 239 w 310"/>
                <a:gd name="T107" fmla="*/ 195 h 235"/>
                <a:gd name="T108" fmla="*/ 248 w 310"/>
                <a:gd name="T109" fmla="*/ 177 h 235"/>
                <a:gd name="T110" fmla="*/ 252 w 310"/>
                <a:gd name="T111" fmla="*/ 164 h 235"/>
                <a:gd name="T112" fmla="*/ 252 w 310"/>
                <a:gd name="T113" fmla="*/ 151 h 235"/>
                <a:gd name="T114" fmla="*/ 257 w 310"/>
                <a:gd name="T115" fmla="*/ 142 h 235"/>
                <a:gd name="T116" fmla="*/ 274 w 310"/>
                <a:gd name="T117" fmla="*/ 138 h 235"/>
                <a:gd name="T118" fmla="*/ 279 w 310"/>
                <a:gd name="T119" fmla="*/ 120 h 235"/>
                <a:gd name="T120" fmla="*/ 297 w 310"/>
                <a:gd name="T121" fmla="*/ 124 h 235"/>
                <a:gd name="T122" fmla="*/ 305 w 310"/>
                <a:gd name="T123" fmla="*/ 11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0" h="235">
                  <a:moveTo>
                    <a:pt x="9" y="71"/>
                  </a:moveTo>
                  <a:lnTo>
                    <a:pt x="4" y="67"/>
                  </a:lnTo>
                  <a:lnTo>
                    <a:pt x="9" y="71"/>
                  </a:lnTo>
                  <a:lnTo>
                    <a:pt x="4" y="76"/>
                  </a:lnTo>
                  <a:lnTo>
                    <a:pt x="9" y="76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4" y="89"/>
                  </a:lnTo>
                  <a:lnTo>
                    <a:pt x="4" y="98"/>
                  </a:lnTo>
                  <a:lnTo>
                    <a:pt x="0" y="102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11"/>
                  </a:lnTo>
                  <a:lnTo>
                    <a:pt x="0" y="107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4" y="98"/>
                  </a:lnTo>
                  <a:lnTo>
                    <a:pt x="9" y="98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4" y="93"/>
                  </a:lnTo>
                  <a:lnTo>
                    <a:pt x="9" y="93"/>
                  </a:lnTo>
                  <a:lnTo>
                    <a:pt x="9" y="89"/>
                  </a:lnTo>
                  <a:lnTo>
                    <a:pt x="9" y="89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0"/>
                  </a:lnTo>
                  <a:lnTo>
                    <a:pt x="9" y="76"/>
                  </a:lnTo>
                  <a:lnTo>
                    <a:pt x="9" y="71"/>
                  </a:lnTo>
                  <a:close/>
                  <a:moveTo>
                    <a:pt x="305" y="107"/>
                  </a:moveTo>
                  <a:lnTo>
                    <a:pt x="305" y="107"/>
                  </a:lnTo>
                  <a:lnTo>
                    <a:pt x="297" y="107"/>
                  </a:lnTo>
                  <a:lnTo>
                    <a:pt x="292" y="107"/>
                  </a:lnTo>
                  <a:lnTo>
                    <a:pt x="292" y="107"/>
                  </a:lnTo>
                  <a:lnTo>
                    <a:pt x="292" y="107"/>
                  </a:lnTo>
                  <a:lnTo>
                    <a:pt x="288" y="102"/>
                  </a:lnTo>
                  <a:lnTo>
                    <a:pt x="288" y="102"/>
                  </a:lnTo>
                  <a:lnTo>
                    <a:pt x="288" y="102"/>
                  </a:lnTo>
                  <a:lnTo>
                    <a:pt x="292" y="98"/>
                  </a:lnTo>
                  <a:lnTo>
                    <a:pt x="292" y="98"/>
                  </a:lnTo>
                  <a:lnTo>
                    <a:pt x="292" y="93"/>
                  </a:lnTo>
                  <a:lnTo>
                    <a:pt x="292" y="93"/>
                  </a:lnTo>
                  <a:lnTo>
                    <a:pt x="292" y="93"/>
                  </a:lnTo>
                  <a:lnTo>
                    <a:pt x="292" y="89"/>
                  </a:lnTo>
                  <a:lnTo>
                    <a:pt x="292" y="89"/>
                  </a:lnTo>
                  <a:lnTo>
                    <a:pt x="292" y="85"/>
                  </a:lnTo>
                  <a:lnTo>
                    <a:pt x="297" y="85"/>
                  </a:lnTo>
                  <a:lnTo>
                    <a:pt x="297" y="85"/>
                  </a:lnTo>
                  <a:lnTo>
                    <a:pt x="297" y="80"/>
                  </a:lnTo>
                  <a:lnTo>
                    <a:pt x="297" y="80"/>
                  </a:lnTo>
                  <a:lnTo>
                    <a:pt x="297" y="76"/>
                  </a:lnTo>
                  <a:lnTo>
                    <a:pt x="297" y="76"/>
                  </a:lnTo>
                  <a:lnTo>
                    <a:pt x="297" y="71"/>
                  </a:lnTo>
                  <a:lnTo>
                    <a:pt x="292" y="71"/>
                  </a:lnTo>
                  <a:lnTo>
                    <a:pt x="292" y="71"/>
                  </a:lnTo>
                  <a:lnTo>
                    <a:pt x="283" y="67"/>
                  </a:lnTo>
                  <a:lnTo>
                    <a:pt x="279" y="67"/>
                  </a:lnTo>
                  <a:lnTo>
                    <a:pt x="279" y="62"/>
                  </a:lnTo>
                  <a:lnTo>
                    <a:pt x="274" y="58"/>
                  </a:lnTo>
                  <a:lnTo>
                    <a:pt x="274" y="54"/>
                  </a:lnTo>
                  <a:lnTo>
                    <a:pt x="270" y="49"/>
                  </a:lnTo>
                  <a:lnTo>
                    <a:pt x="266" y="49"/>
                  </a:lnTo>
                  <a:lnTo>
                    <a:pt x="266" y="45"/>
                  </a:lnTo>
                  <a:lnTo>
                    <a:pt x="257" y="40"/>
                  </a:lnTo>
                  <a:lnTo>
                    <a:pt x="257" y="36"/>
                  </a:lnTo>
                  <a:lnTo>
                    <a:pt x="252" y="36"/>
                  </a:lnTo>
                  <a:lnTo>
                    <a:pt x="252" y="36"/>
                  </a:lnTo>
                  <a:lnTo>
                    <a:pt x="248" y="31"/>
                  </a:lnTo>
                  <a:lnTo>
                    <a:pt x="248" y="31"/>
                  </a:lnTo>
                  <a:lnTo>
                    <a:pt x="248" y="27"/>
                  </a:lnTo>
                  <a:lnTo>
                    <a:pt x="248" y="27"/>
                  </a:lnTo>
                  <a:lnTo>
                    <a:pt x="248" y="27"/>
                  </a:lnTo>
                  <a:lnTo>
                    <a:pt x="243" y="27"/>
                  </a:lnTo>
                  <a:lnTo>
                    <a:pt x="243" y="27"/>
                  </a:lnTo>
                  <a:lnTo>
                    <a:pt x="239" y="27"/>
                  </a:lnTo>
                  <a:lnTo>
                    <a:pt x="235" y="27"/>
                  </a:lnTo>
                  <a:lnTo>
                    <a:pt x="230" y="27"/>
                  </a:lnTo>
                  <a:lnTo>
                    <a:pt x="217" y="23"/>
                  </a:lnTo>
                  <a:lnTo>
                    <a:pt x="217" y="23"/>
                  </a:lnTo>
                  <a:lnTo>
                    <a:pt x="217" y="18"/>
                  </a:lnTo>
                  <a:lnTo>
                    <a:pt x="212" y="18"/>
                  </a:lnTo>
                  <a:lnTo>
                    <a:pt x="212" y="18"/>
                  </a:lnTo>
                  <a:lnTo>
                    <a:pt x="212" y="14"/>
                  </a:lnTo>
                  <a:lnTo>
                    <a:pt x="212" y="14"/>
                  </a:lnTo>
                  <a:lnTo>
                    <a:pt x="212" y="9"/>
                  </a:lnTo>
                  <a:lnTo>
                    <a:pt x="208" y="5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04" y="5"/>
                  </a:lnTo>
                  <a:lnTo>
                    <a:pt x="204" y="5"/>
                  </a:lnTo>
                  <a:lnTo>
                    <a:pt x="204" y="5"/>
                  </a:lnTo>
                  <a:lnTo>
                    <a:pt x="204" y="5"/>
                  </a:lnTo>
                  <a:lnTo>
                    <a:pt x="199" y="5"/>
                  </a:lnTo>
                  <a:lnTo>
                    <a:pt x="195" y="5"/>
                  </a:lnTo>
                  <a:lnTo>
                    <a:pt x="195" y="9"/>
                  </a:lnTo>
                  <a:lnTo>
                    <a:pt x="190" y="14"/>
                  </a:lnTo>
                  <a:lnTo>
                    <a:pt x="190" y="14"/>
                  </a:lnTo>
                  <a:lnTo>
                    <a:pt x="186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7" y="14"/>
                  </a:lnTo>
                  <a:lnTo>
                    <a:pt x="177" y="14"/>
                  </a:lnTo>
                  <a:lnTo>
                    <a:pt x="177" y="14"/>
                  </a:lnTo>
                  <a:lnTo>
                    <a:pt x="168" y="18"/>
                  </a:lnTo>
                  <a:lnTo>
                    <a:pt x="168" y="18"/>
                  </a:lnTo>
                  <a:lnTo>
                    <a:pt x="168" y="18"/>
                  </a:lnTo>
                  <a:lnTo>
                    <a:pt x="164" y="18"/>
                  </a:lnTo>
                  <a:lnTo>
                    <a:pt x="164" y="14"/>
                  </a:lnTo>
                  <a:lnTo>
                    <a:pt x="159" y="14"/>
                  </a:lnTo>
                  <a:lnTo>
                    <a:pt x="155" y="9"/>
                  </a:lnTo>
                  <a:lnTo>
                    <a:pt x="150" y="9"/>
                  </a:lnTo>
                  <a:lnTo>
                    <a:pt x="150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37" y="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28" y="9"/>
                  </a:lnTo>
                  <a:lnTo>
                    <a:pt x="124" y="5"/>
                  </a:lnTo>
                  <a:lnTo>
                    <a:pt x="124" y="5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5" y="14"/>
                  </a:lnTo>
                  <a:lnTo>
                    <a:pt x="111" y="14"/>
                  </a:lnTo>
                  <a:lnTo>
                    <a:pt x="106" y="9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2" y="0"/>
                  </a:lnTo>
                  <a:lnTo>
                    <a:pt x="102" y="5"/>
                  </a:lnTo>
                  <a:lnTo>
                    <a:pt x="102" y="5"/>
                  </a:lnTo>
                  <a:lnTo>
                    <a:pt x="97" y="5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89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0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2" y="5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40" y="14"/>
                  </a:lnTo>
                  <a:lnTo>
                    <a:pt x="35" y="14"/>
                  </a:lnTo>
                  <a:lnTo>
                    <a:pt x="31" y="14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3" y="23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45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54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9" y="67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9" y="76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93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18" y="107"/>
                  </a:lnTo>
                  <a:lnTo>
                    <a:pt x="18" y="107"/>
                  </a:lnTo>
                  <a:lnTo>
                    <a:pt x="18" y="107"/>
                  </a:lnTo>
                  <a:lnTo>
                    <a:pt x="18" y="107"/>
                  </a:lnTo>
                  <a:lnTo>
                    <a:pt x="18" y="107"/>
                  </a:lnTo>
                  <a:lnTo>
                    <a:pt x="18" y="107"/>
                  </a:lnTo>
                  <a:lnTo>
                    <a:pt x="18" y="107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22" y="107"/>
                  </a:lnTo>
                  <a:lnTo>
                    <a:pt x="22" y="107"/>
                  </a:lnTo>
                  <a:lnTo>
                    <a:pt x="22" y="111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35" y="116"/>
                  </a:lnTo>
                  <a:lnTo>
                    <a:pt x="35" y="120"/>
                  </a:lnTo>
                  <a:lnTo>
                    <a:pt x="40" y="120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9" y="124"/>
                  </a:lnTo>
                  <a:lnTo>
                    <a:pt x="49" y="124"/>
                  </a:lnTo>
                  <a:lnTo>
                    <a:pt x="49" y="124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3" y="124"/>
                  </a:lnTo>
                  <a:lnTo>
                    <a:pt x="53" y="124"/>
                  </a:lnTo>
                  <a:lnTo>
                    <a:pt x="58" y="124"/>
                  </a:lnTo>
                  <a:lnTo>
                    <a:pt x="58" y="129"/>
                  </a:lnTo>
                  <a:lnTo>
                    <a:pt x="58" y="129"/>
                  </a:lnTo>
                  <a:lnTo>
                    <a:pt x="58" y="129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62" y="133"/>
                  </a:lnTo>
                  <a:lnTo>
                    <a:pt x="62" y="129"/>
                  </a:lnTo>
                  <a:lnTo>
                    <a:pt x="62" y="129"/>
                  </a:lnTo>
                  <a:lnTo>
                    <a:pt x="62" y="129"/>
                  </a:lnTo>
                  <a:lnTo>
                    <a:pt x="66" y="129"/>
                  </a:lnTo>
                  <a:lnTo>
                    <a:pt x="71" y="129"/>
                  </a:lnTo>
                  <a:lnTo>
                    <a:pt x="80" y="129"/>
                  </a:lnTo>
                  <a:lnTo>
                    <a:pt x="84" y="129"/>
                  </a:lnTo>
                  <a:lnTo>
                    <a:pt x="84" y="129"/>
                  </a:lnTo>
                  <a:lnTo>
                    <a:pt x="84" y="129"/>
                  </a:lnTo>
                  <a:lnTo>
                    <a:pt x="84" y="129"/>
                  </a:lnTo>
                  <a:lnTo>
                    <a:pt x="84" y="129"/>
                  </a:lnTo>
                  <a:lnTo>
                    <a:pt x="89" y="133"/>
                  </a:lnTo>
                  <a:lnTo>
                    <a:pt x="89" y="138"/>
                  </a:lnTo>
                  <a:lnTo>
                    <a:pt x="89" y="138"/>
                  </a:lnTo>
                  <a:lnTo>
                    <a:pt x="89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7" y="142"/>
                  </a:lnTo>
                  <a:lnTo>
                    <a:pt x="97" y="146"/>
                  </a:lnTo>
                  <a:lnTo>
                    <a:pt x="97" y="146"/>
                  </a:lnTo>
                  <a:lnTo>
                    <a:pt x="97" y="151"/>
                  </a:lnTo>
                  <a:lnTo>
                    <a:pt x="97" y="151"/>
                  </a:lnTo>
                  <a:lnTo>
                    <a:pt x="97" y="151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60"/>
                  </a:lnTo>
                  <a:lnTo>
                    <a:pt x="93" y="160"/>
                  </a:lnTo>
                  <a:lnTo>
                    <a:pt x="93" y="160"/>
                  </a:lnTo>
                  <a:lnTo>
                    <a:pt x="93" y="160"/>
                  </a:lnTo>
                  <a:lnTo>
                    <a:pt x="93" y="160"/>
                  </a:lnTo>
                  <a:lnTo>
                    <a:pt x="93" y="160"/>
                  </a:lnTo>
                  <a:lnTo>
                    <a:pt x="93" y="160"/>
                  </a:lnTo>
                  <a:lnTo>
                    <a:pt x="93" y="160"/>
                  </a:lnTo>
                  <a:lnTo>
                    <a:pt x="93" y="160"/>
                  </a:lnTo>
                  <a:lnTo>
                    <a:pt x="93" y="160"/>
                  </a:lnTo>
                  <a:lnTo>
                    <a:pt x="93" y="164"/>
                  </a:lnTo>
                  <a:lnTo>
                    <a:pt x="93" y="164"/>
                  </a:lnTo>
                  <a:lnTo>
                    <a:pt x="93" y="164"/>
                  </a:lnTo>
                  <a:lnTo>
                    <a:pt x="93" y="169"/>
                  </a:lnTo>
                  <a:lnTo>
                    <a:pt x="93" y="169"/>
                  </a:lnTo>
                  <a:lnTo>
                    <a:pt x="93" y="169"/>
                  </a:lnTo>
                  <a:lnTo>
                    <a:pt x="89" y="173"/>
                  </a:lnTo>
                  <a:lnTo>
                    <a:pt x="89" y="182"/>
                  </a:lnTo>
                  <a:lnTo>
                    <a:pt x="89" y="186"/>
                  </a:lnTo>
                  <a:lnTo>
                    <a:pt x="93" y="186"/>
                  </a:lnTo>
                  <a:lnTo>
                    <a:pt x="93" y="191"/>
                  </a:lnTo>
                  <a:lnTo>
                    <a:pt x="97" y="191"/>
                  </a:lnTo>
                  <a:lnTo>
                    <a:pt x="97" y="191"/>
                  </a:lnTo>
                  <a:lnTo>
                    <a:pt x="97" y="191"/>
                  </a:lnTo>
                  <a:lnTo>
                    <a:pt x="97" y="191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5"/>
                  </a:lnTo>
                  <a:lnTo>
                    <a:pt x="106" y="195"/>
                  </a:lnTo>
                  <a:lnTo>
                    <a:pt x="111" y="195"/>
                  </a:lnTo>
                  <a:lnTo>
                    <a:pt x="111" y="195"/>
                  </a:lnTo>
                  <a:lnTo>
                    <a:pt x="111" y="195"/>
                  </a:lnTo>
                  <a:lnTo>
                    <a:pt x="111" y="195"/>
                  </a:lnTo>
                  <a:lnTo>
                    <a:pt x="111" y="195"/>
                  </a:lnTo>
                  <a:lnTo>
                    <a:pt x="111" y="200"/>
                  </a:lnTo>
                  <a:lnTo>
                    <a:pt x="111" y="200"/>
                  </a:lnTo>
                  <a:lnTo>
                    <a:pt x="111" y="200"/>
                  </a:lnTo>
                  <a:lnTo>
                    <a:pt x="115" y="200"/>
                  </a:lnTo>
                  <a:lnTo>
                    <a:pt x="115" y="200"/>
                  </a:lnTo>
                  <a:lnTo>
                    <a:pt x="119" y="200"/>
                  </a:lnTo>
                  <a:lnTo>
                    <a:pt x="119" y="204"/>
                  </a:lnTo>
                  <a:lnTo>
                    <a:pt x="124" y="204"/>
                  </a:lnTo>
                  <a:lnTo>
                    <a:pt x="124" y="204"/>
                  </a:lnTo>
                  <a:lnTo>
                    <a:pt x="124" y="204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33" y="213"/>
                  </a:lnTo>
                  <a:lnTo>
                    <a:pt x="133" y="213"/>
                  </a:lnTo>
                  <a:lnTo>
                    <a:pt x="133" y="213"/>
                  </a:lnTo>
                  <a:lnTo>
                    <a:pt x="133" y="217"/>
                  </a:lnTo>
                  <a:lnTo>
                    <a:pt x="133" y="222"/>
                  </a:lnTo>
                  <a:lnTo>
                    <a:pt x="133" y="222"/>
                  </a:lnTo>
                  <a:lnTo>
                    <a:pt x="133" y="226"/>
                  </a:lnTo>
                  <a:lnTo>
                    <a:pt x="133" y="226"/>
                  </a:lnTo>
                  <a:lnTo>
                    <a:pt x="133" y="226"/>
                  </a:lnTo>
                  <a:lnTo>
                    <a:pt x="133" y="226"/>
                  </a:lnTo>
                  <a:lnTo>
                    <a:pt x="133" y="226"/>
                  </a:lnTo>
                  <a:lnTo>
                    <a:pt x="133" y="226"/>
                  </a:lnTo>
                  <a:lnTo>
                    <a:pt x="133" y="226"/>
                  </a:lnTo>
                  <a:lnTo>
                    <a:pt x="133" y="231"/>
                  </a:lnTo>
                  <a:lnTo>
                    <a:pt x="133" y="231"/>
                  </a:lnTo>
                  <a:lnTo>
                    <a:pt x="133" y="231"/>
                  </a:lnTo>
                  <a:lnTo>
                    <a:pt x="133" y="231"/>
                  </a:lnTo>
                  <a:lnTo>
                    <a:pt x="133" y="231"/>
                  </a:lnTo>
                  <a:lnTo>
                    <a:pt x="133" y="231"/>
                  </a:lnTo>
                  <a:lnTo>
                    <a:pt x="142" y="235"/>
                  </a:lnTo>
                  <a:lnTo>
                    <a:pt x="142" y="235"/>
                  </a:lnTo>
                  <a:lnTo>
                    <a:pt x="142" y="235"/>
                  </a:lnTo>
                  <a:lnTo>
                    <a:pt x="142" y="235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50" y="231"/>
                  </a:lnTo>
                  <a:lnTo>
                    <a:pt x="150" y="231"/>
                  </a:lnTo>
                  <a:lnTo>
                    <a:pt x="150" y="231"/>
                  </a:lnTo>
                  <a:lnTo>
                    <a:pt x="150" y="231"/>
                  </a:lnTo>
                  <a:lnTo>
                    <a:pt x="150" y="231"/>
                  </a:lnTo>
                  <a:lnTo>
                    <a:pt x="155" y="231"/>
                  </a:lnTo>
                  <a:lnTo>
                    <a:pt x="155" y="231"/>
                  </a:lnTo>
                  <a:lnTo>
                    <a:pt x="155" y="231"/>
                  </a:lnTo>
                  <a:lnTo>
                    <a:pt x="159" y="231"/>
                  </a:lnTo>
                  <a:lnTo>
                    <a:pt x="159" y="231"/>
                  </a:lnTo>
                  <a:lnTo>
                    <a:pt x="164" y="231"/>
                  </a:lnTo>
                  <a:lnTo>
                    <a:pt x="164" y="231"/>
                  </a:lnTo>
                  <a:lnTo>
                    <a:pt x="168" y="231"/>
                  </a:lnTo>
                  <a:lnTo>
                    <a:pt x="168" y="231"/>
                  </a:lnTo>
                  <a:lnTo>
                    <a:pt x="173" y="231"/>
                  </a:lnTo>
                  <a:lnTo>
                    <a:pt x="173" y="231"/>
                  </a:lnTo>
                  <a:lnTo>
                    <a:pt x="173" y="235"/>
                  </a:lnTo>
                  <a:lnTo>
                    <a:pt x="173" y="235"/>
                  </a:lnTo>
                  <a:lnTo>
                    <a:pt x="173" y="235"/>
                  </a:lnTo>
                  <a:lnTo>
                    <a:pt x="177" y="235"/>
                  </a:lnTo>
                  <a:lnTo>
                    <a:pt x="177" y="235"/>
                  </a:lnTo>
                  <a:lnTo>
                    <a:pt x="181" y="235"/>
                  </a:lnTo>
                  <a:lnTo>
                    <a:pt x="181" y="235"/>
                  </a:lnTo>
                  <a:lnTo>
                    <a:pt x="186" y="231"/>
                  </a:lnTo>
                  <a:lnTo>
                    <a:pt x="190" y="226"/>
                  </a:lnTo>
                  <a:lnTo>
                    <a:pt x="195" y="226"/>
                  </a:lnTo>
                  <a:lnTo>
                    <a:pt x="195" y="226"/>
                  </a:lnTo>
                  <a:lnTo>
                    <a:pt x="195" y="226"/>
                  </a:lnTo>
                  <a:lnTo>
                    <a:pt x="195" y="226"/>
                  </a:lnTo>
                  <a:lnTo>
                    <a:pt x="195" y="226"/>
                  </a:lnTo>
                  <a:lnTo>
                    <a:pt x="195" y="226"/>
                  </a:lnTo>
                  <a:lnTo>
                    <a:pt x="199" y="226"/>
                  </a:lnTo>
                  <a:lnTo>
                    <a:pt x="199" y="226"/>
                  </a:lnTo>
                  <a:lnTo>
                    <a:pt x="204" y="226"/>
                  </a:lnTo>
                  <a:lnTo>
                    <a:pt x="204" y="226"/>
                  </a:lnTo>
                  <a:lnTo>
                    <a:pt x="204" y="226"/>
                  </a:lnTo>
                  <a:lnTo>
                    <a:pt x="204" y="226"/>
                  </a:lnTo>
                  <a:lnTo>
                    <a:pt x="204" y="226"/>
                  </a:lnTo>
                  <a:lnTo>
                    <a:pt x="204" y="222"/>
                  </a:lnTo>
                  <a:lnTo>
                    <a:pt x="204" y="222"/>
                  </a:lnTo>
                  <a:lnTo>
                    <a:pt x="204" y="222"/>
                  </a:lnTo>
                  <a:lnTo>
                    <a:pt x="204" y="217"/>
                  </a:lnTo>
                  <a:lnTo>
                    <a:pt x="199" y="217"/>
                  </a:lnTo>
                  <a:lnTo>
                    <a:pt x="199" y="217"/>
                  </a:lnTo>
                  <a:lnTo>
                    <a:pt x="204" y="217"/>
                  </a:lnTo>
                  <a:lnTo>
                    <a:pt x="204" y="217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8" y="213"/>
                  </a:lnTo>
                  <a:lnTo>
                    <a:pt x="208" y="213"/>
                  </a:lnTo>
                  <a:lnTo>
                    <a:pt x="212" y="213"/>
                  </a:lnTo>
                  <a:lnTo>
                    <a:pt x="217" y="213"/>
                  </a:lnTo>
                  <a:lnTo>
                    <a:pt x="217" y="213"/>
                  </a:lnTo>
                  <a:lnTo>
                    <a:pt x="221" y="208"/>
                  </a:lnTo>
                  <a:lnTo>
                    <a:pt x="221" y="208"/>
                  </a:lnTo>
                  <a:lnTo>
                    <a:pt x="221" y="204"/>
                  </a:lnTo>
                  <a:lnTo>
                    <a:pt x="226" y="204"/>
                  </a:lnTo>
                  <a:lnTo>
                    <a:pt x="226" y="200"/>
                  </a:lnTo>
                  <a:lnTo>
                    <a:pt x="226" y="204"/>
                  </a:lnTo>
                  <a:lnTo>
                    <a:pt x="230" y="204"/>
                  </a:lnTo>
                  <a:lnTo>
                    <a:pt x="235" y="204"/>
                  </a:lnTo>
                  <a:lnTo>
                    <a:pt x="235" y="200"/>
                  </a:lnTo>
                  <a:lnTo>
                    <a:pt x="239" y="200"/>
                  </a:lnTo>
                  <a:lnTo>
                    <a:pt x="239" y="200"/>
                  </a:lnTo>
                  <a:lnTo>
                    <a:pt x="239" y="200"/>
                  </a:lnTo>
                  <a:lnTo>
                    <a:pt x="239" y="200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39" y="204"/>
                  </a:lnTo>
                  <a:lnTo>
                    <a:pt x="239" y="204"/>
                  </a:lnTo>
                  <a:lnTo>
                    <a:pt x="239" y="204"/>
                  </a:lnTo>
                  <a:lnTo>
                    <a:pt x="239" y="208"/>
                  </a:lnTo>
                  <a:lnTo>
                    <a:pt x="239" y="208"/>
                  </a:lnTo>
                  <a:lnTo>
                    <a:pt x="239" y="208"/>
                  </a:lnTo>
                  <a:lnTo>
                    <a:pt x="239" y="208"/>
                  </a:lnTo>
                  <a:lnTo>
                    <a:pt x="239" y="208"/>
                  </a:lnTo>
                  <a:lnTo>
                    <a:pt x="239" y="213"/>
                  </a:lnTo>
                  <a:lnTo>
                    <a:pt x="239" y="213"/>
                  </a:lnTo>
                  <a:lnTo>
                    <a:pt x="243" y="213"/>
                  </a:lnTo>
                  <a:lnTo>
                    <a:pt x="248" y="213"/>
                  </a:lnTo>
                  <a:lnTo>
                    <a:pt x="248" y="213"/>
                  </a:lnTo>
                  <a:lnTo>
                    <a:pt x="248" y="213"/>
                  </a:lnTo>
                  <a:lnTo>
                    <a:pt x="248" y="213"/>
                  </a:lnTo>
                  <a:lnTo>
                    <a:pt x="248" y="213"/>
                  </a:lnTo>
                  <a:lnTo>
                    <a:pt x="252" y="213"/>
                  </a:lnTo>
                  <a:lnTo>
                    <a:pt x="252" y="213"/>
                  </a:lnTo>
                  <a:lnTo>
                    <a:pt x="252" y="213"/>
                  </a:lnTo>
                  <a:lnTo>
                    <a:pt x="252" y="208"/>
                  </a:lnTo>
                  <a:lnTo>
                    <a:pt x="252" y="204"/>
                  </a:lnTo>
                  <a:lnTo>
                    <a:pt x="252" y="204"/>
                  </a:lnTo>
                  <a:lnTo>
                    <a:pt x="252" y="204"/>
                  </a:lnTo>
                  <a:lnTo>
                    <a:pt x="252" y="204"/>
                  </a:lnTo>
                  <a:lnTo>
                    <a:pt x="252" y="204"/>
                  </a:lnTo>
                  <a:lnTo>
                    <a:pt x="252" y="204"/>
                  </a:lnTo>
                  <a:lnTo>
                    <a:pt x="252" y="204"/>
                  </a:lnTo>
                  <a:lnTo>
                    <a:pt x="252" y="204"/>
                  </a:lnTo>
                  <a:lnTo>
                    <a:pt x="252" y="200"/>
                  </a:lnTo>
                  <a:lnTo>
                    <a:pt x="252" y="200"/>
                  </a:lnTo>
                  <a:lnTo>
                    <a:pt x="252" y="200"/>
                  </a:lnTo>
                  <a:lnTo>
                    <a:pt x="252" y="200"/>
                  </a:lnTo>
                  <a:lnTo>
                    <a:pt x="252" y="200"/>
                  </a:lnTo>
                  <a:lnTo>
                    <a:pt x="252" y="200"/>
                  </a:lnTo>
                  <a:lnTo>
                    <a:pt x="252" y="200"/>
                  </a:lnTo>
                  <a:lnTo>
                    <a:pt x="252" y="200"/>
                  </a:lnTo>
                  <a:lnTo>
                    <a:pt x="248" y="200"/>
                  </a:lnTo>
                  <a:lnTo>
                    <a:pt x="248" y="195"/>
                  </a:lnTo>
                  <a:lnTo>
                    <a:pt x="248" y="195"/>
                  </a:lnTo>
                  <a:lnTo>
                    <a:pt x="248" y="195"/>
                  </a:lnTo>
                  <a:lnTo>
                    <a:pt x="248" y="195"/>
                  </a:lnTo>
                  <a:lnTo>
                    <a:pt x="243" y="200"/>
                  </a:lnTo>
                  <a:lnTo>
                    <a:pt x="243" y="200"/>
                  </a:lnTo>
                  <a:lnTo>
                    <a:pt x="243" y="195"/>
                  </a:lnTo>
                  <a:lnTo>
                    <a:pt x="239" y="195"/>
                  </a:lnTo>
                  <a:lnTo>
                    <a:pt x="239" y="195"/>
                  </a:lnTo>
                  <a:lnTo>
                    <a:pt x="243" y="191"/>
                  </a:lnTo>
                  <a:lnTo>
                    <a:pt x="243" y="191"/>
                  </a:lnTo>
                  <a:lnTo>
                    <a:pt x="243" y="186"/>
                  </a:lnTo>
                  <a:lnTo>
                    <a:pt x="243" y="186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8" y="177"/>
                  </a:lnTo>
                  <a:lnTo>
                    <a:pt x="248" y="177"/>
                  </a:lnTo>
                  <a:lnTo>
                    <a:pt x="248" y="177"/>
                  </a:lnTo>
                  <a:lnTo>
                    <a:pt x="252" y="173"/>
                  </a:lnTo>
                  <a:lnTo>
                    <a:pt x="252" y="173"/>
                  </a:lnTo>
                  <a:lnTo>
                    <a:pt x="252" y="173"/>
                  </a:lnTo>
                  <a:lnTo>
                    <a:pt x="252" y="169"/>
                  </a:lnTo>
                  <a:lnTo>
                    <a:pt x="252" y="169"/>
                  </a:lnTo>
                  <a:lnTo>
                    <a:pt x="248" y="164"/>
                  </a:lnTo>
                  <a:lnTo>
                    <a:pt x="252" y="164"/>
                  </a:lnTo>
                  <a:lnTo>
                    <a:pt x="252" y="164"/>
                  </a:lnTo>
                  <a:lnTo>
                    <a:pt x="252" y="164"/>
                  </a:lnTo>
                  <a:lnTo>
                    <a:pt x="252" y="160"/>
                  </a:lnTo>
                  <a:lnTo>
                    <a:pt x="252" y="160"/>
                  </a:lnTo>
                  <a:lnTo>
                    <a:pt x="252" y="155"/>
                  </a:lnTo>
                  <a:lnTo>
                    <a:pt x="252" y="155"/>
                  </a:lnTo>
                  <a:lnTo>
                    <a:pt x="252" y="155"/>
                  </a:lnTo>
                  <a:lnTo>
                    <a:pt x="252" y="151"/>
                  </a:lnTo>
                  <a:lnTo>
                    <a:pt x="252" y="151"/>
                  </a:lnTo>
                  <a:lnTo>
                    <a:pt x="252" y="151"/>
                  </a:lnTo>
                  <a:lnTo>
                    <a:pt x="252" y="151"/>
                  </a:lnTo>
                  <a:lnTo>
                    <a:pt x="252" y="151"/>
                  </a:lnTo>
                  <a:lnTo>
                    <a:pt x="252" y="151"/>
                  </a:lnTo>
                  <a:lnTo>
                    <a:pt x="252" y="151"/>
                  </a:lnTo>
                  <a:lnTo>
                    <a:pt x="252" y="146"/>
                  </a:lnTo>
                  <a:lnTo>
                    <a:pt x="252" y="146"/>
                  </a:lnTo>
                  <a:lnTo>
                    <a:pt x="257" y="146"/>
                  </a:lnTo>
                  <a:lnTo>
                    <a:pt x="257" y="146"/>
                  </a:lnTo>
                  <a:lnTo>
                    <a:pt x="257" y="142"/>
                  </a:lnTo>
                  <a:lnTo>
                    <a:pt x="257" y="142"/>
                  </a:lnTo>
                  <a:lnTo>
                    <a:pt x="257" y="142"/>
                  </a:lnTo>
                  <a:lnTo>
                    <a:pt x="257" y="142"/>
                  </a:lnTo>
                  <a:lnTo>
                    <a:pt x="257" y="142"/>
                  </a:lnTo>
                  <a:lnTo>
                    <a:pt x="261" y="138"/>
                  </a:lnTo>
                  <a:lnTo>
                    <a:pt x="261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70" y="138"/>
                  </a:lnTo>
                  <a:lnTo>
                    <a:pt x="274" y="138"/>
                  </a:lnTo>
                  <a:lnTo>
                    <a:pt x="274" y="138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9" y="129"/>
                  </a:lnTo>
                  <a:lnTo>
                    <a:pt x="279" y="129"/>
                  </a:lnTo>
                  <a:lnTo>
                    <a:pt x="279" y="129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79" y="120"/>
                  </a:lnTo>
                  <a:lnTo>
                    <a:pt x="283" y="120"/>
                  </a:lnTo>
                  <a:lnTo>
                    <a:pt x="288" y="124"/>
                  </a:lnTo>
                  <a:lnTo>
                    <a:pt x="288" y="124"/>
                  </a:lnTo>
                  <a:lnTo>
                    <a:pt x="288" y="124"/>
                  </a:lnTo>
                  <a:lnTo>
                    <a:pt x="288" y="120"/>
                  </a:lnTo>
                  <a:lnTo>
                    <a:pt x="288" y="120"/>
                  </a:lnTo>
                  <a:lnTo>
                    <a:pt x="288" y="120"/>
                  </a:lnTo>
                  <a:lnTo>
                    <a:pt x="292" y="120"/>
                  </a:lnTo>
                  <a:lnTo>
                    <a:pt x="297" y="124"/>
                  </a:lnTo>
                  <a:lnTo>
                    <a:pt x="297" y="124"/>
                  </a:lnTo>
                  <a:lnTo>
                    <a:pt x="297" y="120"/>
                  </a:lnTo>
                  <a:lnTo>
                    <a:pt x="297" y="120"/>
                  </a:lnTo>
                  <a:lnTo>
                    <a:pt x="301" y="116"/>
                  </a:lnTo>
                  <a:lnTo>
                    <a:pt x="301" y="116"/>
                  </a:lnTo>
                  <a:lnTo>
                    <a:pt x="301" y="116"/>
                  </a:lnTo>
                  <a:lnTo>
                    <a:pt x="301" y="111"/>
                  </a:lnTo>
                  <a:lnTo>
                    <a:pt x="301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10" y="111"/>
                  </a:lnTo>
                  <a:lnTo>
                    <a:pt x="305" y="107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98" name="Freeform 29"/>
            <p:cNvSpPr>
              <a:spLocks/>
            </p:cNvSpPr>
            <p:nvPr/>
          </p:nvSpPr>
          <p:spPr bwMode="auto">
            <a:xfrm>
              <a:off x="3282950" y="4970463"/>
              <a:ext cx="12700" cy="28575"/>
            </a:xfrm>
            <a:custGeom>
              <a:avLst/>
              <a:gdLst>
                <a:gd name="T0" fmla="*/ 8 w 8"/>
                <a:gd name="T1" fmla="*/ 9 h 18"/>
                <a:gd name="T2" fmla="*/ 4 w 8"/>
                <a:gd name="T3" fmla="*/ 9 h 18"/>
                <a:gd name="T4" fmla="*/ 4 w 8"/>
                <a:gd name="T5" fmla="*/ 9 h 18"/>
                <a:gd name="T6" fmla="*/ 4 w 8"/>
                <a:gd name="T7" fmla="*/ 9 h 18"/>
                <a:gd name="T8" fmla="*/ 4 w 8"/>
                <a:gd name="T9" fmla="*/ 4 h 18"/>
                <a:gd name="T10" fmla="*/ 4 w 8"/>
                <a:gd name="T11" fmla="*/ 4 h 18"/>
                <a:gd name="T12" fmla="*/ 4 w 8"/>
                <a:gd name="T13" fmla="*/ 4 h 18"/>
                <a:gd name="T14" fmla="*/ 4 w 8"/>
                <a:gd name="T15" fmla="*/ 4 h 18"/>
                <a:gd name="T16" fmla="*/ 4 w 8"/>
                <a:gd name="T17" fmla="*/ 4 h 18"/>
                <a:gd name="T18" fmla="*/ 4 w 8"/>
                <a:gd name="T19" fmla="*/ 4 h 18"/>
                <a:gd name="T20" fmla="*/ 4 w 8"/>
                <a:gd name="T21" fmla="*/ 0 h 18"/>
                <a:gd name="T22" fmla="*/ 4 w 8"/>
                <a:gd name="T23" fmla="*/ 0 h 18"/>
                <a:gd name="T24" fmla="*/ 4 w 8"/>
                <a:gd name="T25" fmla="*/ 4 h 18"/>
                <a:gd name="T26" fmla="*/ 0 w 8"/>
                <a:gd name="T27" fmla="*/ 4 h 18"/>
                <a:gd name="T28" fmla="*/ 0 w 8"/>
                <a:gd name="T29" fmla="*/ 9 h 18"/>
                <a:gd name="T30" fmla="*/ 0 w 8"/>
                <a:gd name="T31" fmla="*/ 9 h 18"/>
                <a:gd name="T32" fmla="*/ 0 w 8"/>
                <a:gd name="T33" fmla="*/ 9 h 18"/>
                <a:gd name="T34" fmla="*/ 4 w 8"/>
                <a:gd name="T35" fmla="*/ 13 h 18"/>
                <a:gd name="T36" fmla="*/ 4 w 8"/>
                <a:gd name="T37" fmla="*/ 13 h 18"/>
                <a:gd name="T38" fmla="*/ 0 w 8"/>
                <a:gd name="T39" fmla="*/ 13 h 18"/>
                <a:gd name="T40" fmla="*/ 0 w 8"/>
                <a:gd name="T41" fmla="*/ 13 h 18"/>
                <a:gd name="T42" fmla="*/ 0 w 8"/>
                <a:gd name="T43" fmla="*/ 13 h 18"/>
                <a:gd name="T44" fmla="*/ 0 w 8"/>
                <a:gd name="T45" fmla="*/ 18 h 18"/>
                <a:gd name="T46" fmla="*/ 0 w 8"/>
                <a:gd name="T47" fmla="*/ 18 h 18"/>
                <a:gd name="T48" fmla="*/ 4 w 8"/>
                <a:gd name="T49" fmla="*/ 18 h 18"/>
                <a:gd name="T50" fmla="*/ 4 w 8"/>
                <a:gd name="T51" fmla="*/ 18 h 18"/>
                <a:gd name="T52" fmla="*/ 8 w 8"/>
                <a:gd name="T53" fmla="*/ 13 h 18"/>
                <a:gd name="T54" fmla="*/ 8 w 8"/>
                <a:gd name="T55" fmla="*/ 13 h 18"/>
                <a:gd name="T56" fmla="*/ 8 w 8"/>
                <a:gd name="T57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" h="18">
                  <a:moveTo>
                    <a:pt x="8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9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99" name="Freeform 30"/>
            <p:cNvSpPr>
              <a:spLocks/>
            </p:cNvSpPr>
            <p:nvPr/>
          </p:nvSpPr>
          <p:spPr bwMode="auto">
            <a:xfrm>
              <a:off x="3282950" y="4970463"/>
              <a:ext cx="12700" cy="28575"/>
            </a:xfrm>
            <a:custGeom>
              <a:avLst/>
              <a:gdLst>
                <a:gd name="T0" fmla="*/ 8 w 8"/>
                <a:gd name="T1" fmla="*/ 9 h 18"/>
                <a:gd name="T2" fmla="*/ 4 w 8"/>
                <a:gd name="T3" fmla="*/ 9 h 18"/>
                <a:gd name="T4" fmla="*/ 4 w 8"/>
                <a:gd name="T5" fmla="*/ 9 h 18"/>
                <a:gd name="T6" fmla="*/ 4 w 8"/>
                <a:gd name="T7" fmla="*/ 9 h 18"/>
                <a:gd name="T8" fmla="*/ 4 w 8"/>
                <a:gd name="T9" fmla="*/ 4 h 18"/>
                <a:gd name="T10" fmla="*/ 4 w 8"/>
                <a:gd name="T11" fmla="*/ 4 h 18"/>
                <a:gd name="T12" fmla="*/ 4 w 8"/>
                <a:gd name="T13" fmla="*/ 4 h 18"/>
                <a:gd name="T14" fmla="*/ 4 w 8"/>
                <a:gd name="T15" fmla="*/ 4 h 18"/>
                <a:gd name="T16" fmla="*/ 4 w 8"/>
                <a:gd name="T17" fmla="*/ 4 h 18"/>
                <a:gd name="T18" fmla="*/ 4 w 8"/>
                <a:gd name="T19" fmla="*/ 4 h 18"/>
                <a:gd name="T20" fmla="*/ 4 w 8"/>
                <a:gd name="T21" fmla="*/ 0 h 18"/>
                <a:gd name="T22" fmla="*/ 4 w 8"/>
                <a:gd name="T23" fmla="*/ 0 h 18"/>
                <a:gd name="T24" fmla="*/ 4 w 8"/>
                <a:gd name="T25" fmla="*/ 4 h 18"/>
                <a:gd name="T26" fmla="*/ 0 w 8"/>
                <a:gd name="T27" fmla="*/ 4 h 18"/>
                <a:gd name="T28" fmla="*/ 0 w 8"/>
                <a:gd name="T29" fmla="*/ 9 h 18"/>
                <a:gd name="T30" fmla="*/ 0 w 8"/>
                <a:gd name="T31" fmla="*/ 9 h 18"/>
                <a:gd name="T32" fmla="*/ 0 w 8"/>
                <a:gd name="T33" fmla="*/ 9 h 18"/>
                <a:gd name="T34" fmla="*/ 4 w 8"/>
                <a:gd name="T35" fmla="*/ 13 h 18"/>
                <a:gd name="T36" fmla="*/ 4 w 8"/>
                <a:gd name="T37" fmla="*/ 13 h 18"/>
                <a:gd name="T38" fmla="*/ 0 w 8"/>
                <a:gd name="T39" fmla="*/ 13 h 18"/>
                <a:gd name="T40" fmla="*/ 0 w 8"/>
                <a:gd name="T41" fmla="*/ 13 h 18"/>
                <a:gd name="T42" fmla="*/ 0 w 8"/>
                <a:gd name="T43" fmla="*/ 13 h 18"/>
                <a:gd name="T44" fmla="*/ 0 w 8"/>
                <a:gd name="T45" fmla="*/ 18 h 18"/>
                <a:gd name="T46" fmla="*/ 0 w 8"/>
                <a:gd name="T47" fmla="*/ 18 h 18"/>
                <a:gd name="T48" fmla="*/ 4 w 8"/>
                <a:gd name="T49" fmla="*/ 18 h 18"/>
                <a:gd name="T50" fmla="*/ 4 w 8"/>
                <a:gd name="T51" fmla="*/ 18 h 18"/>
                <a:gd name="T52" fmla="*/ 8 w 8"/>
                <a:gd name="T53" fmla="*/ 13 h 18"/>
                <a:gd name="T54" fmla="*/ 8 w 8"/>
                <a:gd name="T55" fmla="*/ 13 h 18"/>
                <a:gd name="T56" fmla="*/ 8 w 8"/>
                <a:gd name="T57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" h="18">
                  <a:moveTo>
                    <a:pt x="8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9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00" name="Freeform 31"/>
            <p:cNvSpPr>
              <a:spLocks/>
            </p:cNvSpPr>
            <p:nvPr/>
          </p:nvSpPr>
          <p:spPr bwMode="auto">
            <a:xfrm>
              <a:off x="4244975" y="3473451"/>
              <a:ext cx="604837" cy="365125"/>
            </a:xfrm>
            <a:custGeom>
              <a:avLst/>
              <a:gdLst>
                <a:gd name="T0" fmla="*/ 376 w 381"/>
                <a:gd name="T1" fmla="*/ 155 h 230"/>
                <a:gd name="T2" fmla="*/ 372 w 381"/>
                <a:gd name="T3" fmla="*/ 142 h 230"/>
                <a:gd name="T4" fmla="*/ 367 w 381"/>
                <a:gd name="T5" fmla="*/ 124 h 230"/>
                <a:gd name="T6" fmla="*/ 354 w 381"/>
                <a:gd name="T7" fmla="*/ 115 h 230"/>
                <a:gd name="T8" fmla="*/ 354 w 381"/>
                <a:gd name="T9" fmla="*/ 97 h 230"/>
                <a:gd name="T10" fmla="*/ 363 w 381"/>
                <a:gd name="T11" fmla="*/ 75 h 230"/>
                <a:gd name="T12" fmla="*/ 345 w 381"/>
                <a:gd name="T13" fmla="*/ 58 h 230"/>
                <a:gd name="T14" fmla="*/ 319 w 381"/>
                <a:gd name="T15" fmla="*/ 49 h 230"/>
                <a:gd name="T16" fmla="*/ 310 w 381"/>
                <a:gd name="T17" fmla="*/ 44 h 230"/>
                <a:gd name="T18" fmla="*/ 297 w 381"/>
                <a:gd name="T19" fmla="*/ 53 h 230"/>
                <a:gd name="T20" fmla="*/ 292 w 381"/>
                <a:gd name="T21" fmla="*/ 53 h 230"/>
                <a:gd name="T22" fmla="*/ 274 w 381"/>
                <a:gd name="T23" fmla="*/ 35 h 230"/>
                <a:gd name="T24" fmla="*/ 266 w 381"/>
                <a:gd name="T25" fmla="*/ 22 h 230"/>
                <a:gd name="T26" fmla="*/ 248 w 381"/>
                <a:gd name="T27" fmla="*/ 18 h 230"/>
                <a:gd name="T28" fmla="*/ 243 w 381"/>
                <a:gd name="T29" fmla="*/ 9 h 230"/>
                <a:gd name="T30" fmla="*/ 230 w 381"/>
                <a:gd name="T31" fmla="*/ 4 h 230"/>
                <a:gd name="T32" fmla="*/ 226 w 381"/>
                <a:gd name="T33" fmla="*/ 4 h 230"/>
                <a:gd name="T34" fmla="*/ 217 w 381"/>
                <a:gd name="T35" fmla="*/ 0 h 230"/>
                <a:gd name="T36" fmla="*/ 204 w 381"/>
                <a:gd name="T37" fmla="*/ 9 h 230"/>
                <a:gd name="T38" fmla="*/ 190 w 381"/>
                <a:gd name="T39" fmla="*/ 13 h 230"/>
                <a:gd name="T40" fmla="*/ 177 w 381"/>
                <a:gd name="T41" fmla="*/ 22 h 230"/>
                <a:gd name="T42" fmla="*/ 181 w 381"/>
                <a:gd name="T43" fmla="*/ 44 h 230"/>
                <a:gd name="T44" fmla="*/ 181 w 381"/>
                <a:gd name="T45" fmla="*/ 80 h 230"/>
                <a:gd name="T46" fmla="*/ 173 w 381"/>
                <a:gd name="T47" fmla="*/ 93 h 230"/>
                <a:gd name="T48" fmla="*/ 155 w 381"/>
                <a:gd name="T49" fmla="*/ 106 h 230"/>
                <a:gd name="T50" fmla="*/ 124 w 381"/>
                <a:gd name="T51" fmla="*/ 97 h 230"/>
                <a:gd name="T52" fmla="*/ 115 w 381"/>
                <a:gd name="T53" fmla="*/ 80 h 230"/>
                <a:gd name="T54" fmla="*/ 111 w 381"/>
                <a:gd name="T55" fmla="*/ 66 h 230"/>
                <a:gd name="T56" fmla="*/ 84 w 381"/>
                <a:gd name="T57" fmla="*/ 31 h 230"/>
                <a:gd name="T58" fmla="*/ 84 w 381"/>
                <a:gd name="T59" fmla="*/ 31 h 230"/>
                <a:gd name="T60" fmla="*/ 31 w 381"/>
                <a:gd name="T61" fmla="*/ 66 h 230"/>
                <a:gd name="T62" fmla="*/ 22 w 381"/>
                <a:gd name="T63" fmla="*/ 89 h 230"/>
                <a:gd name="T64" fmla="*/ 18 w 381"/>
                <a:gd name="T65" fmla="*/ 106 h 230"/>
                <a:gd name="T66" fmla="*/ 4 w 381"/>
                <a:gd name="T67" fmla="*/ 120 h 230"/>
                <a:gd name="T68" fmla="*/ 0 w 381"/>
                <a:gd name="T69" fmla="*/ 151 h 230"/>
                <a:gd name="T70" fmla="*/ 4 w 381"/>
                <a:gd name="T71" fmla="*/ 155 h 230"/>
                <a:gd name="T72" fmla="*/ 4 w 381"/>
                <a:gd name="T73" fmla="*/ 164 h 230"/>
                <a:gd name="T74" fmla="*/ 4 w 381"/>
                <a:gd name="T75" fmla="*/ 155 h 230"/>
                <a:gd name="T76" fmla="*/ 0 w 381"/>
                <a:gd name="T77" fmla="*/ 159 h 230"/>
                <a:gd name="T78" fmla="*/ 0 w 381"/>
                <a:gd name="T79" fmla="*/ 173 h 230"/>
                <a:gd name="T80" fmla="*/ 4 w 381"/>
                <a:gd name="T81" fmla="*/ 195 h 230"/>
                <a:gd name="T82" fmla="*/ 18 w 381"/>
                <a:gd name="T83" fmla="*/ 182 h 230"/>
                <a:gd name="T84" fmla="*/ 58 w 381"/>
                <a:gd name="T85" fmla="*/ 159 h 230"/>
                <a:gd name="T86" fmla="*/ 89 w 381"/>
                <a:gd name="T87" fmla="*/ 168 h 230"/>
                <a:gd name="T88" fmla="*/ 106 w 381"/>
                <a:gd name="T89" fmla="*/ 168 h 230"/>
                <a:gd name="T90" fmla="*/ 133 w 381"/>
                <a:gd name="T91" fmla="*/ 168 h 230"/>
                <a:gd name="T92" fmla="*/ 146 w 381"/>
                <a:gd name="T93" fmla="*/ 168 h 230"/>
                <a:gd name="T94" fmla="*/ 168 w 381"/>
                <a:gd name="T95" fmla="*/ 177 h 230"/>
                <a:gd name="T96" fmla="*/ 190 w 381"/>
                <a:gd name="T97" fmla="*/ 173 h 230"/>
                <a:gd name="T98" fmla="*/ 204 w 381"/>
                <a:gd name="T99" fmla="*/ 159 h 230"/>
                <a:gd name="T100" fmla="*/ 212 w 381"/>
                <a:gd name="T101" fmla="*/ 173 h 230"/>
                <a:gd name="T102" fmla="*/ 243 w 381"/>
                <a:gd name="T103" fmla="*/ 186 h 230"/>
                <a:gd name="T104" fmla="*/ 257 w 381"/>
                <a:gd name="T105" fmla="*/ 195 h 230"/>
                <a:gd name="T106" fmla="*/ 283 w 381"/>
                <a:gd name="T107" fmla="*/ 226 h 230"/>
                <a:gd name="T108" fmla="*/ 310 w 381"/>
                <a:gd name="T109" fmla="*/ 230 h 230"/>
                <a:gd name="T110" fmla="*/ 332 w 381"/>
                <a:gd name="T111" fmla="*/ 221 h 230"/>
                <a:gd name="T112" fmla="*/ 350 w 381"/>
                <a:gd name="T113" fmla="*/ 221 h 230"/>
                <a:gd name="T114" fmla="*/ 363 w 381"/>
                <a:gd name="T115" fmla="*/ 195 h 230"/>
                <a:gd name="T116" fmla="*/ 376 w 381"/>
                <a:gd name="T117" fmla="*/ 186 h 230"/>
                <a:gd name="T118" fmla="*/ 381 w 381"/>
                <a:gd name="T119" fmla="*/ 177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81" h="230">
                  <a:moveTo>
                    <a:pt x="381" y="173"/>
                  </a:moveTo>
                  <a:lnTo>
                    <a:pt x="381" y="168"/>
                  </a:lnTo>
                  <a:lnTo>
                    <a:pt x="381" y="164"/>
                  </a:lnTo>
                  <a:lnTo>
                    <a:pt x="381" y="164"/>
                  </a:lnTo>
                  <a:lnTo>
                    <a:pt x="381" y="159"/>
                  </a:lnTo>
                  <a:lnTo>
                    <a:pt x="381" y="159"/>
                  </a:lnTo>
                  <a:lnTo>
                    <a:pt x="381" y="159"/>
                  </a:lnTo>
                  <a:lnTo>
                    <a:pt x="376" y="155"/>
                  </a:lnTo>
                  <a:lnTo>
                    <a:pt x="376" y="155"/>
                  </a:lnTo>
                  <a:lnTo>
                    <a:pt x="376" y="155"/>
                  </a:lnTo>
                  <a:lnTo>
                    <a:pt x="376" y="151"/>
                  </a:lnTo>
                  <a:lnTo>
                    <a:pt x="376" y="151"/>
                  </a:lnTo>
                  <a:lnTo>
                    <a:pt x="376" y="151"/>
                  </a:lnTo>
                  <a:lnTo>
                    <a:pt x="376" y="151"/>
                  </a:lnTo>
                  <a:lnTo>
                    <a:pt x="376" y="146"/>
                  </a:lnTo>
                  <a:lnTo>
                    <a:pt x="372" y="146"/>
                  </a:lnTo>
                  <a:lnTo>
                    <a:pt x="372" y="146"/>
                  </a:lnTo>
                  <a:lnTo>
                    <a:pt x="372" y="142"/>
                  </a:lnTo>
                  <a:lnTo>
                    <a:pt x="372" y="142"/>
                  </a:lnTo>
                  <a:lnTo>
                    <a:pt x="372" y="137"/>
                  </a:lnTo>
                  <a:lnTo>
                    <a:pt x="372" y="137"/>
                  </a:lnTo>
                  <a:lnTo>
                    <a:pt x="363" y="133"/>
                  </a:lnTo>
                  <a:lnTo>
                    <a:pt x="363" y="128"/>
                  </a:lnTo>
                  <a:lnTo>
                    <a:pt x="363" y="128"/>
                  </a:lnTo>
                  <a:lnTo>
                    <a:pt x="367" y="124"/>
                  </a:lnTo>
                  <a:lnTo>
                    <a:pt x="367" y="124"/>
                  </a:lnTo>
                  <a:lnTo>
                    <a:pt x="367" y="124"/>
                  </a:lnTo>
                  <a:lnTo>
                    <a:pt x="363" y="120"/>
                  </a:lnTo>
                  <a:lnTo>
                    <a:pt x="363" y="120"/>
                  </a:lnTo>
                  <a:lnTo>
                    <a:pt x="363" y="120"/>
                  </a:lnTo>
                  <a:lnTo>
                    <a:pt x="359" y="120"/>
                  </a:lnTo>
                  <a:lnTo>
                    <a:pt x="359" y="120"/>
                  </a:lnTo>
                  <a:lnTo>
                    <a:pt x="354" y="120"/>
                  </a:lnTo>
                  <a:lnTo>
                    <a:pt x="354" y="120"/>
                  </a:lnTo>
                  <a:lnTo>
                    <a:pt x="350" y="120"/>
                  </a:lnTo>
                  <a:lnTo>
                    <a:pt x="354" y="115"/>
                  </a:lnTo>
                  <a:lnTo>
                    <a:pt x="354" y="111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4" y="106"/>
                  </a:lnTo>
                  <a:lnTo>
                    <a:pt x="359" y="106"/>
                  </a:lnTo>
                  <a:lnTo>
                    <a:pt x="359" y="102"/>
                  </a:lnTo>
                  <a:lnTo>
                    <a:pt x="359" y="102"/>
                  </a:lnTo>
                  <a:lnTo>
                    <a:pt x="359" y="97"/>
                  </a:lnTo>
                  <a:lnTo>
                    <a:pt x="354" y="97"/>
                  </a:lnTo>
                  <a:lnTo>
                    <a:pt x="354" y="97"/>
                  </a:lnTo>
                  <a:lnTo>
                    <a:pt x="354" y="93"/>
                  </a:lnTo>
                  <a:lnTo>
                    <a:pt x="354" y="93"/>
                  </a:lnTo>
                  <a:lnTo>
                    <a:pt x="359" y="93"/>
                  </a:lnTo>
                  <a:lnTo>
                    <a:pt x="363" y="89"/>
                  </a:lnTo>
                  <a:lnTo>
                    <a:pt x="363" y="89"/>
                  </a:lnTo>
                  <a:lnTo>
                    <a:pt x="363" y="84"/>
                  </a:lnTo>
                  <a:lnTo>
                    <a:pt x="363" y="80"/>
                  </a:lnTo>
                  <a:lnTo>
                    <a:pt x="363" y="75"/>
                  </a:lnTo>
                  <a:lnTo>
                    <a:pt x="363" y="75"/>
                  </a:lnTo>
                  <a:lnTo>
                    <a:pt x="363" y="75"/>
                  </a:lnTo>
                  <a:lnTo>
                    <a:pt x="354" y="71"/>
                  </a:lnTo>
                  <a:lnTo>
                    <a:pt x="354" y="71"/>
                  </a:lnTo>
                  <a:lnTo>
                    <a:pt x="354" y="66"/>
                  </a:lnTo>
                  <a:lnTo>
                    <a:pt x="345" y="66"/>
                  </a:lnTo>
                  <a:lnTo>
                    <a:pt x="345" y="62"/>
                  </a:lnTo>
                  <a:lnTo>
                    <a:pt x="345" y="62"/>
                  </a:lnTo>
                  <a:lnTo>
                    <a:pt x="345" y="58"/>
                  </a:lnTo>
                  <a:lnTo>
                    <a:pt x="345" y="58"/>
                  </a:lnTo>
                  <a:lnTo>
                    <a:pt x="345" y="53"/>
                  </a:lnTo>
                  <a:lnTo>
                    <a:pt x="336" y="53"/>
                  </a:lnTo>
                  <a:lnTo>
                    <a:pt x="336" y="53"/>
                  </a:lnTo>
                  <a:lnTo>
                    <a:pt x="328" y="53"/>
                  </a:lnTo>
                  <a:lnTo>
                    <a:pt x="323" y="53"/>
                  </a:lnTo>
                  <a:lnTo>
                    <a:pt x="323" y="53"/>
                  </a:lnTo>
                  <a:lnTo>
                    <a:pt x="319" y="49"/>
                  </a:lnTo>
                  <a:lnTo>
                    <a:pt x="319" y="49"/>
                  </a:lnTo>
                  <a:lnTo>
                    <a:pt x="319" y="44"/>
                  </a:lnTo>
                  <a:lnTo>
                    <a:pt x="314" y="44"/>
                  </a:lnTo>
                  <a:lnTo>
                    <a:pt x="314" y="44"/>
                  </a:lnTo>
                  <a:lnTo>
                    <a:pt x="314" y="44"/>
                  </a:lnTo>
                  <a:lnTo>
                    <a:pt x="314" y="44"/>
                  </a:lnTo>
                  <a:lnTo>
                    <a:pt x="314" y="44"/>
                  </a:lnTo>
                  <a:lnTo>
                    <a:pt x="310" y="44"/>
                  </a:lnTo>
                  <a:lnTo>
                    <a:pt x="310" y="44"/>
                  </a:lnTo>
                  <a:lnTo>
                    <a:pt x="310" y="44"/>
                  </a:lnTo>
                  <a:lnTo>
                    <a:pt x="310" y="49"/>
                  </a:lnTo>
                  <a:lnTo>
                    <a:pt x="310" y="49"/>
                  </a:lnTo>
                  <a:lnTo>
                    <a:pt x="305" y="49"/>
                  </a:lnTo>
                  <a:lnTo>
                    <a:pt x="305" y="49"/>
                  </a:lnTo>
                  <a:lnTo>
                    <a:pt x="301" y="49"/>
                  </a:lnTo>
                  <a:lnTo>
                    <a:pt x="301" y="49"/>
                  </a:lnTo>
                  <a:lnTo>
                    <a:pt x="301" y="53"/>
                  </a:lnTo>
                  <a:lnTo>
                    <a:pt x="297" y="53"/>
                  </a:lnTo>
                  <a:lnTo>
                    <a:pt x="297" y="53"/>
                  </a:lnTo>
                  <a:lnTo>
                    <a:pt x="297" y="53"/>
                  </a:lnTo>
                  <a:lnTo>
                    <a:pt x="297" y="53"/>
                  </a:lnTo>
                  <a:lnTo>
                    <a:pt x="297" y="53"/>
                  </a:lnTo>
                  <a:lnTo>
                    <a:pt x="297" y="53"/>
                  </a:lnTo>
                  <a:lnTo>
                    <a:pt x="297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88" y="53"/>
                  </a:lnTo>
                  <a:lnTo>
                    <a:pt x="288" y="49"/>
                  </a:lnTo>
                  <a:lnTo>
                    <a:pt x="288" y="49"/>
                  </a:lnTo>
                  <a:lnTo>
                    <a:pt x="283" y="49"/>
                  </a:lnTo>
                  <a:lnTo>
                    <a:pt x="283" y="49"/>
                  </a:lnTo>
                  <a:lnTo>
                    <a:pt x="283" y="49"/>
                  </a:lnTo>
                  <a:lnTo>
                    <a:pt x="279" y="44"/>
                  </a:lnTo>
                  <a:lnTo>
                    <a:pt x="274" y="35"/>
                  </a:lnTo>
                  <a:lnTo>
                    <a:pt x="274" y="35"/>
                  </a:lnTo>
                  <a:lnTo>
                    <a:pt x="266" y="31"/>
                  </a:lnTo>
                  <a:lnTo>
                    <a:pt x="266" y="27"/>
                  </a:lnTo>
                  <a:lnTo>
                    <a:pt x="266" y="27"/>
                  </a:lnTo>
                  <a:lnTo>
                    <a:pt x="266" y="27"/>
                  </a:lnTo>
                  <a:lnTo>
                    <a:pt x="266" y="27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52" y="22"/>
                  </a:lnTo>
                  <a:lnTo>
                    <a:pt x="252" y="22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52" y="13"/>
                  </a:lnTo>
                  <a:lnTo>
                    <a:pt x="252" y="13"/>
                  </a:lnTo>
                  <a:lnTo>
                    <a:pt x="248" y="13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3" y="18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9"/>
                  </a:lnTo>
                  <a:lnTo>
                    <a:pt x="239" y="9"/>
                  </a:lnTo>
                  <a:lnTo>
                    <a:pt x="239" y="9"/>
                  </a:lnTo>
                  <a:lnTo>
                    <a:pt x="239" y="9"/>
                  </a:lnTo>
                  <a:lnTo>
                    <a:pt x="235" y="4"/>
                  </a:lnTo>
                  <a:lnTo>
                    <a:pt x="230" y="4"/>
                  </a:lnTo>
                  <a:lnTo>
                    <a:pt x="230" y="4"/>
                  </a:lnTo>
                  <a:lnTo>
                    <a:pt x="230" y="4"/>
                  </a:lnTo>
                  <a:lnTo>
                    <a:pt x="230" y="4"/>
                  </a:lnTo>
                  <a:lnTo>
                    <a:pt x="230" y="4"/>
                  </a:lnTo>
                  <a:lnTo>
                    <a:pt x="230" y="4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6" y="4"/>
                  </a:lnTo>
                  <a:lnTo>
                    <a:pt x="226" y="4"/>
                  </a:lnTo>
                  <a:lnTo>
                    <a:pt x="226" y="9"/>
                  </a:lnTo>
                  <a:lnTo>
                    <a:pt x="226" y="9"/>
                  </a:lnTo>
                  <a:lnTo>
                    <a:pt x="226" y="9"/>
                  </a:lnTo>
                  <a:lnTo>
                    <a:pt x="221" y="9"/>
                  </a:lnTo>
                  <a:lnTo>
                    <a:pt x="221" y="4"/>
                  </a:lnTo>
                  <a:lnTo>
                    <a:pt x="221" y="4"/>
                  </a:lnTo>
                  <a:lnTo>
                    <a:pt x="221" y="0"/>
                  </a:lnTo>
                  <a:lnTo>
                    <a:pt x="221" y="0"/>
                  </a:lnTo>
                  <a:lnTo>
                    <a:pt x="217" y="0"/>
                  </a:lnTo>
                  <a:lnTo>
                    <a:pt x="217" y="0"/>
                  </a:lnTo>
                  <a:lnTo>
                    <a:pt x="217" y="0"/>
                  </a:lnTo>
                  <a:lnTo>
                    <a:pt x="212" y="4"/>
                  </a:lnTo>
                  <a:lnTo>
                    <a:pt x="212" y="4"/>
                  </a:lnTo>
                  <a:lnTo>
                    <a:pt x="208" y="4"/>
                  </a:lnTo>
                  <a:lnTo>
                    <a:pt x="208" y="9"/>
                  </a:lnTo>
                  <a:lnTo>
                    <a:pt x="204" y="9"/>
                  </a:lnTo>
                  <a:lnTo>
                    <a:pt x="204" y="9"/>
                  </a:lnTo>
                  <a:lnTo>
                    <a:pt x="204" y="9"/>
                  </a:lnTo>
                  <a:lnTo>
                    <a:pt x="204" y="9"/>
                  </a:lnTo>
                  <a:lnTo>
                    <a:pt x="199" y="9"/>
                  </a:lnTo>
                  <a:lnTo>
                    <a:pt x="199" y="9"/>
                  </a:lnTo>
                  <a:lnTo>
                    <a:pt x="199" y="9"/>
                  </a:lnTo>
                  <a:lnTo>
                    <a:pt x="195" y="13"/>
                  </a:lnTo>
                  <a:lnTo>
                    <a:pt x="195" y="13"/>
                  </a:lnTo>
                  <a:lnTo>
                    <a:pt x="195" y="13"/>
                  </a:lnTo>
                  <a:lnTo>
                    <a:pt x="190" y="13"/>
                  </a:lnTo>
                  <a:lnTo>
                    <a:pt x="190" y="13"/>
                  </a:lnTo>
                  <a:lnTo>
                    <a:pt x="186" y="13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7" y="27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35"/>
                  </a:lnTo>
                  <a:lnTo>
                    <a:pt x="177" y="40"/>
                  </a:lnTo>
                  <a:lnTo>
                    <a:pt x="177" y="40"/>
                  </a:lnTo>
                  <a:lnTo>
                    <a:pt x="181" y="44"/>
                  </a:lnTo>
                  <a:lnTo>
                    <a:pt x="177" y="49"/>
                  </a:lnTo>
                  <a:lnTo>
                    <a:pt x="177" y="53"/>
                  </a:lnTo>
                  <a:lnTo>
                    <a:pt x="177" y="53"/>
                  </a:lnTo>
                  <a:lnTo>
                    <a:pt x="181" y="53"/>
                  </a:lnTo>
                  <a:lnTo>
                    <a:pt x="181" y="58"/>
                  </a:lnTo>
                  <a:lnTo>
                    <a:pt x="181" y="58"/>
                  </a:lnTo>
                  <a:lnTo>
                    <a:pt x="181" y="71"/>
                  </a:lnTo>
                  <a:lnTo>
                    <a:pt x="181" y="75"/>
                  </a:lnTo>
                  <a:lnTo>
                    <a:pt x="181" y="80"/>
                  </a:lnTo>
                  <a:lnTo>
                    <a:pt x="181" y="84"/>
                  </a:lnTo>
                  <a:lnTo>
                    <a:pt x="177" y="89"/>
                  </a:lnTo>
                  <a:lnTo>
                    <a:pt x="177" y="89"/>
                  </a:lnTo>
                  <a:lnTo>
                    <a:pt x="173" y="89"/>
                  </a:lnTo>
                  <a:lnTo>
                    <a:pt x="173" y="89"/>
                  </a:lnTo>
                  <a:lnTo>
                    <a:pt x="173" y="89"/>
                  </a:lnTo>
                  <a:lnTo>
                    <a:pt x="173" y="89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59" y="97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5" y="106"/>
                  </a:lnTo>
                  <a:lnTo>
                    <a:pt x="155" y="106"/>
                  </a:lnTo>
                  <a:lnTo>
                    <a:pt x="146" y="106"/>
                  </a:lnTo>
                  <a:lnTo>
                    <a:pt x="142" y="106"/>
                  </a:lnTo>
                  <a:lnTo>
                    <a:pt x="137" y="106"/>
                  </a:lnTo>
                  <a:lnTo>
                    <a:pt x="137" y="106"/>
                  </a:lnTo>
                  <a:lnTo>
                    <a:pt x="137" y="106"/>
                  </a:lnTo>
                  <a:lnTo>
                    <a:pt x="133" y="102"/>
                  </a:lnTo>
                  <a:lnTo>
                    <a:pt x="133" y="102"/>
                  </a:lnTo>
                  <a:lnTo>
                    <a:pt x="128" y="102"/>
                  </a:lnTo>
                  <a:lnTo>
                    <a:pt x="124" y="97"/>
                  </a:lnTo>
                  <a:lnTo>
                    <a:pt x="124" y="97"/>
                  </a:lnTo>
                  <a:lnTo>
                    <a:pt x="124" y="97"/>
                  </a:lnTo>
                  <a:lnTo>
                    <a:pt x="119" y="97"/>
                  </a:lnTo>
                  <a:lnTo>
                    <a:pt x="119" y="93"/>
                  </a:lnTo>
                  <a:lnTo>
                    <a:pt x="119" y="84"/>
                  </a:lnTo>
                  <a:lnTo>
                    <a:pt x="119" y="84"/>
                  </a:lnTo>
                  <a:lnTo>
                    <a:pt x="119" y="84"/>
                  </a:lnTo>
                  <a:lnTo>
                    <a:pt x="119" y="80"/>
                  </a:lnTo>
                  <a:lnTo>
                    <a:pt x="115" y="80"/>
                  </a:lnTo>
                  <a:lnTo>
                    <a:pt x="115" y="75"/>
                  </a:lnTo>
                  <a:lnTo>
                    <a:pt x="115" y="75"/>
                  </a:lnTo>
                  <a:lnTo>
                    <a:pt x="115" y="75"/>
                  </a:lnTo>
                  <a:lnTo>
                    <a:pt x="115" y="71"/>
                  </a:lnTo>
                  <a:lnTo>
                    <a:pt x="115" y="71"/>
                  </a:lnTo>
                  <a:lnTo>
                    <a:pt x="115" y="71"/>
                  </a:lnTo>
                  <a:lnTo>
                    <a:pt x="115" y="71"/>
                  </a:lnTo>
                  <a:lnTo>
                    <a:pt x="115" y="71"/>
                  </a:lnTo>
                  <a:lnTo>
                    <a:pt x="111" y="66"/>
                  </a:lnTo>
                  <a:lnTo>
                    <a:pt x="111" y="66"/>
                  </a:lnTo>
                  <a:lnTo>
                    <a:pt x="106" y="62"/>
                  </a:lnTo>
                  <a:lnTo>
                    <a:pt x="102" y="58"/>
                  </a:lnTo>
                  <a:lnTo>
                    <a:pt x="89" y="49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4" y="35"/>
                  </a:lnTo>
                  <a:lnTo>
                    <a:pt x="84" y="31"/>
                  </a:lnTo>
                  <a:lnTo>
                    <a:pt x="89" y="31"/>
                  </a:lnTo>
                  <a:lnTo>
                    <a:pt x="89" y="31"/>
                  </a:lnTo>
                  <a:lnTo>
                    <a:pt x="89" y="31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0" y="31"/>
                  </a:lnTo>
                  <a:lnTo>
                    <a:pt x="66" y="40"/>
                  </a:lnTo>
                  <a:lnTo>
                    <a:pt x="53" y="49"/>
                  </a:lnTo>
                  <a:lnTo>
                    <a:pt x="53" y="49"/>
                  </a:lnTo>
                  <a:lnTo>
                    <a:pt x="44" y="49"/>
                  </a:lnTo>
                  <a:lnTo>
                    <a:pt x="35" y="49"/>
                  </a:lnTo>
                  <a:lnTo>
                    <a:pt x="40" y="53"/>
                  </a:lnTo>
                  <a:lnTo>
                    <a:pt x="31" y="62"/>
                  </a:lnTo>
                  <a:lnTo>
                    <a:pt x="31" y="66"/>
                  </a:lnTo>
                  <a:lnTo>
                    <a:pt x="27" y="71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2" y="75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7"/>
                  </a:lnTo>
                  <a:lnTo>
                    <a:pt x="22" y="102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18" y="106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8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4" y="142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4" y="151"/>
                  </a:lnTo>
                  <a:lnTo>
                    <a:pt x="4" y="151"/>
                  </a:lnTo>
                  <a:lnTo>
                    <a:pt x="4" y="151"/>
                  </a:lnTo>
                  <a:lnTo>
                    <a:pt x="4" y="151"/>
                  </a:lnTo>
                  <a:lnTo>
                    <a:pt x="4" y="151"/>
                  </a:lnTo>
                  <a:lnTo>
                    <a:pt x="4" y="155"/>
                  </a:lnTo>
                  <a:lnTo>
                    <a:pt x="4" y="155"/>
                  </a:lnTo>
                  <a:lnTo>
                    <a:pt x="4" y="155"/>
                  </a:lnTo>
                  <a:lnTo>
                    <a:pt x="4" y="155"/>
                  </a:lnTo>
                  <a:lnTo>
                    <a:pt x="4" y="155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5"/>
                  </a:lnTo>
                  <a:lnTo>
                    <a:pt x="4" y="155"/>
                  </a:lnTo>
                  <a:lnTo>
                    <a:pt x="4" y="155"/>
                  </a:lnTo>
                  <a:lnTo>
                    <a:pt x="4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5"/>
                  </a:lnTo>
                  <a:lnTo>
                    <a:pt x="4" y="155"/>
                  </a:lnTo>
                  <a:lnTo>
                    <a:pt x="0" y="155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8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82"/>
                  </a:lnTo>
                  <a:lnTo>
                    <a:pt x="4" y="186"/>
                  </a:lnTo>
                  <a:lnTo>
                    <a:pt x="4" y="190"/>
                  </a:lnTo>
                  <a:lnTo>
                    <a:pt x="4" y="195"/>
                  </a:lnTo>
                  <a:lnTo>
                    <a:pt x="4" y="195"/>
                  </a:lnTo>
                  <a:lnTo>
                    <a:pt x="4" y="195"/>
                  </a:lnTo>
                  <a:lnTo>
                    <a:pt x="9" y="195"/>
                  </a:lnTo>
                  <a:lnTo>
                    <a:pt x="9" y="195"/>
                  </a:lnTo>
                  <a:lnTo>
                    <a:pt x="13" y="190"/>
                  </a:lnTo>
                  <a:lnTo>
                    <a:pt x="13" y="190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22" y="177"/>
                  </a:lnTo>
                  <a:lnTo>
                    <a:pt x="22" y="177"/>
                  </a:lnTo>
                  <a:lnTo>
                    <a:pt x="22" y="177"/>
                  </a:lnTo>
                  <a:lnTo>
                    <a:pt x="31" y="173"/>
                  </a:lnTo>
                  <a:lnTo>
                    <a:pt x="35" y="173"/>
                  </a:lnTo>
                  <a:lnTo>
                    <a:pt x="40" y="173"/>
                  </a:lnTo>
                  <a:lnTo>
                    <a:pt x="53" y="164"/>
                  </a:lnTo>
                  <a:lnTo>
                    <a:pt x="53" y="164"/>
                  </a:lnTo>
                  <a:lnTo>
                    <a:pt x="58" y="159"/>
                  </a:lnTo>
                  <a:lnTo>
                    <a:pt x="62" y="159"/>
                  </a:lnTo>
                  <a:lnTo>
                    <a:pt x="62" y="164"/>
                  </a:lnTo>
                  <a:lnTo>
                    <a:pt x="66" y="164"/>
                  </a:lnTo>
                  <a:lnTo>
                    <a:pt x="66" y="164"/>
                  </a:lnTo>
                  <a:lnTo>
                    <a:pt x="80" y="164"/>
                  </a:lnTo>
                  <a:lnTo>
                    <a:pt x="84" y="164"/>
                  </a:lnTo>
                  <a:lnTo>
                    <a:pt x="84" y="164"/>
                  </a:lnTo>
                  <a:lnTo>
                    <a:pt x="89" y="164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97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59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8"/>
                  </a:lnTo>
                  <a:lnTo>
                    <a:pt x="111" y="173"/>
                  </a:lnTo>
                  <a:lnTo>
                    <a:pt x="115" y="173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24" y="164"/>
                  </a:lnTo>
                  <a:lnTo>
                    <a:pt x="124" y="164"/>
                  </a:lnTo>
                  <a:lnTo>
                    <a:pt x="128" y="168"/>
                  </a:lnTo>
                  <a:lnTo>
                    <a:pt x="133" y="168"/>
                  </a:lnTo>
                  <a:lnTo>
                    <a:pt x="133" y="168"/>
                  </a:lnTo>
                  <a:lnTo>
                    <a:pt x="137" y="168"/>
                  </a:lnTo>
                  <a:lnTo>
                    <a:pt x="142" y="168"/>
                  </a:lnTo>
                  <a:lnTo>
                    <a:pt x="142" y="168"/>
                  </a:lnTo>
                  <a:lnTo>
                    <a:pt x="146" y="168"/>
                  </a:lnTo>
                  <a:lnTo>
                    <a:pt x="146" y="168"/>
                  </a:lnTo>
                  <a:lnTo>
                    <a:pt x="146" y="168"/>
                  </a:lnTo>
                  <a:lnTo>
                    <a:pt x="146" y="168"/>
                  </a:lnTo>
                  <a:lnTo>
                    <a:pt x="146" y="168"/>
                  </a:lnTo>
                  <a:lnTo>
                    <a:pt x="146" y="168"/>
                  </a:lnTo>
                  <a:lnTo>
                    <a:pt x="146" y="168"/>
                  </a:lnTo>
                  <a:lnTo>
                    <a:pt x="150" y="168"/>
                  </a:lnTo>
                  <a:lnTo>
                    <a:pt x="150" y="168"/>
                  </a:lnTo>
                  <a:lnTo>
                    <a:pt x="155" y="168"/>
                  </a:lnTo>
                  <a:lnTo>
                    <a:pt x="159" y="173"/>
                  </a:lnTo>
                  <a:lnTo>
                    <a:pt x="164" y="173"/>
                  </a:lnTo>
                  <a:lnTo>
                    <a:pt x="164" y="177"/>
                  </a:lnTo>
                  <a:lnTo>
                    <a:pt x="168" y="177"/>
                  </a:lnTo>
                  <a:lnTo>
                    <a:pt x="168" y="177"/>
                  </a:lnTo>
                  <a:lnTo>
                    <a:pt x="168" y="177"/>
                  </a:lnTo>
                  <a:lnTo>
                    <a:pt x="177" y="173"/>
                  </a:lnTo>
                  <a:lnTo>
                    <a:pt x="177" y="173"/>
                  </a:lnTo>
                  <a:lnTo>
                    <a:pt x="177" y="173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186" y="177"/>
                  </a:lnTo>
                  <a:lnTo>
                    <a:pt x="190" y="173"/>
                  </a:lnTo>
                  <a:lnTo>
                    <a:pt x="190" y="173"/>
                  </a:lnTo>
                  <a:lnTo>
                    <a:pt x="195" y="168"/>
                  </a:lnTo>
                  <a:lnTo>
                    <a:pt x="195" y="164"/>
                  </a:lnTo>
                  <a:lnTo>
                    <a:pt x="199" y="164"/>
                  </a:lnTo>
                  <a:lnTo>
                    <a:pt x="204" y="164"/>
                  </a:lnTo>
                  <a:lnTo>
                    <a:pt x="204" y="164"/>
                  </a:lnTo>
                  <a:lnTo>
                    <a:pt x="204" y="164"/>
                  </a:lnTo>
                  <a:lnTo>
                    <a:pt x="204" y="164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8" y="164"/>
                  </a:lnTo>
                  <a:lnTo>
                    <a:pt x="212" y="168"/>
                  </a:lnTo>
                  <a:lnTo>
                    <a:pt x="212" y="173"/>
                  </a:lnTo>
                  <a:lnTo>
                    <a:pt x="212" y="173"/>
                  </a:lnTo>
                  <a:lnTo>
                    <a:pt x="212" y="177"/>
                  </a:lnTo>
                  <a:lnTo>
                    <a:pt x="212" y="177"/>
                  </a:lnTo>
                  <a:lnTo>
                    <a:pt x="217" y="177"/>
                  </a:lnTo>
                  <a:lnTo>
                    <a:pt x="217" y="182"/>
                  </a:lnTo>
                  <a:lnTo>
                    <a:pt x="217" y="182"/>
                  </a:lnTo>
                  <a:lnTo>
                    <a:pt x="230" y="186"/>
                  </a:lnTo>
                  <a:lnTo>
                    <a:pt x="235" y="186"/>
                  </a:lnTo>
                  <a:lnTo>
                    <a:pt x="239" y="186"/>
                  </a:lnTo>
                  <a:lnTo>
                    <a:pt x="243" y="186"/>
                  </a:lnTo>
                  <a:lnTo>
                    <a:pt x="243" y="186"/>
                  </a:lnTo>
                  <a:lnTo>
                    <a:pt x="248" y="186"/>
                  </a:lnTo>
                  <a:lnTo>
                    <a:pt x="248" y="186"/>
                  </a:lnTo>
                  <a:lnTo>
                    <a:pt x="248" y="186"/>
                  </a:lnTo>
                  <a:lnTo>
                    <a:pt x="248" y="190"/>
                  </a:lnTo>
                  <a:lnTo>
                    <a:pt x="248" y="190"/>
                  </a:lnTo>
                  <a:lnTo>
                    <a:pt x="252" y="195"/>
                  </a:lnTo>
                  <a:lnTo>
                    <a:pt x="252" y="195"/>
                  </a:lnTo>
                  <a:lnTo>
                    <a:pt x="257" y="195"/>
                  </a:lnTo>
                  <a:lnTo>
                    <a:pt x="257" y="199"/>
                  </a:lnTo>
                  <a:lnTo>
                    <a:pt x="266" y="204"/>
                  </a:lnTo>
                  <a:lnTo>
                    <a:pt x="266" y="208"/>
                  </a:lnTo>
                  <a:lnTo>
                    <a:pt x="270" y="208"/>
                  </a:lnTo>
                  <a:lnTo>
                    <a:pt x="274" y="213"/>
                  </a:lnTo>
                  <a:lnTo>
                    <a:pt x="274" y="217"/>
                  </a:lnTo>
                  <a:lnTo>
                    <a:pt x="279" y="221"/>
                  </a:lnTo>
                  <a:lnTo>
                    <a:pt x="279" y="226"/>
                  </a:lnTo>
                  <a:lnTo>
                    <a:pt x="283" y="226"/>
                  </a:lnTo>
                  <a:lnTo>
                    <a:pt x="292" y="230"/>
                  </a:lnTo>
                  <a:lnTo>
                    <a:pt x="292" y="230"/>
                  </a:lnTo>
                  <a:lnTo>
                    <a:pt x="297" y="230"/>
                  </a:lnTo>
                  <a:lnTo>
                    <a:pt x="297" y="230"/>
                  </a:lnTo>
                  <a:lnTo>
                    <a:pt x="301" y="230"/>
                  </a:lnTo>
                  <a:lnTo>
                    <a:pt x="301" y="230"/>
                  </a:lnTo>
                  <a:lnTo>
                    <a:pt x="305" y="230"/>
                  </a:lnTo>
                  <a:lnTo>
                    <a:pt x="305" y="230"/>
                  </a:lnTo>
                  <a:lnTo>
                    <a:pt x="310" y="230"/>
                  </a:lnTo>
                  <a:lnTo>
                    <a:pt x="310" y="226"/>
                  </a:lnTo>
                  <a:lnTo>
                    <a:pt x="314" y="221"/>
                  </a:lnTo>
                  <a:lnTo>
                    <a:pt x="314" y="217"/>
                  </a:lnTo>
                  <a:lnTo>
                    <a:pt x="319" y="217"/>
                  </a:lnTo>
                  <a:lnTo>
                    <a:pt x="319" y="217"/>
                  </a:lnTo>
                  <a:lnTo>
                    <a:pt x="323" y="217"/>
                  </a:lnTo>
                  <a:lnTo>
                    <a:pt x="328" y="217"/>
                  </a:lnTo>
                  <a:lnTo>
                    <a:pt x="328" y="217"/>
                  </a:lnTo>
                  <a:lnTo>
                    <a:pt x="332" y="221"/>
                  </a:lnTo>
                  <a:lnTo>
                    <a:pt x="332" y="221"/>
                  </a:lnTo>
                  <a:lnTo>
                    <a:pt x="332" y="221"/>
                  </a:lnTo>
                  <a:lnTo>
                    <a:pt x="336" y="217"/>
                  </a:lnTo>
                  <a:lnTo>
                    <a:pt x="336" y="217"/>
                  </a:lnTo>
                  <a:lnTo>
                    <a:pt x="336" y="217"/>
                  </a:lnTo>
                  <a:lnTo>
                    <a:pt x="341" y="217"/>
                  </a:lnTo>
                  <a:lnTo>
                    <a:pt x="341" y="221"/>
                  </a:lnTo>
                  <a:lnTo>
                    <a:pt x="350" y="221"/>
                  </a:lnTo>
                  <a:lnTo>
                    <a:pt x="350" y="221"/>
                  </a:lnTo>
                  <a:lnTo>
                    <a:pt x="350" y="217"/>
                  </a:lnTo>
                  <a:lnTo>
                    <a:pt x="350" y="217"/>
                  </a:lnTo>
                  <a:lnTo>
                    <a:pt x="350" y="213"/>
                  </a:lnTo>
                  <a:lnTo>
                    <a:pt x="354" y="208"/>
                  </a:lnTo>
                  <a:lnTo>
                    <a:pt x="359" y="204"/>
                  </a:lnTo>
                  <a:lnTo>
                    <a:pt x="359" y="199"/>
                  </a:lnTo>
                  <a:lnTo>
                    <a:pt x="359" y="199"/>
                  </a:lnTo>
                  <a:lnTo>
                    <a:pt x="363" y="199"/>
                  </a:lnTo>
                  <a:lnTo>
                    <a:pt x="363" y="195"/>
                  </a:lnTo>
                  <a:lnTo>
                    <a:pt x="367" y="195"/>
                  </a:lnTo>
                  <a:lnTo>
                    <a:pt x="367" y="190"/>
                  </a:lnTo>
                  <a:lnTo>
                    <a:pt x="367" y="190"/>
                  </a:lnTo>
                  <a:lnTo>
                    <a:pt x="367" y="190"/>
                  </a:lnTo>
                  <a:lnTo>
                    <a:pt x="367" y="190"/>
                  </a:lnTo>
                  <a:lnTo>
                    <a:pt x="372" y="190"/>
                  </a:lnTo>
                  <a:lnTo>
                    <a:pt x="372" y="190"/>
                  </a:lnTo>
                  <a:lnTo>
                    <a:pt x="372" y="186"/>
                  </a:lnTo>
                  <a:lnTo>
                    <a:pt x="376" y="186"/>
                  </a:lnTo>
                  <a:lnTo>
                    <a:pt x="376" y="186"/>
                  </a:lnTo>
                  <a:lnTo>
                    <a:pt x="381" y="186"/>
                  </a:lnTo>
                  <a:lnTo>
                    <a:pt x="381" y="186"/>
                  </a:lnTo>
                  <a:lnTo>
                    <a:pt x="381" y="182"/>
                  </a:lnTo>
                  <a:lnTo>
                    <a:pt x="381" y="182"/>
                  </a:lnTo>
                  <a:lnTo>
                    <a:pt x="381" y="177"/>
                  </a:lnTo>
                  <a:lnTo>
                    <a:pt x="381" y="177"/>
                  </a:lnTo>
                  <a:lnTo>
                    <a:pt x="381" y="177"/>
                  </a:lnTo>
                  <a:lnTo>
                    <a:pt x="381" y="177"/>
                  </a:lnTo>
                  <a:lnTo>
                    <a:pt x="381" y="177"/>
                  </a:lnTo>
                  <a:lnTo>
                    <a:pt x="381" y="173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01" name="Freeform 32"/>
            <p:cNvSpPr>
              <a:spLocks/>
            </p:cNvSpPr>
            <p:nvPr/>
          </p:nvSpPr>
          <p:spPr bwMode="auto">
            <a:xfrm>
              <a:off x="4167188" y="5448301"/>
              <a:ext cx="147637" cy="161925"/>
            </a:xfrm>
            <a:custGeom>
              <a:avLst/>
              <a:gdLst>
                <a:gd name="T0" fmla="*/ 89 w 93"/>
                <a:gd name="T1" fmla="*/ 40 h 102"/>
                <a:gd name="T2" fmla="*/ 80 w 93"/>
                <a:gd name="T3" fmla="*/ 36 h 102"/>
                <a:gd name="T4" fmla="*/ 71 w 93"/>
                <a:gd name="T5" fmla="*/ 36 h 102"/>
                <a:gd name="T6" fmla="*/ 71 w 93"/>
                <a:gd name="T7" fmla="*/ 36 h 102"/>
                <a:gd name="T8" fmla="*/ 71 w 93"/>
                <a:gd name="T9" fmla="*/ 27 h 102"/>
                <a:gd name="T10" fmla="*/ 67 w 93"/>
                <a:gd name="T11" fmla="*/ 27 h 102"/>
                <a:gd name="T12" fmla="*/ 62 w 93"/>
                <a:gd name="T13" fmla="*/ 22 h 102"/>
                <a:gd name="T14" fmla="*/ 58 w 93"/>
                <a:gd name="T15" fmla="*/ 18 h 102"/>
                <a:gd name="T16" fmla="*/ 58 w 93"/>
                <a:gd name="T17" fmla="*/ 9 h 102"/>
                <a:gd name="T18" fmla="*/ 40 w 93"/>
                <a:gd name="T19" fmla="*/ 5 h 102"/>
                <a:gd name="T20" fmla="*/ 45 w 93"/>
                <a:gd name="T21" fmla="*/ 0 h 102"/>
                <a:gd name="T22" fmla="*/ 45 w 93"/>
                <a:gd name="T23" fmla="*/ 0 h 102"/>
                <a:gd name="T24" fmla="*/ 40 w 93"/>
                <a:gd name="T25" fmla="*/ 0 h 102"/>
                <a:gd name="T26" fmla="*/ 31 w 93"/>
                <a:gd name="T27" fmla="*/ 5 h 102"/>
                <a:gd name="T28" fmla="*/ 31 w 93"/>
                <a:gd name="T29" fmla="*/ 9 h 102"/>
                <a:gd name="T30" fmla="*/ 31 w 93"/>
                <a:gd name="T31" fmla="*/ 9 h 102"/>
                <a:gd name="T32" fmla="*/ 27 w 93"/>
                <a:gd name="T33" fmla="*/ 18 h 102"/>
                <a:gd name="T34" fmla="*/ 27 w 93"/>
                <a:gd name="T35" fmla="*/ 18 h 102"/>
                <a:gd name="T36" fmla="*/ 22 w 93"/>
                <a:gd name="T37" fmla="*/ 22 h 102"/>
                <a:gd name="T38" fmla="*/ 22 w 93"/>
                <a:gd name="T39" fmla="*/ 27 h 102"/>
                <a:gd name="T40" fmla="*/ 9 w 93"/>
                <a:gd name="T41" fmla="*/ 31 h 102"/>
                <a:gd name="T42" fmla="*/ 9 w 93"/>
                <a:gd name="T43" fmla="*/ 36 h 102"/>
                <a:gd name="T44" fmla="*/ 0 w 93"/>
                <a:gd name="T45" fmla="*/ 36 h 102"/>
                <a:gd name="T46" fmla="*/ 0 w 93"/>
                <a:gd name="T47" fmla="*/ 40 h 102"/>
                <a:gd name="T48" fmla="*/ 5 w 93"/>
                <a:gd name="T49" fmla="*/ 44 h 102"/>
                <a:gd name="T50" fmla="*/ 0 w 93"/>
                <a:gd name="T51" fmla="*/ 49 h 102"/>
                <a:gd name="T52" fmla="*/ 5 w 93"/>
                <a:gd name="T53" fmla="*/ 53 h 102"/>
                <a:gd name="T54" fmla="*/ 9 w 93"/>
                <a:gd name="T55" fmla="*/ 58 h 102"/>
                <a:gd name="T56" fmla="*/ 9 w 93"/>
                <a:gd name="T57" fmla="*/ 62 h 102"/>
                <a:gd name="T58" fmla="*/ 9 w 93"/>
                <a:gd name="T59" fmla="*/ 67 h 102"/>
                <a:gd name="T60" fmla="*/ 22 w 93"/>
                <a:gd name="T61" fmla="*/ 71 h 102"/>
                <a:gd name="T62" fmla="*/ 27 w 93"/>
                <a:gd name="T63" fmla="*/ 80 h 102"/>
                <a:gd name="T64" fmla="*/ 31 w 93"/>
                <a:gd name="T65" fmla="*/ 89 h 102"/>
                <a:gd name="T66" fmla="*/ 27 w 93"/>
                <a:gd name="T67" fmla="*/ 93 h 102"/>
                <a:gd name="T68" fmla="*/ 27 w 93"/>
                <a:gd name="T69" fmla="*/ 98 h 102"/>
                <a:gd name="T70" fmla="*/ 31 w 93"/>
                <a:gd name="T71" fmla="*/ 98 h 102"/>
                <a:gd name="T72" fmla="*/ 36 w 93"/>
                <a:gd name="T73" fmla="*/ 98 h 102"/>
                <a:gd name="T74" fmla="*/ 36 w 93"/>
                <a:gd name="T75" fmla="*/ 93 h 102"/>
                <a:gd name="T76" fmla="*/ 40 w 93"/>
                <a:gd name="T77" fmla="*/ 84 h 102"/>
                <a:gd name="T78" fmla="*/ 49 w 93"/>
                <a:gd name="T79" fmla="*/ 80 h 102"/>
                <a:gd name="T80" fmla="*/ 58 w 93"/>
                <a:gd name="T81" fmla="*/ 75 h 102"/>
                <a:gd name="T82" fmla="*/ 62 w 93"/>
                <a:gd name="T83" fmla="*/ 80 h 102"/>
                <a:gd name="T84" fmla="*/ 62 w 93"/>
                <a:gd name="T85" fmla="*/ 84 h 102"/>
                <a:gd name="T86" fmla="*/ 67 w 93"/>
                <a:gd name="T87" fmla="*/ 80 h 102"/>
                <a:gd name="T88" fmla="*/ 71 w 93"/>
                <a:gd name="T89" fmla="*/ 75 h 102"/>
                <a:gd name="T90" fmla="*/ 76 w 93"/>
                <a:gd name="T91" fmla="*/ 75 h 102"/>
                <a:gd name="T92" fmla="*/ 76 w 93"/>
                <a:gd name="T93" fmla="*/ 71 h 102"/>
                <a:gd name="T94" fmla="*/ 76 w 93"/>
                <a:gd name="T95" fmla="*/ 71 h 102"/>
                <a:gd name="T96" fmla="*/ 80 w 93"/>
                <a:gd name="T97" fmla="*/ 67 h 102"/>
                <a:gd name="T98" fmla="*/ 84 w 93"/>
                <a:gd name="T99" fmla="*/ 62 h 102"/>
                <a:gd name="T100" fmla="*/ 89 w 93"/>
                <a:gd name="T101" fmla="*/ 49 h 102"/>
                <a:gd name="T102" fmla="*/ 89 w 93"/>
                <a:gd name="T103" fmla="*/ 49 h 102"/>
                <a:gd name="T104" fmla="*/ 89 w 93"/>
                <a:gd name="T105" fmla="*/ 44 h 102"/>
                <a:gd name="T106" fmla="*/ 93 w 93"/>
                <a:gd name="T107" fmla="*/ 4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3" h="102">
                  <a:moveTo>
                    <a:pt x="93" y="40"/>
                  </a:moveTo>
                  <a:lnTo>
                    <a:pt x="89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9"/>
                  </a:lnTo>
                  <a:lnTo>
                    <a:pt x="53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5" y="9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31"/>
                  </a:lnTo>
                  <a:lnTo>
                    <a:pt x="18" y="31"/>
                  </a:lnTo>
                  <a:lnTo>
                    <a:pt x="14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5" y="40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2" y="75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1" y="93"/>
                  </a:lnTo>
                  <a:lnTo>
                    <a:pt x="31" y="93"/>
                  </a:lnTo>
                  <a:lnTo>
                    <a:pt x="31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6" y="98"/>
                  </a:lnTo>
                  <a:lnTo>
                    <a:pt x="36" y="102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89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5" y="80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53" y="80"/>
                  </a:lnTo>
                  <a:lnTo>
                    <a:pt x="53" y="75"/>
                  </a:lnTo>
                  <a:lnTo>
                    <a:pt x="53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71" y="75"/>
                  </a:lnTo>
                  <a:lnTo>
                    <a:pt x="71" y="75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1" y="75"/>
                  </a:lnTo>
                  <a:lnTo>
                    <a:pt x="76" y="75"/>
                  </a:lnTo>
                  <a:lnTo>
                    <a:pt x="76" y="71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3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0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02" name="Freeform 33"/>
            <p:cNvSpPr>
              <a:spLocks/>
            </p:cNvSpPr>
            <p:nvPr/>
          </p:nvSpPr>
          <p:spPr bwMode="auto">
            <a:xfrm>
              <a:off x="4167188" y="5448301"/>
              <a:ext cx="147637" cy="161925"/>
            </a:xfrm>
            <a:custGeom>
              <a:avLst/>
              <a:gdLst>
                <a:gd name="T0" fmla="*/ 89 w 93"/>
                <a:gd name="T1" fmla="*/ 40 h 102"/>
                <a:gd name="T2" fmla="*/ 80 w 93"/>
                <a:gd name="T3" fmla="*/ 36 h 102"/>
                <a:gd name="T4" fmla="*/ 71 w 93"/>
                <a:gd name="T5" fmla="*/ 36 h 102"/>
                <a:gd name="T6" fmla="*/ 71 w 93"/>
                <a:gd name="T7" fmla="*/ 36 h 102"/>
                <a:gd name="T8" fmla="*/ 71 w 93"/>
                <a:gd name="T9" fmla="*/ 27 h 102"/>
                <a:gd name="T10" fmla="*/ 67 w 93"/>
                <a:gd name="T11" fmla="*/ 27 h 102"/>
                <a:gd name="T12" fmla="*/ 62 w 93"/>
                <a:gd name="T13" fmla="*/ 22 h 102"/>
                <a:gd name="T14" fmla="*/ 58 w 93"/>
                <a:gd name="T15" fmla="*/ 18 h 102"/>
                <a:gd name="T16" fmla="*/ 58 w 93"/>
                <a:gd name="T17" fmla="*/ 9 h 102"/>
                <a:gd name="T18" fmla="*/ 40 w 93"/>
                <a:gd name="T19" fmla="*/ 5 h 102"/>
                <a:gd name="T20" fmla="*/ 45 w 93"/>
                <a:gd name="T21" fmla="*/ 0 h 102"/>
                <a:gd name="T22" fmla="*/ 45 w 93"/>
                <a:gd name="T23" fmla="*/ 0 h 102"/>
                <a:gd name="T24" fmla="*/ 40 w 93"/>
                <a:gd name="T25" fmla="*/ 0 h 102"/>
                <a:gd name="T26" fmla="*/ 31 w 93"/>
                <a:gd name="T27" fmla="*/ 5 h 102"/>
                <a:gd name="T28" fmla="*/ 31 w 93"/>
                <a:gd name="T29" fmla="*/ 9 h 102"/>
                <a:gd name="T30" fmla="*/ 31 w 93"/>
                <a:gd name="T31" fmla="*/ 9 h 102"/>
                <a:gd name="T32" fmla="*/ 27 w 93"/>
                <a:gd name="T33" fmla="*/ 18 h 102"/>
                <a:gd name="T34" fmla="*/ 27 w 93"/>
                <a:gd name="T35" fmla="*/ 18 h 102"/>
                <a:gd name="T36" fmla="*/ 22 w 93"/>
                <a:gd name="T37" fmla="*/ 22 h 102"/>
                <a:gd name="T38" fmla="*/ 22 w 93"/>
                <a:gd name="T39" fmla="*/ 27 h 102"/>
                <a:gd name="T40" fmla="*/ 9 w 93"/>
                <a:gd name="T41" fmla="*/ 31 h 102"/>
                <a:gd name="T42" fmla="*/ 9 w 93"/>
                <a:gd name="T43" fmla="*/ 36 h 102"/>
                <a:gd name="T44" fmla="*/ 0 w 93"/>
                <a:gd name="T45" fmla="*/ 36 h 102"/>
                <a:gd name="T46" fmla="*/ 0 w 93"/>
                <a:gd name="T47" fmla="*/ 40 h 102"/>
                <a:gd name="T48" fmla="*/ 5 w 93"/>
                <a:gd name="T49" fmla="*/ 44 h 102"/>
                <a:gd name="T50" fmla="*/ 0 w 93"/>
                <a:gd name="T51" fmla="*/ 49 h 102"/>
                <a:gd name="T52" fmla="*/ 5 w 93"/>
                <a:gd name="T53" fmla="*/ 53 h 102"/>
                <a:gd name="T54" fmla="*/ 9 w 93"/>
                <a:gd name="T55" fmla="*/ 58 h 102"/>
                <a:gd name="T56" fmla="*/ 9 w 93"/>
                <a:gd name="T57" fmla="*/ 62 h 102"/>
                <a:gd name="T58" fmla="*/ 9 w 93"/>
                <a:gd name="T59" fmla="*/ 67 h 102"/>
                <a:gd name="T60" fmla="*/ 22 w 93"/>
                <a:gd name="T61" fmla="*/ 71 h 102"/>
                <a:gd name="T62" fmla="*/ 27 w 93"/>
                <a:gd name="T63" fmla="*/ 80 h 102"/>
                <a:gd name="T64" fmla="*/ 31 w 93"/>
                <a:gd name="T65" fmla="*/ 89 h 102"/>
                <a:gd name="T66" fmla="*/ 27 w 93"/>
                <a:gd name="T67" fmla="*/ 93 h 102"/>
                <a:gd name="T68" fmla="*/ 27 w 93"/>
                <a:gd name="T69" fmla="*/ 98 h 102"/>
                <a:gd name="T70" fmla="*/ 31 w 93"/>
                <a:gd name="T71" fmla="*/ 98 h 102"/>
                <a:gd name="T72" fmla="*/ 36 w 93"/>
                <a:gd name="T73" fmla="*/ 98 h 102"/>
                <a:gd name="T74" fmla="*/ 36 w 93"/>
                <a:gd name="T75" fmla="*/ 93 h 102"/>
                <a:gd name="T76" fmla="*/ 40 w 93"/>
                <a:gd name="T77" fmla="*/ 84 h 102"/>
                <a:gd name="T78" fmla="*/ 49 w 93"/>
                <a:gd name="T79" fmla="*/ 80 h 102"/>
                <a:gd name="T80" fmla="*/ 58 w 93"/>
                <a:gd name="T81" fmla="*/ 75 h 102"/>
                <a:gd name="T82" fmla="*/ 62 w 93"/>
                <a:gd name="T83" fmla="*/ 80 h 102"/>
                <a:gd name="T84" fmla="*/ 62 w 93"/>
                <a:gd name="T85" fmla="*/ 84 h 102"/>
                <a:gd name="T86" fmla="*/ 67 w 93"/>
                <a:gd name="T87" fmla="*/ 80 h 102"/>
                <a:gd name="T88" fmla="*/ 71 w 93"/>
                <a:gd name="T89" fmla="*/ 75 h 102"/>
                <a:gd name="T90" fmla="*/ 76 w 93"/>
                <a:gd name="T91" fmla="*/ 75 h 102"/>
                <a:gd name="T92" fmla="*/ 76 w 93"/>
                <a:gd name="T93" fmla="*/ 71 h 102"/>
                <a:gd name="T94" fmla="*/ 76 w 93"/>
                <a:gd name="T95" fmla="*/ 71 h 102"/>
                <a:gd name="T96" fmla="*/ 80 w 93"/>
                <a:gd name="T97" fmla="*/ 67 h 102"/>
                <a:gd name="T98" fmla="*/ 84 w 93"/>
                <a:gd name="T99" fmla="*/ 62 h 102"/>
                <a:gd name="T100" fmla="*/ 89 w 93"/>
                <a:gd name="T101" fmla="*/ 49 h 102"/>
                <a:gd name="T102" fmla="*/ 89 w 93"/>
                <a:gd name="T103" fmla="*/ 49 h 102"/>
                <a:gd name="T104" fmla="*/ 89 w 93"/>
                <a:gd name="T105" fmla="*/ 44 h 102"/>
                <a:gd name="T106" fmla="*/ 93 w 93"/>
                <a:gd name="T107" fmla="*/ 4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3" h="102">
                  <a:moveTo>
                    <a:pt x="93" y="40"/>
                  </a:moveTo>
                  <a:lnTo>
                    <a:pt x="89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9"/>
                  </a:lnTo>
                  <a:lnTo>
                    <a:pt x="53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5" y="9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31"/>
                  </a:lnTo>
                  <a:lnTo>
                    <a:pt x="18" y="31"/>
                  </a:lnTo>
                  <a:lnTo>
                    <a:pt x="14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5" y="40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2" y="75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1" y="93"/>
                  </a:lnTo>
                  <a:lnTo>
                    <a:pt x="31" y="93"/>
                  </a:lnTo>
                  <a:lnTo>
                    <a:pt x="31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6" y="98"/>
                  </a:lnTo>
                  <a:lnTo>
                    <a:pt x="36" y="102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89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5" y="80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53" y="80"/>
                  </a:lnTo>
                  <a:lnTo>
                    <a:pt x="53" y="75"/>
                  </a:lnTo>
                  <a:lnTo>
                    <a:pt x="53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71" y="75"/>
                  </a:lnTo>
                  <a:lnTo>
                    <a:pt x="71" y="75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1" y="75"/>
                  </a:lnTo>
                  <a:lnTo>
                    <a:pt x="76" y="75"/>
                  </a:lnTo>
                  <a:lnTo>
                    <a:pt x="76" y="71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3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0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03" name="Freeform 34"/>
            <p:cNvSpPr>
              <a:spLocks noEditPoints="1"/>
            </p:cNvSpPr>
            <p:nvPr/>
          </p:nvSpPr>
          <p:spPr bwMode="auto">
            <a:xfrm>
              <a:off x="3043238" y="4991101"/>
              <a:ext cx="998537" cy="1174750"/>
            </a:xfrm>
            <a:custGeom>
              <a:avLst/>
              <a:gdLst>
                <a:gd name="T0" fmla="*/ 186 w 629"/>
                <a:gd name="T1" fmla="*/ 324 h 740"/>
                <a:gd name="T2" fmla="*/ 301 w 629"/>
                <a:gd name="T3" fmla="*/ 656 h 740"/>
                <a:gd name="T4" fmla="*/ 173 w 629"/>
                <a:gd name="T5" fmla="*/ 306 h 740"/>
                <a:gd name="T6" fmla="*/ 155 w 629"/>
                <a:gd name="T7" fmla="*/ 452 h 740"/>
                <a:gd name="T8" fmla="*/ 155 w 629"/>
                <a:gd name="T9" fmla="*/ 439 h 740"/>
                <a:gd name="T10" fmla="*/ 142 w 629"/>
                <a:gd name="T11" fmla="*/ 434 h 740"/>
                <a:gd name="T12" fmla="*/ 84 w 629"/>
                <a:gd name="T13" fmla="*/ 452 h 740"/>
                <a:gd name="T14" fmla="*/ 93 w 629"/>
                <a:gd name="T15" fmla="*/ 483 h 740"/>
                <a:gd name="T16" fmla="*/ 97 w 629"/>
                <a:gd name="T17" fmla="*/ 523 h 740"/>
                <a:gd name="T18" fmla="*/ 93 w 629"/>
                <a:gd name="T19" fmla="*/ 558 h 740"/>
                <a:gd name="T20" fmla="*/ 106 w 629"/>
                <a:gd name="T21" fmla="*/ 594 h 740"/>
                <a:gd name="T22" fmla="*/ 128 w 629"/>
                <a:gd name="T23" fmla="*/ 567 h 740"/>
                <a:gd name="T24" fmla="*/ 159 w 629"/>
                <a:gd name="T25" fmla="*/ 563 h 740"/>
                <a:gd name="T26" fmla="*/ 164 w 629"/>
                <a:gd name="T27" fmla="*/ 509 h 740"/>
                <a:gd name="T28" fmla="*/ 97 w 629"/>
                <a:gd name="T29" fmla="*/ 580 h 740"/>
                <a:gd name="T30" fmla="*/ 151 w 629"/>
                <a:gd name="T31" fmla="*/ 434 h 740"/>
                <a:gd name="T32" fmla="*/ 598 w 629"/>
                <a:gd name="T33" fmla="*/ 470 h 740"/>
                <a:gd name="T34" fmla="*/ 505 w 629"/>
                <a:gd name="T35" fmla="*/ 390 h 740"/>
                <a:gd name="T36" fmla="*/ 385 w 629"/>
                <a:gd name="T37" fmla="*/ 315 h 740"/>
                <a:gd name="T38" fmla="*/ 310 w 629"/>
                <a:gd name="T39" fmla="*/ 222 h 740"/>
                <a:gd name="T40" fmla="*/ 306 w 629"/>
                <a:gd name="T41" fmla="*/ 173 h 740"/>
                <a:gd name="T42" fmla="*/ 301 w 629"/>
                <a:gd name="T43" fmla="*/ 155 h 740"/>
                <a:gd name="T44" fmla="*/ 297 w 629"/>
                <a:gd name="T45" fmla="*/ 133 h 740"/>
                <a:gd name="T46" fmla="*/ 310 w 629"/>
                <a:gd name="T47" fmla="*/ 120 h 740"/>
                <a:gd name="T48" fmla="*/ 345 w 629"/>
                <a:gd name="T49" fmla="*/ 102 h 740"/>
                <a:gd name="T50" fmla="*/ 385 w 629"/>
                <a:gd name="T51" fmla="*/ 111 h 740"/>
                <a:gd name="T52" fmla="*/ 363 w 629"/>
                <a:gd name="T53" fmla="*/ 67 h 740"/>
                <a:gd name="T54" fmla="*/ 323 w 629"/>
                <a:gd name="T55" fmla="*/ 36 h 740"/>
                <a:gd name="T56" fmla="*/ 297 w 629"/>
                <a:gd name="T57" fmla="*/ 5 h 740"/>
                <a:gd name="T58" fmla="*/ 235 w 629"/>
                <a:gd name="T59" fmla="*/ 22 h 740"/>
                <a:gd name="T60" fmla="*/ 199 w 629"/>
                <a:gd name="T61" fmla="*/ 36 h 740"/>
                <a:gd name="T62" fmla="*/ 186 w 629"/>
                <a:gd name="T63" fmla="*/ 67 h 740"/>
                <a:gd name="T64" fmla="*/ 137 w 629"/>
                <a:gd name="T65" fmla="*/ 49 h 740"/>
                <a:gd name="T66" fmla="*/ 120 w 629"/>
                <a:gd name="T67" fmla="*/ 93 h 740"/>
                <a:gd name="T68" fmla="*/ 89 w 629"/>
                <a:gd name="T69" fmla="*/ 53 h 740"/>
                <a:gd name="T70" fmla="*/ 53 w 629"/>
                <a:gd name="T71" fmla="*/ 89 h 740"/>
                <a:gd name="T72" fmla="*/ 18 w 629"/>
                <a:gd name="T73" fmla="*/ 111 h 740"/>
                <a:gd name="T74" fmla="*/ 5 w 629"/>
                <a:gd name="T75" fmla="*/ 151 h 740"/>
                <a:gd name="T76" fmla="*/ 13 w 629"/>
                <a:gd name="T77" fmla="*/ 200 h 740"/>
                <a:gd name="T78" fmla="*/ 53 w 629"/>
                <a:gd name="T79" fmla="*/ 235 h 740"/>
                <a:gd name="T80" fmla="*/ 97 w 629"/>
                <a:gd name="T81" fmla="*/ 213 h 740"/>
                <a:gd name="T82" fmla="*/ 159 w 629"/>
                <a:gd name="T83" fmla="*/ 222 h 740"/>
                <a:gd name="T84" fmla="*/ 199 w 629"/>
                <a:gd name="T85" fmla="*/ 275 h 740"/>
                <a:gd name="T86" fmla="*/ 239 w 629"/>
                <a:gd name="T87" fmla="*/ 337 h 740"/>
                <a:gd name="T88" fmla="*/ 275 w 629"/>
                <a:gd name="T89" fmla="*/ 372 h 740"/>
                <a:gd name="T90" fmla="*/ 345 w 629"/>
                <a:gd name="T91" fmla="*/ 430 h 740"/>
                <a:gd name="T92" fmla="*/ 407 w 629"/>
                <a:gd name="T93" fmla="*/ 461 h 740"/>
                <a:gd name="T94" fmla="*/ 438 w 629"/>
                <a:gd name="T95" fmla="*/ 496 h 740"/>
                <a:gd name="T96" fmla="*/ 483 w 629"/>
                <a:gd name="T97" fmla="*/ 527 h 740"/>
                <a:gd name="T98" fmla="*/ 487 w 629"/>
                <a:gd name="T99" fmla="*/ 629 h 740"/>
                <a:gd name="T100" fmla="*/ 522 w 629"/>
                <a:gd name="T101" fmla="*/ 602 h 740"/>
                <a:gd name="T102" fmla="*/ 549 w 629"/>
                <a:gd name="T103" fmla="*/ 549 h 740"/>
                <a:gd name="T104" fmla="*/ 562 w 629"/>
                <a:gd name="T105" fmla="*/ 483 h 740"/>
                <a:gd name="T106" fmla="*/ 602 w 629"/>
                <a:gd name="T107" fmla="*/ 518 h 740"/>
                <a:gd name="T108" fmla="*/ 310 w 629"/>
                <a:gd name="T109" fmla="*/ 235 h 740"/>
                <a:gd name="T110" fmla="*/ 456 w 629"/>
                <a:gd name="T111" fmla="*/ 638 h 740"/>
                <a:gd name="T112" fmla="*/ 390 w 629"/>
                <a:gd name="T113" fmla="*/ 647 h 740"/>
                <a:gd name="T114" fmla="*/ 341 w 629"/>
                <a:gd name="T115" fmla="*/ 642 h 740"/>
                <a:gd name="T116" fmla="*/ 310 w 629"/>
                <a:gd name="T117" fmla="*/ 664 h 740"/>
                <a:gd name="T118" fmla="*/ 367 w 629"/>
                <a:gd name="T119" fmla="*/ 700 h 740"/>
                <a:gd name="T120" fmla="*/ 447 w 629"/>
                <a:gd name="T121" fmla="*/ 731 h 740"/>
                <a:gd name="T122" fmla="*/ 456 w 629"/>
                <a:gd name="T123" fmla="*/ 70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29" h="740">
                  <a:moveTo>
                    <a:pt x="186" y="332"/>
                  </a:moveTo>
                  <a:lnTo>
                    <a:pt x="182" y="332"/>
                  </a:lnTo>
                  <a:lnTo>
                    <a:pt x="182" y="332"/>
                  </a:lnTo>
                  <a:lnTo>
                    <a:pt x="182" y="332"/>
                  </a:lnTo>
                  <a:lnTo>
                    <a:pt x="182" y="332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6" y="337"/>
                  </a:lnTo>
                  <a:lnTo>
                    <a:pt x="186" y="337"/>
                  </a:lnTo>
                  <a:lnTo>
                    <a:pt x="186" y="337"/>
                  </a:lnTo>
                  <a:lnTo>
                    <a:pt x="186" y="337"/>
                  </a:lnTo>
                  <a:lnTo>
                    <a:pt x="186" y="332"/>
                  </a:lnTo>
                  <a:close/>
                  <a:moveTo>
                    <a:pt x="204" y="319"/>
                  </a:moveTo>
                  <a:lnTo>
                    <a:pt x="204" y="315"/>
                  </a:lnTo>
                  <a:lnTo>
                    <a:pt x="204" y="315"/>
                  </a:lnTo>
                  <a:lnTo>
                    <a:pt x="204" y="315"/>
                  </a:lnTo>
                  <a:lnTo>
                    <a:pt x="199" y="315"/>
                  </a:lnTo>
                  <a:lnTo>
                    <a:pt x="199" y="315"/>
                  </a:lnTo>
                  <a:lnTo>
                    <a:pt x="199" y="315"/>
                  </a:lnTo>
                  <a:lnTo>
                    <a:pt x="199" y="315"/>
                  </a:lnTo>
                  <a:lnTo>
                    <a:pt x="199" y="319"/>
                  </a:lnTo>
                  <a:lnTo>
                    <a:pt x="199" y="319"/>
                  </a:lnTo>
                  <a:lnTo>
                    <a:pt x="199" y="319"/>
                  </a:lnTo>
                  <a:lnTo>
                    <a:pt x="199" y="319"/>
                  </a:lnTo>
                  <a:lnTo>
                    <a:pt x="199" y="319"/>
                  </a:lnTo>
                  <a:lnTo>
                    <a:pt x="199" y="319"/>
                  </a:lnTo>
                  <a:lnTo>
                    <a:pt x="195" y="319"/>
                  </a:lnTo>
                  <a:lnTo>
                    <a:pt x="195" y="319"/>
                  </a:lnTo>
                  <a:lnTo>
                    <a:pt x="195" y="319"/>
                  </a:lnTo>
                  <a:lnTo>
                    <a:pt x="195" y="319"/>
                  </a:lnTo>
                  <a:lnTo>
                    <a:pt x="195" y="319"/>
                  </a:lnTo>
                  <a:lnTo>
                    <a:pt x="195" y="319"/>
                  </a:lnTo>
                  <a:lnTo>
                    <a:pt x="190" y="319"/>
                  </a:lnTo>
                  <a:lnTo>
                    <a:pt x="195" y="319"/>
                  </a:lnTo>
                  <a:lnTo>
                    <a:pt x="195" y="319"/>
                  </a:lnTo>
                  <a:lnTo>
                    <a:pt x="195" y="319"/>
                  </a:lnTo>
                  <a:lnTo>
                    <a:pt x="195" y="319"/>
                  </a:lnTo>
                  <a:lnTo>
                    <a:pt x="190" y="319"/>
                  </a:lnTo>
                  <a:lnTo>
                    <a:pt x="190" y="319"/>
                  </a:lnTo>
                  <a:lnTo>
                    <a:pt x="190" y="319"/>
                  </a:lnTo>
                  <a:lnTo>
                    <a:pt x="190" y="319"/>
                  </a:lnTo>
                  <a:lnTo>
                    <a:pt x="190" y="319"/>
                  </a:lnTo>
                  <a:lnTo>
                    <a:pt x="186" y="319"/>
                  </a:lnTo>
                  <a:lnTo>
                    <a:pt x="186" y="319"/>
                  </a:lnTo>
                  <a:lnTo>
                    <a:pt x="186" y="319"/>
                  </a:lnTo>
                  <a:lnTo>
                    <a:pt x="186" y="319"/>
                  </a:lnTo>
                  <a:lnTo>
                    <a:pt x="186" y="324"/>
                  </a:lnTo>
                  <a:lnTo>
                    <a:pt x="186" y="324"/>
                  </a:lnTo>
                  <a:lnTo>
                    <a:pt x="186" y="324"/>
                  </a:lnTo>
                  <a:lnTo>
                    <a:pt x="190" y="324"/>
                  </a:lnTo>
                  <a:lnTo>
                    <a:pt x="190" y="324"/>
                  </a:lnTo>
                  <a:lnTo>
                    <a:pt x="190" y="324"/>
                  </a:lnTo>
                  <a:lnTo>
                    <a:pt x="190" y="324"/>
                  </a:lnTo>
                  <a:lnTo>
                    <a:pt x="195" y="324"/>
                  </a:lnTo>
                  <a:lnTo>
                    <a:pt x="195" y="324"/>
                  </a:lnTo>
                  <a:lnTo>
                    <a:pt x="195" y="324"/>
                  </a:lnTo>
                  <a:lnTo>
                    <a:pt x="195" y="324"/>
                  </a:lnTo>
                  <a:lnTo>
                    <a:pt x="195" y="324"/>
                  </a:lnTo>
                  <a:lnTo>
                    <a:pt x="199" y="324"/>
                  </a:lnTo>
                  <a:lnTo>
                    <a:pt x="199" y="324"/>
                  </a:lnTo>
                  <a:lnTo>
                    <a:pt x="199" y="324"/>
                  </a:lnTo>
                  <a:lnTo>
                    <a:pt x="199" y="324"/>
                  </a:lnTo>
                  <a:lnTo>
                    <a:pt x="199" y="324"/>
                  </a:lnTo>
                  <a:lnTo>
                    <a:pt x="199" y="328"/>
                  </a:lnTo>
                  <a:lnTo>
                    <a:pt x="199" y="324"/>
                  </a:lnTo>
                  <a:lnTo>
                    <a:pt x="199" y="328"/>
                  </a:lnTo>
                  <a:lnTo>
                    <a:pt x="199" y="328"/>
                  </a:lnTo>
                  <a:lnTo>
                    <a:pt x="204" y="324"/>
                  </a:lnTo>
                  <a:lnTo>
                    <a:pt x="199" y="324"/>
                  </a:lnTo>
                  <a:lnTo>
                    <a:pt x="199" y="324"/>
                  </a:lnTo>
                  <a:lnTo>
                    <a:pt x="199" y="324"/>
                  </a:lnTo>
                  <a:lnTo>
                    <a:pt x="199" y="324"/>
                  </a:lnTo>
                  <a:lnTo>
                    <a:pt x="199" y="324"/>
                  </a:lnTo>
                  <a:lnTo>
                    <a:pt x="204" y="319"/>
                  </a:lnTo>
                  <a:lnTo>
                    <a:pt x="204" y="319"/>
                  </a:lnTo>
                  <a:lnTo>
                    <a:pt x="204" y="319"/>
                  </a:lnTo>
                  <a:lnTo>
                    <a:pt x="204" y="319"/>
                  </a:lnTo>
                  <a:lnTo>
                    <a:pt x="204" y="319"/>
                  </a:lnTo>
                  <a:close/>
                  <a:moveTo>
                    <a:pt x="195" y="355"/>
                  </a:moveTo>
                  <a:lnTo>
                    <a:pt x="195" y="355"/>
                  </a:lnTo>
                  <a:lnTo>
                    <a:pt x="195" y="355"/>
                  </a:lnTo>
                  <a:lnTo>
                    <a:pt x="195" y="355"/>
                  </a:lnTo>
                  <a:lnTo>
                    <a:pt x="195" y="350"/>
                  </a:lnTo>
                  <a:lnTo>
                    <a:pt x="195" y="355"/>
                  </a:lnTo>
                  <a:close/>
                  <a:moveTo>
                    <a:pt x="226" y="350"/>
                  </a:moveTo>
                  <a:lnTo>
                    <a:pt x="226" y="350"/>
                  </a:lnTo>
                  <a:lnTo>
                    <a:pt x="226" y="350"/>
                  </a:lnTo>
                  <a:lnTo>
                    <a:pt x="226" y="350"/>
                  </a:lnTo>
                  <a:lnTo>
                    <a:pt x="226" y="350"/>
                  </a:lnTo>
                  <a:lnTo>
                    <a:pt x="226" y="350"/>
                  </a:lnTo>
                  <a:lnTo>
                    <a:pt x="226" y="350"/>
                  </a:lnTo>
                  <a:lnTo>
                    <a:pt x="226" y="350"/>
                  </a:lnTo>
                  <a:lnTo>
                    <a:pt x="226" y="355"/>
                  </a:lnTo>
                  <a:lnTo>
                    <a:pt x="226" y="355"/>
                  </a:lnTo>
                  <a:lnTo>
                    <a:pt x="230" y="355"/>
                  </a:lnTo>
                  <a:lnTo>
                    <a:pt x="226" y="355"/>
                  </a:lnTo>
                  <a:lnTo>
                    <a:pt x="226" y="350"/>
                  </a:lnTo>
                  <a:close/>
                  <a:moveTo>
                    <a:pt x="301" y="656"/>
                  </a:moveTo>
                  <a:lnTo>
                    <a:pt x="301" y="656"/>
                  </a:lnTo>
                  <a:lnTo>
                    <a:pt x="301" y="656"/>
                  </a:lnTo>
                  <a:lnTo>
                    <a:pt x="301" y="656"/>
                  </a:lnTo>
                  <a:lnTo>
                    <a:pt x="301" y="656"/>
                  </a:lnTo>
                  <a:lnTo>
                    <a:pt x="301" y="656"/>
                  </a:lnTo>
                  <a:lnTo>
                    <a:pt x="297" y="656"/>
                  </a:lnTo>
                  <a:lnTo>
                    <a:pt x="301" y="656"/>
                  </a:lnTo>
                  <a:lnTo>
                    <a:pt x="301" y="656"/>
                  </a:lnTo>
                  <a:lnTo>
                    <a:pt x="301" y="656"/>
                  </a:lnTo>
                  <a:lnTo>
                    <a:pt x="301" y="656"/>
                  </a:lnTo>
                  <a:lnTo>
                    <a:pt x="301" y="656"/>
                  </a:lnTo>
                  <a:lnTo>
                    <a:pt x="301" y="656"/>
                  </a:lnTo>
                  <a:lnTo>
                    <a:pt x="301" y="656"/>
                  </a:lnTo>
                  <a:lnTo>
                    <a:pt x="306" y="656"/>
                  </a:lnTo>
                  <a:lnTo>
                    <a:pt x="301" y="656"/>
                  </a:lnTo>
                  <a:lnTo>
                    <a:pt x="301" y="656"/>
                  </a:lnTo>
                  <a:close/>
                  <a:moveTo>
                    <a:pt x="288" y="651"/>
                  </a:moveTo>
                  <a:lnTo>
                    <a:pt x="288" y="651"/>
                  </a:lnTo>
                  <a:lnTo>
                    <a:pt x="288" y="651"/>
                  </a:lnTo>
                  <a:lnTo>
                    <a:pt x="288" y="651"/>
                  </a:lnTo>
                  <a:lnTo>
                    <a:pt x="288" y="651"/>
                  </a:lnTo>
                  <a:lnTo>
                    <a:pt x="288" y="651"/>
                  </a:lnTo>
                  <a:lnTo>
                    <a:pt x="288" y="656"/>
                  </a:lnTo>
                  <a:lnTo>
                    <a:pt x="288" y="656"/>
                  </a:lnTo>
                  <a:lnTo>
                    <a:pt x="288" y="656"/>
                  </a:lnTo>
                  <a:lnTo>
                    <a:pt x="288" y="656"/>
                  </a:lnTo>
                  <a:lnTo>
                    <a:pt x="288" y="651"/>
                  </a:lnTo>
                  <a:close/>
                  <a:moveTo>
                    <a:pt x="89" y="571"/>
                  </a:moveTo>
                  <a:lnTo>
                    <a:pt x="89" y="571"/>
                  </a:lnTo>
                  <a:lnTo>
                    <a:pt x="89" y="571"/>
                  </a:lnTo>
                  <a:lnTo>
                    <a:pt x="84" y="571"/>
                  </a:lnTo>
                  <a:lnTo>
                    <a:pt x="84" y="571"/>
                  </a:lnTo>
                  <a:lnTo>
                    <a:pt x="84" y="576"/>
                  </a:lnTo>
                  <a:lnTo>
                    <a:pt x="89" y="576"/>
                  </a:lnTo>
                  <a:lnTo>
                    <a:pt x="89" y="576"/>
                  </a:lnTo>
                  <a:lnTo>
                    <a:pt x="89" y="576"/>
                  </a:lnTo>
                  <a:lnTo>
                    <a:pt x="89" y="576"/>
                  </a:lnTo>
                  <a:lnTo>
                    <a:pt x="89" y="576"/>
                  </a:lnTo>
                  <a:lnTo>
                    <a:pt x="89" y="576"/>
                  </a:lnTo>
                  <a:lnTo>
                    <a:pt x="89" y="576"/>
                  </a:lnTo>
                  <a:lnTo>
                    <a:pt x="89" y="571"/>
                  </a:lnTo>
                  <a:lnTo>
                    <a:pt x="89" y="571"/>
                  </a:lnTo>
                  <a:close/>
                  <a:moveTo>
                    <a:pt x="173" y="301"/>
                  </a:moveTo>
                  <a:lnTo>
                    <a:pt x="173" y="301"/>
                  </a:lnTo>
                  <a:lnTo>
                    <a:pt x="173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6"/>
                  </a:lnTo>
                  <a:lnTo>
                    <a:pt x="168" y="306"/>
                  </a:lnTo>
                  <a:lnTo>
                    <a:pt x="173" y="306"/>
                  </a:lnTo>
                  <a:lnTo>
                    <a:pt x="173" y="301"/>
                  </a:lnTo>
                  <a:lnTo>
                    <a:pt x="173" y="301"/>
                  </a:lnTo>
                  <a:lnTo>
                    <a:pt x="173" y="301"/>
                  </a:lnTo>
                  <a:close/>
                  <a:moveTo>
                    <a:pt x="168" y="478"/>
                  </a:moveTo>
                  <a:lnTo>
                    <a:pt x="168" y="478"/>
                  </a:lnTo>
                  <a:lnTo>
                    <a:pt x="168" y="478"/>
                  </a:lnTo>
                  <a:lnTo>
                    <a:pt x="168" y="478"/>
                  </a:lnTo>
                  <a:lnTo>
                    <a:pt x="168" y="474"/>
                  </a:lnTo>
                  <a:lnTo>
                    <a:pt x="168" y="474"/>
                  </a:lnTo>
                  <a:lnTo>
                    <a:pt x="168" y="474"/>
                  </a:lnTo>
                  <a:lnTo>
                    <a:pt x="168" y="474"/>
                  </a:lnTo>
                  <a:lnTo>
                    <a:pt x="164" y="474"/>
                  </a:lnTo>
                  <a:lnTo>
                    <a:pt x="164" y="470"/>
                  </a:lnTo>
                  <a:lnTo>
                    <a:pt x="164" y="470"/>
                  </a:lnTo>
                  <a:lnTo>
                    <a:pt x="164" y="465"/>
                  </a:lnTo>
                  <a:lnTo>
                    <a:pt x="164" y="465"/>
                  </a:lnTo>
                  <a:lnTo>
                    <a:pt x="164" y="465"/>
                  </a:lnTo>
                  <a:lnTo>
                    <a:pt x="164" y="461"/>
                  </a:lnTo>
                  <a:lnTo>
                    <a:pt x="159" y="461"/>
                  </a:lnTo>
                  <a:lnTo>
                    <a:pt x="159" y="461"/>
                  </a:lnTo>
                  <a:lnTo>
                    <a:pt x="159" y="461"/>
                  </a:lnTo>
                  <a:lnTo>
                    <a:pt x="159" y="461"/>
                  </a:lnTo>
                  <a:lnTo>
                    <a:pt x="164" y="461"/>
                  </a:lnTo>
                  <a:lnTo>
                    <a:pt x="164" y="461"/>
                  </a:lnTo>
                  <a:lnTo>
                    <a:pt x="164" y="461"/>
                  </a:lnTo>
                  <a:lnTo>
                    <a:pt x="164" y="461"/>
                  </a:lnTo>
                  <a:lnTo>
                    <a:pt x="164" y="456"/>
                  </a:lnTo>
                  <a:lnTo>
                    <a:pt x="164" y="456"/>
                  </a:lnTo>
                  <a:lnTo>
                    <a:pt x="164" y="456"/>
                  </a:lnTo>
                  <a:lnTo>
                    <a:pt x="164" y="456"/>
                  </a:lnTo>
                  <a:lnTo>
                    <a:pt x="164" y="456"/>
                  </a:lnTo>
                  <a:lnTo>
                    <a:pt x="164" y="456"/>
                  </a:lnTo>
                  <a:lnTo>
                    <a:pt x="164" y="456"/>
                  </a:lnTo>
                  <a:lnTo>
                    <a:pt x="159" y="456"/>
                  </a:lnTo>
                  <a:lnTo>
                    <a:pt x="159" y="456"/>
                  </a:lnTo>
                  <a:lnTo>
                    <a:pt x="159" y="456"/>
                  </a:lnTo>
                  <a:lnTo>
                    <a:pt x="159" y="456"/>
                  </a:lnTo>
                  <a:lnTo>
                    <a:pt x="159" y="456"/>
                  </a:lnTo>
                  <a:lnTo>
                    <a:pt x="159" y="452"/>
                  </a:lnTo>
                  <a:lnTo>
                    <a:pt x="159" y="452"/>
                  </a:lnTo>
                  <a:lnTo>
                    <a:pt x="159" y="452"/>
                  </a:lnTo>
                  <a:lnTo>
                    <a:pt x="159" y="452"/>
                  </a:lnTo>
                  <a:lnTo>
                    <a:pt x="159" y="452"/>
                  </a:lnTo>
                  <a:lnTo>
                    <a:pt x="159" y="452"/>
                  </a:lnTo>
                  <a:lnTo>
                    <a:pt x="159" y="452"/>
                  </a:lnTo>
                  <a:lnTo>
                    <a:pt x="159" y="452"/>
                  </a:lnTo>
                  <a:lnTo>
                    <a:pt x="155" y="452"/>
                  </a:lnTo>
                  <a:lnTo>
                    <a:pt x="155" y="452"/>
                  </a:lnTo>
                  <a:lnTo>
                    <a:pt x="155" y="452"/>
                  </a:lnTo>
                  <a:lnTo>
                    <a:pt x="155" y="452"/>
                  </a:lnTo>
                  <a:lnTo>
                    <a:pt x="155" y="452"/>
                  </a:lnTo>
                  <a:lnTo>
                    <a:pt x="155" y="452"/>
                  </a:lnTo>
                  <a:lnTo>
                    <a:pt x="155" y="452"/>
                  </a:lnTo>
                  <a:lnTo>
                    <a:pt x="155" y="452"/>
                  </a:lnTo>
                  <a:lnTo>
                    <a:pt x="155" y="452"/>
                  </a:lnTo>
                  <a:lnTo>
                    <a:pt x="155" y="452"/>
                  </a:lnTo>
                  <a:lnTo>
                    <a:pt x="155" y="452"/>
                  </a:lnTo>
                  <a:lnTo>
                    <a:pt x="155" y="452"/>
                  </a:lnTo>
                  <a:lnTo>
                    <a:pt x="155" y="452"/>
                  </a:lnTo>
                  <a:lnTo>
                    <a:pt x="155" y="452"/>
                  </a:lnTo>
                  <a:lnTo>
                    <a:pt x="155" y="447"/>
                  </a:lnTo>
                  <a:lnTo>
                    <a:pt x="155" y="447"/>
                  </a:lnTo>
                  <a:lnTo>
                    <a:pt x="155" y="447"/>
                  </a:lnTo>
                  <a:lnTo>
                    <a:pt x="159" y="447"/>
                  </a:lnTo>
                  <a:lnTo>
                    <a:pt x="159" y="447"/>
                  </a:lnTo>
                  <a:lnTo>
                    <a:pt x="159" y="447"/>
                  </a:lnTo>
                  <a:lnTo>
                    <a:pt x="159" y="447"/>
                  </a:lnTo>
                  <a:lnTo>
                    <a:pt x="159" y="447"/>
                  </a:lnTo>
                  <a:lnTo>
                    <a:pt x="159" y="447"/>
                  </a:lnTo>
                  <a:lnTo>
                    <a:pt x="159" y="447"/>
                  </a:lnTo>
                  <a:lnTo>
                    <a:pt x="159" y="447"/>
                  </a:lnTo>
                  <a:lnTo>
                    <a:pt x="155" y="447"/>
                  </a:lnTo>
                  <a:lnTo>
                    <a:pt x="155" y="447"/>
                  </a:lnTo>
                  <a:lnTo>
                    <a:pt x="155" y="447"/>
                  </a:lnTo>
                  <a:lnTo>
                    <a:pt x="155" y="447"/>
                  </a:lnTo>
                  <a:lnTo>
                    <a:pt x="155" y="447"/>
                  </a:lnTo>
                  <a:lnTo>
                    <a:pt x="155" y="447"/>
                  </a:lnTo>
                  <a:lnTo>
                    <a:pt x="155" y="447"/>
                  </a:lnTo>
                  <a:lnTo>
                    <a:pt x="155" y="447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7"/>
                  </a:lnTo>
                  <a:lnTo>
                    <a:pt x="155" y="447"/>
                  </a:lnTo>
                  <a:lnTo>
                    <a:pt x="155" y="443"/>
                  </a:lnTo>
                  <a:lnTo>
                    <a:pt x="155" y="439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39"/>
                  </a:lnTo>
                  <a:lnTo>
                    <a:pt x="155" y="439"/>
                  </a:lnTo>
                  <a:lnTo>
                    <a:pt x="155" y="439"/>
                  </a:lnTo>
                  <a:lnTo>
                    <a:pt x="155" y="439"/>
                  </a:lnTo>
                  <a:lnTo>
                    <a:pt x="155" y="439"/>
                  </a:lnTo>
                  <a:lnTo>
                    <a:pt x="155" y="439"/>
                  </a:lnTo>
                  <a:lnTo>
                    <a:pt x="155" y="439"/>
                  </a:lnTo>
                  <a:lnTo>
                    <a:pt x="155" y="439"/>
                  </a:lnTo>
                  <a:lnTo>
                    <a:pt x="155" y="439"/>
                  </a:lnTo>
                  <a:lnTo>
                    <a:pt x="155" y="439"/>
                  </a:lnTo>
                  <a:lnTo>
                    <a:pt x="155" y="439"/>
                  </a:lnTo>
                  <a:lnTo>
                    <a:pt x="155" y="439"/>
                  </a:lnTo>
                  <a:lnTo>
                    <a:pt x="155" y="439"/>
                  </a:lnTo>
                  <a:lnTo>
                    <a:pt x="155" y="439"/>
                  </a:lnTo>
                  <a:lnTo>
                    <a:pt x="155" y="439"/>
                  </a:lnTo>
                  <a:lnTo>
                    <a:pt x="155" y="439"/>
                  </a:lnTo>
                  <a:lnTo>
                    <a:pt x="155" y="439"/>
                  </a:lnTo>
                  <a:lnTo>
                    <a:pt x="151" y="439"/>
                  </a:lnTo>
                  <a:lnTo>
                    <a:pt x="151" y="439"/>
                  </a:lnTo>
                  <a:lnTo>
                    <a:pt x="151" y="439"/>
                  </a:lnTo>
                  <a:lnTo>
                    <a:pt x="151" y="439"/>
                  </a:lnTo>
                  <a:lnTo>
                    <a:pt x="151" y="439"/>
                  </a:lnTo>
                  <a:lnTo>
                    <a:pt x="151" y="439"/>
                  </a:lnTo>
                  <a:lnTo>
                    <a:pt x="151" y="439"/>
                  </a:lnTo>
                  <a:lnTo>
                    <a:pt x="151" y="439"/>
                  </a:lnTo>
                  <a:lnTo>
                    <a:pt x="151" y="439"/>
                  </a:lnTo>
                  <a:lnTo>
                    <a:pt x="151" y="439"/>
                  </a:lnTo>
                  <a:lnTo>
                    <a:pt x="151" y="439"/>
                  </a:lnTo>
                  <a:lnTo>
                    <a:pt x="151" y="439"/>
                  </a:lnTo>
                  <a:lnTo>
                    <a:pt x="151" y="439"/>
                  </a:lnTo>
                  <a:lnTo>
                    <a:pt x="151" y="439"/>
                  </a:lnTo>
                  <a:lnTo>
                    <a:pt x="151" y="439"/>
                  </a:lnTo>
                  <a:lnTo>
                    <a:pt x="151" y="439"/>
                  </a:lnTo>
                  <a:lnTo>
                    <a:pt x="151" y="434"/>
                  </a:lnTo>
                  <a:lnTo>
                    <a:pt x="146" y="434"/>
                  </a:lnTo>
                  <a:lnTo>
                    <a:pt x="146" y="434"/>
                  </a:lnTo>
                  <a:lnTo>
                    <a:pt x="146" y="434"/>
                  </a:lnTo>
                  <a:lnTo>
                    <a:pt x="146" y="434"/>
                  </a:lnTo>
                  <a:lnTo>
                    <a:pt x="151" y="434"/>
                  </a:lnTo>
                  <a:lnTo>
                    <a:pt x="151" y="434"/>
                  </a:lnTo>
                  <a:lnTo>
                    <a:pt x="146" y="434"/>
                  </a:lnTo>
                  <a:lnTo>
                    <a:pt x="146" y="434"/>
                  </a:lnTo>
                  <a:lnTo>
                    <a:pt x="146" y="434"/>
                  </a:lnTo>
                  <a:lnTo>
                    <a:pt x="146" y="434"/>
                  </a:lnTo>
                  <a:lnTo>
                    <a:pt x="146" y="434"/>
                  </a:lnTo>
                  <a:lnTo>
                    <a:pt x="146" y="434"/>
                  </a:lnTo>
                  <a:lnTo>
                    <a:pt x="142" y="434"/>
                  </a:lnTo>
                  <a:lnTo>
                    <a:pt x="142" y="434"/>
                  </a:lnTo>
                  <a:lnTo>
                    <a:pt x="142" y="434"/>
                  </a:lnTo>
                  <a:lnTo>
                    <a:pt x="142" y="434"/>
                  </a:lnTo>
                  <a:lnTo>
                    <a:pt x="142" y="434"/>
                  </a:lnTo>
                  <a:lnTo>
                    <a:pt x="142" y="434"/>
                  </a:lnTo>
                  <a:lnTo>
                    <a:pt x="142" y="434"/>
                  </a:lnTo>
                  <a:lnTo>
                    <a:pt x="142" y="434"/>
                  </a:lnTo>
                  <a:lnTo>
                    <a:pt x="142" y="434"/>
                  </a:lnTo>
                  <a:lnTo>
                    <a:pt x="142" y="434"/>
                  </a:lnTo>
                  <a:lnTo>
                    <a:pt x="142" y="430"/>
                  </a:lnTo>
                  <a:lnTo>
                    <a:pt x="142" y="430"/>
                  </a:lnTo>
                  <a:lnTo>
                    <a:pt x="142" y="434"/>
                  </a:lnTo>
                  <a:lnTo>
                    <a:pt x="142" y="434"/>
                  </a:lnTo>
                  <a:lnTo>
                    <a:pt x="142" y="434"/>
                  </a:lnTo>
                  <a:lnTo>
                    <a:pt x="142" y="434"/>
                  </a:lnTo>
                  <a:lnTo>
                    <a:pt x="142" y="434"/>
                  </a:lnTo>
                  <a:lnTo>
                    <a:pt x="142" y="430"/>
                  </a:lnTo>
                  <a:lnTo>
                    <a:pt x="142" y="430"/>
                  </a:lnTo>
                  <a:lnTo>
                    <a:pt x="137" y="430"/>
                  </a:lnTo>
                  <a:lnTo>
                    <a:pt x="137" y="430"/>
                  </a:lnTo>
                  <a:lnTo>
                    <a:pt x="137" y="430"/>
                  </a:lnTo>
                  <a:lnTo>
                    <a:pt x="137" y="430"/>
                  </a:lnTo>
                  <a:lnTo>
                    <a:pt x="137" y="430"/>
                  </a:lnTo>
                  <a:lnTo>
                    <a:pt x="137" y="430"/>
                  </a:lnTo>
                  <a:lnTo>
                    <a:pt x="137" y="430"/>
                  </a:lnTo>
                  <a:lnTo>
                    <a:pt x="133" y="430"/>
                  </a:lnTo>
                  <a:lnTo>
                    <a:pt x="133" y="434"/>
                  </a:lnTo>
                  <a:lnTo>
                    <a:pt x="133" y="434"/>
                  </a:lnTo>
                  <a:lnTo>
                    <a:pt x="133" y="434"/>
                  </a:lnTo>
                  <a:lnTo>
                    <a:pt x="133" y="434"/>
                  </a:lnTo>
                  <a:lnTo>
                    <a:pt x="133" y="439"/>
                  </a:lnTo>
                  <a:lnTo>
                    <a:pt x="133" y="439"/>
                  </a:lnTo>
                  <a:lnTo>
                    <a:pt x="128" y="439"/>
                  </a:lnTo>
                  <a:lnTo>
                    <a:pt x="128" y="439"/>
                  </a:lnTo>
                  <a:lnTo>
                    <a:pt x="124" y="439"/>
                  </a:lnTo>
                  <a:lnTo>
                    <a:pt x="124" y="443"/>
                  </a:lnTo>
                  <a:lnTo>
                    <a:pt x="124" y="443"/>
                  </a:lnTo>
                  <a:lnTo>
                    <a:pt x="124" y="443"/>
                  </a:lnTo>
                  <a:lnTo>
                    <a:pt x="124" y="443"/>
                  </a:lnTo>
                  <a:lnTo>
                    <a:pt x="124" y="443"/>
                  </a:lnTo>
                  <a:lnTo>
                    <a:pt x="124" y="443"/>
                  </a:lnTo>
                  <a:lnTo>
                    <a:pt x="120" y="443"/>
                  </a:lnTo>
                  <a:lnTo>
                    <a:pt x="120" y="447"/>
                  </a:lnTo>
                  <a:lnTo>
                    <a:pt x="120" y="447"/>
                  </a:lnTo>
                  <a:lnTo>
                    <a:pt x="120" y="447"/>
                  </a:lnTo>
                  <a:lnTo>
                    <a:pt x="120" y="447"/>
                  </a:lnTo>
                  <a:lnTo>
                    <a:pt x="120" y="447"/>
                  </a:lnTo>
                  <a:lnTo>
                    <a:pt x="120" y="447"/>
                  </a:lnTo>
                  <a:lnTo>
                    <a:pt x="120" y="447"/>
                  </a:lnTo>
                  <a:lnTo>
                    <a:pt x="115" y="452"/>
                  </a:lnTo>
                  <a:lnTo>
                    <a:pt x="115" y="452"/>
                  </a:lnTo>
                  <a:lnTo>
                    <a:pt x="115" y="452"/>
                  </a:lnTo>
                  <a:lnTo>
                    <a:pt x="111" y="452"/>
                  </a:lnTo>
                  <a:lnTo>
                    <a:pt x="111" y="452"/>
                  </a:lnTo>
                  <a:lnTo>
                    <a:pt x="106" y="456"/>
                  </a:lnTo>
                  <a:lnTo>
                    <a:pt x="106" y="456"/>
                  </a:lnTo>
                  <a:lnTo>
                    <a:pt x="106" y="456"/>
                  </a:lnTo>
                  <a:lnTo>
                    <a:pt x="106" y="456"/>
                  </a:lnTo>
                  <a:lnTo>
                    <a:pt x="102" y="461"/>
                  </a:lnTo>
                  <a:lnTo>
                    <a:pt x="102" y="461"/>
                  </a:lnTo>
                  <a:lnTo>
                    <a:pt x="97" y="461"/>
                  </a:lnTo>
                  <a:lnTo>
                    <a:pt x="97" y="456"/>
                  </a:lnTo>
                  <a:lnTo>
                    <a:pt x="89" y="456"/>
                  </a:lnTo>
                  <a:lnTo>
                    <a:pt x="89" y="456"/>
                  </a:lnTo>
                  <a:lnTo>
                    <a:pt x="84" y="452"/>
                  </a:lnTo>
                  <a:lnTo>
                    <a:pt x="84" y="452"/>
                  </a:lnTo>
                  <a:lnTo>
                    <a:pt x="84" y="452"/>
                  </a:lnTo>
                  <a:lnTo>
                    <a:pt x="84" y="452"/>
                  </a:lnTo>
                  <a:lnTo>
                    <a:pt x="84" y="452"/>
                  </a:lnTo>
                  <a:lnTo>
                    <a:pt x="84" y="447"/>
                  </a:lnTo>
                  <a:lnTo>
                    <a:pt x="84" y="447"/>
                  </a:lnTo>
                  <a:lnTo>
                    <a:pt x="84" y="447"/>
                  </a:lnTo>
                  <a:lnTo>
                    <a:pt x="84" y="447"/>
                  </a:lnTo>
                  <a:lnTo>
                    <a:pt x="84" y="447"/>
                  </a:lnTo>
                  <a:lnTo>
                    <a:pt x="84" y="447"/>
                  </a:lnTo>
                  <a:lnTo>
                    <a:pt x="84" y="452"/>
                  </a:lnTo>
                  <a:lnTo>
                    <a:pt x="84" y="452"/>
                  </a:lnTo>
                  <a:lnTo>
                    <a:pt x="84" y="452"/>
                  </a:lnTo>
                  <a:lnTo>
                    <a:pt x="84" y="452"/>
                  </a:lnTo>
                  <a:lnTo>
                    <a:pt x="84" y="452"/>
                  </a:lnTo>
                  <a:lnTo>
                    <a:pt x="84" y="456"/>
                  </a:lnTo>
                  <a:lnTo>
                    <a:pt x="84" y="456"/>
                  </a:lnTo>
                  <a:lnTo>
                    <a:pt x="80" y="465"/>
                  </a:lnTo>
                  <a:lnTo>
                    <a:pt x="80" y="465"/>
                  </a:lnTo>
                  <a:lnTo>
                    <a:pt x="80" y="465"/>
                  </a:lnTo>
                  <a:lnTo>
                    <a:pt x="84" y="470"/>
                  </a:lnTo>
                  <a:lnTo>
                    <a:pt x="84" y="470"/>
                  </a:lnTo>
                  <a:lnTo>
                    <a:pt x="84" y="470"/>
                  </a:lnTo>
                  <a:lnTo>
                    <a:pt x="84" y="470"/>
                  </a:lnTo>
                  <a:lnTo>
                    <a:pt x="84" y="470"/>
                  </a:lnTo>
                  <a:lnTo>
                    <a:pt x="84" y="470"/>
                  </a:lnTo>
                  <a:lnTo>
                    <a:pt x="84" y="470"/>
                  </a:lnTo>
                  <a:lnTo>
                    <a:pt x="84" y="470"/>
                  </a:lnTo>
                  <a:lnTo>
                    <a:pt x="84" y="470"/>
                  </a:lnTo>
                  <a:lnTo>
                    <a:pt x="84" y="474"/>
                  </a:lnTo>
                  <a:lnTo>
                    <a:pt x="80" y="474"/>
                  </a:lnTo>
                  <a:lnTo>
                    <a:pt x="80" y="474"/>
                  </a:lnTo>
                  <a:lnTo>
                    <a:pt x="80" y="474"/>
                  </a:lnTo>
                  <a:lnTo>
                    <a:pt x="80" y="474"/>
                  </a:lnTo>
                  <a:lnTo>
                    <a:pt x="80" y="478"/>
                  </a:lnTo>
                  <a:lnTo>
                    <a:pt x="84" y="478"/>
                  </a:lnTo>
                  <a:lnTo>
                    <a:pt x="84" y="474"/>
                  </a:lnTo>
                  <a:lnTo>
                    <a:pt x="84" y="474"/>
                  </a:lnTo>
                  <a:lnTo>
                    <a:pt x="84" y="474"/>
                  </a:lnTo>
                  <a:lnTo>
                    <a:pt x="84" y="474"/>
                  </a:lnTo>
                  <a:lnTo>
                    <a:pt x="84" y="474"/>
                  </a:lnTo>
                  <a:lnTo>
                    <a:pt x="84" y="474"/>
                  </a:lnTo>
                  <a:lnTo>
                    <a:pt x="84" y="478"/>
                  </a:lnTo>
                  <a:lnTo>
                    <a:pt x="89" y="474"/>
                  </a:lnTo>
                  <a:lnTo>
                    <a:pt x="89" y="474"/>
                  </a:lnTo>
                  <a:lnTo>
                    <a:pt x="89" y="474"/>
                  </a:lnTo>
                  <a:lnTo>
                    <a:pt x="89" y="478"/>
                  </a:lnTo>
                  <a:lnTo>
                    <a:pt x="89" y="478"/>
                  </a:lnTo>
                  <a:lnTo>
                    <a:pt x="93" y="483"/>
                  </a:lnTo>
                  <a:lnTo>
                    <a:pt x="93" y="483"/>
                  </a:lnTo>
                  <a:lnTo>
                    <a:pt x="93" y="483"/>
                  </a:lnTo>
                  <a:lnTo>
                    <a:pt x="93" y="483"/>
                  </a:lnTo>
                  <a:lnTo>
                    <a:pt x="93" y="487"/>
                  </a:lnTo>
                  <a:lnTo>
                    <a:pt x="93" y="487"/>
                  </a:lnTo>
                  <a:lnTo>
                    <a:pt x="93" y="492"/>
                  </a:lnTo>
                  <a:lnTo>
                    <a:pt x="93" y="492"/>
                  </a:lnTo>
                  <a:lnTo>
                    <a:pt x="93" y="492"/>
                  </a:lnTo>
                  <a:lnTo>
                    <a:pt x="97" y="492"/>
                  </a:lnTo>
                  <a:lnTo>
                    <a:pt x="97" y="492"/>
                  </a:lnTo>
                  <a:lnTo>
                    <a:pt x="97" y="496"/>
                  </a:lnTo>
                  <a:lnTo>
                    <a:pt x="97" y="496"/>
                  </a:lnTo>
                  <a:lnTo>
                    <a:pt x="97" y="496"/>
                  </a:lnTo>
                  <a:lnTo>
                    <a:pt x="97" y="501"/>
                  </a:lnTo>
                  <a:lnTo>
                    <a:pt x="97" y="505"/>
                  </a:lnTo>
                  <a:lnTo>
                    <a:pt x="97" y="505"/>
                  </a:lnTo>
                  <a:lnTo>
                    <a:pt x="97" y="509"/>
                  </a:lnTo>
                  <a:lnTo>
                    <a:pt x="97" y="509"/>
                  </a:lnTo>
                  <a:lnTo>
                    <a:pt x="97" y="509"/>
                  </a:lnTo>
                  <a:lnTo>
                    <a:pt x="97" y="509"/>
                  </a:lnTo>
                  <a:lnTo>
                    <a:pt x="97" y="514"/>
                  </a:lnTo>
                  <a:lnTo>
                    <a:pt x="97" y="514"/>
                  </a:lnTo>
                  <a:lnTo>
                    <a:pt x="97" y="514"/>
                  </a:lnTo>
                  <a:lnTo>
                    <a:pt x="97" y="514"/>
                  </a:lnTo>
                  <a:lnTo>
                    <a:pt x="93" y="514"/>
                  </a:lnTo>
                  <a:lnTo>
                    <a:pt x="93" y="514"/>
                  </a:lnTo>
                  <a:lnTo>
                    <a:pt x="93" y="514"/>
                  </a:lnTo>
                  <a:lnTo>
                    <a:pt x="93" y="514"/>
                  </a:lnTo>
                  <a:lnTo>
                    <a:pt x="93" y="514"/>
                  </a:lnTo>
                  <a:lnTo>
                    <a:pt x="93" y="514"/>
                  </a:lnTo>
                  <a:lnTo>
                    <a:pt x="93" y="514"/>
                  </a:lnTo>
                  <a:lnTo>
                    <a:pt x="93" y="514"/>
                  </a:lnTo>
                  <a:lnTo>
                    <a:pt x="93" y="518"/>
                  </a:lnTo>
                  <a:lnTo>
                    <a:pt x="93" y="518"/>
                  </a:lnTo>
                  <a:lnTo>
                    <a:pt x="93" y="518"/>
                  </a:lnTo>
                  <a:lnTo>
                    <a:pt x="93" y="523"/>
                  </a:lnTo>
                  <a:lnTo>
                    <a:pt x="93" y="523"/>
                  </a:lnTo>
                  <a:lnTo>
                    <a:pt x="93" y="523"/>
                  </a:lnTo>
                  <a:lnTo>
                    <a:pt x="93" y="523"/>
                  </a:lnTo>
                  <a:lnTo>
                    <a:pt x="93" y="523"/>
                  </a:lnTo>
                  <a:lnTo>
                    <a:pt x="93" y="523"/>
                  </a:lnTo>
                  <a:lnTo>
                    <a:pt x="93" y="523"/>
                  </a:lnTo>
                  <a:lnTo>
                    <a:pt x="97" y="523"/>
                  </a:lnTo>
                  <a:lnTo>
                    <a:pt x="97" y="523"/>
                  </a:lnTo>
                  <a:lnTo>
                    <a:pt x="97" y="523"/>
                  </a:lnTo>
                  <a:lnTo>
                    <a:pt x="97" y="527"/>
                  </a:lnTo>
                  <a:lnTo>
                    <a:pt x="97" y="527"/>
                  </a:lnTo>
                  <a:lnTo>
                    <a:pt x="97" y="523"/>
                  </a:lnTo>
                  <a:lnTo>
                    <a:pt x="97" y="523"/>
                  </a:lnTo>
                  <a:lnTo>
                    <a:pt x="97" y="523"/>
                  </a:lnTo>
                  <a:lnTo>
                    <a:pt x="97" y="523"/>
                  </a:lnTo>
                  <a:lnTo>
                    <a:pt x="97" y="523"/>
                  </a:lnTo>
                  <a:lnTo>
                    <a:pt x="97" y="523"/>
                  </a:lnTo>
                  <a:lnTo>
                    <a:pt x="97" y="523"/>
                  </a:lnTo>
                  <a:lnTo>
                    <a:pt x="97" y="523"/>
                  </a:lnTo>
                  <a:lnTo>
                    <a:pt x="97" y="523"/>
                  </a:lnTo>
                  <a:lnTo>
                    <a:pt x="97" y="523"/>
                  </a:lnTo>
                  <a:lnTo>
                    <a:pt x="102" y="523"/>
                  </a:lnTo>
                  <a:lnTo>
                    <a:pt x="102" y="523"/>
                  </a:lnTo>
                  <a:lnTo>
                    <a:pt x="102" y="527"/>
                  </a:lnTo>
                  <a:lnTo>
                    <a:pt x="102" y="527"/>
                  </a:lnTo>
                  <a:lnTo>
                    <a:pt x="102" y="527"/>
                  </a:lnTo>
                  <a:lnTo>
                    <a:pt x="102" y="527"/>
                  </a:lnTo>
                  <a:lnTo>
                    <a:pt x="102" y="532"/>
                  </a:lnTo>
                  <a:lnTo>
                    <a:pt x="102" y="532"/>
                  </a:lnTo>
                  <a:lnTo>
                    <a:pt x="102" y="532"/>
                  </a:lnTo>
                  <a:lnTo>
                    <a:pt x="102" y="532"/>
                  </a:lnTo>
                  <a:lnTo>
                    <a:pt x="102" y="532"/>
                  </a:lnTo>
                  <a:lnTo>
                    <a:pt x="102" y="532"/>
                  </a:lnTo>
                  <a:lnTo>
                    <a:pt x="102" y="532"/>
                  </a:lnTo>
                  <a:lnTo>
                    <a:pt x="102" y="532"/>
                  </a:lnTo>
                  <a:lnTo>
                    <a:pt x="102" y="532"/>
                  </a:lnTo>
                  <a:lnTo>
                    <a:pt x="102" y="532"/>
                  </a:lnTo>
                  <a:lnTo>
                    <a:pt x="102" y="536"/>
                  </a:lnTo>
                  <a:lnTo>
                    <a:pt x="102" y="536"/>
                  </a:lnTo>
                  <a:lnTo>
                    <a:pt x="102" y="536"/>
                  </a:lnTo>
                  <a:lnTo>
                    <a:pt x="102" y="536"/>
                  </a:lnTo>
                  <a:lnTo>
                    <a:pt x="102" y="536"/>
                  </a:lnTo>
                  <a:lnTo>
                    <a:pt x="102" y="536"/>
                  </a:lnTo>
                  <a:lnTo>
                    <a:pt x="102" y="536"/>
                  </a:lnTo>
                  <a:lnTo>
                    <a:pt x="97" y="532"/>
                  </a:lnTo>
                  <a:lnTo>
                    <a:pt x="97" y="532"/>
                  </a:lnTo>
                  <a:lnTo>
                    <a:pt x="97" y="532"/>
                  </a:lnTo>
                  <a:lnTo>
                    <a:pt x="97" y="532"/>
                  </a:lnTo>
                  <a:lnTo>
                    <a:pt x="97" y="536"/>
                  </a:lnTo>
                  <a:lnTo>
                    <a:pt x="97" y="536"/>
                  </a:lnTo>
                  <a:lnTo>
                    <a:pt x="97" y="536"/>
                  </a:lnTo>
                  <a:lnTo>
                    <a:pt x="97" y="536"/>
                  </a:lnTo>
                  <a:lnTo>
                    <a:pt x="97" y="540"/>
                  </a:lnTo>
                  <a:lnTo>
                    <a:pt x="97" y="540"/>
                  </a:lnTo>
                  <a:lnTo>
                    <a:pt x="97" y="545"/>
                  </a:lnTo>
                  <a:lnTo>
                    <a:pt x="97" y="545"/>
                  </a:lnTo>
                  <a:lnTo>
                    <a:pt x="97" y="545"/>
                  </a:lnTo>
                  <a:lnTo>
                    <a:pt x="97" y="545"/>
                  </a:lnTo>
                  <a:lnTo>
                    <a:pt x="97" y="549"/>
                  </a:lnTo>
                  <a:lnTo>
                    <a:pt x="97" y="549"/>
                  </a:lnTo>
                  <a:lnTo>
                    <a:pt x="93" y="549"/>
                  </a:lnTo>
                  <a:lnTo>
                    <a:pt x="93" y="554"/>
                  </a:lnTo>
                  <a:lnTo>
                    <a:pt x="93" y="554"/>
                  </a:lnTo>
                  <a:lnTo>
                    <a:pt x="93" y="554"/>
                  </a:lnTo>
                  <a:lnTo>
                    <a:pt x="93" y="554"/>
                  </a:lnTo>
                  <a:lnTo>
                    <a:pt x="93" y="554"/>
                  </a:lnTo>
                  <a:lnTo>
                    <a:pt x="93" y="558"/>
                  </a:lnTo>
                  <a:lnTo>
                    <a:pt x="93" y="558"/>
                  </a:lnTo>
                  <a:lnTo>
                    <a:pt x="93" y="558"/>
                  </a:lnTo>
                  <a:lnTo>
                    <a:pt x="93" y="558"/>
                  </a:lnTo>
                  <a:lnTo>
                    <a:pt x="93" y="558"/>
                  </a:lnTo>
                  <a:lnTo>
                    <a:pt x="97" y="563"/>
                  </a:lnTo>
                  <a:lnTo>
                    <a:pt x="97" y="563"/>
                  </a:lnTo>
                  <a:lnTo>
                    <a:pt x="97" y="563"/>
                  </a:lnTo>
                  <a:lnTo>
                    <a:pt x="97" y="567"/>
                  </a:lnTo>
                  <a:lnTo>
                    <a:pt x="93" y="567"/>
                  </a:lnTo>
                  <a:lnTo>
                    <a:pt x="93" y="567"/>
                  </a:lnTo>
                  <a:lnTo>
                    <a:pt x="93" y="567"/>
                  </a:lnTo>
                  <a:lnTo>
                    <a:pt x="93" y="571"/>
                  </a:lnTo>
                  <a:lnTo>
                    <a:pt x="93" y="571"/>
                  </a:lnTo>
                  <a:lnTo>
                    <a:pt x="93" y="571"/>
                  </a:lnTo>
                  <a:lnTo>
                    <a:pt x="93" y="571"/>
                  </a:lnTo>
                  <a:lnTo>
                    <a:pt x="93" y="571"/>
                  </a:lnTo>
                  <a:lnTo>
                    <a:pt x="93" y="571"/>
                  </a:lnTo>
                  <a:lnTo>
                    <a:pt x="93" y="571"/>
                  </a:lnTo>
                  <a:lnTo>
                    <a:pt x="93" y="571"/>
                  </a:lnTo>
                  <a:lnTo>
                    <a:pt x="97" y="571"/>
                  </a:lnTo>
                  <a:lnTo>
                    <a:pt x="97" y="571"/>
                  </a:lnTo>
                  <a:lnTo>
                    <a:pt x="97" y="571"/>
                  </a:lnTo>
                  <a:lnTo>
                    <a:pt x="97" y="571"/>
                  </a:lnTo>
                  <a:lnTo>
                    <a:pt x="97" y="571"/>
                  </a:lnTo>
                  <a:lnTo>
                    <a:pt x="97" y="576"/>
                  </a:lnTo>
                  <a:lnTo>
                    <a:pt x="97" y="576"/>
                  </a:lnTo>
                  <a:lnTo>
                    <a:pt x="97" y="576"/>
                  </a:lnTo>
                  <a:lnTo>
                    <a:pt x="97" y="576"/>
                  </a:lnTo>
                  <a:lnTo>
                    <a:pt x="97" y="576"/>
                  </a:lnTo>
                  <a:lnTo>
                    <a:pt x="97" y="576"/>
                  </a:lnTo>
                  <a:lnTo>
                    <a:pt x="97" y="576"/>
                  </a:lnTo>
                  <a:lnTo>
                    <a:pt x="97" y="580"/>
                  </a:lnTo>
                  <a:lnTo>
                    <a:pt x="97" y="580"/>
                  </a:lnTo>
                  <a:lnTo>
                    <a:pt x="102" y="576"/>
                  </a:lnTo>
                  <a:lnTo>
                    <a:pt x="102" y="580"/>
                  </a:lnTo>
                  <a:lnTo>
                    <a:pt x="102" y="580"/>
                  </a:lnTo>
                  <a:lnTo>
                    <a:pt x="102" y="580"/>
                  </a:lnTo>
                  <a:lnTo>
                    <a:pt x="102" y="580"/>
                  </a:lnTo>
                  <a:lnTo>
                    <a:pt x="102" y="580"/>
                  </a:lnTo>
                  <a:lnTo>
                    <a:pt x="102" y="580"/>
                  </a:lnTo>
                  <a:lnTo>
                    <a:pt x="102" y="580"/>
                  </a:lnTo>
                  <a:lnTo>
                    <a:pt x="102" y="585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9"/>
                  </a:lnTo>
                  <a:lnTo>
                    <a:pt x="106" y="589"/>
                  </a:lnTo>
                  <a:lnTo>
                    <a:pt x="106" y="589"/>
                  </a:lnTo>
                  <a:lnTo>
                    <a:pt x="106" y="589"/>
                  </a:lnTo>
                  <a:lnTo>
                    <a:pt x="106" y="589"/>
                  </a:lnTo>
                  <a:lnTo>
                    <a:pt x="106" y="589"/>
                  </a:lnTo>
                  <a:lnTo>
                    <a:pt x="106" y="594"/>
                  </a:lnTo>
                  <a:lnTo>
                    <a:pt x="106" y="594"/>
                  </a:lnTo>
                  <a:lnTo>
                    <a:pt x="106" y="594"/>
                  </a:lnTo>
                  <a:lnTo>
                    <a:pt x="106" y="594"/>
                  </a:lnTo>
                  <a:lnTo>
                    <a:pt x="106" y="594"/>
                  </a:lnTo>
                  <a:lnTo>
                    <a:pt x="111" y="589"/>
                  </a:lnTo>
                  <a:lnTo>
                    <a:pt x="111" y="589"/>
                  </a:lnTo>
                  <a:lnTo>
                    <a:pt x="111" y="589"/>
                  </a:lnTo>
                  <a:lnTo>
                    <a:pt x="111" y="589"/>
                  </a:lnTo>
                  <a:lnTo>
                    <a:pt x="115" y="589"/>
                  </a:lnTo>
                  <a:lnTo>
                    <a:pt x="115" y="589"/>
                  </a:lnTo>
                  <a:lnTo>
                    <a:pt x="115" y="594"/>
                  </a:lnTo>
                  <a:lnTo>
                    <a:pt x="115" y="589"/>
                  </a:lnTo>
                  <a:lnTo>
                    <a:pt x="115" y="594"/>
                  </a:lnTo>
                  <a:lnTo>
                    <a:pt x="120" y="594"/>
                  </a:lnTo>
                  <a:lnTo>
                    <a:pt x="120" y="594"/>
                  </a:lnTo>
                  <a:lnTo>
                    <a:pt x="120" y="594"/>
                  </a:lnTo>
                  <a:lnTo>
                    <a:pt x="120" y="589"/>
                  </a:lnTo>
                  <a:lnTo>
                    <a:pt x="120" y="589"/>
                  </a:lnTo>
                  <a:lnTo>
                    <a:pt x="120" y="589"/>
                  </a:lnTo>
                  <a:lnTo>
                    <a:pt x="120" y="589"/>
                  </a:lnTo>
                  <a:lnTo>
                    <a:pt x="124" y="585"/>
                  </a:lnTo>
                  <a:lnTo>
                    <a:pt x="128" y="585"/>
                  </a:lnTo>
                  <a:lnTo>
                    <a:pt x="128" y="585"/>
                  </a:lnTo>
                  <a:lnTo>
                    <a:pt x="128" y="585"/>
                  </a:lnTo>
                  <a:lnTo>
                    <a:pt x="128" y="585"/>
                  </a:lnTo>
                  <a:lnTo>
                    <a:pt x="128" y="585"/>
                  </a:lnTo>
                  <a:lnTo>
                    <a:pt x="128" y="580"/>
                  </a:lnTo>
                  <a:lnTo>
                    <a:pt x="128" y="580"/>
                  </a:lnTo>
                  <a:lnTo>
                    <a:pt x="128" y="580"/>
                  </a:lnTo>
                  <a:lnTo>
                    <a:pt x="128" y="580"/>
                  </a:lnTo>
                  <a:lnTo>
                    <a:pt x="128" y="580"/>
                  </a:lnTo>
                  <a:lnTo>
                    <a:pt x="128" y="580"/>
                  </a:lnTo>
                  <a:lnTo>
                    <a:pt x="128" y="576"/>
                  </a:lnTo>
                  <a:lnTo>
                    <a:pt x="128" y="576"/>
                  </a:lnTo>
                  <a:lnTo>
                    <a:pt x="128" y="576"/>
                  </a:lnTo>
                  <a:lnTo>
                    <a:pt x="128" y="571"/>
                  </a:lnTo>
                  <a:lnTo>
                    <a:pt x="128" y="571"/>
                  </a:lnTo>
                  <a:lnTo>
                    <a:pt x="128" y="571"/>
                  </a:lnTo>
                  <a:lnTo>
                    <a:pt x="128" y="571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28" y="567"/>
                  </a:lnTo>
                  <a:lnTo>
                    <a:pt x="133" y="571"/>
                  </a:lnTo>
                  <a:lnTo>
                    <a:pt x="133" y="571"/>
                  </a:lnTo>
                  <a:lnTo>
                    <a:pt x="133" y="571"/>
                  </a:lnTo>
                  <a:lnTo>
                    <a:pt x="137" y="571"/>
                  </a:lnTo>
                  <a:lnTo>
                    <a:pt x="137" y="571"/>
                  </a:lnTo>
                  <a:lnTo>
                    <a:pt x="137" y="567"/>
                  </a:lnTo>
                  <a:lnTo>
                    <a:pt x="137" y="567"/>
                  </a:lnTo>
                  <a:lnTo>
                    <a:pt x="142" y="567"/>
                  </a:lnTo>
                  <a:lnTo>
                    <a:pt x="142" y="567"/>
                  </a:lnTo>
                  <a:lnTo>
                    <a:pt x="142" y="571"/>
                  </a:lnTo>
                  <a:lnTo>
                    <a:pt x="142" y="567"/>
                  </a:lnTo>
                  <a:lnTo>
                    <a:pt x="142" y="571"/>
                  </a:lnTo>
                  <a:lnTo>
                    <a:pt x="142" y="571"/>
                  </a:lnTo>
                  <a:lnTo>
                    <a:pt x="142" y="571"/>
                  </a:lnTo>
                  <a:lnTo>
                    <a:pt x="146" y="571"/>
                  </a:lnTo>
                  <a:lnTo>
                    <a:pt x="146" y="571"/>
                  </a:lnTo>
                  <a:lnTo>
                    <a:pt x="146" y="571"/>
                  </a:lnTo>
                  <a:lnTo>
                    <a:pt x="146" y="571"/>
                  </a:lnTo>
                  <a:lnTo>
                    <a:pt x="146" y="571"/>
                  </a:lnTo>
                  <a:lnTo>
                    <a:pt x="146" y="576"/>
                  </a:lnTo>
                  <a:lnTo>
                    <a:pt x="151" y="576"/>
                  </a:lnTo>
                  <a:lnTo>
                    <a:pt x="151" y="576"/>
                  </a:lnTo>
                  <a:lnTo>
                    <a:pt x="151" y="576"/>
                  </a:lnTo>
                  <a:lnTo>
                    <a:pt x="151" y="576"/>
                  </a:lnTo>
                  <a:lnTo>
                    <a:pt x="151" y="576"/>
                  </a:lnTo>
                  <a:lnTo>
                    <a:pt x="151" y="576"/>
                  </a:lnTo>
                  <a:lnTo>
                    <a:pt x="151" y="576"/>
                  </a:lnTo>
                  <a:lnTo>
                    <a:pt x="155" y="576"/>
                  </a:lnTo>
                  <a:lnTo>
                    <a:pt x="155" y="576"/>
                  </a:lnTo>
                  <a:lnTo>
                    <a:pt x="155" y="576"/>
                  </a:lnTo>
                  <a:lnTo>
                    <a:pt x="155" y="576"/>
                  </a:lnTo>
                  <a:lnTo>
                    <a:pt x="155" y="576"/>
                  </a:lnTo>
                  <a:lnTo>
                    <a:pt x="155" y="576"/>
                  </a:lnTo>
                  <a:lnTo>
                    <a:pt x="155" y="576"/>
                  </a:lnTo>
                  <a:lnTo>
                    <a:pt x="155" y="576"/>
                  </a:lnTo>
                  <a:lnTo>
                    <a:pt x="155" y="576"/>
                  </a:lnTo>
                  <a:lnTo>
                    <a:pt x="155" y="571"/>
                  </a:lnTo>
                  <a:lnTo>
                    <a:pt x="155" y="571"/>
                  </a:lnTo>
                  <a:lnTo>
                    <a:pt x="155" y="571"/>
                  </a:lnTo>
                  <a:lnTo>
                    <a:pt x="155" y="571"/>
                  </a:lnTo>
                  <a:lnTo>
                    <a:pt x="155" y="571"/>
                  </a:lnTo>
                  <a:lnTo>
                    <a:pt x="155" y="571"/>
                  </a:lnTo>
                  <a:lnTo>
                    <a:pt x="155" y="571"/>
                  </a:lnTo>
                  <a:lnTo>
                    <a:pt x="155" y="567"/>
                  </a:lnTo>
                  <a:lnTo>
                    <a:pt x="155" y="567"/>
                  </a:lnTo>
                  <a:lnTo>
                    <a:pt x="159" y="563"/>
                  </a:lnTo>
                  <a:lnTo>
                    <a:pt x="159" y="563"/>
                  </a:lnTo>
                  <a:lnTo>
                    <a:pt x="159" y="563"/>
                  </a:lnTo>
                  <a:lnTo>
                    <a:pt x="159" y="563"/>
                  </a:lnTo>
                  <a:lnTo>
                    <a:pt x="159" y="563"/>
                  </a:lnTo>
                  <a:lnTo>
                    <a:pt x="159" y="563"/>
                  </a:lnTo>
                  <a:lnTo>
                    <a:pt x="159" y="558"/>
                  </a:lnTo>
                  <a:lnTo>
                    <a:pt x="159" y="558"/>
                  </a:lnTo>
                  <a:lnTo>
                    <a:pt x="159" y="554"/>
                  </a:lnTo>
                  <a:lnTo>
                    <a:pt x="159" y="549"/>
                  </a:lnTo>
                  <a:lnTo>
                    <a:pt x="159" y="549"/>
                  </a:lnTo>
                  <a:lnTo>
                    <a:pt x="159" y="545"/>
                  </a:lnTo>
                  <a:lnTo>
                    <a:pt x="159" y="545"/>
                  </a:lnTo>
                  <a:lnTo>
                    <a:pt x="159" y="540"/>
                  </a:lnTo>
                  <a:lnTo>
                    <a:pt x="159" y="540"/>
                  </a:lnTo>
                  <a:lnTo>
                    <a:pt x="159" y="540"/>
                  </a:lnTo>
                  <a:lnTo>
                    <a:pt x="159" y="540"/>
                  </a:lnTo>
                  <a:lnTo>
                    <a:pt x="159" y="536"/>
                  </a:lnTo>
                  <a:lnTo>
                    <a:pt x="159" y="536"/>
                  </a:lnTo>
                  <a:lnTo>
                    <a:pt x="164" y="536"/>
                  </a:lnTo>
                  <a:lnTo>
                    <a:pt x="164" y="536"/>
                  </a:lnTo>
                  <a:lnTo>
                    <a:pt x="164" y="536"/>
                  </a:lnTo>
                  <a:lnTo>
                    <a:pt x="159" y="532"/>
                  </a:lnTo>
                  <a:lnTo>
                    <a:pt x="159" y="532"/>
                  </a:lnTo>
                  <a:lnTo>
                    <a:pt x="159" y="532"/>
                  </a:lnTo>
                  <a:lnTo>
                    <a:pt x="164" y="527"/>
                  </a:lnTo>
                  <a:lnTo>
                    <a:pt x="164" y="527"/>
                  </a:lnTo>
                  <a:lnTo>
                    <a:pt x="164" y="527"/>
                  </a:lnTo>
                  <a:lnTo>
                    <a:pt x="164" y="527"/>
                  </a:lnTo>
                  <a:lnTo>
                    <a:pt x="164" y="527"/>
                  </a:lnTo>
                  <a:lnTo>
                    <a:pt x="164" y="527"/>
                  </a:lnTo>
                  <a:lnTo>
                    <a:pt x="164" y="527"/>
                  </a:lnTo>
                  <a:lnTo>
                    <a:pt x="164" y="523"/>
                  </a:lnTo>
                  <a:lnTo>
                    <a:pt x="164" y="523"/>
                  </a:lnTo>
                  <a:lnTo>
                    <a:pt x="164" y="523"/>
                  </a:lnTo>
                  <a:lnTo>
                    <a:pt x="164" y="523"/>
                  </a:lnTo>
                  <a:lnTo>
                    <a:pt x="164" y="523"/>
                  </a:lnTo>
                  <a:lnTo>
                    <a:pt x="164" y="523"/>
                  </a:lnTo>
                  <a:lnTo>
                    <a:pt x="164" y="523"/>
                  </a:lnTo>
                  <a:lnTo>
                    <a:pt x="164" y="523"/>
                  </a:lnTo>
                  <a:lnTo>
                    <a:pt x="164" y="523"/>
                  </a:lnTo>
                  <a:lnTo>
                    <a:pt x="164" y="523"/>
                  </a:lnTo>
                  <a:lnTo>
                    <a:pt x="164" y="518"/>
                  </a:lnTo>
                  <a:lnTo>
                    <a:pt x="164" y="518"/>
                  </a:lnTo>
                  <a:lnTo>
                    <a:pt x="164" y="518"/>
                  </a:lnTo>
                  <a:lnTo>
                    <a:pt x="164" y="523"/>
                  </a:lnTo>
                  <a:lnTo>
                    <a:pt x="164" y="518"/>
                  </a:lnTo>
                  <a:lnTo>
                    <a:pt x="164" y="518"/>
                  </a:lnTo>
                  <a:lnTo>
                    <a:pt x="164" y="509"/>
                  </a:lnTo>
                  <a:lnTo>
                    <a:pt x="164" y="509"/>
                  </a:lnTo>
                  <a:lnTo>
                    <a:pt x="164" y="509"/>
                  </a:lnTo>
                  <a:lnTo>
                    <a:pt x="164" y="509"/>
                  </a:lnTo>
                  <a:lnTo>
                    <a:pt x="164" y="509"/>
                  </a:lnTo>
                  <a:lnTo>
                    <a:pt x="159" y="505"/>
                  </a:lnTo>
                  <a:lnTo>
                    <a:pt x="159" y="505"/>
                  </a:lnTo>
                  <a:lnTo>
                    <a:pt x="159" y="501"/>
                  </a:lnTo>
                  <a:lnTo>
                    <a:pt x="159" y="501"/>
                  </a:lnTo>
                  <a:lnTo>
                    <a:pt x="159" y="501"/>
                  </a:lnTo>
                  <a:lnTo>
                    <a:pt x="159" y="496"/>
                  </a:lnTo>
                  <a:lnTo>
                    <a:pt x="159" y="496"/>
                  </a:lnTo>
                  <a:lnTo>
                    <a:pt x="159" y="496"/>
                  </a:lnTo>
                  <a:lnTo>
                    <a:pt x="159" y="496"/>
                  </a:lnTo>
                  <a:lnTo>
                    <a:pt x="164" y="492"/>
                  </a:lnTo>
                  <a:lnTo>
                    <a:pt x="164" y="492"/>
                  </a:lnTo>
                  <a:lnTo>
                    <a:pt x="164" y="492"/>
                  </a:lnTo>
                  <a:lnTo>
                    <a:pt x="164" y="492"/>
                  </a:lnTo>
                  <a:lnTo>
                    <a:pt x="164" y="492"/>
                  </a:lnTo>
                  <a:lnTo>
                    <a:pt x="168" y="487"/>
                  </a:lnTo>
                  <a:lnTo>
                    <a:pt x="168" y="487"/>
                  </a:lnTo>
                  <a:lnTo>
                    <a:pt x="168" y="483"/>
                  </a:lnTo>
                  <a:lnTo>
                    <a:pt x="168" y="483"/>
                  </a:lnTo>
                  <a:lnTo>
                    <a:pt x="168" y="483"/>
                  </a:lnTo>
                  <a:lnTo>
                    <a:pt x="168" y="483"/>
                  </a:lnTo>
                  <a:lnTo>
                    <a:pt x="168" y="478"/>
                  </a:lnTo>
                  <a:lnTo>
                    <a:pt x="168" y="478"/>
                  </a:lnTo>
                  <a:lnTo>
                    <a:pt x="168" y="478"/>
                  </a:lnTo>
                  <a:close/>
                  <a:moveTo>
                    <a:pt x="97" y="580"/>
                  </a:moveTo>
                  <a:lnTo>
                    <a:pt x="97" y="580"/>
                  </a:lnTo>
                  <a:lnTo>
                    <a:pt x="97" y="580"/>
                  </a:lnTo>
                  <a:lnTo>
                    <a:pt x="97" y="580"/>
                  </a:lnTo>
                  <a:lnTo>
                    <a:pt x="97" y="580"/>
                  </a:lnTo>
                  <a:lnTo>
                    <a:pt x="97" y="580"/>
                  </a:lnTo>
                  <a:lnTo>
                    <a:pt x="97" y="576"/>
                  </a:lnTo>
                  <a:lnTo>
                    <a:pt x="97" y="576"/>
                  </a:lnTo>
                  <a:lnTo>
                    <a:pt x="93" y="576"/>
                  </a:lnTo>
                  <a:lnTo>
                    <a:pt x="93" y="576"/>
                  </a:lnTo>
                  <a:lnTo>
                    <a:pt x="93" y="576"/>
                  </a:lnTo>
                  <a:lnTo>
                    <a:pt x="93" y="576"/>
                  </a:lnTo>
                  <a:lnTo>
                    <a:pt x="93" y="576"/>
                  </a:lnTo>
                  <a:lnTo>
                    <a:pt x="93" y="580"/>
                  </a:lnTo>
                  <a:lnTo>
                    <a:pt x="93" y="580"/>
                  </a:lnTo>
                  <a:lnTo>
                    <a:pt x="93" y="580"/>
                  </a:lnTo>
                  <a:lnTo>
                    <a:pt x="93" y="585"/>
                  </a:lnTo>
                  <a:lnTo>
                    <a:pt x="93" y="585"/>
                  </a:lnTo>
                  <a:lnTo>
                    <a:pt x="93" y="585"/>
                  </a:lnTo>
                  <a:lnTo>
                    <a:pt x="93" y="585"/>
                  </a:lnTo>
                  <a:lnTo>
                    <a:pt x="97" y="585"/>
                  </a:lnTo>
                  <a:lnTo>
                    <a:pt x="97" y="585"/>
                  </a:lnTo>
                  <a:lnTo>
                    <a:pt x="97" y="585"/>
                  </a:lnTo>
                  <a:lnTo>
                    <a:pt x="97" y="585"/>
                  </a:lnTo>
                  <a:lnTo>
                    <a:pt x="97" y="580"/>
                  </a:lnTo>
                  <a:lnTo>
                    <a:pt x="97" y="580"/>
                  </a:lnTo>
                  <a:lnTo>
                    <a:pt x="97" y="580"/>
                  </a:lnTo>
                  <a:lnTo>
                    <a:pt x="97" y="580"/>
                  </a:lnTo>
                  <a:lnTo>
                    <a:pt x="97" y="580"/>
                  </a:lnTo>
                  <a:lnTo>
                    <a:pt x="97" y="580"/>
                  </a:lnTo>
                  <a:lnTo>
                    <a:pt x="97" y="580"/>
                  </a:lnTo>
                  <a:close/>
                  <a:moveTo>
                    <a:pt x="89" y="443"/>
                  </a:moveTo>
                  <a:lnTo>
                    <a:pt x="84" y="443"/>
                  </a:lnTo>
                  <a:lnTo>
                    <a:pt x="84" y="443"/>
                  </a:lnTo>
                  <a:lnTo>
                    <a:pt x="84" y="443"/>
                  </a:lnTo>
                  <a:lnTo>
                    <a:pt x="84" y="447"/>
                  </a:lnTo>
                  <a:lnTo>
                    <a:pt x="84" y="447"/>
                  </a:lnTo>
                  <a:lnTo>
                    <a:pt x="84" y="447"/>
                  </a:lnTo>
                  <a:lnTo>
                    <a:pt x="84" y="447"/>
                  </a:lnTo>
                  <a:lnTo>
                    <a:pt x="89" y="447"/>
                  </a:lnTo>
                  <a:lnTo>
                    <a:pt x="89" y="447"/>
                  </a:lnTo>
                  <a:lnTo>
                    <a:pt x="89" y="443"/>
                  </a:lnTo>
                  <a:lnTo>
                    <a:pt x="89" y="443"/>
                  </a:lnTo>
                  <a:lnTo>
                    <a:pt x="93" y="443"/>
                  </a:lnTo>
                  <a:lnTo>
                    <a:pt x="93" y="443"/>
                  </a:lnTo>
                  <a:lnTo>
                    <a:pt x="93" y="443"/>
                  </a:lnTo>
                  <a:lnTo>
                    <a:pt x="93" y="439"/>
                  </a:lnTo>
                  <a:lnTo>
                    <a:pt x="93" y="439"/>
                  </a:lnTo>
                  <a:lnTo>
                    <a:pt x="89" y="439"/>
                  </a:lnTo>
                  <a:lnTo>
                    <a:pt x="89" y="439"/>
                  </a:lnTo>
                  <a:lnTo>
                    <a:pt x="89" y="439"/>
                  </a:lnTo>
                  <a:lnTo>
                    <a:pt x="89" y="439"/>
                  </a:lnTo>
                  <a:lnTo>
                    <a:pt x="89" y="439"/>
                  </a:lnTo>
                  <a:lnTo>
                    <a:pt x="89" y="439"/>
                  </a:lnTo>
                  <a:lnTo>
                    <a:pt x="89" y="439"/>
                  </a:lnTo>
                  <a:lnTo>
                    <a:pt x="89" y="439"/>
                  </a:lnTo>
                  <a:lnTo>
                    <a:pt x="89" y="439"/>
                  </a:lnTo>
                  <a:lnTo>
                    <a:pt x="89" y="439"/>
                  </a:lnTo>
                  <a:lnTo>
                    <a:pt x="89" y="443"/>
                  </a:lnTo>
                  <a:lnTo>
                    <a:pt x="89" y="443"/>
                  </a:lnTo>
                  <a:lnTo>
                    <a:pt x="89" y="443"/>
                  </a:lnTo>
                  <a:close/>
                  <a:moveTo>
                    <a:pt x="151" y="434"/>
                  </a:moveTo>
                  <a:lnTo>
                    <a:pt x="151" y="434"/>
                  </a:lnTo>
                  <a:lnTo>
                    <a:pt x="151" y="434"/>
                  </a:lnTo>
                  <a:lnTo>
                    <a:pt x="151" y="434"/>
                  </a:lnTo>
                  <a:lnTo>
                    <a:pt x="151" y="434"/>
                  </a:lnTo>
                  <a:lnTo>
                    <a:pt x="151" y="434"/>
                  </a:lnTo>
                  <a:lnTo>
                    <a:pt x="151" y="434"/>
                  </a:lnTo>
                  <a:lnTo>
                    <a:pt x="151" y="434"/>
                  </a:lnTo>
                  <a:lnTo>
                    <a:pt x="151" y="430"/>
                  </a:lnTo>
                  <a:lnTo>
                    <a:pt x="151" y="430"/>
                  </a:lnTo>
                  <a:lnTo>
                    <a:pt x="151" y="430"/>
                  </a:lnTo>
                  <a:lnTo>
                    <a:pt x="151" y="430"/>
                  </a:lnTo>
                  <a:lnTo>
                    <a:pt x="151" y="430"/>
                  </a:lnTo>
                  <a:lnTo>
                    <a:pt x="151" y="430"/>
                  </a:lnTo>
                  <a:lnTo>
                    <a:pt x="151" y="430"/>
                  </a:lnTo>
                  <a:lnTo>
                    <a:pt x="151" y="430"/>
                  </a:lnTo>
                  <a:lnTo>
                    <a:pt x="151" y="434"/>
                  </a:lnTo>
                  <a:lnTo>
                    <a:pt x="151" y="434"/>
                  </a:lnTo>
                  <a:lnTo>
                    <a:pt x="151" y="434"/>
                  </a:lnTo>
                  <a:lnTo>
                    <a:pt x="151" y="434"/>
                  </a:lnTo>
                  <a:close/>
                  <a:moveTo>
                    <a:pt x="151" y="430"/>
                  </a:moveTo>
                  <a:lnTo>
                    <a:pt x="151" y="430"/>
                  </a:lnTo>
                  <a:lnTo>
                    <a:pt x="151" y="430"/>
                  </a:lnTo>
                  <a:lnTo>
                    <a:pt x="146" y="430"/>
                  </a:lnTo>
                  <a:lnTo>
                    <a:pt x="146" y="430"/>
                  </a:lnTo>
                  <a:lnTo>
                    <a:pt x="146" y="430"/>
                  </a:lnTo>
                  <a:lnTo>
                    <a:pt x="146" y="430"/>
                  </a:lnTo>
                  <a:lnTo>
                    <a:pt x="146" y="430"/>
                  </a:lnTo>
                  <a:lnTo>
                    <a:pt x="146" y="430"/>
                  </a:lnTo>
                  <a:lnTo>
                    <a:pt x="146" y="430"/>
                  </a:lnTo>
                  <a:lnTo>
                    <a:pt x="146" y="430"/>
                  </a:lnTo>
                  <a:lnTo>
                    <a:pt x="146" y="430"/>
                  </a:lnTo>
                  <a:lnTo>
                    <a:pt x="146" y="430"/>
                  </a:lnTo>
                  <a:lnTo>
                    <a:pt x="146" y="434"/>
                  </a:lnTo>
                  <a:lnTo>
                    <a:pt x="146" y="434"/>
                  </a:lnTo>
                  <a:lnTo>
                    <a:pt x="151" y="430"/>
                  </a:lnTo>
                  <a:lnTo>
                    <a:pt x="151" y="430"/>
                  </a:lnTo>
                  <a:lnTo>
                    <a:pt x="151" y="430"/>
                  </a:lnTo>
                  <a:lnTo>
                    <a:pt x="151" y="430"/>
                  </a:lnTo>
                  <a:lnTo>
                    <a:pt x="151" y="430"/>
                  </a:lnTo>
                  <a:lnTo>
                    <a:pt x="151" y="430"/>
                  </a:lnTo>
                  <a:close/>
                  <a:moveTo>
                    <a:pt x="629" y="509"/>
                  </a:moveTo>
                  <a:lnTo>
                    <a:pt x="629" y="509"/>
                  </a:lnTo>
                  <a:lnTo>
                    <a:pt x="629" y="505"/>
                  </a:lnTo>
                  <a:lnTo>
                    <a:pt x="629" y="505"/>
                  </a:lnTo>
                  <a:lnTo>
                    <a:pt x="629" y="505"/>
                  </a:lnTo>
                  <a:lnTo>
                    <a:pt x="629" y="505"/>
                  </a:lnTo>
                  <a:lnTo>
                    <a:pt x="624" y="496"/>
                  </a:lnTo>
                  <a:lnTo>
                    <a:pt x="620" y="492"/>
                  </a:lnTo>
                  <a:lnTo>
                    <a:pt x="620" y="492"/>
                  </a:lnTo>
                  <a:lnTo>
                    <a:pt x="620" y="492"/>
                  </a:lnTo>
                  <a:lnTo>
                    <a:pt x="620" y="492"/>
                  </a:lnTo>
                  <a:lnTo>
                    <a:pt x="615" y="487"/>
                  </a:lnTo>
                  <a:lnTo>
                    <a:pt x="615" y="487"/>
                  </a:lnTo>
                  <a:lnTo>
                    <a:pt x="615" y="487"/>
                  </a:lnTo>
                  <a:lnTo>
                    <a:pt x="615" y="483"/>
                  </a:lnTo>
                  <a:lnTo>
                    <a:pt x="611" y="483"/>
                  </a:lnTo>
                  <a:lnTo>
                    <a:pt x="611" y="483"/>
                  </a:lnTo>
                  <a:lnTo>
                    <a:pt x="606" y="483"/>
                  </a:lnTo>
                  <a:lnTo>
                    <a:pt x="602" y="478"/>
                  </a:lnTo>
                  <a:lnTo>
                    <a:pt x="602" y="474"/>
                  </a:lnTo>
                  <a:lnTo>
                    <a:pt x="602" y="474"/>
                  </a:lnTo>
                  <a:lnTo>
                    <a:pt x="602" y="474"/>
                  </a:lnTo>
                  <a:lnTo>
                    <a:pt x="602" y="474"/>
                  </a:lnTo>
                  <a:lnTo>
                    <a:pt x="602" y="470"/>
                  </a:lnTo>
                  <a:lnTo>
                    <a:pt x="602" y="470"/>
                  </a:lnTo>
                  <a:lnTo>
                    <a:pt x="602" y="470"/>
                  </a:lnTo>
                  <a:lnTo>
                    <a:pt x="598" y="470"/>
                  </a:lnTo>
                  <a:lnTo>
                    <a:pt x="598" y="470"/>
                  </a:lnTo>
                  <a:lnTo>
                    <a:pt x="598" y="470"/>
                  </a:lnTo>
                  <a:lnTo>
                    <a:pt x="598" y="470"/>
                  </a:lnTo>
                  <a:lnTo>
                    <a:pt x="593" y="470"/>
                  </a:lnTo>
                  <a:lnTo>
                    <a:pt x="589" y="465"/>
                  </a:lnTo>
                  <a:lnTo>
                    <a:pt x="580" y="461"/>
                  </a:lnTo>
                  <a:lnTo>
                    <a:pt x="580" y="461"/>
                  </a:lnTo>
                  <a:lnTo>
                    <a:pt x="576" y="461"/>
                  </a:lnTo>
                  <a:lnTo>
                    <a:pt x="576" y="461"/>
                  </a:lnTo>
                  <a:lnTo>
                    <a:pt x="576" y="461"/>
                  </a:lnTo>
                  <a:lnTo>
                    <a:pt x="571" y="461"/>
                  </a:lnTo>
                  <a:lnTo>
                    <a:pt x="571" y="456"/>
                  </a:lnTo>
                  <a:lnTo>
                    <a:pt x="567" y="452"/>
                  </a:lnTo>
                  <a:lnTo>
                    <a:pt x="567" y="452"/>
                  </a:lnTo>
                  <a:lnTo>
                    <a:pt x="567" y="452"/>
                  </a:lnTo>
                  <a:lnTo>
                    <a:pt x="562" y="452"/>
                  </a:lnTo>
                  <a:lnTo>
                    <a:pt x="562" y="447"/>
                  </a:lnTo>
                  <a:lnTo>
                    <a:pt x="558" y="447"/>
                  </a:lnTo>
                  <a:lnTo>
                    <a:pt x="549" y="443"/>
                  </a:lnTo>
                  <a:lnTo>
                    <a:pt x="540" y="439"/>
                  </a:lnTo>
                  <a:lnTo>
                    <a:pt x="540" y="439"/>
                  </a:lnTo>
                  <a:lnTo>
                    <a:pt x="540" y="439"/>
                  </a:lnTo>
                  <a:lnTo>
                    <a:pt x="540" y="439"/>
                  </a:lnTo>
                  <a:lnTo>
                    <a:pt x="540" y="439"/>
                  </a:lnTo>
                  <a:lnTo>
                    <a:pt x="540" y="439"/>
                  </a:lnTo>
                  <a:lnTo>
                    <a:pt x="527" y="434"/>
                  </a:lnTo>
                  <a:lnTo>
                    <a:pt x="522" y="430"/>
                  </a:lnTo>
                  <a:lnTo>
                    <a:pt x="522" y="430"/>
                  </a:lnTo>
                  <a:lnTo>
                    <a:pt x="522" y="430"/>
                  </a:lnTo>
                  <a:lnTo>
                    <a:pt x="518" y="430"/>
                  </a:lnTo>
                  <a:lnTo>
                    <a:pt x="509" y="425"/>
                  </a:lnTo>
                  <a:lnTo>
                    <a:pt x="500" y="421"/>
                  </a:lnTo>
                  <a:lnTo>
                    <a:pt x="500" y="421"/>
                  </a:lnTo>
                  <a:lnTo>
                    <a:pt x="500" y="416"/>
                  </a:lnTo>
                  <a:lnTo>
                    <a:pt x="496" y="416"/>
                  </a:lnTo>
                  <a:lnTo>
                    <a:pt x="491" y="416"/>
                  </a:lnTo>
                  <a:lnTo>
                    <a:pt x="491" y="412"/>
                  </a:lnTo>
                  <a:lnTo>
                    <a:pt x="491" y="412"/>
                  </a:lnTo>
                  <a:lnTo>
                    <a:pt x="491" y="408"/>
                  </a:lnTo>
                  <a:lnTo>
                    <a:pt x="491" y="408"/>
                  </a:lnTo>
                  <a:lnTo>
                    <a:pt x="491" y="403"/>
                  </a:lnTo>
                  <a:lnTo>
                    <a:pt x="491" y="403"/>
                  </a:lnTo>
                  <a:lnTo>
                    <a:pt x="496" y="399"/>
                  </a:lnTo>
                  <a:lnTo>
                    <a:pt x="500" y="399"/>
                  </a:lnTo>
                  <a:lnTo>
                    <a:pt x="500" y="394"/>
                  </a:lnTo>
                  <a:lnTo>
                    <a:pt x="500" y="394"/>
                  </a:lnTo>
                  <a:lnTo>
                    <a:pt x="500" y="394"/>
                  </a:lnTo>
                  <a:lnTo>
                    <a:pt x="505" y="394"/>
                  </a:lnTo>
                  <a:lnTo>
                    <a:pt x="505" y="394"/>
                  </a:lnTo>
                  <a:lnTo>
                    <a:pt x="505" y="394"/>
                  </a:lnTo>
                  <a:lnTo>
                    <a:pt x="505" y="390"/>
                  </a:lnTo>
                  <a:lnTo>
                    <a:pt x="505" y="390"/>
                  </a:lnTo>
                  <a:lnTo>
                    <a:pt x="505" y="390"/>
                  </a:lnTo>
                  <a:lnTo>
                    <a:pt x="505" y="386"/>
                  </a:lnTo>
                  <a:lnTo>
                    <a:pt x="505" y="386"/>
                  </a:lnTo>
                  <a:lnTo>
                    <a:pt x="505" y="386"/>
                  </a:lnTo>
                  <a:lnTo>
                    <a:pt x="505" y="386"/>
                  </a:lnTo>
                  <a:lnTo>
                    <a:pt x="505" y="381"/>
                  </a:lnTo>
                  <a:lnTo>
                    <a:pt x="500" y="381"/>
                  </a:lnTo>
                  <a:lnTo>
                    <a:pt x="500" y="381"/>
                  </a:lnTo>
                  <a:lnTo>
                    <a:pt x="496" y="381"/>
                  </a:lnTo>
                  <a:lnTo>
                    <a:pt x="483" y="381"/>
                  </a:lnTo>
                  <a:lnTo>
                    <a:pt x="474" y="381"/>
                  </a:lnTo>
                  <a:lnTo>
                    <a:pt x="465" y="386"/>
                  </a:lnTo>
                  <a:lnTo>
                    <a:pt x="465" y="386"/>
                  </a:lnTo>
                  <a:lnTo>
                    <a:pt x="456" y="381"/>
                  </a:lnTo>
                  <a:lnTo>
                    <a:pt x="452" y="381"/>
                  </a:lnTo>
                  <a:lnTo>
                    <a:pt x="452" y="381"/>
                  </a:lnTo>
                  <a:lnTo>
                    <a:pt x="447" y="381"/>
                  </a:lnTo>
                  <a:lnTo>
                    <a:pt x="447" y="381"/>
                  </a:lnTo>
                  <a:lnTo>
                    <a:pt x="447" y="381"/>
                  </a:lnTo>
                  <a:lnTo>
                    <a:pt x="443" y="381"/>
                  </a:lnTo>
                  <a:lnTo>
                    <a:pt x="443" y="377"/>
                  </a:lnTo>
                  <a:lnTo>
                    <a:pt x="443" y="377"/>
                  </a:lnTo>
                  <a:lnTo>
                    <a:pt x="443" y="377"/>
                  </a:lnTo>
                  <a:lnTo>
                    <a:pt x="438" y="377"/>
                  </a:lnTo>
                  <a:lnTo>
                    <a:pt x="434" y="377"/>
                  </a:lnTo>
                  <a:lnTo>
                    <a:pt x="434" y="372"/>
                  </a:lnTo>
                  <a:lnTo>
                    <a:pt x="434" y="372"/>
                  </a:lnTo>
                  <a:lnTo>
                    <a:pt x="429" y="372"/>
                  </a:lnTo>
                  <a:lnTo>
                    <a:pt x="429" y="372"/>
                  </a:lnTo>
                  <a:lnTo>
                    <a:pt x="429" y="372"/>
                  </a:lnTo>
                  <a:lnTo>
                    <a:pt x="429" y="372"/>
                  </a:lnTo>
                  <a:lnTo>
                    <a:pt x="429" y="368"/>
                  </a:lnTo>
                  <a:lnTo>
                    <a:pt x="429" y="368"/>
                  </a:lnTo>
                  <a:lnTo>
                    <a:pt x="429" y="363"/>
                  </a:lnTo>
                  <a:lnTo>
                    <a:pt x="425" y="363"/>
                  </a:lnTo>
                  <a:lnTo>
                    <a:pt x="425" y="363"/>
                  </a:lnTo>
                  <a:lnTo>
                    <a:pt x="425" y="363"/>
                  </a:lnTo>
                  <a:lnTo>
                    <a:pt x="421" y="363"/>
                  </a:lnTo>
                  <a:lnTo>
                    <a:pt x="421" y="359"/>
                  </a:lnTo>
                  <a:lnTo>
                    <a:pt x="412" y="355"/>
                  </a:lnTo>
                  <a:lnTo>
                    <a:pt x="412" y="350"/>
                  </a:lnTo>
                  <a:lnTo>
                    <a:pt x="407" y="350"/>
                  </a:lnTo>
                  <a:lnTo>
                    <a:pt x="403" y="346"/>
                  </a:lnTo>
                  <a:lnTo>
                    <a:pt x="403" y="346"/>
                  </a:lnTo>
                  <a:lnTo>
                    <a:pt x="394" y="332"/>
                  </a:lnTo>
                  <a:lnTo>
                    <a:pt x="394" y="332"/>
                  </a:lnTo>
                  <a:lnTo>
                    <a:pt x="394" y="332"/>
                  </a:lnTo>
                  <a:lnTo>
                    <a:pt x="390" y="328"/>
                  </a:lnTo>
                  <a:lnTo>
                    <a:pt x="390" y="324"/>
                  </a:lnTo>
                  <a:lnTo>
                    <a:pt x="385" y="319"/>
                  </a:lnTo>
                  <a:lnTo>
                    <a:pt x="385" y="315"/>
                  </a:lnTo>
                  <a:lnTo>
                    <a:pt x="381" y="306"/>
                  </a:lnTo>
                  <a:lnTo>
                    <a:pt x="381" y="297"/>
                  </a:lnTo>
                  <a:lnTo>
                    <a:pt x="381" y="297"/>
                  </a:lnTo>
                  <a:lnTo>
                    <a:pt x="381" y="293"/>
                  </a:lnTo>
                  <a:lnTo>
                    <a:pt x="381" y="293"/>
                  </a:lnTo>
                  <a:lnTo>
                    <a:pt x="381" y="293"/>
                  </a:lnTo>
                  <a:lnTo>
                    <a:pt x="376" y="288"/>
                  </a:lnTo>
                  <a:lnTo>
                    <a:pt x="376" y="288"/>
                  </a:lnTo>
                  <a:lnTo>
                    <a:pt x="376" y="288"/>
                  </a:lnTo>
                  <a:lnTo>
                    <a:pt x="367" y="266"/>
                  </a:lnTo>
                  <a:lnTo>
                    <a:pt x="372" y="266"/>
                  </a:lnTo>
                  <a:lnTo>
                    <a:pt x="367" y="266"/>
                  </a:lnTo>
                  <a:lnTo>
                    <a:pt x="367" y="266"/>
                  </a:lnTo>
                  <a:lnTo>
                    <a:pt x="367" y="266"/>
                  </a:lnTo>
                  <a:lnTo>
                    <a:pt x="367" y="262"/>
                  </a:lnTo>
                  <a:lnTo>
                    <a:pt x="367" y="262"/>
                  </a:lnTo>
                  <a:lnTo>
                    <a:pt x="367" y="262"/>
                  </a:lnTo>
                  <a:lnTo>
                    <a:pt x="363" y="262"/>
                  </a:lnTo>
                  <a:lnTo>
                    <a:pt x="363" y="262"/>
                  </a:lnTo>
                  <a:lnTo>
                    <a:pt x="363" y="262"/>
                  </a:lnTo>
                  <a:lnTo>
                    <a:pt x="363" y="262"/>
                  </a:lnTo>
                  <a:lnTo>
                    <a:pt x="363" y="262"/>
                  </a:lnTo>
                  <a:lnTo>
                    <a:pt x="363" y="262"/>
                  </a:lnTo>
                  <a:lnTo>
                    <a:pt x="363" y="262"/>
                  </a:lnTo>
                  <a:lnTo>
                    <a:pt x="363" y="262"/>
                  </a:lnTo>
                  <a:lnTo>
                    <a:pt x="363" y="262"/>
                  </a:lnTo>
                  <a:lnTo>
                    <a:pt x="363" y="262"/>
                  </a:lnTo>
                  <a:lnTo>
                    <a:pt x="363" y="262"/>
                  </a:lnTo>
                  <a:lnTo>
                    <a:pt x="363" y="262"/>
                  </a:lnTo>
                  <a:lnTo>
                    <a:pt x="359" y="262"/>
                  </a:lnTo>
                  <a:lnTo>
                    <a:pt x="359" y="262"/>
                  </a:lnTo>
                  <a:lnTo>
                    <a:pt x="359" y="257"/>
                  </a:lnTo>
                  <a:lnTo>
                    <a:pt x="359" y="257"/>
                  </a:lnTo>
                  <a:lnTo>
                    <a:pt x="350" y="253"/>
                  </a:lnTo>
                  <a:lnTo>
                    <a:pt x="337" y="239"/>
                  </a:lnTo>
                  <a:lnTo>
                    <a:pt x="332" y="239"/>
                  </a:lnTo>
                  <a:lnTo>
                    <a:pt x="332" y="239"/>
                  </a:lnTo>
                  <a:lnTo>
                    <a:pt x="332" y="239"/>
                  </a:lnTo>
                  <a:lnTo>
                    <a:pt x="328" y="235"/>
                  </a:lnTo>
                  <a:lnTo>
                    <a:pt x="328" y="235"/>
                  </a:lnTo>
                  <a:lnTo>
                    <a:pt x="323" y="235"/>
                  </a:lnTo>
                  <a:lnTo>
                    <a:pt x="323" y="235"/>
                  </a:lnTo>
                  <a:lnTo>
                    <a:pt x="323" y="235"/>
                  </a:lnTo>
                  <a:lnTo>
                    <a:pt x="319" y="235"/>
                  </a:lnTo>
                  <a:lnTo>
                    <a:pt x="319" y="231"/>
                  </a:lnTo>
                  <a:lnTo>
                    <a:pt x="319" y="231"/>
                  </a:lnTo>
                  <a:lnTo>
                    <a:pt x="314" y="226"/>
                  </a:lnTo>
                  <a:lnTo>
                    <a:pt x="314" y="226"/>
                  </a:lnTo>
                  <a:lnTo>
                    <a:pt x="310" y="226"/>
                  </a:lnTo>
                  <a:lnTo>
                    <a:pt x="310" y="222"/>
                  </a:lnTo>
                  <a:lnTo>
                    <a:pt x="310" y="222"/>
                  </a:lnTo>
                  <a:lnTo>
                    <a:pt x="306" y="217"/>
                  </a:lnTo>
                  <a:lnTo>
                    <a:pt x="306" y="217"/>
                  </a:lnTo>
                  <a:lnTo>
                    <a:pt x="306" y="213"/>
                  </a:lnTo>
                  <a:lnTo>
                    <a:pt x="301" y="213"/>
                  </a:lnTo>
                  <a:lnTo>
                    <a:pt x="301" y="208"/>
                  </a:lnTo>
                  <a:lnTo>
                    <a:pt x="301" y="208"/>
                  </a:lnTo>
                  <a:lnTo>
                    <a:pt x="301" y="208"/>
                  </a:lnTo>
                  <a:lnTo>
                    <a:pt x="301" y="208"/>
                  </a:lnTo>
                  <a:lnTo>
                    <a:pt x="301" y="208"/>
                  </a:lnTo>
                  <a:lnTo>
                    <a:pt x="301" y="208"/>
                  </a:lnTo>
                  <a:lnTo>
                    <a:pt x="301" y="204"/>
                  </a:lnTo>
                  <a:lnTo>
                    <a:pt x="301" y="200"/>
                  </a:lnTo>
                  <a:lnTo>
                    <a:pt x="301" y="195"/>
                  </a:lnTo>
                  <a:lnTo>
                    <a:pt x="301" y="191"/>
                  </a:lnTo>
                  <a:lnTo>
                    <a:pt x="301" y="186"/>
                  </a:lnTo>
                  <a:lnTo>
                    <a:pt x="301" y="186"/>
                  </a:lnTo>
                  <a:lnTo>
                    <a:pt x="297" y="186"/>
                  </a:lnTo>
                  <a:lnTo>
                    <a:pt x="297" y="182"/>
                  </a:lnTo>
                  <a:lnTo>
                    <a:pt x="297" y="182"/>
                  </a:lnTo>
                  <a:lnTo>
                    <a:pt x="297" y="177"/>
                  </a:lnTo>
                  <a:lnTo>
                    <a:pt x="301" y="173"/>
                  </a:lnTo>
                  <a:lnTo>
                    <a:pt x="297" y="173"/>
                  </a:lnTo>
                  <a:lnTo>
                    <a:pt x="297" y="173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6" y="173"/>
                  </a:lnTo>
                  <a:lnTo>
                    <a:pt x="306" y="173"/>
                  </a:lnTo>
                  <a:lnTo>
                    <a:pt x="306" y="173"/>
                  </a:lnTo>
                  <a:lnTo>
                    <a:pt x="306" y="173"/>
                  </a:lnTo>
                  <a:lnTo>
                    <a:pt x="306" y="173"/>
                  </a:lnTo>
                  <a:lnTo>
                    <a:pt x="306" y="173"/>
                  </a:lnTo>
                  <a:lnTo>
                    <a:pt x="306" y="173"/>
                  </a:lnTo>
                  <a:lnTo>
                    <a:pt x="306" y="173"/>
                  </a:lnTo>
                  <a:lnTo>
                    <a:pt x="306" y="173"/>
                  </a:lnTo>
                  <a:lnTo>
                    <a:pt x="306" y="173"/>
                  </a:lnTo>
                  <a:lnTo>
                    <a:pt x="306" y="169"/>
                  </a:lnTo>
                  <a:lnTo>
                    <a:pt x="306" y="169"/>
                  </a:lnTo>
                  <a:lnTo>
                    <a:pt x="306" y="169"/>
                  </a:lnTo>
                  <a:lnTo>
                    <a:pt x="306" y="169"/>
                  </a:lnTo>
                  <a:lnTo>
                    <a:pt x="306" y="169"/>
                  </a:lnTo>
                  <a:lnTo>
                    <a:pt x="306" y="169"/>
                  </a:lnTo>
                  <a:lnTo>
                    <a:pt x="306" y="169"/>
                  </a:lnTo>
                  <a:lnTo>
                    <a:pt x="306" y="169"/>
                  </a:lnTo>
                  <a:lnTo>
                    <a:pt x="310" y="169"/>
                  </a:lnTo>
                  <a:lnTo>
                    <a:pt x="306" y="169"/>
                  </a:lnTo>
                  <a:lnTo>
                    <a:pt x="306" y="169"/>
                  </a:lnTo>
                  <a:lnTo>
                    <a:pt x="306" y="173"/>
                  </a:lnTo>
                  <a:lnTo>
                    <a:pt x="306" y="173"/>
                  </a:lnTo>
                  <a:lnTo>
                    <a:pt x="310" y="173"/>
                  </a:lnTo>
                  <a:lnTo>
                    <a:pt x="310" y="173"/>
                  </a:lnTo>
                  <a:lnTo>
                    <a:pt x="310" y="173"/>
                  </a:lnTo>
                  <a:lnTo>
                    <a:pt x="310" y="169"/>
                  </a:lnTo>
                  <a:lnTo>
                    <a:pt x="310" y="169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14" y="164"/>
                  </a:lnTo>
                  <a:lnTo>
                    <a:pt x="310" y="164"/>
                  </a:lnTo>
                  <a:lnTo>
                    <a:pt x="314" y="164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06" y="160"/>
                  </a:lnTo>
                  <a:lnTo>
                    <a:pt x="306" y="160"/>
                  </a:lnTo>
                  <a:lnTo>
                    <a:pt x="306" y="155"/>
                  </a:lnTo>
                  <a:lnTo>
                    <a:pt x="306" y="155"/>
                  </a:lnTo>
                  <a:lnTo>
                    <a:pt x="306" y="155"/>
                  </a:lnTo>
                  <a:lnTo>
                    <a:pt x="306" y="155"/>
                  </a:lnTo>
                  <a:lnTo>
                    <a:pt x="306" y="155"/>
                  </a:lnTo>
                  <a:lnTo>
                    <a:pt x="306" y="155"/>
                  </a:lnTo>
                  <a:lnTo>
                    <a:pt x="306" y="155"/>
                  </a:lnTo>
                  <a:lnTo>
                    <a:pt x="306" y="155"/>
                  </a:lnTo>
                  <a:lnTo>
                    <a:pt x="306" y="160"/>
                  </a:lnTo>
                  <a:lnTo>
                    <a:pt x="301" y="160"/>
                  </a:lnTo>
                  <a:lnTo>
                    <a:pt x="306" y="155"/>
                  </a:lnTo>
                  <a:lnTo>
                    <a:pt x="306" y="155"/>
                  </a:lnTo>
                  <a:lnTo>
                    <a:pt x="306" y="155"/>
                  </a:lnTo>
                  <a:lnTo>
                    <a:pt x="306" y="155"/>
                  </a:lnTo>
                  <a:lnTo>
                    <a:pt x="306" y="155"/>
                  </a:lnTo>
                  <a:lnTo>
                    <a:pt x="306" y="155"/>
                  </a:lnTo>
                  <a:lnTo>
                    <a:pt x="301" y="155"/>
                  </a:lnTo>
                  <a:lnTo>
                    <a:pt x="301" y="155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301" y="155"/>
                  </a:lnTo>
                  <a:lnTo>
                    <a:pt x="301" y="155"/>
                  </a:lnTo>
                  <a:lnTo>
                    <a:pt x="301" y="155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2"/>
                  </a:lnTo>
                  <a:lnTo>
                    <a:pt x="301" y="142"/>
                  </a:lnTo>
                  <a:lnTo>
                    <a:pt x="301" y="142"/>
                  </a:lnTo>
                  <a:lnTo>
                    <a:pt x="297" y="142"/>
                  </a:lnTo>
                  <a:lnTo>
                    <a:pt x="297" y="146"/>
                  </a:lnTo>
                  <a:lnTo>
                    <a:pt x="297" y="146"/>
                  </a:lnTo>
                  <a:lnTo>
                    <a:pt x="297" y="146"/>
                  </a:lnTo>
                  <a:lnTo>
                    <a:pt x="297" y="146"/>
                  </a:lnTo>
                  <a:lnTo>
                    <a:pt x="297" y="146"/>
                  </a:lnTo>
                  <a:lnTo>
                    <a:pt x="297" y="146"/>
                  </a:lnTo>
                  <a:lnTo>
                    <a:pt x="297" y="142"/>
                  </a:lnTo>
                  <a:lnTo>
                    <a:pt x="297" y="142"/>
                  </a:lnTo>
                  <a:lnTo>
                    <a:pt x="297" y="142"/>
                  </a:lnTo>
                  <a:lnTo>
                    <a:pt x="297" y="142"/>
                  </a:lnTo>
                  <a:lnTo>
                    <a:pt x="297" y="142"/>
                  </a:lnTo>
                  <a:lnTo>
                    <a:pt x="297" y="142"/>
                  </a:lnTo>
                  <a:lnTo>
                    <a:pt x="297" y="138"/>
                  </a:lnTo>
                  <a:lnTo>
                    <a:pt x="297" y="138"/>
                  </a:lnTo>
                  <a:lnTo>
                    <a:pt x="297" y="138"/>
                  </a:lnTo>
                  <a:lnTo>
                    <a:pt x="297" y="138"/>
                  </a:lnTo>
                  <a:lnTo>
                    <a:pt x="297" y="138"/>
                  </a:lnTo>
                  <a:lnTo>
                    <a:pt x="297" y="138"/>
                  </a:lnTo>
                  <a:lnTo>
                    <a:pt x="297" y="142"/>
                  </a:lnTo>
                  <a:lnTo>
                    <a:pt x="292" y="142"/>
                  </a:lnTo>
                  <a:lnTo>
                    <a:pt x="292" y="142"/>
                  </a:lnTo>
                  <a:lnTo>
                    <a:pt x="292" y="138"/>
                  </a:lnTo>
                  <a:lnTo>
                    <a:pt x="292" y="138"/>
                  </a:lnTo>
                  <a:lnTo>
                    <a:pt x="292" y="138"/>
                  </a:lnTo>
                  <a:lnTo>
                    <a:pt x="292" y="138"/>
                  </a:lnTo>
                  <a:lnTo>
                    <a:pt x="292" y="138"/>
                  </a:lnTo>
                  <a:lnTo>
                    <a:pt x="292" y="138"/>
                  </a:lnTo>
                  <a:lnTo>
                    <a:pt x="297" y="138"/>
                  </a:lnTo>
                  <a:lnTo>
                    <a:pt x="297" y="138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4"/>
                  </a:lnTo>
                  <a:lnTo>
                    <a:pt x="301" y="124"/>
                  </a:lnTo>
                  <a:lnTo>
                    <a:pt x="301" y="120"/>
                  </a:lnTo>
                  <a:lnTo>
                    <a:pt x="306" y="120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10" y="120"/>
                  </a:lnTo>
                  <a:lnTo>
                    <a:pt x="310" y="120"/>
                  </a:lnTo>
                  <a:lnTo>
                    <a:pt x="306" y="120"/>
                  </a:lnTo>
                  <a:lnTo>
                    <a:pt x="310" y="120"/>
                  </a:lnTo>
                  <a:lnTo>
                    <a:pt x="310" y="115"/>
                  </a:lnTo>
                  <a:lnTo>
                    <a:pt x="310" y="115"/>
                  </a:lnTo>
                  <a:lnTo>
                    <a:pt x="310" y="120"/>
                  </a:lnTo>
                  <a:lnTo>
                    <a:pt x="310" y="120"/>
                  </a:lnTo>
                  <a:lnTo>
                    <a:pt x="314" y="120"/>
                  </a:lnTo>
                  <a:lnTo>
                    <a:pt x="314" y="120"/>
                  </a:lnTo>
                  <a:lnTo>
                    <a:pt x="314" y="120"/>
                  </a:lnTo>
                  <a:lnTo>
                    <a:pt x="314" y="120"/>
                  </a:lnTo>
                  <a:lnTo>
                    <a:pt x="314" y="120"/>
                  </a:lnTo>
                  <a:lnTo>
                    <a:pt x="314" y="120"/>
                  </a:lnTo>
                  <a:lnTo>
                    <a:pt x="314" y="120"/>
                  </a:lnTo>
                  <a:lnTo>
                    <a:pt x="314" y="120"/>
                  </a:lnTo>
                  <a:lnTo>
                    <a:pt x="310" y="120"/>
                  </a:lnTo>
                  <a:lnTo>
                    <a:pt x="310" y="120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0"/>
                  </a:lnTo>
                  <a:lnTo>
                    <a:pt x="310" y="120"/>
                  </a:lnTo>
                  <a:lnTo>
                    <a:pt x="310" y="120"/>
                  </a:lnTo>
                  <a:lnTo>
                    <a:pt x="310" y="120"/>
                  </a:lnTo>
                  <a:lnTo>
                    <a:pt x="310" y="120"/>
                  </a:lnTo>
                  <a:lnTo>
                    <a:pt x="310" y="120"/>
                  </a:lnTo>
                  <a:lnTo>
                    <a:pt x="310" y="120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9"/>
                  </a:lnTo>
                  <a:lnTo>
                    <a:pt x="306" y="129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9" y="124"/>
                  </a:lnTo>
                  <a:lnTo>
                    <a:pt x="328" y="120"/>
                  </a:lnTo>
                  <a:lnTo>
                    <a:pt x="332" y="111"/>
                  </a:lnTo>
                  <a:lnTo>
                    <a:pt x="337" y="111"/>
                  </a:lnTo>
                  <a:lnTo>
                    <a:pt x="341" y="111"/>
                  </a:lnTo>
                  <a:lnTo>
                    <a:pt x="341" y="111"/>
                  </a:lnTo>
                  <a:lnTo>
                    <a:pt x="341" y="111"/>
                  </a:lnTo>
                  <a:lnTo>
                    <a:pt x="341" y="111"/>
                  </a:lnTo>
                  <a:lnTo>
                    <a:pt x="341" y="111"/>
                  </a:lnTo>
                  <a:lnTo>
                    <a:pt x="345" y="107"/>
                  </a:lnTo>
                  <a:lnTo>
                    <a:pt x="345" y="107"/>
                  </a:lnTo>
                  <a:lnTo>
                    <a:pt x="341" y="107"/>
                  </a:lnTo>
                  <a:lnTo>
                    <a:pt x="341" y="107"/>
                  </a:lnTo>
                  <a:lnTo>
                    <a:pt x="341" y="107"/>
                  </a:lnTo>
                  <a:lnTo>
                    <a:pt x="341" y="107"/>
                  </a:lnTo>
                  <a:lnTo>
                    <a:pt x="341" y="107"/>
                  </a:lnTo>
                  <a:lnTo>
                    <a:pt x="341" y="107"/>
                  </a:lnTo>
                  <a:lnTo>
                    <a:pt x="345" y="102"/>
                  </a:lnTo>
                  <a:lnTo>
                    <a:pt x="345" y="102"/>
                  </a:lnTo>
                  <a:lnTo>
                    <a:pt x="341" y="102"/>
                  </a:lnTo>
                  <a:lnTo>
                    <a:pt x="341" y="102"/>
                  </a:lnTo>
                  <a:lnTo>
                    <a:pt x="341" y="102"/>
                  </a:lnTo>
                  <a:lnTo>
                    <a:pt x="345" y="102"/>
                  </a:lnTo>
                  <a:lnTo>
                    <a:pt x="345" y="102"/>
                  </a:lnTo>
                  <a:lnTo>
                    <a:pt x="345" y="102"/>
                  </a:lnTo>
                  <a:lnTo>
                    <a:pt x="345" y="102"/>
                  </a:lnTo>
                  <a:lnTo>
                    <a:pt x="345" y="102"/>
                  </a:lnTo>
                  <a:lnTo>
                    <a:pt x="345" y="102"/>
                  </a:lnTo>
                  <a:lnTo>
                    <a:pt x="350" y="102"/>
                  </a:lnTo>
                  <a:lnTo>
                    <a:pt x="350" y="102"/>
                  </a:lnTo>
                  <a:lnTo>
                    <a:pt x="350" y="102"/>
                  </a:lnTo>
                  <a:lnTo>
                    <a:pt x="350" y="102"/>
                  </a:lnTo>
                  <a:lnTo>
                    <a:pt x="350" y="102"/>
                  </a:lnTo>
                  <a:lnTo>
                    <a:pt x="354" y="102"/>
                  </a:lnTo>
                  <a:lnTo>
                    <a:pt x="359" y="102"/>
                  </a:lnTo>
                  <a:lnTo>
                    <a:pt x="359" y="107"/>
                  </a:lnTo>
                  <a:lnTo>
                    <a:pt x="359" y="107"/>
                  </a:lnTo>
                  <a:lnTo>
                    <a:pt x="359" y="107"/>
                  </a:lnTo>
                  <a:lnTo>
                    <a:pt x="359" y="107"/>
                  </a:lnTo>
                  <a:lnTo>
                    <a:pt x="359" y="107"/>
                  </a:lnTo>
                  <a:lnTo>
                    <a:pt x="359" y="107"/>
                  </a:lnTo>
                  <a:lnTo>
                    <a:pt x="359" y="107"/>
                  </a:lnTo>
                  <a:lnTo>
                    <a:pt x="359" y="111"/>
                  </a:lnTo>
                  <a:lnTo>
                    <a:pt x="359" y="107"/>
                  </a:lnTo>
                  <a:lnTo>
                    <a:pt x="363" y="107"/>
                  </a:lnTo>
                  <a:lnTo>
                    <a:pt x="363" y="107"/>
                  </a:lnTo>
                  <a:lnTo>
                    <a:pt x="363" y="107"/>
                  </a:lnTo>
                  <a:lnTo>
                    <a:pt x="363" y="107"/>
                  </a:lnTo>
                  <a:lnTo>
                    <a:pt x="363" y="107"/>
                  </a:lnTo>
                  <a:lnTo>
                    <a:pt x="363" y="107"/>
                  </a:lnTo>
                  <a:lnTo>
                    <a:pt x="367" y="102"/>
                  </a:lnTo>
                  <a:lnTo>
                    <a:pt x="363" y="102"/>
                  </a:lnTo>
                  <a:lnTo>
                    <a:pt x="363" y="102"/>
                  </a:lnTo>
                  <a:lnTo>
                    <a:pt x="367" y="102"/>
                  </a:lnTo>
                  <a:lnTo>
                    <a:pt x="367" y="102"/>
                  </a:lnTo>
                  <a:lnTo>
                    <a:pt x="367" y="102"/>
                  </a:lnTo>
                  <a:lnTo>
                    <a:pt x="372" y="102"/>
                  </a:lnTo>
                  <a:lnTo>
                    <a:pt x="372" y="102"/>
                  </a:lnTo>
                  <a:lnTo>
                    <a:pt x="376" y="107"/>
                  </a:lnTo>
                  <a:lnTo>
                    <a:pt x="376" y="107"/>
                  </a:lnTo>
                  <a:lnTo>
                    <a:pt x="376" y="111"/>
                  </a:lnTo>
                  <a:lnTo>
                    <a:pt x="376" y="111"/>
                  </a:lnTo>
                  <a:lnTo>
                    <a:pt x="376" y="111"/>
                  </a:lnTo>
                  <a:lnTo>
                    <a:pt x="376" y="111"/>
                  </a:lnTo>
                  <a:lnTo>
                    <a:pt x="381" y="111"/>
                  </a:lnTo>
                  <a:lnTo>
                    <a:pt x="381" y="115"/>
                  </a:lnTo>
                  <a:lnTo>
                    <a:pt x="381" y="115"/>
                  </a:lnTo>
                  <a:lnTo>
                    <a:pt x="381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81" y="115"/>
                  </a:lnTo>
                  <a:lnTo>
                    <a:pt x="381" y="115"/>
                  </a:lnTo>
                  <a:lnTo>
                    <a:pt x="381" y="115"/>
                  </a:lnTo>
                  <a:lnTo>
                    <a:pt x="385" y="111"/>
                  </a:lnTo>
                  <a:lnTo>
                    <a:pt x="385" y="111"/>
                  </a:lnTo>
                  <a:lnTo>
                    <a:pt x="385" y="111"/>
                  </a:lnTo>
                  <a:lnTo>
                    <a:pt x="385" y="111"/>
                  </a:lnTo>
                  <a:lnTo>
                    <a:pt x="385" y="111"/>
                  </a:lnTo>
                  <a:lnTo>
                    <a:pt x="381" y="111"/>
                  </a:lnTo>
                  <a:lnTo>
                    <a:pt x="381" y="111"/>
                  </a:lnTo>
                  <a:lnTo>
                    <a:pt x="376" y="102"/>
                  </a:lnTo>
                  <a:lnTo>
                    <a:pt x="376" y="102"/>
                  </a:lnTo>
                  <a:lnTo>
                    <a:pt x="372" y="102"/>
                  </a:lnTo>
                  <a:lnTo>
                    <a:pt x="372" y="102"/>
                  </a:lnTo>
                  <a:lnTo>
                    <a:pt x="372" y="98"/>
                  </a:lnTo>
                  <a:lnTo>
                    <a:pt x="367" y="98"/>
                  </a:lnTo>
                  <a:lnTo>
                    <a:pt x="367" y="98"/>
                  </a:lnTo>
                  <a:lnTo>
                    <a:pt x="367" y="98"/>
                  </a:lnTo>
                  <a:lnTo>
                    <a:pt x="367" y="98"/>
                  </a:lnTo>
                  <a:lnTo>
                    <a:pt x="367" y="93"/>
                  </a:lnTo>
                  <a:lnTo>
                    <a:pt x="367" y="93"/>
                  </a:lnTo>
                  <a:lnTo>
                    <a:pt x="367" y="89"/>
                  </a:lnTo>
                  <a:lnTo>
                    <a:pt x="367" y="89"/>
                  </a:lnTo>
                  <a:lnTo>
                    <a:pt x="372" y="89"/>
                  </a:lnTo>
                  <a:lnTo>
                    <a:pt x="367" y="84"/>
                  </a:lnTo>
                  <a:lnTo>
                    <a:pt x="367" y="84"/>
                  </a:lnTo>
                  <a:lnTo>
                    <a:pt x="367" y="84"/>
                  </a:lnTo>
                  <a:lnTo>
                    <a:pt x="367" y="89"/>
                  </a:lnTo>
                  <a:lnTo>
                    <a:pt x="363" y="89"/>
                  </a:lnTo>
                  <a:lnTo>
                    <a:pt x="363" y="84"/>
                  </a:lnTo>
                  <a:lnTo>
                    <a:pt x="363" y="84"/>
                  </a:lnTo>
                  <a:lnTo>
                    <a:pt x="363" y="84"/>
                  </a:lnTo>
                  <a:lnTo>
                    <a:pt x="363" y="84"/>
                  </a:lnTo>
                  <a:lnTo>
                    <a:pt x="363" y="84"/>
                  </a:lnTo>
                  <a:lnTo>
                    <a:pt x="363" y="84"/>
                  </a:lnTo>
                  <a:lnTo>
                    <a:pt x="363" y="84"/>
                  </a:lnTo>
                  <a:lnTo>
                    <a:pt x="363" y="84"/>
                  </a:lnTo>
                  <a:lnTo>
                    <a:pt x="363" y="84"/>
                  </a:lnTo>
                  <a:lnTo>
                    <a:pt x="363" y="84"/>
                  </a:lnTo>
                  <a:lnTo>
                    <a:pt x="363" y="80"/>
                  </a:lnTo>
                  <a:lnTo>
                    <a:pt x="363" y="80"/>
                  </a:lnTo>
                  <a:lnTo>
                    <a:pt x="363" y="80"/>
                  </a:lnTo>
                  <a:lnTo>
                    <a:pt x="363" y="80"/>
                  </a:lnTo>
                  <a:lnTo>
                    <a:pt x="363" y="80"/>
                  </a:lnTo>
                  <a:lnTo>
                    <a:pt x="367" y="76"/>
                  </a:lnTo>
                  <a:lnTo>
                    <a:pt x="372" y="71"/>
                  </a:lnTo>
                  <a:lnTo>
                    <a:pt x="372" y="71"/>
                  </a:lnTo>
                  <a:lnTo>
                    <a:pt x="372" y="71"/>
                  </a:lnTo>
                  <a:lnTo>
                    <a:pt x="372" y="71"/>
                  </a:lnTo>
                  <a:lnTo>
                    <a:pt x="367" y="71"/>
                  </a:lnTo>
                  <a:lnTo>
                    <a:pt x="367" y="71"/>
                  </a:lnTo>
                  <a:lnTo>
                    <a:pt x="367" y="71"/>
                  </a:lnTo>
                  <a:lnTo>
                    <a:pt x="363" y="67"/>
                  </a:lnTo>
                  <a:lnTo>
                    <a:pt x="363" y="67"/>
                  </a:lnTo>
                  <a:lnTo>
                    <a:pt x="363" y="67"/>
                  </a:lnTo>
                  <a:lnTo>
                    <a:pt x="363" y="67"/>
                  </a:lnTo>
                  <a:lnTo>
                    <a:pt x="359" y="67"/>
                  </a:lnTo>
                  <a:lnTo>
                    <a:pt x="359" y="67"/>
                  </a:lnTo>
                  <a:lnTo>
                    <a:pt x="359" y="67"/>
                  </a:lnTo>
                  <a:lnTo>
                    <a:pt x="359" y="67"/>
                  </a:lnTo>
                  <a:lnTo>
                    <a:pt x="359" y="67"/>
                  </a:lnTo>
                  <a:lnTo>
                    <a:pt x="359" y="67"/>
                  </a:lnTo>
                  <a:lnTo>
                    <a:pt x="359" y="67"/>
                  </a:lnTo>
                  <a:lnTo>
                    <a:pt x="359" y="67"/>
                  </a:lnTo>
                  <a:lnTo>
                    <a:pt x="359" y="67"/>
                  </a:lnTo>
                  <a:lnTo>
                    <a:pt x="359" y="62"/>
                  </a:lnTo>
                  <a:lnTo>
                    <a:pt x="359" y="62"/>
                  </a:lnTo>
                  <a:lnTo>
                    <a:pt x="354" y="62"/>
                  </a:lnTo>
                  <a:lnTo>
                    <a:pt x="359" y="62"/>
                  </a:lnTo>
                  <a:lnTo>
                    <a:pt x="359" y="62"/>
                  </a:lnTo>
                  <a:lnTo>
                    <a:pt x="359" y="58"/>
                  </a:lnTo>
                  <a:lnTo>
                    <a:pt x="359" y="58"/>
                  </a:lnTo>
                  <a:lnTo>
                    <a:pt x="359" y="58"/>
                  </a:lnTo>
                  <a:lnTo>
                    <a:pt x="359" y="58"/>
                  </a:lnTo>
                  <a:lnTo>
                    <a:pt x="363" y="58"/>
                  </a:lnTo>
                  <a:lnTo>
                    <a:pt x="363" y="58"/>
                  </a:lnTo>
                  <a:lnTo>
                    <a:pt x="363" y="53"/>
                  </a:lnTo>
                  <a:lnTo>
                    <a:pt x="367" y="53"/>
                  </a:lnTo>
                  <a:lnTo>
                    <a:pt x="367" y="53"/>
                  </a:lnTo>
                  <a:lnTo>
                    <a:pt x="367" y="49"/>
                  </a:lnTo>
                  <a:lnTo>
                    <a:pt x="372" y="49"/>
                  </a:lnTo>
                  <a:lnTo>
                    <a:pt x="372" y="49"/>
                  </a:lnTo>
                  <a:lnTo>
                    <a:pt x="372" y="49"/>
                  </a:lnTo>
                  <a:lnTo>
                    <a:pt x="372" y="49"/>
                  </a:lnTo>
                  <a:lnTo>
                    <a:pt x="372" y="49"/>
                  </a:lnTo>
                  <a:lnTo>
                    <a:pt x="372" y="49"/>
                  </a:lnTo>
                  <a:lnTo>
                    <a:pt x="372" y="45"/>
                  </a:lnTo>
                  <a:lnTo>
                    <a:pt x="372" y="45"/>
                  </a:lnTo>
                  <a:lnTo>
                    <a:pt x="372" y="45"/>
                  </a:lnTo>
                  <a:lnTo>
                    <a:pt x="372" y="45"/>
                  </a:lnTo>
                  <a:lnTo>
                    <a:pt x="372" y="45"/>
                  </a:lnTo>
                  <a:lnTo>
                    <a:pt x="372" y="45"/>
                  </a:lnTo>
                  <a:lnTo>
                    <a:pt x="367" y="45"/>
                  </a:lnTo>
                  <a:lnTo>
                    <a:pt x="363" y="45"/>
                  </a:lnTo>
                  <a:lnTo>
                    <a:pt x="363" y="45"/>
                  </a:lnTo>
                  <a:lnTo>
                    <a:pt x="363" y="40"/>
                  </a:lnTo>
                  <a:lnTo>
                    <a:pt x="363" y="40"/>
                  </a:lnTo>
                  <a:lnTo>
                    <a:pt x="359" y="40"/>
                  </a:lnTo>
                  <a:lnTo>
                    <a:pt x="359" y="40"/>
                  </a:lnTo>
                  <a:lnTo>
                    <a:pt x="350" y="45"/>
                  </a:lnTo>
                  <a:lnTo>
                    <a:pt x="350" y="45"/>
                  </a:lnTo>
                  <a:lnTo>
                    <a:pt x="350" y="40"/>
                  </a:lnTo>
                  <a:lnTo>
                    <a:pt x="345" y="40"/>
                  </a:lnTo>
                  <a:lnTo>
                    <a:pt x="341" y="40"/>
                  </a:lnTo>
                  <a:lnTo>
                    <a:pt x="328" y="40"/>
                  </a:lnTo>
                  <a:lnTo>
                    <a:pt x="323" y="36"/>
                  </a:lnTo>
                  <a:lnTo>
                    <a:pt x="323" y="36"/>
                  </a:lnTo>
                  <a:lnTo>
                    <a:pt x="323" y="36"/>
                  </a:lnTo>
                  <a:lnTo>
                    <a:pt x="323" y="36"/>
                  </a:lnTo>
                  <a:lnTo>
                    <a:pt x="323" y="36"/>
                  </a:lnTo>
                  <a:lnTo>
                    <a:pt x="323" y="36"/>
                  </a:lnTo>
                  <a:lnTo>
                    <a:pt x="323" y="36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4" y="36"/>
                  </a:lnTo>
                  <a:lnTo>
                    <a:pt x="314" y="36"/>
                  </a:lnTo>
                  <a:lnTo>
                    <a:pt x="314" y="36"/>
                  </a:lnTo>
                  <a:lnTo>
                    <a:pt x="310" y="31"/>
                  </a:lnTo>
                  <a:lnTo>
                    <a:pt x="310" y="31"/>
                  </a:lnTo>
                  <a:lnTo>
                    <a:pt x="310" y="31"/>
                  </a:lnTo>
                  <a:lnTo>
                    <a:pt x="306" y="31"/>
                  </a:lnTo>
                  <a:lnTo>
                    <a:pt x="306" y="31"/>
                  </a:lnTo>
                  <a:lnTo>
                    <a:pt x="301" y="27"/>
                  </a:lnTo>
                  <a:lnTo>
                    <a:pt x="301" y="27"/>
                  </a:lnTo>
                  <a:lnTo>
                    <a:pt x="301" y="27"/>
                  </a:lnTo>
                  <a:lnTo>
                    <a:pt x="301" y="27"/>
                  </a:lnTo>
                  <a:lnTo>
                    <a:pt x="301" y="27"/>
                  </a:lnTo>
                  <a:lnTo>
                    <a:pt x="301" y="27"/>
                  </a:lnTo>
                  <a:lnTo>
                    <a:pt x="297" y="22"/>
                  </a:lnTo>
                  <a:lnTo>
                    <a:pt x="297" y="22"/>
                  </a:lnTo>
                  <a:lnTo>
                    <a:pt x="297" y="22"/>
                  </a:lnTo>
                  <a:lnTo>
                    <a:pt x="297" y="22"/>
                  </a:lnTo>
                  <a:lnTo>
                    <a:pt x="297" y="22"/>
                  </a:lnTo>
                  <a:lnTo>
                    <a:pt x="301" y="22"/>
                  </a:lnTo>
                  <a:lnTo>
                    <a:pt x="301" y="18"/>
                  </a:lnTo>
                  <a:lnTo>
                    <a:pt x="297" y="18"/>
                  </a:lnTo>
                  <a:lnTo>
                    <a:pt x="297" y="18"/>
                  </a:lnTo>
                  <a:lnTo>
                    <a:pt x="297" y="18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2" y="14"/>
                  </a:lnTo>
                  <a:lnTo>
                    <a:pt x="292" y="14"/>
                  </a:lnTo>
                  <a:lnTo>
                    <a:pt x="292" y="14"/>
                  </a:lnTo>
                  <a:lnTo>
                    <a:pt x="292" y="14"/>
                  </a:lnTo>
                  <a:lnTo>
                    <a:pt x="292" y="14"/>
                  </a:lnTo>
                  <a:lnTo>
                    <a:pt x="292" y="14"/>
                  </a:lnTo>
                  <a:lnTo>
                    <a:pt x="292" y="14"/>
                  </a:lnTo>
                  <a:lnTo>
                    <a:pt x="292" y="9"/>
                  </a:lnTo>
                  <a:lnTo>
                    <a:pt x="292" y="9"/>
                  </a:lnTo>
                  <a:lnTo>
                    <a:pt x="292" y="9"/>
                  </a:lnTo>
                  <a:lnTo>
                    <a:pt x="292" y="9"/>
                  </a:lnTo>
                  <a:lnTo>
                    <a:pt x="292" y="5"/>
                  </a:lnTo>
                  <a:lnTo>
                    <a:pt x="297" y="5"/>
                  </a:lnTo>
                  <a:lnTo>
                    <a:pt x="297" y="5"/>
                  </a:lnTo>
                  <a:lnTo>
                    <a:pt x="297" y="0"/>
                  </a:lnTo>
                  <a:lnTo>
                    <a:pt x="292" y="0"/>
                  </a:lnTo>
                  <a:lnTo>
                    <a:pt x="292" y="0"/>
                  </a:lnTo>
                  <a:lnTo>
                    <a:pt x="292" y="0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79" y="5"/>
                  </a:lnTo>
                  <a:lnTo>
                    <a:pt x="279" y="9"/>
                  </a:lnTo>
                  <a:lnTo>
                    <a:pt x="275" y="9"/>
                  </a:lnTo>
                  <a:lnTo>
                    <a:pt x="275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66" y="9"/>
                  </a:lnTo>
                  <a:lnTo>
                    <a:pt x="266" y="9"/>
                  </a:lnTo>
                  <a:lnTo>
                    <a:pt x="266" y="9"/>
                  </a:lnTo>
                  <a:lnTo>
                    <a:pt x="266" y="9"/>
                  </a:lnTo>
                  <a:lnTo>
                    <a:pt x="266" y="9"/>
                  </a:lnTo>
                  <a:lnTo>
                    <a:pt x="266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57" y="9"/>
                  </a:lnTo>
                  <a:lnTo>
                    <a:pt x="257" y="9"/>
                  </a:lnTo>
                  <a:lnTo>
                    <a:pt x="257" y="9"/>
                  </a:lnTo>
                  <a:lnTo>
                    <a:pt x="257" y="9"/>
                  </a:lnTo>
                  <a:lnTo>
                    <a:pt x="257" y="9"/>
                  </a:lnTo>
                  <a:lnTo>
                    <a:pt x="257" y="9"/>
                  </a:lnTo>
                  <a:lnTo>
                    <a:pt x="257" y="9"/>
                  </a:lnTo>
                  <a:lnTo>
                    <a:pt x="257" y="9"/>
                  </a:lnTo>
                  <a:lnTo>
                    <a:pt x="257" y="9"/>
                  </a:lnTo>
                  <a:lnTo>
                    <a:pt x="257" y="9"/>
                  </a:lnTo>
                  <a:lnTo>
                    <a:pt x="252" y="9"/>
                  </a:lnTo>
                  <a:lnTo>
                    <a:pt x="252" y="9"/>
                  </a:lnTo>
                  <a:lnTo>
                    <a:pt x="248" y="9"/>
                  </a:lnTo>
                  <a:lnTo>
                    <a:pt x="248" y="9"/>
                  </a:lnTo>
                  <a:lnTo>
                    <a:pt x="244" y="9"/>
                  </a:lnTo>
                  <a:lnTo>
                    <a:pt x="239" y="9"/>
                  </a:lnTo>
                  <a:lnTo>
                    <a:pt x="239" y="14"/>
                  </a:lnTo>
                  <a:lnTo>
                    <a:pt x="235" y="14"/>
                  </a:lnTo>
                  <a:lnTo>
                    <a:pt x="235" y="14"/>
                  </a:lnTo>
                  <a:lnTo>
                    <a:pt x="235" y="18"/>
                  </a:lnTo>
                  <a:lnTo>
                    <a:pt x="235" y="22"/>
                  </a:lnTo>
                  <a:lnTo>
                    <a:pt x="235" y="22"/>
                  </a:lnTo>
                  <a:lnTo>
                    <a:pt x="235" y="22"/>
                  </a:lnTo>
                  <a:lnTo>
                    <a:pt x="235" y="22"/>
                  </a:lnTo>
                  <a:lnTo>
                    <a:pt x="235" y="22"/>
                  </a:lnTo>
                  <a:lnTo>
                    <a:pt x="235" y="22"/>
                  </a:lnTo>
                  <a:lnTo>
                    <a:pt x="235" y="22"/>
                  </a:lnTo>
                  <a:lnTo>
                    <a:pt x="230" y="27"/>
                  </a:lnTo>
                  <a:lnTo>
                    <a:pt x="230" y="27"/>
                  </a:lnTo>
                  <a:lnTo>
                    <a:pt x="230" y="27"/>
                  </a:lnTo>
                  <a:lnTo>
                    <a:pt x="230" y="27"/>
                  </a:lnTo>
                  <a:lnTo>
                    <a:pt x="226" y="27"/>
                  </a:lnTo>
                  <a:lnTo>
                    <a:pt x="226" y="27"/>
                  </a:lnTo>
                  <a:lnTo>
                    <a:pt x="226" y="27"/>
                  </a:lnTo>
                  <a:lnTo>
                    <a:pt x="226" y="27"/>
                  </a:lnTo>
                  <a:lnTo>
                    <a:pt x="226" y="27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21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08" y="18"/>
                  </a:lnTo>
                  <a:lnTo>
                    <a:pt x="204" y="18"/>
                  </a:lnTo>
                  <a:lnTo>
                    <a:pt x="204" y="18"/>
                  </a:lnTo>
                  <a:lnTo>
                    <a:pt x="204" y="22"/>
                  </a:lnTo>
                  <a:lnTo>
                    <a:pt x="204" y="22"/>
                  </a:lnTo>
                  <a:lnTo>
                    <a:pt x="204" y="22"/>
                  </a:lnTo>
                  <a:lnTo>
                    <a:pt x="199" y="22"/>
                  </a:lnTo>
                  <a:lnTo>
                    <a:pt x="199" y="27"/>
                  </a:lnTo>
                  <a:lnTo>
                    <a:pt x="199" y="27"/>
                  </a:lnTo>
                  <a:lnTo>
                    <a:pt x="204" y="27"/>
                  </a:lnTo>
                  <a:lnTo>
                    <a:pt x="199" y="27"/>
                  </a:lnTo>
                  <a:lnTo>
                    <a:pt x="199" y="27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6"/>
                  </a:lnTo>
                  <a:lnTo>
                    <a:pt x="199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40"/>
                  </a:lnTo>
                  <a:lnTo>
                    <a:pt x="204" y="40"/>
                  </a:lnTo>
                  <a:lnTo>
                    <a:pt x="204" y="40"/>
                  </a:lnTo>
                  <a:lnTo>
                    <a:pt x="204" y="45"/>
                  </a:lnTo>
                  <a:lnTo>
                    <a:pt x="204" y="45"/>
                  </a:lnTo>
                  <a:lnTo>
                    <a:pt x="199" y="45"/>
                  </a:lnTo>
                  <a:lnTo>
                    <a:pt x="199" y="45"/>
                  </a:lnTo>
                  <a:lnTo>
                    <a:pt x="195" y="45"/>
                  </a:lnTo>
                  <a:lnTo>
                    <a:pt x="195" y="45"/>
                  </a:lnTo>
                  <a:lnTo>
                    <a:pt x="195" y="45"/>
                  </a:lnTo>
                  <a:lnTo>
                    <a:pt x="195" y="40"/>
                  </a:lnTo>
                  <a:lnTo>
                    <a:pt x="195" y="40"/>
                  </a:lnTo>
                  <a:lnTo>
                    <a:pt x="195" y="40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90" y="36"/>
                  </a:lnTo>
                  <a:lnTo>
                    <a:pt x="190" y="36"/>
                  </a:lnTo>
                  <a:lnTo>
                    <a:pt x="190" y="36"/>
                  </a:lnTo>
                  <a:lnTo>
                    <a:pt x="186" y="40"/>
                  </a:lnTo>
                  <a:lnTo>
                    <a:pt x="182" y="40"/>
                  </a:lnTo>
                  <a:lnTo>
                    <a:pt x="182" y="40"/>
                  </a:lnTo>
                  <a:lnTo>
                    <a:pt x="182" y="40"/>
                  </a:lnTo>
                  <a:lnTo>
                    <a:pt x="182" y="40"/>
                  </a:lnTo>
                  <a:lnTo>
                    <a:pt x="182" y="45"/>
                  </a:lnTo>
                  <a:lnTo>
                    <a:pt x="182" y="45"/>
                  </a:lnTo>
                  <a:lnTo>
                    <a:pt x="182" y="45"/>
                  </a:lnTo>
                  <a:lnTo>
                    <a:pt x="182" y="45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53"/>
                  </a:lnTo>
                  <a:lnTo>
                    <a:pt x="182" y="53"/>
                  </a:lnTo>
                  <a:lnTo>
                    <a:pt x="186" y="53"/>
                  </a:lnTo>
                  <a:lnTo>
                    <a:pt x="186" y="53"/>
                  </a:lnTo>
                  <a:lnTo>
                    <a:pt x="186" y="53"/>
                  </a:lnTo>
                  <a:lnTo>
                    <a:pt x="186" y="53"/>
                  </a:lnTo>
                  <a:lnTo>
                    <a:pt x="186" y="58"/>
                  </a:lnTo>
                  <a:lnTo>
                    <a:pt x="186" y="58"/>
                  </a:lnTo>
                  <a:lnTo>
                    <a:pt x="186" y="58"/>
                  </a:lnTo>
                  <a:lnTo>
                    <a:pt x="186" y="58"/>
                  </a:lnTo>
                  <a:lnTo>
                    <a:pt x="186" y="58"/>
                  </a:lnTo>
                  <a:lnTo>
                    <a:pt x="186" y="62"/>
                  </a:lnTo>
                  <a:lnTo>
                    <a:pt x="186" y="62"/>
                  </a:lnTo>
                  <a:lnTo>
                    <a:pt x="186" y="62"/>
                  </a:lnTo>
                  <a:lnTo>
                    <a:pt x="186" y="67"/>
                  </a:lnTo>
                  <a:lnTo>
                    <a:pt x="186" y="67"/>
                  </a:lnTo>
                  <a:lnTo>
                    <a:pt x="186" y="67"/>
                  </a:lnTo>
                  <a:lnTo>
                    <a:pt x="182" y="67"/>
                  </a:lnTo>
                  <a:lnTo>
                    <a:pt x="182" y="67"/>
                  </a:lnTo>
                  <a:lnTo>
                    <a:pt x="182" y="67"/>
                  </a:lnTo>
                  <a:lnTo>
                    <a:pt x="182" y="67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7" y="58"/>
                  </a:lnTo>
                  <a:lnTo>
                    <a:pt x="177" y="58"/>
                  </a:lnTo>
                  <a:lnTo>
                    <a:pt x="177" y="58"/>
                  </a:lnTo>
                  <a:lnTo>
                    <a:pt x="173" y="58"/>
                  </a:lnTo>
                  <a:lnTo>
                    <a:pt x="173" y="58"/>
                  </a:lnTo>
                  <a:lnTo>
                    <a:pt x="173" y="58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4" y="62"/>
                  </a:lnTo>
                  <a:lnTo>
                    <a:pt x="164" y="62"/>
                  </a:lnTo>
                  <a:lnTo>
                    <a:pt x="164" y="62"/>
                  </a:lnTo>
                  <a:lnTo>
                    <a:pt x="164" y="62"/>
                  </a:lnTo>
                  <a:lnTo>
                    <a:pt x="155" y="62"/>
                  </a:lnTo>
                  <a:lnTo>
                    <a:pt x="155" y="62"/>
                  </a:lnTo>
                  <a:lnTo>
                    <a:pt x="155" y="62"/>
                  </a:lnTo>
                  <a:lnTo>
                    <a:pt x="151" y="62"/>
                  </a:lnTo>
                  <a:lnTo>
                    <a:pt x="151" y="58"/>
                  </a:lnTo>
                  <a:lnTo>
                    <a:pt x="151" y="58"/>
                  </a:lnTo>
                  <a:lnTo>
                    <a:pt x="151" y="58"/>
                  </a:lnTo>
                  <a:lnTo>
                    <a:pt x="151" y="58"/>
                  </a:lnTo>
                  <a:lnTo>
                    <a:pt x="151" y="53"/>
                  </a:lnTo>
                  <a:lnTo>
                    <a:pt x="151" y="53"/>
                  </a:lnTo>
                  <a:lnTo>
                    <a:pt x="151" y="49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46" y="49"/>
                  </a:lnTo>
                  <a:lnTo>
                    <a:pt x="146" y="49"/>
                  </a:lnTo>
                  <a:lnTo>
                    <a:pt x="146" y="49"/>
                  </a:lnTo>
                  <a:lnTo>
                    <a:pt x="146" y="49"/>
                  </a:lnTo>
                  <a:lnTo>
                    <a:pt x="146" y="49"/>
                  </a:lnTo>
                  <a:lnTo>
                    <a:pt x="146" y="49"/>
                  </a:lnTo>
                  <a:lnTo>
                    <a:pt x="146" y="49"/>
                  </a:lnTo>
                  <a:lnTo>
                    <a:pt x="146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9"/>
                  </a:lnTo>
                  <a:lnTo>
                    <a:pt x="137" y="49"/>
                  </a:lnTo>
                  <a:lnTo>
                    <a:pt x="137" y="53"/>
                  </a:lnTo>
                  <a:lnTo>
                    <a:pt x="137" y="53"/>
                  </a:lnTo>
                  <a:lnTo>
                    <a:pt x="142" y="53"/>
                  </a:lnTo>
                  <a:lnTo>
                    <a:pt x="142" y="53"/>
                  </a:lnTo>
                  <a:lnTo>
                    <a:pt x="142" y="53"/>
                  </a:lnTo>
                  <a:lnTo>
                    <a:pt x="142" y="53"/>
                  </a:lnTo>
                  <a:lnTo>
                    <a:pt x="142" y="58"/>
                  </a:lnTo>
                  <a:lnTo>
                    <a:pt x="142" y="58"/>
                  </a:lnTo>
                  <a:lnTo>
                    <a:pt x="142" y="62"/>
                  </a:lnTo>
                  <a:lnTo>
                    <a:pt x="137" y="62"/>
                  </a:lnTo>
                  <a:lnTo>
                    <a:pt x="137" y="67"/>
                  </a:lnTo>
                  <a:lnTo>
                    <a:pt x="137" y="67"/>
                  </a:lnTo>
                  <a:lnTo>
                    <a:pt x="137" y="67"/>
                  </a:lnTo>
                  <a:lnTo>
                    <a:pt x="137" y="67"/>
                  </a:lnTo>
                  <a:lnTo>
                    <a:pt x="137" y="71"/>
                  </a:lnTo>
                  <a:lnTo>
                    <a:pt x="137" y="71"/>
                  </a:lnTo>
                  <a:lnTo>
                    <a:pt x="137" y="71"/>
                  </a:lnTo>
                  <a:lnTo>
                    <a:pt x="133" y="71"/>
                  </a:lnTo>
                  <a:lnTo>
                    <a:pt x="133" y="71"/>
                  </a:lnTo>
                  <a:lnTo>
                    <a:pt x="133" y="76"/>
                  </a:lnTo>
                  <a:lnTo>
                    <a:pt x="128" y="76"/>
                  </a:lnTo>
                  <a:lnTo>
                    <a:pt x="128" y="76"/>
                  </a:lnTo>
                  <a:lnTo>
                    <a:pt x="128" y="80"/>
                  </a:lnTo>
                  <a:lnTo>
                    <a:pt x="128" y="80"/>
                  </a:lnTo>
                  <a:lnTo>
                    <a:pt x="128" y="80"/>
                  </a:lnTo>
                  <a:lnTo>
                    <a:pt x="128" y="80"/>
                  </a:lnTo>
                  <a:lnTo>
                    <a:pt x="128" y="80"/>
                  </a:lnTo>
                  <a:lnTo>
                    <a:pt x="128" y="80"/>
                  </a:lnTo>
                  <a:lnTo>
                    <a:pt x="124" y="84"/>
                  </a:lnTo>
                  <a:lnTo>
                    <a:pt x="128" y="84"/>
                  </a:lnTo>
                  <a:lnTo>
                    <a:pt x="124" y="84"/>
                  </a:lnTo>
                  <a:lnTo>
                    <a:pt x="124" y="89"/>
                  </a:lnTo>
                  <a:lnTo>
                    <a:pt x="124" y="89"/>
                  </a:lnTo>
                  <a:lnTo>
                    <a:pt x="124" y="89"/>
                  </a:lnTo>
                  <a:lnTo>
                    <a:pt x="124" y="89"/>
                  </a:lnTo>
                  <a:lnTo>
                    <a:pt x="124" y="89"/>
                  </a:lnTo>
                  <a:lnTo>
                    <a:pt x="128" y="89"/>
                  </a:lnTo>
                  <a:lnTo>
                    <a:pt x="128" y="89"/>
                  </a:lnTo>
                  <a:lnTo>
                    <a:pt x="128" y="89"/>
                  </a:lnTo>
                  <a:lnTo>
                    <a:pt x="128" y="89"/>
                  </a:lnTo>
                  <a:lnTo>
                    <a:pt x="128" y="89"/>
                  </a:lnTo>
                  <a:lnTo>
                    <a:pt x="128" y="93"/>
                  </a:lnTo>
                  <a:lnTo>
                    <a:pt x="128" y="93"/>
                  </a:lnTo>
                  <a:lnTo>
                    <a:pt x="128" y="98"/>
                  </a:lnTo>
                  <a:lnTo>
                    <a:pt x="128" y="98"/>
                  </a:lnTo>
                  <a:lnTo>
                    <a:pt x="124" y="98"/>
                  </a:lnTo>
                  <a:lnTo>
                    <a:pt x="124" y="98"/>
                  </a:lnTo>
                  <a:lnTo>
                    <a:pt x="120" y="98"/>
                  </a:lnTo>
                  <a:lnTo>
                    <a:pt x="120" y="98"/>
                  </a:lnTo>
                  <a:lnTo>
                    <a:pt x="120" y="98"/>
                  </a:lnTo>
                  <a:lnTo>
                    <a:pt x="120" y="93"/>
                  </a:lnTo>
                  <a:lnTo>
                    <a:pt x="120" y="93"/>
                  </a:lnTo>
                  <a:lnTo>
                    <a:pt x="120" y="93"/>
                  </a:lnTo>
                  <a:lnTo>
                    <a:pt x="120" y="93"/>
                  </a:lnTo>
                  <a:lnTo>
                    <a:pt x="120" y="89"/>
                  </a:lnTo>
                  <a:lnTo>
                    <a:pt x="120" y="89"/>
                  </a:lnTo>
                  <a:lnTo>
                    <a:pt x="120" y="89"/>
                  </a:lnTo>
                  <a:lnTo>
                    <a:pt x="120" y="89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0"/>
                  </a:lnTo>
                  <a:lnTo>
                    <a:pt x="120" y="80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1" y="76"/>
                  </a:lnTo>
                  <a:lnTo>
                    <a:pt x="111" y="76"/>
                  </a:lnTo>
                  <a:lnTo>
                    <a:pt x="111" y="76"/>
                  </a:lnTo>
                  <a:lnTo>
                    <a:pt x="111" y="76"/>
                  </a:lnTo>
                  <a:lnTo>
                    <a:pt x="111" y="76"/>
                  </a:lnTo>
                  <a:lnTo>
                    <a:pt x="111" y="76"/>
                  </a:lnTo>
                  <a:lnTo>
                    <a:pt x="111" y="76"/>
                  </a:lnTo>
                  <a:lnTo>
                    <a:pt x="111" y="76"/>
                  </a:lnTo>
                  <a:lnTo>
                    <a:pt x="111" y="76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2" y="71"/>
                  </a:lnTo>
                  <a:lnTo>
                    <a:pt x="102" y="67"/>
                  </a:lnTo>
                  <a:lnTo>
                    <a:pt x="97" y="67"/>
                  </a:lnTo>
                  <a:lnTo>
                    <a:pt x="97" y="67"/>
                  </a:lnTo>
                  <a:lnTo>
                    <a:pt x="97" y="67"/>
                  </a:lnTo>
                  <a:lnTo>
                    <a:pt x="97" y="67"/>
                  </a:lnTo>
                  <a:lnTo>
                    <a:pt x="97" y="62"/>
                  </a:lnTo>
                  <a:lnTo>
                    <a:pt x="97" y="62"/>
                  </a:lnTo>
                  <a:lnTo>
                    <a:pt x="97" y="58"/>
                  </a:lnTo>
                  <a:lnTo>
                    <a:pt x="97" y="53"/>
                  </a:lnTo>
                  <a:lnTo>
                    <a:pt x="97" y="53"/>
                  </a:lnTo>
                  <a:lnTo>
                    <a:pt x="97" y="53"/>
                  </a:lnTo>
                  <a:lnTo>
                    <a:pt x="97" y="49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89" y="58"/>
                  </a:lnTo>
                  <a:lnTo>
                    <a:pt x="89" y="58"/>
                  </a:lnTo>
                  <a:lnTo>
                    <a:pt x="89" y="58"/>
                  </a:lnTo>
                  <a:lnTo>
                    <a:pt x="84" y="58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0" y="62"/>
                  </a:lnTo>
                  <a:lnTo>
                    <a:pt x="80" y="62"/>
                  </a:lnTo>
                  <a:lnTo>
                    <a:pt x="80" y="62"/>
                  </a:lnTo>
                  <a:lnTo>
                    <a:pt x="80" y="67"/>
                  </a:lnTo>
                  <a:lnTo>
                    <a:pt x="75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76"/>
                  </a:lnTo>
                  <a:lnTo>
                    <a:pt x="75" y="76"/>
                  </a:lnTo>
                  <a:lnTo>
                    <a:pt x="75" y="76"/>
                  </a:lnTo>
                  <a:lnTo>
                    <a:pt x="75" y="76"/>
                  </a:lnTo>
                  <a:lnTo>
                    <a:pt x="75" y="76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1" y="84"/>
                  </a:lnTo>
                  <a:lnTo>
                    <a:pt x="71" y="84"/>
                  </a:lnTo>
                  <a:lnTo>
                    <a:pt x="71" y="84"/>
                  </a:lnTo>
                  <a:lnTo>
                    <a:pt x="67" y="84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3" y="89"/>
                  </a:lnTo>
                  <a:lnTo>
                    <a:pt x="49" y="84"/>
                  </a:lnTo>
                  <a:lnTo>
                    <a:pt x="49" y="84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44" y="89"/>
                  </a:lnTo>
                  <a:lnTo>
                    <a:pt x="44" y="89"/>
                  </a:lnTo>
                  <a:lnTo>
                    <a:pt x="40" y="89"/>
                  </a:lnTo>
                  <a:lnTo>
                    <a:pt x="40" y="93"/>
                  </a:lnTo>
                  <a:lnTo>
                    <a:pt x="36" y="89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1" y="93"/>
                  </a:lnTo>
                  <a:lnTo>
                    <a:pt x="31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2" y="93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9" y="98"/>
                  </a:lnTo>
                  <a:lnTo>
                    <a:pt x="9" y="98"/>
                  </a:lnTo>
                  <a:lnTo>
                    <a:pt x="9" y="98"/>
                  </a:lnTo>
                  <a:lnTo>
                    <a:pt x="9" y="98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11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2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9"/>
                  </a:lnTo>
                  <a:lnTo>
                    <a:pt x="27" y="129"/>
                  </a:lnTo>
                  <a:lnTo>
                    <a:pt x="31" y="129"/>
                  </a:lnTo>
                  <a:lnTo>
                    <a:pt x="31" y="129"/>
                  </a:lnTo>
                  <a:lnTo>
                    <a:pt x="31" y="129"/>
                  </a:lnTo>
                  <a:lnTo>
                    <a:pt x="27" y="129"/>
                  </a:lnTo>
                  <a:lnTo>
                    <a:pt x="27" y="133"/>
                  </a:lnTo>
                  <a:lnTo>
                    <a:pt x="27" y="133"/>
                  </a:lnTo>
                  <a:lnTo>
                    <a:pt x="27" y="133"/>
                  </a:lnTo>
                  <a:lnTo>
                    <a:pt x="27" y="138"/>
                  </a:lnTo>
                  <a:lnTo>
                    <a:pt x="27" y="138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18" y="142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51"/>
                  </a:lnTo>
                  <a:lnTo>
                    <a:pt x="13" y="151"/>
                  </a:lnTo>
                  <a:lnTo>
                    <a:pt x="9" y="151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5" y="146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64"/>
                  </a:lnTo>
                  <a:lnTo>
                    <a:pt x="9" y="164"/>
                  </a:lnTo>
                  <a:lnTo>
                    <a:pt x="9" y="169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8" y="169"/>
                  </a:lnTo>
                  <a:lnTo>
                    <a:pt x="18" y="169"/>
                  </a:lnTo>
                  <a:lnTo>
                    <a:pt x="18" y="173"/>
                  </a:lnTo>
                  <a:lnTo>
                    <a:pt x="22" y="173"/>
                  </a:lnTo>
                  <a:lnTo>
                    <a:pt x="22" y="173"/>
                  </a:lnTo>
                  <a:lnTo>
                    <a:pt x="22" y="173"/>
                  </a:lnTo>
                  <a:lnTo>
                    <a:pt x="22" y="173"/>
                  </a:lnTo>
                  <a:lnTo>
                    <a:pt x="22" y="173"/>
                  </a:lnTo>
                  <a:lnTo>
                    <a:pt x="22" y="173"/>
                  </a:lnTo>
                  <a:lnTo>
                    <a:pt x="22" y="173"/>
                  </a:lnTo>
                  <a:lnTo>
                    <a:pt x="22" y="173"/>
                  </a:lnTo>
                  <a:lnTo>
                    <a:pt x="22" y="173"/>
                  </a:lnTo>
                  <a:lnTo>
                    <a:pt x="22" y="177"/>
                  </a:lnTo>
                  <a:lnTo>
                    <a:pt x="22" y="177"/>
                  </a:lnTo>
                  <a:lnTo>
                    <a:pt x="22" y="177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13" y="191"/>
                  </a:lnTo>
                  <a:lnTo>
                    <a:pt x="13" y="195"/>
                  </a:lnTo>
                  <a:lnTo>
                    <a:pt x="13" y="195"/>
                  </a:lnTo>
                  <a:lnTo>
                    <a:pt x="13" y="195"/>
                  </a:lnTo>
                  <a:lnTo>
                    <a:pt x="13" y="200"/>
                  </a:lnTo>
                  <a:lnTo>
                    <a:pt x="13" y="200"/>
                  </a:lnTo>
                  <a:lnTo>
                    <a:pt x="18" y="200"/>
                  </a:lnTo>
                  <a:lnTo>
                    <a:pt x="13" y="204"/>
                  </a:lnTo>
                  <a:lnTo>
                    <a:pt x="13" y="204"/>
                  </a:lnTo>
                  <a:lnTo>
                    <a:pt x="13" y="204"/>
                  </a:lnTo>
                  <a:lnTo>
                    <a:pt x="13" y="204"/>
                  </a:lnTo>
                  <a:lnTo>
                    <a:pt x="13" y="204"/>
                  </a:lnTo>
                  <a:lnTo>
                    <a:pt x="13" y="208"/>
                  </a:lnTo>
                  <a:lnTo>
                    <a:pt x="13" y="208"/>
                  </a:lnTo>
                  <a:lnTo>
                    <a:pt x="13" y="208"/>
                  </a:lnTo>
                  <a:lnTo>
                    <a:pt x="18" y="208"/>
                  </a:lnTo>
                  <a:lnTo>
                    <a:pt x="18" y="208"/>
                  </a:lnTo>
                  <a:lnTo>
                    <a:pt x="18" y="213"/>
                  </a:lnTo>
                  <a:lnTo>
                    <a:pt x="18" y="213"/>
                  </a:lnTo>
                  <a:lnTo>
                    <a:pt x="18" y="213"/>
                  </a:lnTo>
                  <a:lnTo>
                    <a:pt x="18" y="213"/>
                  </a:lnTo>
                  <a:lnTo>
                    <a:pt x="18" y="213"/>
                  </a:lnTo>
                  <a:lnTo>
                    <a:pt x="18" y="213"/>
                  </a:lnTo>
                  <a:lnTo>
                    <a:pt x="18" y="213"/>
                  </a:lnTo>
                  <a:lnTo>
                    <a:pt x="18" y="217"/>
                  </a:lnTo>
                  <a:lnTo>
                    <a:pt x="22" y="217"/>
                  </a:lnTo>
                  <a:lnTo>
                    <a:pt x="22" y="217"/>
                  </a:lnTo>
                  <a:lnTo>
                    <a:pt x="22" y="217"/>
                  </a:lnTo>
                  <a:lnTo>
                    <a:pt x="22" y="217"/>
                  </a:lnTo>
                  <a:lnTo>
                    <a:pt x="22" y="217"/>
                  </a:lnTo>
                  <a:lnTo>
                    <a:pt x="27" y="217"/>
                  </a:lnTo>
                  <a:lnTo>
                    <a:pt x="27" y="217"/>
                  </a:lnTo>
                  <a:lnTo>
                    <a:pt x="36" y="222"/>
                  </a:lnTo>
                  <a:lnTo>
                    <a:pt x="36" y="222"/>
                  </a:lnTo>
                  <a:lnTo>
                    <a:pt x="36" y="222"/>
                  </a:lnTo>
                  <a:lnTo>
                    <a:pt x="36" y="222"/>
                  </a:lnTo>
                  <a:lnTo>
                    <a:pt x="36" y="222"/>
                  </a:lnTo>
                  <a:lnTo>
                    <a:pt x="40" y="222"/>
                  </a:lnTo>
                  <a:lnTo>
                    <a:pt x="40" y="226"/>
                  </a:lnTo>
                  <a:lnTo>
                    <a:pt x="40" y="226"/>
                  </a:lnTo>
                  <a:lnTo>
                    <a:pt x="40" y="226"/>
                  </a:lnTo>
                  <a:lnTo>
                    <a:pt x="49" y="222"/>
                  </a:lnTo>
                  <a:lnTo>
                    <a:pt x="53" y="222"/>
                  </a:lnTo>
                  <a:lnTo>
                    <a:pt x="53" y="222"/>
                  </a:lnTo>
                  <a:lnTo>
                    <a:pt x="53" y="222"/>
                  </a:lnTo>
                  <a:lnTo>
                    <a:pt x="53" y="222"/>
                  </a:lnTo>
                  <a:lnTo>
                    <a:pt x="53" y="226"/>
                  </a:lnTo>
                  <a:lnTo>
                    <a:pt x="58" y="226"/>
                  </a:lnTo>
                  <a:lnTo>
                    <a:pt x="58" y="226"/>
                  </a:lnTo>
                  <a:lnTo>
                    <a:pt x="58" y="226"/>
                  </a:lnTo>
                  <a:lnTo>
                    <a:pt x="58" y="226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3" y="231"/>
                  </a:lnTo>
                  <a:lnTo>
                    <a:pt x="53" y="231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4" y="244"/>
                  </a:lnTo>
                  <a:lnTo>
                    <a:pt x="44" y="244"/>
                  </a:lnTo>
                  <a:lnTo>
                    <a:pt x="49" y="248"/>
                  </a:lnTo>
                  <a:lnTo>
                    <a:pt x="49" y="248"/>
                  </a:lnTo>
                  <a:lnTo>
                    <a:pt x="49" y="248"/>
                  </a:lnTo>
                  <a:lnTo>
                    <a:pt x="49" y="248"/>
                  </a:lnTo>
                  <a:lnTo>
                    <a:pt x="49" y="248"/>
                  </a:lnTo>
                  <a:lnTo>
                    <a:pt x="49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62" y="248"/>
                  </a:lnTo>
                  <a:lnTo>
                    <a:pt x="71" y="244"/>
                  </a:lnTo>
                  <a:lnTo>
                    <a:pt x="75" y="239"/>
                  </a:lnTo>
                  <a:lnTo>
                    <a:pt x="75" y="239"/>
                  </a:lnTo>
                  <a:lnTo>
                    <a:pt x="75" y="239"/>
                  </a:lnTo>
                  <a:lnTo>
                    <a:pt x="75" y="239"/>
                  </a:lnTo>
                  <a:lnTo>
                    <a:pt x="75" y="239"/>
                  </a:lnTo>
                  <a:lnTo>
                    <a:pt x="80" y="239"/>
                  </a:lnTo>
                  <a:lnTo>
                    <a:pt x="80" y="239"/>
                  </a:lnTo>
                  <a:lnTo>
                    <a:pt x="80" y="239"/>
                  </a:lnTo>
                  <a:lnTo>
                    <a:pt x="80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84" y="231"/>
                  </a:lnTo>
                  <a:lnTo>
                    <a:pt x="84" y="231"/>
                  </a:lnTo>
                  <a:lnTo>
                    <a:pt x="84" y="231"/>
                  </a:lnTo>
                  <a:lnTo>
                    <a:pt x="84" y="226"/>
                  </a:lnTo>
                  <a:lnTo>
                    <a:pt x="84" y="226"/>
                  </a:lnTo>
                  <a:lnTo>
                    <a:pt x="84" y="226"/>
                  </a:lnTo>
                  <a:lnTo>
                    <a:pt x="84" y="226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17"/>
                  </a:lnTo>
                  <a:lnTo>
                    <a:pt x="93" y="217"/>
                  </a:lnTo>
                  <a:lnTo>
                    <a:pt x="93" y="217"/>
                  </a:lnTo>
                  <a:lnTo>
                    <a:pt x="93" y="217"/>
                  </a:lnTo>
                  <a:lnTo>
                    <a:pt x="97" y="217"/>
                  </a:lnTo>
                  <a:lnTo>
                    <a:pt x="97" y="217"/>
                  </a:lnTo>
                  <a:lnTo>
                    <a:pt x="97" y="217"/>
                  </a:lnTo>
                  <a:lnTo>
                    <a:pt x="97" y="213"/>
                  </a:lnTo>
                  <a:lnTo>
                    <a:pt x="97" y="213"/>
                  </a:lnTo>
                  <a:lnTo>
                    <a:pt x="97" y="213"/>
                  </a:lnTo>
                  <a:lnTo>
                    <a:pt x="97" y="213"/>
                  </a:lnTo>
                  <a:lnTo>
                    <a:pt x="97" y="213"/>
                  </a:lnTo>
                  <a:lnTo>
                    <a:pt x="102" y="208"/>
                  </a:lnTo>
                  <a:lnTo>
                    <a:pt x="102" y="208"/>
                  </a:lnTo>
                  <a:lnTo>
                    <a:pt x="102" y="208"/>
                  </a:lnTo>
                  <a:lnTo>
                    <a:pt x="106" y="208"/>
                  </a:lnTo>
                  <a:lnTo>
                    <a:pt x="106" y="204"/>
                  </a:lnTo>
                  <a:lnTo>
                    <a:pt x="106" y="204"/>
                  </a:lnTo>
                  <a:lnTo>
                    <a:pt x="111" y="204"/>
                  </a:lnTo>
                  <a:lnTo>
                    <a:pt x="111" y="204"/>
                  </a:lnTo>
                  <a:lnTo>
                    <a:pt x="111" y="204"/>
                  </a:lnTo>
                  <a:lnTo>
                    <a:pt x="111" y="204"/>
                  </a:lnTo>
                  <a:lnTo>
                    <a:pt x="111" y="204"/>
                  </a:lnTo>
                  <a:lnTo>
                    <a:pt x="111" y="200"/>
                  </a:lnTo>
                  <a:lnTo>
                    <a:pt x="115" y="200"/>
                  </a:lnTo>
                  <a:lnTo>
                    <a:pt x="115" y="200"/>
                  </a:lnTo>
                  <a:lnTo>
                    <a:pt x="120" y="204"/>
                  </a:lnTo>
                  <a:lnTo>
                    <a:pt x="120" y="204"/>
                  </a:lnTo>
                  <a:lnTo>
                    <a:pt x="120" y="204"/>
                  </a:lnTo>
                  <a:lnTo>
                    <a:pt x="120" y="204"/>
                  </a:lnTo>
                  <a:lnTo>
                    <a:pt x="124" y="204"/>
                  </a:lnTo>
                  <a:lnTo>
                    <a:pt x="124" y="204"/>
                  </a:lnTo>
                  <a:lnTo>
                    <a:pt x="128" y="204"/>
                  </a:lnTo>
                  <a:lnTo>
                    <a:pt x="133" y="204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7" y="213"/>
                  </a:lnTo>
                  <a:lnTo>
                    <a:pt x="137" y="208"/>
                  </a:lnTo>
                  <a:lnTo>
                    <a:pt x="137" y="208"/>
                  </a:lnTo>
                  <a:lnTo>
                    <a:pt x="137" y="208"/>
                  </a:lnTo>
                  <a:lnTo>
                    <a:pt x="137" y="208"/>
                  </a:lnTo>
                  <a:lnTo>
                    <a:pt x="142" y="208"/>
                  </a:lnTo>
                  <a:lnTo>
                    <a:pt x="146" y="213"/>
                  </a:lnTo>
                  <a:lnTo>
                    <a:pt x="146" y="213"/>
                  </a:lnTo>
                  <a:lnTo>
                    <a:pt x="151" y="213"/>
                  </a:lnTo>
                  <a:lnTo>
                    <a:pt x="151" y="213"/>
                  </a:lnTo>
                  <a:lnTo>
                    <a:pt x="151" y="217"/>
                  </a:lnTo>
                  <a:lnTo>
                    <a:pt x="151" y="217"/>
                  </a:lnTo>
                  <a:lnTo>
                    <a:pt x="151" y="217"/>
                  </a:lnTo>
                  <a:lnTo>
                    <a:pt x="151" y="217"/>
                  </a:lnTo>
                  <a:lnTo>
                    <a:pt x="151" y="217"/>
                  </a:lnTo>
                  <a:lnTo>
                    <a:pt x="151" y="217"/>
                  </a:lnTo>
                  <a:lnTo>
                    <a:pt x="155" y="217"/>
                  </a:lnTo>
                  <a:lnTo>
                    <a:pt x="155" y="217"/>
                  </a:lnTo>
                  <a:lnTo>
                    <a:pt x="155" y="217"/>
                  </a:lnTo>
                  <a:lnTo>
                    <a:pt x="155" y="222"/>
                  </a:lnTo>
                  <a:lnTo>
                    <a:pt x="155" y="222"/>
                  </a:lnTo>
                  <a:lnTo>
                    <a:pt x="159" y="222"/>
                  </a:lnTo>
                  <a:lnTo>
                    <a:pt x="159" y="222"/>
                  </a:lnTo>
                  <a:lnTo>
                    <a:pt x="159" y="222"/>
                  </a:lnTo>
                  <a:lnTo>
                    <a:pt x="164" y="222"/>
                  </a:lnTo>
                  <a:lnTo>
                    <a:pt x="164" y="222"/>
                  </a:lnTo>
                  <a:lnTo>
                    <a:pt x="164" y="226"/>
                  </a:lnTo>
                  <a:lnTo>
                    <a:pt x="164" y="226"/>
                  </a:lnTo>
                  <a:lnTo>
                    <a:pt x="168" y="226"/>
                  </a:lnTo>
                  <a:lnTo>
                    <a:pt x="168" y="231"/>
                  </a:lnTo>
                  <a:lnTo>
                    <a:pt x="168" y="231"/>
                  </a:lnTo>
                  <a:lnTo>
                    <a:pt x="168" y="231"/>
                  </a:lnTo>
                  <a:lnTo>
                    <a:pt x="173" y="231"/>
                  </a:lnTo>
                  <a:lnTo>
                    <a:pt x="173" y="231"/>
                  </a:lnTo>
                  <a:lnTo>
                    <a:pt x="168" y="231"/>
                  </a:lnTo>
                  <a:lnTo>
                    <a:pt x="168" y="231"/>
                  </a:lnTo>
                  <a:lnTo>
                    <a:pt x="173" y="231"/>
                  </a:lnTo>
                  <a:lnTo>
                    <a:pt x="173" y="226"/>
                  </a:lnTo>
                  <a:lnTo>
                    <a:pt x="173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73" y="226"/>
                  </a:lnTo>
                  <a:lnTo>
                    <a:pt x="173" y="226"/>
                  </a:lnTo>
                  <a:lnTo>
                    <a:pt x="173" y="226"/>
                  </a:lnTo>
                  <a:lnTo>
                    <a:pt x="173" y="226"/>
                  </a:lnTo>
                  <a:lnTo>
                    <a:pt x="177" y="231"/>
                  </a:lnTo>
                  <a:lnTo>
                    <a:pt x="177" y="231"/>
                  </a:lnTo>
                  <a:lnTo>
                    <a:pt x="177" y="231"/>
                  </a:lnTo>
                  <a:lnTo>
                    <a:pt x="177" y="231"/>
                  </a:lnTo>
                  <a:lnTo>
                    <a:pt x="177" y="231"/>
                  </a:lnTo>
                  <a:lnTo>
                    <a:pt x="177" y="231"/>
                  </a:lnTo>
                  <a:lnTo>
                    <a:pt x="177" y="231"/>
                  </a:lnTo>
                  <a:lnTo>
                    <a:pt x="177" y="231"/>
                  </a:lnTo>
                  <a:lnTo>
                    <a:pt x="182" y="231"/>
                  </a:lnTo>
                  <a:lnTo>
                    <a:pt x="182" y="231"/>
                  </a:lnTo>
                  <a:lnTo>
                    <a:pt x="182" y="231"/>
                  </a:lnTo>
                  <a:lnTo>
                    <a:pt x="182" y="231"/>
                  </a:lnTo>
                  <a:lnTo>
                    <a:pt x="186" y="231"/>
                  </a:lnTo>
                  <a:lnTo>
                    <a:pt x="186" y="235"/>
                  </a:lnTo>
                  <a:lnTo>
                    <a:pt x="190" y="235"/>
                  </a:lnTo>
                  <a:lnTo>
                    <a:pt x="190" y="239"/>
                  </a:lnTo>
                  <a:lnTo>
                    <a:pt x="190" y="244"/>
                  </a:lnTo>
                  <a:lnTo>
                    <a:pt x="195" y="248"/>
                  </a:lnTo>
                  <a:lnTo>
                    <a:pt x="195" y="266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9" y="270"/>
                  </a:lnTo>
                  <a:lnTo>
                    <a:pt x="199" y="275"/>
                  </a:lnTo>
                  <a:lnTo>
                    <a:pt x="204" y="279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8" y="293"/>
                  </a:lnTo>
                  <a:lnTo>
                    <a:pt x="208" y="293"/>
                  </a:lnTo>
                  <a:lnTo>
                    <a:pt x="208" y="297"/>
                  </a:lnTo>
                  <a:lnTo>
                    <a:pt x="208" y="297"/>
                  </a:lnTo>
                  <a:lnTo>
                    <a:pt x="208" y="297"/>
                  </a:lnTo>
                  <a:lnTo>
                    <a:pt x="208" y="297"/>
                  </a:lnTo>
                  <a:lnTo>
                    <a:pt x="208" y="301"/>
                  </a:lnTo>
                  <a:lnTo>
                    <a:pt x="208" y="306"/>
                  </a:lnTo>
                  <a:lnTo>
                    <a:pt x="204" y="306"/>
                  </a:lnTo>
                  <a:lnTo>
                    <a:pt x="204" y="306"/>
                  </a:lnTo>
                  <a:lnTo>
                    <a:pt x="204" y="310"/>
                  </a:lnTo>
                  <a:lnTo>
                    <a:pt x="208" y="310"/>
                  </a:lnTo>
                  <a:lnTo>
                    <a:pt x="208" y="310"/>
                  </a:lnTo>
                  <a:lnTo>
                    <a:pt x="208" y="310"/>
                  </a:lnTo>
                  <a:lnTo>
                    <a:pt x="208" y="310"/>
                  </a:lnTo>
                  <a:lnTo>
                    <a:pt x="208" y="310"/>
                  </a:lnTo>
                  <a:lnTo>
                    <a:pt x="213" y="310"/>
                  </a:lnTo>
                  <a:lnTo>
                    <a:pt x="217" y="310"/>
                  </a:lnTo>
                  <a:lnTo>
                    <a:pt x="217" y="310"/>
                  </a:lnTo>
                  <a:lnTo>
                    <a:pt x="221" y="310"/>
                  </a:lnTo>
                  <a:lnTo>
                    <a:pt x="221" y="310"/>
                  </a:lnTo>
                  <a:lnTo>
                    <a:pt x="221" y="315"/>
                  </a:lnTo>
                  <a:lnTo>
                    <a:pt x="221" y="315"/>
                  </a:lnTo>
                  <a:lnTo>
                    <a:pt x="221" y="315"/>
                  </a:lnTo>
                  <a:lnTo>
                    <a:pt x="221" y="315"/>
                  </a:lnTo>
                  <a:lnTo>
                    <a:pt x="221" y="315"/>
                  </a:lnTo>
                  <a:lnTo>
                    <a:pt x="221" y="319"/>
                  </a:lnTo>
                  <a:lnTo>
                    <a:pt x="217" y="319"/>
                  </a:lnTo>
                  <a:lnTo>
                    <a:pt x="217" y="319"/>
                  </a:lnTo>
                  <a:lnTo>
                    <a:pt x="226" y="324"/>
                  </a:lnTo>
                  <a:lnTo>
                    <a:pt x="230" y="324"/>
                  </a:lnTo>
                  <a:lnTo>
                    <a:pt x="230" y="324"/>
                  </a:lnTo>
                  <a:lnTo>
                    <a:pt x="230" y="328"/>
                  </a:lnTo>
                  <a:lnTo>
                    <a:pt x="230" y="328"/>
                  </a:lnTo>
                  <a:lnTo>
                    <a:pt x="230" y="328"/>
                  </a:lnTo>
                  <a:lnTo>
                    <a:pt x="230" y="328"/>
                  </a:lnTo>
                  <a:lnTo>
                    <a:pt x="230" y="328"/>
                  </a:lnTo>
                  <a:lnTo>
                    <a:pt x="235" y="332"/>
                  </a:lnTo>
                  <a:lnTo>
                    <a:pt x="235" y="332"/>
                  </a:lnTo>
                  <a:lnTo>
                    <a:pt x="235" y="332"/>
                  </a:lnTo>
                  <a:lnTo>
                    <a:pt x="235" y="332"/>
                  </a:lnTo>
                  <a:lnTo>
                    <a:pt x="239" y="337"/>
                  </a:lnTo>
                  <a:lnTo>
                    <a:pt x="239" y="337"/>
                  </a:lnTo>
                  <a:lnTo>
                    <a:pt x="239" y="337"/>
                  </a:lnTo>
                  <a:lnTo>
                    <a:pt x="239" y="337"/>
                  </a:lnTo>
                  <a:lnTo>
                    <a:pt x="239" y="337"/>
                  </a:lnTo>
                  <a:lnTo>
                    <a:pt x="239" y="337"/>
                  </a:lnTo>
                  <a:lnTo>
                    <a:pt x="239" y="337"/>
                  </a:lnTo>
                  <a:lnTo>
                    <a:pt x="244" y="341"/>
                  </a:lnTo>
                  <a:lnTo>
                    <a:pt x="244" y="341"/>
                  </a:lnTo>
                  <a:lnTo>
                    <a:pt x="244" y="341"/>
                  </a:lnTo>
                  <a:lnTo>
                    <a:pt x="239" y="346"/>
                  </a:lnTo>
                  <a:lnTo>
                    <a:pt x="239" y="346"/>
                  </a:lnTo>
                  <a:lnTo>
                    <a:pt x="239" y="346"/>
                  </a:lnTo>
                  <a:lnTo>
                    <a:pt x="239" y="346"/>
                  </a:lnTo>
                  <a:lnTo>
                    <a:pt x="239" y="346"/>
                  </a:lnTo>
                  <a:lnTo>
                    <a:pt x="235" y="346"/>
                  </a:lnTo>
                  <a:lnTo>
                    <a:pt x="235" y="346"/>
                  </a:lnTo>
                  <a:lnTo>
                    <a:pt x="235" y="350"/>
                  </a:lnTo>
                  <a:lnTo>
                    <a:pt x="239" y="350"/>
                  </a:lnTo>
                  <a:lnTo>
                    <a:pt x="239" y="350"/>
                  </a:lnTo>
                  <a:lnTo>
                    <a:pt x="239" y="350"/>
                  </a:lnTo>
                  <a:lnTo>
                    <a:pt x="239" y="350"/>
                  </a:lnTo>
                  <a:lnTo>
                    <a:pt x="239" y="350"/>
                  </a:lnTo>
                  <a:lnTo>
                    <a:pt x="239" y="350"/>
                  </a:lnTo>
                  <a:lnTo>
                    <a:pt x="239" y="350"/>
                  </a:lnTo>
                  <a:lnTo>
                    <a:pt x="244" y="350"/>
                  </a:lnTo>
                  <a:lnTo>
                    <a:pt x="244" y="350"/>
                  </a:lnTo>
                  <a:lnTo>
                    <a:pt x="244" y="350"/>
                  </a:lnTo>
                  <a:lnTo>
                    <a:pt x="244" y="346"/>
                  </a:lnTo>
                  <a:lnTo>
                    <a:pt x="244" y="346"/>
                  </a:lnTo>
                  <a:lnTo>
                    <a:pt x="244" y="346"/>
                  </a:lnTo>
                  <a:lnTo>
                    <a:pt x="244" y="346"/>
                  </a:lnTo>
                  <a:lnTo>
                    <a:pt x="244" y="346"/>
                  </a:lnTo>
                  <a:lnTo>
                    <a:pt x="248" y="350"/>
                  </a:lnTo>
                  <a:lnTo>
                    <a:pt x="252" y="350"/>
                  </a:lnTo>
                  <a:lnTo>
                    <a:pt x="252" y="350"/>
                  </a:lnTo>
                  <a:lnTo>
                    <a:pt x="252" y="350"/>
                  </a:lnTo>
                  <a:lnTo>
                    <a:pt x="252" y="350"/>
                  </a:lnTo>
                  <a:lnTo>
                    <a:pt x="252" y="350"/>
                  </a:lnTo>
                  <a:lnTo>
                    <a:pt x="252" y="350"/>
                  </a:lnTo>
                  <a:lnTo>
                    <a:pt x="252" y="350"/>
                  </a:lnTo>
                  <a:lnTo>
                    <a:pt x="252" y="350"/>
                  </a:lnTo>
                  <a:lnTo>
                    <a:pt x="257" y="350"/>
                  </a:lnTo>
                  <a:lnTo>
                    <a:pt x="261" y="350"/>
                  </a:lnTo>
                  <a:lnTo>
                    <a:pt x="266" y="359"/>
                  </a:lnTo>
                  <a:lnTo>
                    <a:pt x="266" y="359"/>
                  </a:lnTo>
                  <a:lnTo>
                    <a:pt x="270" y="363"/>
                  </a:lnTo>
                  <a:lnTo>
                    <a:pt x="270" y="368"/>
                  </a:lnTo>
                  <a:lnTo>
                    <a:pt x="270" y="368"/>
                  </a:lnTo>
                  <a:lnTo>
                    <a:pt x="270" y="368"/>
                  </a:lnTo>
                  <a:lnTo>
                    <a:pt x="275" y="368"/>
                  </a:lnTo>
                  <a:lnTo>
                    <a:pt x="275" y="372"/>
                  </a:lnTo>
                  <a:lnTo>
                    <a:pt x="275" y="372"/>
                  </a:lnTo>
                  <a:lnTo>
                    <a:pt x="275" y="372"/>
                  </a:lnTo>
                  <a:lnTo>
                    <a:pt x="275" y="372"/>
                  </a:lnTo>
                  <a:lnTo>
                    <a:pt x="275" y="372"/>
                  </a:lnTo>
                  <a:lnTo>
                    <a:pt x="275" y="372"/>
                  </a:lnTo>
                  <a:lnTo>
                    <a:pt x="279" y="372"/>
                  </a:lnTo>
                  <a:lnTo>
                    <a:pt x="279" y="377"/>
                  </a:lnTo>
                  <a:lnTo>
                    <a:pt x="283" y="377"/>
                  </a:lnTo>
                  <a:lnTo>
                    <a:pt x="283" y="377"/>
                  </a:lnTo>
                  <a:lnTo>
                    <a:pt x="283" y="377"/>
                  </a:lnTo>
                  <a:lnTo>
                    <a:pt x="283" y="377"/>
                  </a:lnTo>
                  <a:lnTo>
                    <a:pt x="283" y="377"/>
                  </a:lnTo>
                  <a:lnTo>
                    <a:pt x="288" y="377"/>
                  </a:lnTo>
                  <a:lnTo>
                    <a:pt x="288" y="377"/>
                  </a:lnTo>
                  <a:lnTo>
                    <a:pt x="288" y="381"/>
                  </a:lnTo>
                  <a:lnTo>
                    <a:pt x="288" y="381"/>
                  </a:lnTo>
                  <a:lnTo>
                    <a:pt x="292" y="386"/>
                  </a:lnTo>
                  <a:lnTo>
                    <a:pt x="292" y="386"/>
                  </a:lnTo>
                  <a:lnTo>
                    <a:pt x="297" y="386"/>
                  </a:lnTo>
                  <a:lnTo>
                    <a:pt x="297" y="390"/>
                  </a:lnTo>
                  <a:lnTo>
                    <a:pt x="297" y="390"/>
                  </a:lnTo>
                  <a:lnTo>
                    <a:pt x="297" y="390"/>
                  </a:lnTo>
                  <a:lnTo>
                    <a:pt x="297" y="394"/>
                  </a:lnTo>
                  <a:lnTo>
                    <a:pt x="297" y="394"/>
                  </a:lnTo>
                  <a:lnTo>
                    <a:pt x="297" y="394"/>
                  </a:lnTo>
                  <a:lnTo>
                    <a:pt x="297" y="394"/>
                  </a:lnTo>
                  <a:lnTo>
                    <a:pt x="301" y="394"/>
                  </a:lnTo>
                  <a:lnTo>
                    <a:pt x="301" y="394"/>
                  </a:lnTo>
                  <a:lnTo>
                    <a:pt x="301" y="399"/>
                  </a:lnTo>
                  <a:lnTo>
                    <a:pt x="301" y="399"/>
                  </a:lnTo>
                  <a:lnTo>
                    <a:pt x="301" y="399"/>
                  </a:lnTo>
                  <a:lnTo>
                    <a:pt x="310" y="403"/>
                  </a:lnTo>
                  <a:lnTo>
                    <a:pt x="314" y="408"/>
                  </a:lnTo>
                  <a:lnTo>
                    <a:pt x="319" y="416"/>
                  </a:lnTo>
                  <a:lnTo>
                    <a:pt x="319" y="416"/>
                  </a:lnTo>
                  <a:lnTo>
                    <a:pt x="319" y="416"/>
                  </a:lnTo>
                  <a:lnTo>
                    <a:pt x="319" y="416"/>
                  </a:lnTo>
                  <a:lnTo>
                    <a:pt x="319" y="416"/>
                  </a:lnTo>
                  <a:lnTo>
                    <a:pt x="323" y="416"/>
                  </a:lnTo>
                  <a:lnTo>
                    <a:pt x="323" y="416"/>
                  </a:lnTo>
                  <a:lnTo>
                    <a:pt x="328" y="416"/>
                  </a:lnTo>
                  <a:lnTo>
                    <a:pt x="332" y="416"/>
                  </a:lnTo>
                  <a:lnTo>
                    <a:pt x="332" y="421"/>
                  </a:lnTo>
                  <a:lnTo>
                    <a:pt x="332" y="421"/>
                  </a:lnTo>
                  <a:lnTo>
                    <a:pt x="337" y="425"/>
                  </a:lnTo>
                  <a:lnTo>
                    <a:pt x="337" y="425"/>
                  </a:lnTo>
                  <a:lnTo>
                    <a:pt x="337" y="425"/>
                  </a:lnTo>
                  <a:lnTo>
                    <a:pt x="337" y="430"/>
                  </a:lnTo>
                  <a:lnTo>
                    <a:pt x="341" y="430"/>
                  </a:lnTo>
                  <a:lnTo>
                    <a:pt x="341" y="430"/>
                  </a:lnTo>
                  <a:lnTo>
                    <a:pt x="341" y="430"/>
                  </a:lnTo>
                  <a:lnTo>
                    <a:pt x="341" y="430"/>
                  </a:lnTo>
                  <a:lnTo>
                    <a:pt x="341" y="430"/>
                  </a:lnTo>
                  <a:lnTo>
                    <a:pt x="345" y="430"/>
                  </a:lnTo>
                  <a:lnTo>
                    <a:pt x="345" y="430"/>
                  </a:lnTo>
                  <a:lnTo>
                    <a:pt x="345" y="430"/>
                  </a:lnTo>
                  <a:lnTo>
                    <a:pt x="350" y="425"/>
                  </a:lnTo>
                  <a:lnTo>
                    <a:pt x="354" y="425"/>
                  </a:lnTo>
                  <a:lnTo>
                    <a:pt x="354" y="425"/>
                  </a:lnTo>
                  <a:lnTo>
                    <a:pt x="363" y="430"/>
                  </a:lnTo>
                  <a:lnTo>
                    <a:pt x="363" y="430"/>
                  </a:lnTo>
                  <a:lnTo>
                    <a:pt x="363" y="430"/>
                  </a:lnTo>
                  <a:lnTo>
                    <a:pt x="363" y="430"/>
                  </a:lnTo>
                  <a:lnTo>
                    <a:pt x="363" y="430"/>
                  </a:lnTo>
                  <a:lnTo>
                    <a:pt x="363" y="430"/>
                  </a:lnTo>
                  <a:lnTo>
                    <a:pt x="367" y="434"/>
                  </a:lnTo>
                  <a:lnTo>
                    <a:pt x="367" y="434"/>
                  </a:lnTo>
                  <a:lnTo>
                    <a:pt x="367" y="434"/>
                  </a:lnTo>
                  <a:lnTo>
                    <a:pt x="367" y="430"/>
                  </a:lnTo>
                  <a:lnTo>
                    <a:pt x="367" y="430"/>
                  </a:lnTo>
                  <a:lnTo>
                    <a:pt x="372" y="430"/>
                  </a:lnTo>
                  <a:lnTo>
                    <a:pt x="372" y="430"/>
                  </a:lnTo>
                  <a:lnTo>
                    <a:pt x="372" y="430"/>
                  </a:lnTo>
                  <a:lnTo>
                    <a:pt x="376" y="430"/>
                  </a:lnTo>
                  <a:lnTo>
                    <a:pt x="376" y="430"/>
                  </a:lnTo>
                  <a:lnTo>
                    <a:pt x="381" y="434"/>
                  </a:lnTo>
                  <a:lnTo>
                    <a:pt x="381" y="439"/>
                  </a:lnTo>
                  <a:lnTo>
                    <a:pt x="385" y="439"/>
                  </a:lnTo>
                  <a:lnTo>
                    <a:pt x="385" y="443"/>
                  </a:lnTo>
                  <a:lnTo>
                    <a:pt x="385" y="443"/>
                  </a:lnTo>
                  <a:lnTo>
                    <a:pt x="385" y="443"/>
                  </a:lnTo>
                  <a:lnTo>
                    <a:pt x="385" y="447"/>
                  </a:lnTo>
                  <a:lnTo>
                    <a:pt x="385" y="447"/>
                  </a:lnTo>
                  <a:lnTo>
                    <a:pt x="390" y="447"/>
                  </a:lnTo>
                  <a:lnTo>
                    <a:pt x="390" y="452"/>
                  </a:lnTo>
                  <a:lnTo>
                    <a:pt x="394" y="456"/>
                  </a:lnTo>
                  <a:lnTo>
                    <a:pt x="394" y="456"/>
                  </a:lnTo>
                  <a:lnTo>
                    <a:pt x="394" y="461"/>
                  </a:lnTo>
                  <a:lnTo>
                    <a:pt x="394" y="461"/>
                  </a:lnTo>
                  <a:lnTo>
                    <a:pt x="394" y="461"/>
                  </a:lnTo>
                  <a:lnTo>
                    <a:pt x="394" y="461"/>
                  </a:lnTo>
                  <a:lnTo>
                    <a:pt x="394" y="461"/>
                  </a:lnTo>
                  <a:lnTo>
                    <a:pt x="394" y="461"/>
                  </a:lnTo>
                  <a:lnTo>
                    <a:pt x="394" y="461"/>
                  </a:lnTo>
                  <a:lnTo>
                    <a:pt x="394" y="461"/>
                  </a:lnTo>
                  <a:lnTo>
                    <a:pt x="394" y="456"/>
                  </a:lnTo>
                  <a:lnTo>
                    <a:pt x="394" y="461"/>
                  </a:lnTo>
                  <a:lnTo>
                    <a:pt x="398" y="461"/>
                  </a:lnTo>
                  <a:lnTo>
                    <a:pt x="398" y="461"/>
                  </a:lnTo>
                  <a:lnTo>
                    <a:pt x="398" y="461"/>
                  </a:lnTo>
                  <a:lnTo>
                    <a:pt x="398" y="461"/>
                  </a:lnTo>
                  <a:lnTo>
                    <a:pt x="403" y="461"/>
                  </a:lnTo>
                  <a:lnTo>
                    <a:pt x="403" y="461"/>
                  </a:lnTo>
                  <a:lnTo>
                    <a:pt x="403" y="456"/>
                  </a:lnTo>
                  <a:lnTo>
                    <a:pt x="403" y="456"/>
                  </a:lnTo>
                  <a:lnTo>
                    <a:pt x="407" y="456"/>
                  </a:lnTo>
                  <a:lnTo>
                    <a:pt x="407" y="461"/>
                  </a:lnTo>
                  <a:lnTo>
                    <a:pt x="407" y="461"/>
                  </a:lnTo>
                  <a:lnTo>
                    <a:pt x="407" y="461"/>
                  </a:lnTo>
                  <a:lnTo>
                    <a:pt x="412" y="461"/>
                  </a:lnTo>
                  <a:lnTo>
                    <a:pt x="412" y="465"/>
                  </a:lnTo>
                  <a:lnTo>
                    <a:pt x="412" y="465"/>
                  </a:lnTo>
                  <a:lnTo>
                    <a:pt x="412" y="465"/>
                  </a:lnTo>
                  <a:lnTo>
                    <a:pt x="412" y="465"/>
                  </a:lnTo>
                  <a:lnTo>
                    <a:pt x="416" y="465"/>
                  </a:lnTo>
                  <a:lnTo>
                    <a:pt x="416" y="465"/>
                  </a:lnTo>
                  <a:lnTo>
                    <a:pt x="416" y="465"/>
                  </a:lnTo>
                  <a:lnTo>
                    <a:pt x="416" y="470"/>
                  </a:lnTo>
                  <a:lnTo>
                    <a:pt x="412" y="470"/>
                  </a:lnTo>
                  <a:lnTo>
                    <a:pt x="412" y="470"/>
                  </a:lnTo>
                  <a:lnTo>
                    <a:pt x="412" y="470"/>
                  </a:lnTo>
                  <a:lnTo>
                    <a:pt x="412" y="474"/>
                  </a:lnTo>
                  <a:lnTo>
                    <a:pt x="412" y="474"/>
                  </a:lnTo>
                  <a:lnTo>
                    <a:pt x="407" y="474"/>
                  </a:lnTo>
                  <a:lnTo>
                    <a:pt x="407" y="474"/>
                  </a:lnTo>
                  <a:lnTo>
                    <a:pt x="407" y="474"/>
                  </a:lnTo>
                  <a:lnTo>
                    <a:pt x="407" y="474"/>
                  </a:lnTo>
                  <a:lnTo>
                    <a:pt x="407" y="478"/>
                  </a:lnTo>
                  <a:lnTo>
                    <a:pt x="407" y="474"/>
                  </a:lnTo>
                  <a:lnTo>
                    <a:pt x="412" y="474"/>
                  </a:lnTo>
                  <a:lnTo>
                    <a:pt x="412" y="474"/>
                  </a:lnTo>
                  <a:lnTo>
                    <a:pt x="416" y="474"/>
                  </a:lnTo>
                  <a:lnTo>
                    <a:pt x="416" y="474"/>
                  </a:lnTo>
                  <a:lnTo>
                    <a:pt x="416" y="474"/>
                  </a:lnTo>
                  <a:lnTo>
                    <a:pt x="421" y="474"/>
                  </a:lnTo>
                  <a:lnTo>
                    <a:pt x="421" y="474"/>
                  </a:lnTo>
                  <a:lnTo>
                    <a:pt x="421" y="470"/>
                  </a:lnTo>
                  <a:lnTo>
                    <a:pt x="425" y="470"/>
                  </a:lnTo>
                  <a:lnTo>
                    <a:pt x="425" y="470"/>
                  </a:lnTo>
                  <a:lnTo>
                    <a:pt x="425" y="470"/>
                  </a:lnTo>
                  <a:lnTo>
                    <a:pt x="429" y="470"/>
                  </a:lnTo>
                  <a:lnTo>
                    <a:pt x="429" y="470"/>
                  </a:lnTo>
                  <a:lnTo>
                    <a:pt x="429" y="470"/>
                  </a:lnTo>
                  <a:lnTo>
                    <a:pt x="434" y="470"/>
                  </a:lnTo>
                  <a:lnTo>
                    <a:pt x="434" y="474"/>
                  </a:lnTo>
                  <a:lnTo>
                    <a:pt x="434" y="474"/>
                  </a:lnTo>
                  <a:lnTo>
                    <a:pt x="438" y="478"/>
                  </a:lnTo>
                  <a:lnTo>
                    <a:pt x="443" y="487"/>
                  </a:lnTo>
                  <a:lnTo>
                    <a:pt x="443" y="487"/>
                  </a:lnTo>
                  <a:lnTo>
                    <a:pt x="443" y="492"/>
                  </a:lnTo>
                  <a:lnTo>
                    <a:pt x="443" y="492"/>
                  </a:lnTo>
                  <a:lnTo>
                    <a:pt x="443" y="492"/>
                  </a:lnTo>
                  <a:lnTo>
                    <a:pt x="443" y="492"/>
                  </a:lnTo>
                  <a:lnTo>
                    <a:pt x="438" y="492"/>
                  </a:lnTo>
                  <a:lnTo>
                    <a:pt x="438" y="492"/>
                  </a:lnTo>
                  <a:lnTo>
                    <a:pt x="438" y="492"/>
                  </a:lnTo>
                  <a:lnTo>
                    <a:pt x="438" y="492"/>
                  </a:lnTo>
                  <a:lnTo>
                    <a:pt x="438" y="496"/>
                  </a:lnTo>
                  <a:lnTo>
                    <a:pt x="438" y="496"/>
                  </a:lnTo>
                  <a:lnTo>
                    <a:pt x="438" y="496"/>
                  </a:lnTo>
                  <a:lnTo>
                    <a:pt x="438" y="501"/>
                  </a:lnTo>
                  <a:lnTo>
                    <a:pt x="438" y="501"/>
                  </a:lnTo>
                  <a:lnTo>
                    <a:pt x="438" y="501"/>
                  </a:lnTo>
                  <a:lnTo>
                    <a:pt x="438" y="501"/>
                  </a:lnTo>
                  <a:lnTo>
                    <a:pt x="443" y="501"/>
                  </a:lnTo>
                  <a:lnTo>
                    <a:pt x="443" y="501"/>
                  </a:lnTo>
                  <a:lnTo>
                    <a:pt x="443" y="501"/>
                  </a:lnTo>
                  <a:lnTo>
                    <a:pt x="443" y="501"/>
                  </a:lnTo>
                  <a:lnTo>
                    <a:pt x="443" y="505"/>
                  </a:lnTo>
                  <a:lnTo>
                    <a:pt x="447" y="505"/>
                  </a:lnTo>
                  <a:lnTo>
                    <a:pt x="447" y="505"/>
                  </a:lnTo>
                  <a:lnTo>
                    <a:pt x="447" y="505"/>
                  </a:lnTo>
                  <a:lnTo>
                    <a:pt x="447" y="505"/>
                  </a:lnTo>
                  <a:lnTo>
                    <a:pt x="447" y="505"/>
                  </a:lnTo>
                  <a:lnTo>
                    <a:pt x="452" y="509"/>
                  </a:lnTo>
                  <a:lnTo>
                    <a:pt x="452" y="509"/>
                  </a:lnTo>
                  <a:lnTo>
                    <a:pt x="456" y="509"/>
                  </a:lnTo>
                  <a:lnTo>
                    <a:pt x="456" y="509"/>
                  </a:lnTo>
                  <a:lnTo>
                    <a:pt x="456" y="514"/>
                  </a:lnTo>
                  <a:lnTo>
                    <a:pt x="456" y="514"/>
                  </a:lnTo>
                  <a:lnTo>
                    <a:pt x="456" y="514"/>
                  </a:lnTo>
                  <a:lnTo>
                    <a:pt x="456" y="514"/>
                  </a:lnTo>
                  <a:lnTo>
                    <a:pt x="456" y="514"/>
                  </a:lnTo>
                  <a:lnTo>
                    <a:pt x="456" y="514"/>
                  </a:lnTo>
                  <a:lnTo>
                    <a:pt x="460" y="514"/>
                  </a:lnTo>
                  <a:lnTo>
                    <a:pt x="460" y="514"/>
                  </a:lnTo>
                  <a:lnTo>
                    <a:pt x="460" y="514"/>
                  </a:lnTo>
                  <a:lnTo>
                    <a:pt x="460" y="518"/>
                  </a:lnTo>
                  <a:lnTo>
                    <a:pt x="465" y="518"/>
                  </a:lnTo>
                  <a:lnTo>
                    <a:pt x="465" y="514"/>
                  </a:lnTo>
                  <a:lnTo>
                    <a:pt x="465" y="514"/>
                  </a:lnTo>
                  <a:lnTo>
                    <a:pt x="469" y="514"/>
                  </a:lnTo>
                  <a:lnTo>
                    <a:pt x="469" y="509"/>
                  </a:lnTo>
                  <a:lnTo>
                    <a:pt x="469" y="509"/>
                  </a:lnTo>
                  <a:lnTo>
                    <a:pt x="474" y="509"/>
                  </a:lnTo>
                  <a:lnTo>
                    <a:pt x="474" y="509"/>
                  </a:lnTo>
                  <a:lnTo>
                    <a:pt x="474" y="509"/>
                  </a:lnTo>
                  <a:lnTo>
                    <a:pt x="474" y="514"/>
                  </a:lnTo>
                  <a:lnTo>
                    <a:pt x="478" y="514"/>
                  </a:lnTo>
                  <a:lnTo>
                    <a:pt x="478" y="514"/>
                  </a:lnTo>
                  <a:lnTo>
                    <a:pt x="478" y="518"/>
                  </a:lnTo>
                  <a:lnTo>
                    <a:pt x="483" y="518"/>
                  </a:lnTo>
                  <a:lnTo>
                    <a:pt x="483" y="518"/>
                  </a:lnTo>
                  <a:lnTo>
                    <a:pt x="483" y="523"/>
                  </a:lnTo>
                  <a:lnTo>
                    <a:pt x="483" y="523"/>
                  </a:lnTo>
                  <a:lnTo>
                    <a:pt x="483" y="527"/>
                  </a:lnTo>
                  <a:lnTo>
                    <a:pt x="483" y="527"/>
                  </a:lnTo>
                  <a:lnTo>
                    <a:pt x="483" y="527"/>
                  </a:lnTo>
                  <a:lnTo>
                    <a:pt x="483" y="527"/>
                  </a:lnTo>
                  <a:lnTo>
                    <a:pt x="483" y="527"/>
                  </a:lnTo>
                  <a:lnTo>
                    <a:pt x="483" y="532"/>
                  </a:lnTo>
                  <a:lnTo>
                    <a:pt x="483" y="532"/>
                  </a:lnTo>
                  <a:lnTo>
                    <a:pt x="487" y="536"/>
                  </a:lnTo>
                  <a:lnTo>
                    <a:pt x="487" y="536"/>
                  </a:lnTo>
                  <a:lnTo>
                    <a:pt x="487" y="540"/>
                  </a:lnTo>
                  <a:lnTo>
                    <a:pt x="487" y="540"/>
                  </a:lnTo>
                  <a:lnTo>
                    <a:pt x="487" y="545"/>
                  </a:lnTo>
                  <a:lnTo>
                    <a:pt x="487" y="545"/>
                  </a:lnTo>
                  <a:lnTo>
                    <a:pt x="487" y="545"/>
                  </a:lnTo>
                  <a:lnTo>
                    <a:pt x="491" y="549"/>
                  </a:lnTo>
                  <a:lnTo>
                    <a:pt x="491" y="549"/>
                  </a:lnTo>
                  <a:lnTo>
                    <a:pt x="491" y="554"/>
                  </a:lnTo>
                  <a:lnTo>
                    <a:pt x="496" y="554"/>
                  </a:lnTo>
                  <a:lnTo>
                    <a:pt x="496" y="563"/>
                  </a:lnTo>
                  <a:lnTo>
                    <a:pt x="496" y="563"/>
                  </a:lnTo>
                  <a:lnTo>
                    <a:pt x="500" y="580"/>
                  </a:lnTo>
                  <a:lnTo>
                    <a:pt x="505" y="585"/>
                  </a:lnTo>
                  <a:lnTo>
                    <a:pt x="505" y="589"/>
                  </a:lnTo>
                  <a:lnTo>
                    <a:pt x="505" y="589"/>
                  </a:lnTo>
                  <a:lnTo>
                    <a:pt x="505" y="589"/>
                  </a:lnTo>
                  <a:lnTo>
                    <a:pt x="505" y="589"/>
                  </a:lnTo>
                  <a:lnTo>
                    <a:pt x="505" y="589"/>
                  </a:lnTo>
                  <a:lnTo>
                    <a:pt x="505" y="589"/>
                  </a:lnTo>
                  <a:lnTo>
                    <a:pt x="509" y="594"/>
                  </a:lnTo>
                  <a:lnTo>
                    <a:pt x="505" y="598"/>
                  </a:lnTo>
                  <a:lnTo>
                    <a:pt x="505" y="598"/>
                  </a:lnTo>
                  <a:lnTo>
                    <a:pt x="505" y="602"/>
                  </a:lnTo>
                  <a:lnTo>
                    <a:pt x="505" y="602"/>
                  </a:lnTo>
                  <a:lnTo>
                    <a:pt x="500" y="602"/>
                  </a:lnTo>
                  <a:lnTo>
                    <a:pt x="500" y="602"/>
                  </a:lnTo>
                  <a:lnTo>
                    <a:pt x="496" y="602"/>
                  </a:lnTo>
                  <a:lnTo>
                    <a:pt x="496" y="602"/>
                  </a:lnTo>
                  <a:lnTo>
                    <a:pt x="491" y="602"/>
                  </a:lnTo>
                  <a:lnTo>
                    <a:pt x="491" y="607"/>
                  </a:lnTo>
                  <a:lnTo>
                    <a:pt x="487" y="607"/>
                  </a:lnTo>
                  <a:lnTo>
                    <a:pt x="487" y="607"/>
                  </a:lnTo>
                  <a:lnTo>
                    <a:pt x="487" y="607"/>
                  </a:lnTo>
                  <a:lnTo>
                    <a:pt x="487" y="607"/>
                  </a:lnTo>
                  <a:lnTo>
                    <a:pt x="487" y="607"/>
                  </a:lnTo>
                  <a:lnTo>
                    <a:pt x="487" y="611"/>
                  </a:lnTo>
                  <a:lnTo>
                    <a:pt x="487" y="611"/>
                  </a:lnTo>
                  <a:lnTo>
                    <a:pt x="487" y="611"/>
                  </a:lnTo>
                  <a:lnTo>
                    <a:pt x="487" y="611"/>
                  </a:lnTo>
                  <a:lnTo>
                    <a:pt x="487" y="611"/>
                  </a:lnTo>
                  <a:lnTo>
                    <a:pt x="491" y="611"/>
                  </a:lnTo>
                  <a:lnTo>
                    <a:pt x="491" y="616"/>
                  </a:lnTo>
                  <a:lnTo>
                    <a:pt x="491" y="616"/>
                  </a:lnTo>
                  <a:lnTo>
                    <a:pt x="491" y="620"/>
                  </a:lnTo>
                  <a:lnTo>
                    <a:pt x="487" y="629"/>
                  </a:lnTo>
                  <a:lnTo>
                    <a:pt x="487" y="629"/>
                  </a:lnTo>
                  <a:lnTo>
                    <a:pt x="487" y="629"/>
                  </a:lnTo>
                  <a:lnTo>
                    <a:pt x="483" y="633"/>
                  </a:lnTo>
                  <a:lnTo>
                    <a:pt x="483" y="633"/>
                  </a:lnTo>
                  <a:lnTo>
                    <a:pt x="483" y="633"/>
                  </a:lnTo>
                  <a:lnTo>
                    <a:pt x="478" y="633"/>
                  </a:lnTo>
                  <a:lnTo>
                    <a:pt x="478" y="633"/>
                  </a:lnTo>
                  <a:lnTo>
                    <a:pt x="474" y="638"/>
                  </a:lnTo>
                  <a:lnTo>
                    <a:pt x="478" y="638"/>
                  </a:lnTo>
                  <a:lnTo>
                    <a:pt x="478" y="642"/>
                  </a:lnTo>
                  <a:lnTo>
                    <a:pt x="478" y="642"/>
                  </a:lnTo>
                  <a:lnTo>
                    <a:pt x="478" y="642"/>
                  </a:lnTo>
                  <a:lnTo>
                    <a:pt x="474" y="642"/>
                  </a:lnTo>
                  <a:lnTo>
                    <a:pt x="474" y="647"/>
                  </a:lnTo>
                  <a:lnTo>
                    <a:pt x="474" y="647"/>
                  </a:lnTo>
                  <a:lnTo>
                    <a:pt x="478" y="647"/>
                  </a:lnTo>
                  <a:lnTo>
                    <a:pt x="478" y="651"/>
                  </a:lnTo>
                  <a:lnTo>
                    <a:pt x="478" y="651"/>
                  </a:lnTo>
                  <a:lnTo>
                    <a:pt x="478" y="651"/>
                  </a:lnTo>
                  <a:lnTo>
                    <a:pt x="478" y="656"/>
                  </a:lnTo>
                  <a:lnTo>
                    <a:pt x="478" y="656"/>
                  </a:lnTo>
                  <a:lnTo>
                    <a:pt x="478" y="656"/>
                  </a:lnTo>
                  <a:lnTo>
                    <a:pt x="483" y="656"/>
                  </a:lnTo>
                  <a:lnTo>
                    <a:pt x="483" y="656"/>
                  </a:lnTo>
                  <a:lnTo>
                    <a:pt x="491" y="656"/>
                  </a:lnTo>
                  <a:lnTo>
                    <a:pt x="496" y="656"/>
                  </a:lnTo>
                  <a:lnTo>
                    <a:pt x="496" y="656"/>
                  </a:lnTo>
                  <a:lnTo>
                    <a:pt x="500" y="656"/>
                  </a:lnTo>
                  <a:lnTo>
                    <a:pt x="500" y="656"/>
                  </a:lnTo>
                  <a:lnTo>
                    <a:pt x="500" y="656"/>
                  </a:lnTo>
                  <a:lnTo>
                    <a:pt x="500" y="656"/>
                  </a:lnTo>
                  <a:lnTo>
                    <a:pt x="500" y="651"/>
                  </a:lnTo>
                  <a:lnTo>
                    <a:pt x="500" y="651"/>
                  </a:lnTo>
                  <a:lnTo>
                    <a:pt x="505" y="642"/>
                  </a:lnTo>
                  <a:lnTo>
                    <a:pt x="505" y="642"/>
                  </a:lnTo>
                  <a:lnTo>
                    <a:pt x="514" y="633"/>
                  </a:lnTo>
                  <a:lnTo>
                    <a:pt x="514" y="629"/>
                  </a:lnTo>
                  <a:lnTo>
                    <a:pt x="518" y="629"/>
                  </a:lnTo>
                  <a:lnTo>
                    <a:pt x="518" y="629"/>
                  </a:lnTo>
                  <a:lnTo>
                    <a:pt x="522" y="625"/>
                  </a:lnTo>
                  <a:lnTo>
                    <a:pt x="522" y="625"/>
                  </a:lnTo>
                  <a:lnTo>
                    <a:pt x="522" y="625"/>
                  </a:lnTo>
                  <a:lnTo>
                    <a:pt x="527" y="625"/>
                  </a:lnTo>
                  <a:lnTo>
                    <a:pt x="527" y="625"/>
                  </a:lnTo>
                  <a:lnTo>
                    <a:pt x="527" y="616"/>
                  </a:lnTo>
                  <a:lnTo>
                    <a:pt x="527" y="616"/>
                  </a:lnTo>
                  <a:lnTo>
                    <a:pt x="527" y="611"/>
                  </a:lnTo>
                  <a:lnTo>
                    <a:pt x="522" y="607"/>
                  </a:lnTo>
                  <a:lnTo>
                    <a:pt x="522" y="607"/>
                  </a:lnTo>
                  <a:lnTo>
                    <a:pt x="522" y="607"/>
                  </a:lnTo>
                  <a:lnTo>
                    <a:pt x="522" y="602"/>
                  </a:lnTo>
                  <a:lnTo>
                    <a:pt x="522" y="602"/>
                  </a:lnTo>
                  <a:lnTo>
                    <a:pt x="522" y="602"/>
                  </a:lnTo>
                  <a:lnTo>
                    <a:pt x="527" y="602"/>
                  </a:lnTo>
                  <a:lnTo>
                    <a:pt x="527" y="598"/>
                  </a:lnTo>
                  <a:lnTo>
                    <a:pt x="527" y="598"/>
                  </a:lnTo>
                  <a:lnTo>
                    <a:pt x="527" y="598"/>
                  </a:lnTo>
                  <a:lnTo>
                    <a:pt x="531" y="594"/>
                  </a:lnTo>
                  <a:lnTo>
                    <a:pt x="531" y="594"/>
                  </a:lnTo>
                  <a:lnTo>
                    <a:pt x="531" y="594"/>
                  </a:lnTo>
                  <a:lnTo>
                    <a:pt x="536" y="594"/>
                  </a:lnTo>
                  <a:lnTo>
                    <a:pt x="540" y="589"/>
                  </a:lnTo>
                  <a:lnTo>
                    <a:pt x="545" y="589"/>
                  </a:lnTo>
                  <a:lnTo>
                    <a:pt x="545" y="589"/>
                  </a:lnTo>
                  <a:lnTo>
                    <a:pt x="549" y="589"/>
                  </a:lnTo>
                  <a:lnTo>
                    <a:pt x="549" y="589"/>
                  </a:lnTo>
                  <a:lnTo>
                    <a:pt x="549" y="589"/>
                  </a:lnTo>
                  <a:lnTo>
                    <a:pt x="549" y="589"/>
                  </a:lnTo>
                  <a:lnTo>
                    <a:pt x="553" y="589"/>
                  </a:lnTo>
                  <a:lnTo>
                    <a:pt x="553" y="589"/>
                  </a:lnTo>
                  <a:lnTo>
                    <a:pt x="553" y="589"/>
                  </a:lnTo>
                  <a:lnTo>
                    <a:pt x="553" y="589"/>
                  </a:lnTo>
                  <a:lnTo>
                    <a:pt x="553" y="589"/>
                  </a:lnTo>
                  <a:lnTo>
                    <a:pt x="553" y="589"/>
                  </a:lnTo>
                  <a:lnTo>
                    <a:pt x="553" y="589"/>
                  </a:lnTo>
                  <a:lnTo>
                    <a:pt x="558" y="585"/>
                  </a:lnTo>
                  <a:lnTo>
                    <a:pt x="558" y="585"/>
                  </a:lnTo>
                  <a:lnTo>
                    <a:pt x="558" y="585"/>
                  </a:lnTo>
                  <a:lnTo>
                    <a:pt x="558" y="585"/>
                  </a:lnTo>
                  <a:lnTo>
                    <a:pt x="558" y="585"/>
                  </a:lnTo>
                  <a:lnTo>
                    <a:pt x="558" y="580"/>
                  </a:lnTo>
                  <a:lnTo>
                    <a:pt x="558" y="580"/>
                  </a:lnTo>
                  <a:lnTo>
                    <a:pt x="558" y="580"/>
                  </a:lnTo>
                  <a:lnTo>
                    <a:pt x="558" y="580"/>
                  </a:lnTo>
                  <a:lnTo>
                    <a:pt x="558" y="580"/>
                  </a:lnTo>
                  <a:lnTo>
                    <a:pt x="553" y="576"/>
                  </a:lnTo>
                  <a:lnTo>
                    <a:pt x="553" y="576"/>
                  </a:lnTo>
                  <a:lnTo>
                    <a:pt x="553" y="571"/>
                  </a:lnTo>
                  <a:lnTo>
                    <a:pt x="558" y="571"/>
                  </a:lnTo>
                  <a:lnTo>
                    <a:pt x="553" y="567"/>
                  </a:lnTo>
                  <a:lnTo>
                    <a:pt x="553" y="567"/>
                  </a:lnTo>
                  <a:lnTo>
                    <a:pt x="553" y="567"/>
                  </a:lnTo>
                  <a:lnTo>
                    <a:pt x="553" y="567"/>
                  </a:lnTo>
                  <a:lnTo>
                    <a:pt x="553" y="567"/>
                  </a:lnTo>
                  <a:lnTo>
                    <a:pt x="553" y="563"/>
                  </a:lnTo>
                  <a:lnTo>
                    <a:pt x="558" y="558"/>
                  </a:lnTo>
                  <a:lnTo>
                    <a:pt x="553" y="558"/>
                  </a:lnTo>
                  <a:lnTo>
                    <a:pt x="553" y="554"/>
                  </a:lnTo>
                  <a:lnTo>
                    <a:pt x="549" y="554"/>
                  </a:lnTo>
                  <a:lnTo>
                    <a:pt x="549" y="554"/>
                  </a:lnTo>
                  <a:lnTo>
                    <a:pt x="549" y="554"/>
                  </a:lnTo>
                  <a:lnTo>
                    <a:pt x="549" y="549"/>
                  </a:lnTo>
                  <a:lnTo>
                    <a:pt x="549" y="549"/>
                  </a:lnTo>
                  <a:lnTo>
                    <a:pt x="545" y="549"/>
                  </a:lnTo>
                  <a:lnTo>
                    <a:pt x="545" y="549"/>
                  </a:lnTo>
                  <a:lnTo>
                    <a:pt x="545" y="549"/>
                  </a:lnTo>
                  <a:lnTo>
                    <a:pt x="540" y="545"/>
                  </a:lnTo>
                  <a:lnTo>
                    <a:pt x="540" y="545"/>
                  </a:lnTo>
                  <a:lnTo>
                    <a:pt x="540" y="545"/>
                  </a:lnTo>
                  <a:lnTo>
                    <a:pt x="540" y="545"/>
                  </a:lnTo>
                  <a:lnTo>
                    <a:pt x="536" y="545"/>
                  </a:lnTo>
                  <a:lnTo>
                    <a:pt x="536" y="540"/>
                  </a:lnTo>
                  <a:lnTo>
                    <a:pt x="536" y="540"/>
                  </a:lnTo>
                  <a:lnTo>
                    <a:pt x="527" y="540"/>
                  </a:lnTo>
                  <a:lnTo>
                    <a:pt x="527" y="540"/>
                  </a:lnTo>
                  <a:lnTo>
                    <a:pt x="522" y="540"/>
                  </a:lnTo>
                  <a:lnTo>
                    <a:pt x="522" y="536"/>
                  </a:lnTo>
                  <a:lnTo>
                    <a:pt x="522" y="536"/>
                  </a:lnTo>
                  <a:lnTo>
                    <a:pt x="522" y="536"/>
                  </a:lnTo>
                  <a:lnTo>
                    <a:pt x="522" y="532"/>
                  </a:lnTo>
                  <a:lnTo>
                    <a:pt x="522" y="532"/>
                  </a:lnTo>
                  <a:lnTo>
                    <a:pt x="522" y="527"/>
                  </a:lnTo>
                  <a:lnTo>
                    <a:pt x="522" y="527"/>
                  </a:lnTo>
                  <a:lnTo>
                    <a:pt x="522" y="523"/>
                  </a:lnTo>
                  <a:lnTo>
                    <a:pt x="527" y="523"/>
                  </a:lnTo>
                  <a:lnTo>
                    <a:pt x="527" y="518"/>
                  </a:lnTo>
                  <a:lnTo>
                    <a:pt x="527" y="518"/>
                  </a:lnTo>
                  <a:lnTo>
                    <a:pt x="527" y="518"/>
                  </a:lnTo>
                  <a:lnTo>
                    <a:pt x="527" y="518"/>
                  </a:lnTo>
                  <a:lnTo>
                    <a:pt x="527" y="514"/>
                  </a:lnTo>
                  <a:lnTo>
                    <a:pt x="527" y="514"/>
                  </a:lnTo>
                  <a:lnTo>
                    <a:pt x="527" y="509"/>
                  </a:lnTo>
                  <a:lnTo>
                    <a:pt x="527" y="509"/>
                  </a:lnTo>
                  <a:lnTo>
                    <a:pt x="527" y="509"/>
                  </a:lnTo>
                  <a:lnTo>
                    <a:pt x="531" y="505"/>
                  </a:lnTo>
                  <a:lnTo>
                    <a:pt x="531" y="501"/>
                  </a:lnTo>
                  <a:lnTo>
                    <a:pt x="536" y="501"/>
                  </a:lnTo>
                  <a:lnTo>
                    <a:pt x="536" y="501"/>
                  </a:lnTo>
                  <a:lnTo>
                    <a:pt x="536" y="496"/>
                  </a:lnTo>
                  <a:lnTo>
                    <a:pt x="536" y="496"/>
                  </a:lnTo>
                  <a:lnTo>
                    <a:pt x="540" y="487"/>
                  </a:lnTo>
                  <a:lnTo>
                    <a:pt x="545" y="487"/>
                  </a:lnTo>
                  <a:lnTo>
                    <a:pt x="545" y="483"/>
                  </a:lnTo>
                  <a:lnTo>
                    <a:pt x="549" y="478"/>
                  </a:lnTo>
                  <a:lnTo>
                    <a:pt x="553" y="478"/>
                  </a:lnTo>
                  <a:lnTo>
                    <a:pt x="553" y="483"/>
                  </a:lnTo>
                  <a:lnTo>
                    <a:pt x="558" y="483"/>
                  </a:lnTo>
                  <a:lnTo>
                    <a:pt x="558" y="483"/>
                  </a:lnTo>
                  <a:lnTo>
                    <a:pt x="558" y="483"/>
                  </a:lnTo>
                  <a:lnTo>
                    <a:pt x="558" y="483"/>
                  </a:lnTo>
                  <a:lnTo>
                    <a:pt x="558" y="483"/>
                  </a:lnTo>
                  <a:lnTo>
                    <a:pt x="558" y="483"/>
                  </a:lnTo>
                  <a:lnTo>
                    <a:pt x="558" y="483"/>
                  </a:lnTo>
                  <a:lnTo>
                    <a:pt x="562" y="483"/>
                  </a:lnTo>
                  <a:lnTo>
                    <a:pt x="562" y="483"/>
                  </a:lnTo>
                  <a:lnTo>
                    <a:pt x="562" y="483"/>
                  </a:lnTo>
                  <a:lnTo>
                    <a:pt x="562" y="483"/>
                  </a:lnTo>
                  <a:lnTo>
                    <a:pt x="562" y="483"/>
                  </a:lnTo>
                  <a:lnTo>
                    <a:pt x="562" y="483"/>
                  </a:lnTo>
                  <a:lnTo>
                    <a:pt x="567" y="483"/>
                  </a:lnTo>
                  <a:lnTo>
                    <a:pt x="567" y="483"/>
                  </a:lnTo>
                  <a:lnTo>
                    <a:pt x="562" y="483"/>
                  </a:lnTo>
                  <a:lnTo>
                    <a:pt x="562" y="483"/>
                  </a:lnTo>
                  <a:lnTo>
                    <a:pt x="558" y="483"/>
                  </a:lnTo>
                  <a:lnTo>
                    <a:pt x="562" y="483"/>
                  </a:lnTo>
                  <a:lnTo>
                    <a:pt x="562" y="487"/>
                  </a:lnTo>
                  <a:lnTo>
                    <a:pt x="558" y="487"/>
                  </a:lnTo>
                  <a:lnTo>
                    <a:pt x="558" y="487"/>
                  </a:lnTo>
                  <a:lnTo>
                    <a:pt x="558" y="487"/>
                  </a:lnTo>
                  <a:lnTo>
                    <a:pt x="562" y="487"/>
                  </a:lnTo>
                  <a:lnTo>
                    <a:pt x="562" y="492"/>
                  </a:lnTo>
                  <a:lnTo>
                    <a:pt x="567" y="492"/>
                  </a:lnTo>
                  <a:lnTo>
                    <a:pt x="567" y="492"/>
                  </a:lnTo>
                  <a:lnTo>
                    <a:pt x="567" y="492"/>
                  </a:lnTo>
                  <a:lnTo>
                    <a:pt x="567" y="492"/>
                  </a:lnTo>
                  <a:lnTo>
                    <a:pt x="571" y="492"/>
                  </a:lnTo>
                  <a:lnTo>
                    <a:pt x="571" y="492"/>
                  </a:lnTo>
                  <a:lnTo>
                    <a:pt x="571" y="492"/>
                  </a:lnTo>
                  <a:lnTo>
                    <a:pt x="571" y="492"/>
                  </a:lnTo>
                  <a:lnTo>
                    <a:pt x="576" y="496"/>
                  </a:lnTo>
                  <a:lnTo>
                    <a:pt x="576" y="496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8" y="501"/>
                  </a:lnTo>
                  <a:lnTo>
                    <a:pt x="598" y="501"/>
                  </a:lnTo>
                  <a:lnTo>
                    <a:pt x="593" y="501"/>
                  </a:lnTo>
                  <a:lnTo>
                    <a:pt x="598" y="501"/>
                  </a:lnTo>
                  <a:lnTo>
                    <a:pt x="598" y="501"/>
                  </a:lnTo>
                  <a:lnTo>
                    <a:pt x="598" y="501"/>
                  </a:lnTo>
                  <a:lnTo>
                    <a:pt x="598" y="505"/>
                  </a:lnTo>
                  <a:lnTo>
                    <a:pt x="598" y="505"/>
                  </a:lnTo>
                  <a:lnTo>
                    <a:pt x="598" y="505"/>
                  </a:lnTo>
                  <a:lnTo>
                    <a:pt x="598" y="505"/>
                  </a:lnTo>
                  <a:lnTo>
                    <a:pt x="602" y="509"/>
                  </a:lnTo>
                  <a:lnTo>
                    <a:pt x="602" y="509"/>
                  </a:lnTo>
                  <a:lnTo>
                    <a:pt x="602" y="509"/>
                  </a:lnTo>
                  <a:lnTo>
                    <a:pt x="598" y="514"/>
                  </a:lnTo>
                  <a:lnTo>
                    <a:pt x="598" y="514"/>
                  </a:lnTo>
                  <a:lnTo>
                    <a:pt x="602" y="514"/>
                  </a:lnTo>
                  <a:lnTo>
                    <a:pt x="602" y="514"/>
                  </a:lnTo>
                  <a:lnTo>
                    <a:pt x="602" y="514"/>
                  </a:lnTo>
                  <a:lnTo>
                    <a:pt x="602" y="514"/>
                  </a:lnTo>
                  <a:lnTo>
                    <a:pt x="602" y="514"/>
                  </a:lnTo>
                  <a:lnTo>
                    <a:pt x="602" y="514"/>
                  </a:lnTo>
                  <a:lnTo>
                    <a:pt x="602" y="518"/>
                  </a:lnTo>
                  <a:lnTo>
                    <a:pt x="602" y="518"/>
                  </a:lnTo>
                  <a:lnTo>
                    <a:pt x="606" y="523"/>
                  </a:lnTo>
                  <a:lnTo>
                    <a:pt x="606" y="523"/>
                  </a:lnTo>
                  <a:lnTo>
                    <a:pt x="606" y="523"/>
                  </a:lnTo>
                  <a:lnTo>
                    <a:pt x="606" y="523"/>
                  </a:lnTo>
                  <a:lnTo>
                    <a:pt x="611" y="527"/>
                  </a:lnTo>
                  <a:lnTo>
                    <a:pt x="611" y="527"/>
                  </a:lnTo>
                  <a:lnTo>
                    <a:pt x="611" y="527"/>
                  </a:lnTo>
                  <a:lnTo>
                    <a:pt x="611" y="527"/>
                  </a:lnTo>
                  <a:lnTo>
                    <a:pt x="615" y="527"/>
                  </a:lnTo>
                  <a:lnTo>
                    <a:pt x="615" y="527"/>
                  </a:lnTo>
                  <a:lnTo>
                    <a:pt x="620" y="532"/>
                  </a:lnTo>
                  <a:lnTo>
                    <a:pt x="620" y="532"/>
                  </a:lnTo>
                  <a:lnTo>
                    <a:pt x="620" y="532"/>
                  </a:lnTo>
                  <a:lnTo>
                    <a:pt x="620" y="532"/>
                  </a:lnTo>
                  <a:lnTo>
                    <a:pt x="620" y="532"/>
                  </a:lnTo>
                  <a:lnTo>
                    <a:pt x="620" y="527"/>
                  </a:lnTo>
                  <a:lnTo>
                    <a:pt x="620" y="527"/>
                  </a:lnTo>
                  <a:lnTo>
                    <a:pt x="620" y="527"/>
                  </a:lnTo>
                  <a:lnTo>
                    <a:pt x="620" y="523"/>
                  </a:lnTo>
                  <a:lnTo>
                    <a:pt x="620" y="523"/>
                  </a:lnTo>
                  <a:lnTo>
                    <a:pt x="620" y="523"/>
                  </a:lnTo>
                  <a:lnTo>
                    <a:pt x="620" y="523"/>
                  </a:lnTo>
                  <a:lnTo>
                    <a:pt x="624" y="518"/>
                  </a:lnTo>
                  <a:lnTo>
                    <a:pt x="624" y="518"/>
                  </a:lnTo>
                  <a:lnTo>
                    <a:pt x="624" y="518"/>
                  </a:lnTo>
                  <a:lnTo>
                    <a:pt x="624" y="514"/>
                  </a:lnTo>
                  <a:lnTo>
                    <a:pt x="624" y="514"/>
                  </a:lnTo>
                  <a:lnTo>
                    <a:pt x="624" y="514"/>
                  </a:lnTo>
                  <a:lnTo>
                    <a:pt x="629" y="509"/>
                  </a:lnTo>
                  <a:lnTo>
                    <a:pt x="629" y="509"/>
                  </a:lnTo>
                  <a:lnTo>
                    <a:pt x="629" y="509"/>
                  </a:lnTo>
                  <a:lnTo>
                    <a:pt x="629" y="509"/>
                  </a:lnTo>
                  <a:lnTo>
                    <a:pt x="629" y="509"/>
                  </a:lnTo>
                  <a:close/>
                  <a:moveTo>
                    <a:pt x="310" y="239"/>
                  </a:moveTo>
                  <a:lnTo>
                    <a:pt x="310" y="239"/>
                  </a:lnTo>
                  <a:lnTo>
                    <a:pt x="310" y="239"/>
                  </a:lnTo>
                  <a:lnTo>
                    <a:pt x="310" y="239"/>
                  </a:lnTo>
                  <a:lnTo>
                    <a:pt x="310" y="239"/>
                  </a:lnTo>
                  <a:lnTo>
                    <a:pt x="310" y="239"/>
                  </a:lnTo>
                  <a:lnTo>
                    <a:pt x="310" y="239"/>
                  </a:lnTo>
                  <a:lnTo>
                    <a:pt x="310" y="239"/>
                  </a:lnTo>
                  <a:lnTo>
                    <a:pt x="306" y="239"/>
                  </a:lnTo>
                  <a:lnTo>
                    <a:pt x="306" y="239"/>
                  </a:lnTo>
                  <a:lnTo>
                    <a:pt x="306" y="239"/>
                  </a:lnTo>
                  <a:lnTo>
                    <a:pt x="306" y="235"/>
                  </a:lnTo>
                  <a:lnTo>
                    <a:pt x="306" y="235"/>
                  </a:lnTo>
                  <a:lnTo>
                    <a:pt x="306" y="235"/>
                  </a:lnTo>
                  <a:lnTo>
                    <a:pt x="310" y="235"/>
                  </a:lnTo>
                  <a:lnTo>
                    <a:pt x="310" y="235"/>
                  </a:lnTo>
                  <a:lnTo>
                    <a:pt x="310" y="235"/>
                  </a:lnTo>
                  <a:lnTo>
                    <a:pt x="310" y="235"/>
                  </a:lnTo>
                  <a:lnTo>
                    <a:pt x="310" y="239"/>
                  </a:lnTo>
                  <a:close/>
                  <a:moveTo>
                    <a:pt x="301" y="129"/>
                  </a:moveTo>
                  <a:lnTo>
                    <a:pt x="306" y="129"/>
                  </a:lnTo>
                  <a:lnTo>
                    <a:pt x="306" y="124"/>
                  </a:lnTo>
                  <a:lnTo>
                    <a:pt x="301" y="124"/>
                  </a:lnTo>
                  <a:lnTo>
                    <a:pt x="301" y="124"/>
                  </a:lnTo>
                  <a:lnTo>
                    <a:pt x="301" y="124"/>
                  </a:lnTo>
                  <a:lnTo>
                    <a:pt x="301" y="129"/>
                  </a:lnTo>
                  <a:lnTo>
                    <a:pt x="301" y="129"/>
                  </a:lnTo>
                  <a:lnTo>
                    <a:pt x="301" y="129"/>
                  </a:lnTo>
                  <a:close/>
                  <a:moveTo>
                    <a:pt x="306" y="129"/>
                  </a:moveTo>
                  <a:lnTo>
                    <a:pt x="306" y="129"/>
                  </a:lnTo>
                  <a:lnTo>
                    <a:pt x="306" y="129"/>
                  </a:lnTo>
                  <a:lnTo>
                    <a:pt x="306" y="129"/>
                  </a:lnTo>
                  <a:lnTo>
                    <a:pt x="306" y="129"/>
                  </a:lnTo>
                  <a:lnTo>
                    <a:pt x="306" y="129"/>
                  </a:lnTo>
                  <a:lnTo>
                    <a:pt x="306" y="129"/>
                  </a:lnTo>
                  <a:lnTo>
                    <a:pt x="301" y="129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6" y="129"/>
                  </a:lnTo>
                  <a:close/>
                  <a:moveTo>
                    <a:pt x="345" y="607"/>
                  </a:moveTo>
                  <a:lnTo>
                    <a:pt x="345" y="602"/>
                  </a:lnTo>
                  <a:lnTo>
                    <a:pt x="345" y="602"/>
                  </a:lnTo>
                  <a:lnTo>
                    <a:pt x="345" y="602"/>
                  </a:lnTo>
                  <a:lnTo>
                    <a:pt x="345" y="602"/>
                  </a:lnTo>
                  <a:lnTo>
                    <a:pt x="345" y="602"/>
                  </a:lnTo>
                  <a:lnTo>
                    <a:pt x="345" y="602"/>
                  </a:lnTo>
                  <a:lnTo>
                    <a:pt x="345" y="607"/>
                  </a:lnTo>
                  <a:lnTo>
                    <a:pt x="345" y="607"/>
                  </a:lnTo>
                  <a:lnTo>
                    <a:pt x="345" y="607"/>
                  </a:lnTo>
                  <a:close/>
                  <a:moveTo>
                    <a:pt x="474" y="638"/>
                  </a:moveTo>
                  <a:lnTo>
                    <a:pt x="474" y="633"/>
                  </a:lnTo>
                  <a:lnTo>
                    <a:pt x="474" y="633"/>
                  </a:lnTo>
                  <a:lnTo>
                    <a:pt x="478" y="633"/>
                  </a:lnTo>
                  <a:lnTo>
                    <a:pt x="478" y="633"/>
                  </a:lnTo>
                  <a:lnTo>
                    <a:pt x="478" y="633"/>
                  </a:lnTo>
                  <a:lnTo>
                    <a:pt x="478" y="633"/>
                  </a:lnTo>
                  <a:lnTo>
                    <a:pt x="474" y="633"/>
                  </a:lnTo>
                  <a:lnTo>
                    <a:pt x="474" y="629"/>
                  </a:lnTo>
                  <a:lnTo>
                    <a:pt x="469" y="629"/>
                  </a:lnTo>
                  <a:lnTo>
                    <a:pt x="469" y="633"/>
                  </a:lnTo>
                  <a:lnTo>
                    <a:pt x="469" y="633"/>
                  </a:lnTo>
                  <a:lnTo>
                    <a:pt x="465" y="633"/>
                  </a:lnTo>
                  <a:lnTo>
                    <a:pt x="465" y="633"/>
                  </a:lnTo>
                  <a:lnTo>
                    <a:pt x="465" y="638"/>
                  </a:lnTo>
                  <a:lnTo>
                    <a:pt x="460" y="638"/>
                  </a:lnTo>
                  <a:lnTo>
                    <a:pt x="456" y="638"/>
                  </a:lnTo>
                  <a:lnTo>
                    <a:pt x="456" y="638"/>
                  </a:lnTo>
                  <a:lnTo>
                    <a:pt x="456" y="638"/>
                  </a:lnTo>
                  <a:lnTo>
                    <a:pt x="456" y="638"/>
                  </a:lnTo>
                  <a:lnTo>
                    <a:pt x="456" y="638"/>
                  </a:lnTo>
                  <a:lnTo>
                    <a:pt x="456" y="633"/>
                  </a:lnTo>
                  <a:lnTo>
                    <a:pt x="456" y="633"/>
                  </a:lnTo>
                  <a:lnTo>
                    <a:pt x="456" y="633"/>
                  </a:lnTo>
                  <a:lnTo>
                    <a:pt x="456" y="633"/>
                  </a:lnTo>
                  <a:lnTo>
                    <a:pt x="456" y="633"/>
                  </a:lnTo>
                  <a:lnTo>
                    <a:pt x="456" y="633"/>
                  </a:lnTo>
                  <a:lnTo>
                    <a:pt x="456" y="633"/>
                  </a:lnTo>
                  <a:lnTo>
                    <a:pt x="456" y="633"/>
                  </a:lnTo>
                  <a:lnTo>
                    <a:pt x="452" y="638"/>
                  </a:lnTo>
                  <a:lnTo>
                    <a:pt x="452" y="642"/>
                  </a:lnTo>
                  <a:lnTo>
                    <a:pt x="447" y="642"/>
                  </a:lnTo>
                  <a:lnTo>
                    <a:pt x="447" y="642"/>
                  </a:lnTo>
                  <a:lnTo>
                    <a:pt x="447" y="642"/>
                  </a:lnTo>
                  <a:lnTo>
                    <a:pt x="447" y="642"/>
                  </a:lnTo>
                  <a:lnTo>
                    <a:pt x="447" y="642"/>
                  </a:lnTo>
                  <a:lnTo>
                    <a:pt x="447" y="642"/>
                  </a:lnTo>
                  <a:lnTo>
                    <a:pt x="447" y="642"/>
                  </a:lnTo>
                  <a:lnTo>
                    <a:pt x="443" y="642"/>
                  </a:lnTo>
                  <a:lnTo>
                    <a:pt x="443" y="642"/>
                  </a:lnTo>
                  <a:lnTo>
                    <a:pt x="443" y="642"/>
                  </a:lnTo>
                  <a:lnTo>
                    <a:pt x="443" y="642"/>
                  </a:lnTo>
                  <a:lnTo>
                    <a:pt x="443" y="642"/>
                  </a:lnTo>
                  <a:lnTo>
                    <a:pt x="438" y="638"/>
                  </a:lnTo>
                  <a:lnTo>
                    <a:pt x="438" y="638"/>
                  </a:lnTo>
                  <a:lnTo>
                    <a:pt x="438" y="638"/>
                  </a:lnTo>
                  <a:lnTo>
                    <a:pt x="438" y="638"/>
                  </a:lnTo>
                  <a:lnTo>
                    <a:pt x="438" y="638"/>
                  </a:lnTo>
                  <a:lnTo>
                    <a:pt x="434" y="638"/>
                  </a:lnTo>
                  <a:lnTo>
                    <a:pt x="434" y="642"/>
                  </a:lnTo>
                  <a:lnTo>
                    <a:pt x="429" y="642"/>
                  </a:lnTo>
                  <a:lnTo>
                    <a:pt x="429" y="642"/>
                  </a:lnTo>
                  <a:lnTo>
                    <a:pt x="429" y="642"/>
                  </a:lnTo>
                  <a:lnTo>
                    <a:pt x="425" y="642"/>
                  </a:lnTo>
                  <a:lnTo>
                    <a:pt x="425" y="647"/>
                  </a:lnTo>
                  <a:lnTo>
                    <a:pt x="425" y="647"/>
                  </a:lnTo>
                  <a:lnTo>
                    <a:pt x="416" y="647"/>
                  </a:lnTo>
                  <a:lnTo>
                    <a:pt x="416" y="647"/>
                  </a:lnTo>
                  <a:lnTo>
                    <a:pt x="412" y="647"/>
                  </a:lnTo>
                  <a:lnTo>
                    <a:pt x="412" y="651"/>
                  </a:lnTo>
                  <a:lnTo>
                    <a:pt x="407" y="651"/>
                  </a:lnTo>
                  <a:lnTo>
                    <a:pt x="403" y="651"/>
                  </a:lnTo>
                  <a:lnTo>
                    <a:pt x="398" y="651"/>
                  </a:lnTo>
                  <a:lnTo>
                    <a:pt x="394" y="651"/>
                  </a:lnTo>
                  <a:lnTo>
                    <a:pt x="394" y="651"/>
                  </a:lnTo>
                  <a:lnTo>
                    <a:pt x="394" y="651"/>
                  </a:lnTo>
                  <a:lnTo>
                    <a:pt x="394" y="651"/>
                  </a:lnTo>
                  <a:lnTo>
                    <a:pt x="390" y="647"/>
                  </a:lnTo>
                  <a:lnTo>
                    <a:pt x="390" y="647"/>
                  </a:lnTo>
                  <a:lnTo>
                    <a:pt x="385" y="651"/>
                  </a:lnTo>
                  <a:lnTo>
                    <a:pt x="385" y="651"/>
                  </a:lnTo>
                  <a:lnTo>
                    <a:pt x="385" y="651"/>
                  </a:lnTo>
                  <a:lnTo>
                    <a:pt x="385" y="651"/>
                  </a:lnTo>
                  <a:lnTo>
                    <a:pt x="381" y="651"/>
                  </a:lnTo>
                  <a:lnTo>
                    <a:pt x="381" y="651"/>
                  </a:lnTo>
                  <a:lnTo>
                    <a:pt x="381" y="651"/>
                  </a:lnTo>
                  <a:lnTo>
                    <a:pt x="376" y="651"/>
                  </a:lnTo>
                  <a:lnTo>
                    <a:pt x="376" y="651"/>
                  </a:lnTo>
                  <a:lnTo>
                    <a:pt x="376" y="651"/>
                  </a:lnTo>
                  <a:lnTo>
                    <a:pt x="376" y="651"/>
                  </a:lnTo>
                  <a:lnTo>
                    <a:pt x="376" y="651"/>
                  </a:lnTo>
                  <a:lnTo>
                    <a:pt x="372" y="651"/>
                  </a:lnTo>
                  <a:lnTo>
                    <a:pt x="372" y="651"/>
                  </a:lnTo>
                  <a:lnTo>
                    <a:pt x="372" y="651"/>
                  </a:lnTo>
                  <a:lnTo>
                    <a:pt x="367" y="647"/>
                  </a:lnTo>
                  <a:lnTo>
                    <a:pt x="367" y="647"/>
                  </a:lnTo>
                  <a:lnTo>
                    <a:pt x="367" y="647"/>
                  </a:lnTo>
                  <a:lnTo>
                    <a:pt x="367" y="647"/>
                  </a:lnTo>
                  <a:lnTo>
                    <a:pt x="367" y="647"/>
                  </a:lnTo>
                  <a:lnTo>
                    <a:pt x="367" y="647"/>
                  </a:lnTo>
                  <a:lnTo>
                    <a:pt x="363" y="642"/>
                  </a:lnTo>
                  <a:lnTo>
                    <a:pt x="359" y="642"/>
                  </a:lnTo>
                  <a:lnTo>
                    <a:pt x="359" y="642"/>
                  </a:lnTo>
                  <a:lnTo>
                    <a:pt x="359" y="642"/>
                  </a:lnTo>
                  <a:lnTo>
                    <a:pt x="359" y="638"/>
                  </a:lnTo>
                  <a:lnTo>
                    <a:pt x="359" y="638"/>
                  </a:lnTo>
                  <a:lnTo>
                    <a:pt x="354" y="638"/>
                  </a:lnTo>
                  <a:lnTo>
                    <a:pt x="354" y="638"/>
                  </a:lnTo>
                  <a:lnTo>
                    <a:pt x="354" y="638"/>
                  </a:lnTo>
                  <a:lnTo>
                    <a:pt x="354" y="638"/>
                  </a:lnTo>
                  <a:lnTo>
                    <a:pt x="354" y="638"/>
                  </a:lnTo>
                  <a:lnTo>
                    <a:pt x="354" y="638"/>
                  </a:lnTo>
                  <a:lnTo>
                    <a:pt x="354" y="638"/>
                  </a:lnTo>
                  <a:lnTo>
                    <a:pt x="350" y="638"/>
                  </a:lnTo>
                  <a:lnTo>
                    <a:pt x="350" y="638"/>
                  </a:lnTo>
                  <a:lnTo>
                    <a:pt x="350" y="638"/>
                  </a:lnTo>
                  <a:lnTo>
                    <a:pt x="350" y="638"/>
                  </a:lnTo>
                  <a:lnTo>
                    <a:pt x="350" y="638"/>
                  </a:lnTo>
                  <a:lnTo>
                    <a:pt x="350" y="638"/>
                  </a:lnTo>
                  <a:lnTo>
                    <a:pt x="345" y="638"/>
                  </a:lnTo>
                  <a:lnTo>
                    <a:pt x="345" y="638"/>
                  </a:lnTo>
                  <a:lnTo>
                    <a:pt x="345" y="638"/>
                  </a:lnTo>
                  <a:lnTo>
                    <a:pt x="341" y="638"/>
                  </a:lnTo>
                  <a:lnTo>
                    <a:pt x="341" y="638"/>
                  </a:lnTo>
                  <a:lnTo>
                    <a:pt x="341" y="638"/>
                  </a:lnTo>
                  <a:lnTo>
                    <a:pt x="341" y="638"/>
                  </a:lnTo>
                  <a:lnTo>
                    <a:pt x="341" y="642"/>
                  </a:lnTo>
                  <a:lnTo>
                    <a:pt x="341" y="642"/>
                  </a:lnTo>
                  <a:lnTo>
                    <a:pt x="341" y="642"/>
                  </a:lnTo>
                  <a:lnTo>
                    <a:pt x="341" y="642"/>
                  </a:lnTo>
                  <a:lnTo>
                    <a:pt x="341" y="642"/>
                  </a:lnTo>
                  <a:lnTo>
                    <a:pt x="341" y="642"/>
                  </a:lnTo>
                  <a:lnTo>
                    <a:pt x="341" y="647"/>
                  </a:lnTo>
                  <a:lnTo>
                    <a:pt x="341" y="647"/>
                  </a:lnTo>
                  <a:lnTo>
                    <a:pt x="341" y="647"/>
                  </a:lnTo>
                  <a:lnTo>
                    <a:pt x="337" y="647"/>
                  </a:lnTo>
                  <a:lnTo>
                    <a:pt x="332" y="651"/>
                  </a:lnTo>
                  <a:lnTo>
                    <a:pt x="332" y="651"/>
                  </a:lnTo>
                  <a:lnTo>
                    <a:pt x="332" y="647"/>
                  </a:lnTo>
                  <a:lnTo>
                    <a:pt x="332" y="647"/>
                  </a:lnTo>
                  <a:lnTo>
                    <a:pt x="328" y="647"/>
                  </a:lnTo>
                  <a:lnTo>
                    <a:pt x="328" y="647"/>
                  </a:lnTo>
                  <a:lnTo>
                    <a:pt x="328" y="647"/>
                  </a:lnTo>
                  <a:lnTo>
                    <a:pt x="328" y="642"/>
                  </a:lnTo>
                  <a:lnTo>
                    <a:pt x="323" y="642"/>
                  </a:lnTo>
                  <a:lnTo>
                    <a:pt x="323" y="638"/>
                  </a:lnTo>
                  <a:lnTo>
                    <a:pt x="323" y="638"/>
                  </a:lnTo>
                  <a:lnTo>
                    <a:pt x="323" y="638"/>
                  </a:lnTo>
                  <a:lnTo>
                    <a:pt x="323" y="638"/>
                  </a:lnTo>
                  <a:lnTo>
                    <a:pt x="323" y="638"/>
                  </a:lnTo>
                  <a:lnTo>
                    <a:pt x="323" y="642"/>
                  </a:lnTo>
                  <a:lnTo>
                    <a:pt x="323" y="642"/>
                  </a:lnTo>
                  <a:lnTo>
                    <a:pt x="323" y="642"/>
                  </a:lnTo>
                  <a:lnTo>
                    <a:pt x="319" y="642"/>
                  </a:lnTo>
                  <a:lnTo>
                    <a:pt x="319" y="642"/>
                  </a:lnTo>
                  <a:lnTo>
                    <a:pt x="319" y="642"/>
                  </a:lnTo>
                  <a:lnTo>
                    <a:pt x="319" y="642"/>
                  </a:lnTo>
                  <a:lnTo>
                    <a:pt x="319" y="647"/>
                  </a:lnTo>
                  <a:lnTo>
                    <a:pt x="319" y="647"/>
                  </a:lnTo>
                  <a:lnTo>
                    <a:pt x="314" y="647"/>
                  </a:lnTo>
                  <a:lnTo>
                    <a:pt x="314" y="647"/>
                  </a:lnTo>
                  <a:lnTo>
                    <a:pt x="314" y="647"/>
                  </a:lnTo>
                  <a:lnTo>
                    <a:pt x="310" y="651"/>
                  </a:lnTo>
                  <a:lnTo>
                    <a:pt x="310" y="651"/>
                  </a:lnTo>
                  <a:lnTo>
                    <a:pt x="310" y="651"/>
                  </a:lnTo>
                  <a:lnTo>
                    <a:pt x="310" y="651"/>
                  </a:lnTo>
                  <a:lnTo>
                    <a:pt x="310" y="651"/>
                  </a:lnTo>
                  <a:lnTo>
                    <a:pt x="310" y="656"/>
                  </a:lnTo>
                  <a:lnTo>
                    <a:pt x="310" y="656"/>
                  </a:lnTo>
                  <a:lnTo>
                    <a:pt x="310" y="656"/>
                  </a:lnTo>
                  <a:lnTo>
                    <a:pt x="310" y="656"/>
                  </a:lnTo>
                  <a:lnTo>
                    <a:pt x="310" y="656"/>
                  </a:lnTo>
                  <a:lnTo>
                    <a:pt x="310" y="660"/>
                  </a:lnTo>
                  <a:lnTo>
                    <a:pt x="310" y="660"/>
                  </a:lnTo>
                  <a:lnTo>
                    <a:pt x="310" y="660"/>
                  </a:lnTo>
                  <a:lnTo>
                    <a:pt x="310" y="660"/>
                  </a:lnTo>
                  <a:lnTo>
                    <a:pt x="310" y="660"/>
                  </a:lnTo>
                  <a:lnTo>
                    <a:pt x="310" y="660"/>
                  </a:lnTo>
                  <a:lnTo>
                    <a:pt x="310" y="664"/>
                  </a:lnTo>
                  <a:lnTo>
                    <a:pt x="310" y="664"/>
                  </a:lnTo>
                  <a:lnTo>
                    <a:pt x="310" y="664"/>
                  </a:lnTo>
                  <a:lnTo>
                    <a:pt x="310" y="664"/>
                  </a:lnTo>
                  <a:lnTo>
                    <a:pt x="310" y="664"/>
                  </a:lnTo>
                  <a:lnTo>
                    <a:pt x="306" y="664"/>
                  </a:lnTo>
                  <a:lnTo>
                    <a:pt x="306" y="664"/>
                  </a:lnTo>
                  <a:lnTo>
                    <a:pt x="306" y="664"/>
                  </a:lnTo>
                  <a:lnTo>
                    <a:pt x="310" y="664"/>
                  </a:lnTo>
                  <a:lnTo>
                    <a:pt x="310" y="669"/>
                  </a:lnTo>
                  <a:lnTo>
                    <a:pt x="310" y="669"/>
                  </a:lnTo>
                  <a:lnTo>
                    <a:pt x="310" y="669"/>
                  </a:lnTo>
                  <a:lnTo>
                    <a:pt x="310" y="669"/>
                  </a:lnTo>
                  <a:lnTo>
                    <a:pt x="310" y="669"/>
                  </a:lnTo>
                  <a:lnTo>
                    <a:pt x="310" y="673"/>
                  </a:lnTo>
                  <a:lnTo>
                    <a:pt x="310" y="673"/>
                  </a:lnTo>
                  <a:lnTo>
                    <a:pt x="310" y="673"/>
                  </a:lnTo>
                  <a:lnTo>
                    <a:pt x="314" y="673"/>
                  </a:lnTo>
                  <a:lnTo>
                    <a:pt x="314" y="673"/>
                  </a:lnTo>
                  <a:lnTo>
                    <a:pt x="314" y="673"/>
                  </a:lnTo>
                  <a:lnTo>
                    <a:pt x="319" y="678"/>
                  </a:lnTo>
                  <a:lnTo>
                    <a:pt x="319" y="682"/>
                  </a:lnTo>
                  <a:lnTo>
                    <a:pt x="323" y="682"/>
                  </a:lnTo>
                  <a:lnTo>
                    <a:pt x="328" y="678"/>
                  </a:lnTo>
                  <a:lnTo>
                    <a:pt x="332" y="678"/>
                  </a:lnTo>
                  <a:lnTo>
                    <a:pt x="332" y="678"/>
                  </a:lnTo>
                  <a:lnTo>
                    <a:pt x="337" y="682"/>
                  </a:lnTo>
                  <a:lnTo>
                    <a:pt x="337" y="682"/>
                  </a:lnTo>
                  <a:lnTo>
                    <a:pt x="337" y="682"/>
                  </a:lnTo>
                  <a:lnTo>
                    <a:pt x="337" y="682"/>
                  </a:lnTo>
                  <a:lnTo>
                    <a:pt x="337" y="687"/>
                  </a:lnTo>
                  <a:lnTo>
                    <a:pt x="337" y="687"/>
                  </a:lnTo>
                  <a:lnTo>
                    <a:pt x="341" y="687"/>
                  </a:lnTo>
                  <a:lnTo>
                    <a:pt x="341" y="687"/>
                  </a:lnTo>
                  <a:lnTo>
                    <a:pt x="345" y="687"/>
                  </a:lnTo>
                  <a:lnTo>
                    <a:pt x="345" y="687"/>
                  </a:lnTo>
                  <a:lnTo>
                    <a:pt x="345" y="687"/>
                  </a:lnTo>
                  <a:lnTo>
                    <a:pt x="345" y="687"/>
                  </a:lnTo>
                  <a:lnTo>
                    <a:pt x="350" y="687"/>
                  </a:lnTo>
                  <a:lnTo>
                    <a:pt x="350" y="687"/>
                  </a:lnTo>
                  <a:lnTo>
                    <a:pt x="350" y="687"/>
                  </a:lnTo>
                  <a:lnTo>
                    <a:pt x="350" y="687"/>
                  </a:lnTo>
                  <a:lnTo>
                    <a:pt x="350" y="691"/>
                  </a:lnTo>
                  <a:lnTo>
                    <a:pt x="350" y="691"/>
                  </a:lnTo>
                  <a:lnTo>
                    <a:pt x="354" y="691"/>
                  </a:lnTo>
                  <a:lnTo>
                    <a:pt x="354" y="691"/>
                  </a:lnTo>
                  <a:lnTo>
                    <a:pt x="354" y="691"/>
                  </a:lnTo>
                  <a:lnTo>
                    <a:pt x="354" y="695"/>
                  </a:lnTo>
                  <a:lnTo>
                    <a:pt x="359" y="695"/>
                  </a:lnTo>
                  <a:lnTo>
                    <a:pt x="359" y="695"/>
                  </a:lnTo>
                  <a:lnTo>
                    <a:pt x="363" y="700"/>
                  </a:lnTo>
                  <a:lnTo>
                    <a:pt x="363" y="700"/>
                  </a:lnTo>
                  <a:lnTo>
                    <a:pt x="367" y="700"/>
                  </a:lnTo>
                  <a:lnTo>
                    <a:pt x="367" y="700"/>
                  </a:lnTo>
                  <a:lnTo>
                    <a:pt x="367" y="700"/>
                  </a:lnTo>
                  <a:lnTo>
                    <a:pt x="372" y="704"/>
                  </a:lnTo>
                  <a:lnTo>
                    <a:pt x="376" y="704"/>
                  </a:lnTo>
                  <a:lnTo>
                    <a:pt x="376" y="709"/>
                  </a:lnTo>
                  <a:lnTo>
                    <a:pt x="381" y="709"/>
                  </a:lnTo>
                  <a:lnTo>
                    <a:pt x="381" y="709"/>
                  </a:lnTo>
                  <a:lnTo>
                    <a:pt x="385" y="709"/>
                  </a:lnTo>
                  <a:lnTo>
                    <a:pt x="385" y="713"/>
                  </a:lnTo>
                  <a:lnTo>
                    <a:pt x="385" y="709"/>
                  </a:lnTo>
                  <a:lnTo>
                    <a:pt x="390" y="709"/>
                  </a:lnTo>
                  <a:lnTo>
                    <a:pt x="390" y="709"/>
                  </a:lnTo>
                  <a:lnTo>
                    <a:pt x="394" y="709"/>
                  </a:lnTo>
                  <a:lnTo>
                    <a:pt x="398" y="709"/>
                  </a:lnTo>
                  <a:lnTo>
                    <a:pt x="403" y="713"/>
                  </a:lnTo>
                  <a:lnTo>
                    <a:pt x="403" y="713"/>
                  </a:lnTo>
                  <a:lnTo>
                    <a:pt x="407" y="718"/>
                  </a:lnTo>
                  <a:lnTo>
                    <a:pt x="412" y="722"/>
                  </a:lnTo>
                  <a:lnTo>
                    <a:pt x="416" y="731"/>
                  </a:lnTo>
                  <a:lnTo>
                    <a:pt x="416" y="731"/>
                  </a:lnTo>
                  <a:lnTo>
                    <a:pt x="421" y="731"/>
                  </a:lnTo>
                  <a:lnTo>
                    <a:pt x="421" y="731"/>
                  </a:lnTo>
                  <a:lnTo>
                    <a:pt x="421" y="731"/>
                  </a:lnTo>
                  <a:lnTo>
                    <a:pt x="425" y="735"/>
                  </a:lnTo>
                  <a:lnTo>
                    <a:pt x="425" y="735"/>
                  </a:lnTo>
                  <a:lnTo>
                    <a:pt x="425" y="735"/>
                  </a:lnTo>
                  <a:lnTo>
                    <a:pt x="429" y="735"/>
                  </a:lnTo>
                  <a:lnTo>
                    <a:pt x="429" y="735"/>
                  </a:lnTo>
                  <a:lnTo>
                    <a:pt x="429" y="735"/>
                  </a:lnTo>
                  <a:lnTo>
                    <a:pt x="429" y="735"/>
                  </a:lnTo>
                  <a:lnTo>
                    <a:pt x="429" y="735"/>
                  </a:lnTo>
                  <a:lnTo>
                    <a:pt x="434" y="735"/>
                  </a:lnTo>
                  <a:lnTo>
                    <a:pt x="438" y="735"/>
                  </a:lnTo>
                  <a:lnTo>
                    <a:pt x="438" y="735"/>
                  </a:lnTo>
                  <a:lnTo>
                    <a:pt x="438" y="735"/>
                  </a:lnTo>
                  <a:lnTo>
                    <a:pt x="443" y="740"/>
                  </a:lnTo>
                  <a:lnTo>
                    <a:pt x="443" y="735"/>
                  </a:lnTo>
                  <a:lnTo>
                    <a:pt x="443" y="735"/>
                  </a:lnTo>
                  <a:lnTo>
                    <a:pt x="443" y="735"/>
                  </a:lnTo>
                  <a:lnTo>
                    <a:pt x="443" y="735"/>
                  </a:lnTo>
                  <a:lnTo>
                    <a:pt x="443" y="735"/>
                  </a:lnTo>
                  <a:lnTo>
                    <a:pt x="443" y="740"/>
                  </a:lnTo>
                  <a:lnTo>
                    <a:pt x="447" y="740"/>
                  </a:lnTo>
                  <a:lnTo>
                    <a:pt x="447" y="740"/>
                  </a:lnTo>
                  <a:lnTo>
                    <a:pt x="447" y="740"/>
                  </a:lnTo>
                  <a:lnTo>
                    <a:pt x="447" y="740"/>
                  </a:lnTo>
                  <a:lnTo>
                    <a:pt x="452" y="740"/>
                  </a:lnTo>
                  <a:lnTo>
                    <a:pt x="452" y="740"/>
                  </a:lnTo>
                  <a:lnTo>
                    <a:pt x="447" y="735"/>
                  </a:lnTo>
                  <a:lnTo>
                    <a:pt x="447" y="731"/>
                  </a:lnTo>
                  <a:lnTo>
                    <a:pt x="447" y="731"/>
                  </a:lnTo>
                  <a:lnTo>
                    <a:pt x="447" y="731"/>
                  </a:lnTo>
                  <a:lnTo>
                    <a:pt x="447" y="731"/>
                  </a:lnTo>
                  <a:lnTo>
                    <a:pt x="452" y="722"/>
                  </a:lnTo>
                  <a:lnTo>
                    <a:pt x="452" y="722"/>
                  </a:lnTo>
                  <a:lnTo>
                    <a:pt x="452" y="722"/>
                  </a:lnTo>
                  <a:lnTo>
                    <a:pt x="452" y="722"/>
                  </a:lnTo>
                  <a:lnTo>
                    <a:pt x="456" y="718"/>
                  </a:lnTo>
                  <a:lnTo>
                    <a:pt x="456" y="718"/>
                  </a:lnTo>
                  <a:lnTo>
                    <a:pt x="456" y="718"/>
                  </a:lnTo>
                  <a:lnTo>
                    <a:pt x="456" y="718"/>
                  </a:lnTo>
                  <a:lnTo>
                    <a:pt x="456" y="718"/>
                  </a:lnTo>
                  <a:lnTo>
                    <a:pt x="456" y="718"/>
                  </a:lnTo>
                  <a:lnTo>
                    <a:pt x="456" y="718"/>
                  </a:lnTo>
                  <a:lnTo>
                    <a:pt x="456" y="718"/>
                  </a:lnTo>
                  <a:lnTo>
                    <a:pt x="460" y="718"/>
                  </a:lnTo>
                  <a:lnTo>
                    <a:pt x="460" y="718"/>
                  </a:lnTo>
                  <a:lnTo>
                    <a:pt x="460" y="718"/>
                  </a:lnTo>
                  <a:lnTo>
                    <a:pt x="460" y="718"/>
                  </a:lnTo>
                  <a:lnTo>
                    <a:pt x="460" y="718"/>
                  </a:lnTo>
                  <a:lnTo>
                    <a:pt x="460" y="718"/>
                  </a:lnTo>
                  <a:lnTo>
                    <a:pt x="460" y="713"/>
                  </a:lnTo>
                  <a:lnTo>
                    <a:pt x="460" y="713"/>
                  </a:lnTo>
                  <a:lnTo>
                    <a:pt x="456" y="713"/>
                  </a:lnTo>
                  <a:lnTo>
                    <a:pt x="456" y="713"/>
                  </a:lnTo>
                  <a:lnTo>
                    <a:pt x="456" y="713"/>
                  </a:lnTo>
                  <a:lnTo>
                    <a:pt x="456" y="713"/>
                  </a:lnTo>
                  <a:lnTo>
                    <a:pt x="460" y="713"/>
                  </a:lnTo>
                  <a:lnTo>
                    <a:pt x="460" y="713"/>
                  </a:lnTo>
                  <a:lnTo>
                    <a:pt x="460" y="709"/>
                  </a:lnTo>
                  <a:lnTo>
                    <a:pt x="456" y="709"/>
                  </a:lnTo>
                  <a:lnTo>
                    <a:pt x="456" y="709"/>
                  </a:lnTo>
                  <a:lnTo>
                    <a:pt x="456" y="709"/>
                  </a:lnTo>
                  <a:lnTo>
                    <a:pt x="456" y="709"/>
                  </a:lnTo>
                  <a:lnTo>
                    <a:pt x="456" y="709"/>
                  </a:lnTo>
                  <a:lnTo>
                    <a:pt x="456" y="709"/>
                  </a:lnTo>
                  <a:lnTo>
                    <a:pt x="456" y="709"/>
                  </a:lnTo>
                  <a:lnTo>
                    <a:pt x="456" y="709"/>
                  </a:lnTo>
                  <a:lnTo>
                    <a:pt x="456" y="709"/>
                  </a:lnTo>
                  <a:lnTo>
                    <a:pt x="452" y="704"/>
                  </a:lnTo>
                  <a:lnTo>
                    <a:pt x="452" y="704"/>
                  </a:lnTo>
                  <a:lnTo>
                    <a:pt x="452" y="704"/>
                  </a:lnTo>
                  <a:lnTo>
                    <a:pt x="452" y="700"/>
                  </a:lnTo>
                  <a:lnTo>
                    <a:pt x="452" y="700"/>
                  </a:lnTo>
                  <a:lnTo>
                    <a:pt x="456" y="700"/>
                  </a:lnTo>
                  <a:lnTo>
                    <a:pt x="456" y="700"/>
                  </a:lnTo>
                  <a:lnTo>
                    <a:pt x="456" y="704"/>
                  </a:lnTo>
                  <a:lnTo>
                    <a:pt x="456" y="704"/>
                  </a:lnTo>
                  <a:lnTo>
                    <a:pt x="456" y="700"/>
                  </a:lnTo>
                  <a:lnTo>
                    <a:pt x="456" y="700"/>
                  </a:lnTo>
                  <a:lnTo>
                    <a:pt x="456" y="700"/>
                  </a:lnTo>
                  <a:lnTo>
                    <a:pt x="456" y="700"/>
                  </a:lnTo>
                  <a:lnTo>
                    <a:pt x="456" y="700"/>
                  </a:lnTo>
                  <a:lnTo>
                    <a:pt x="456" y="700"/>
                  </a:lnTo>
                  <a:lnTo>
                    <a:pt x="452" y="700"/>
                  </a:lnTo>
                  <a:lnTo>
                    <a:pt x="447" y="695"/>
                  </a:lnTo>
                  <a:lnTo>
                    <a:pt x="447" y="695"/>
                  </a:lnTo>
                  <a:lnTo>
                    <a:pt x="447" y="695"/>
                  </a:lnTo>
                  <a:lnTo>
                    <a:pt x="447" y="695"/>
                  </a:lnTo>
                  <a:lnTo>
                    <a:pt x="447" y="687"/>
                  </a:lnTo>
                  <a:lnTo>
                    <a:pt x="447" y="687"/>
                  </a:lnTo>
                  <a:lnTo>
                    <a:pt x="447" y="687"/>
                  </a:lnTo>
                  <a:lnTo>
                    <a:pt x="447" y="682"/>
                  </a:lnTo>
                  <a:lnTo>
                    <a:pt x="452" y="682"/>
                  </a:lnTo>
                  <a:lnTo>
                    <a:pt x="452" y="678"/>
                  </a:lnTo>
                  <a:lnTo>
                    <a:pt x="452" y="678"/>
                  </a:lnTo>
                  <a:lnTo>
                    <a:pt x="452" y="673"/>
                  </a:lnTo>
                  <a:lnTo>
                    <a:pt x="452" y="673"/>
                  </a:lnTo>
                  <a:lnTo>
                    <a:pt x="452" y="673"/>
                  </a:lnTo>
                  <a:lnTo>
                    <a:pt x="456" y="673"/>
                  </a:lnTo>
                  <a:lnTo>
                    <a:pt x="456" y="669"/>
                  </a:lnTo>
                  <a:lnTo>
                    <a:pt x="456" y="669"/>
                  </a:lnTo>
                  <a:lnTo>
                    <a:pt x="452" y="669"/>
                  </a:lnTo>
                  <a:lnTo>
                    <a:pt x="452" y="669"/>
                  </a:lnTo>
                  <a:lnTo>
                    <a:pt x="452" y="669"/>
                  </a:lnTo>
                  <a:lnTo>
                    <a:pt x="456" y="664"/>
                  </a:lnTo>
                  <a:lnTo>
                    <a:pt x="456" y="664"/>
                  </a:lnTo>
                  <a:lnTo>
                    <a:pt x="456" y="664"/>
                  </a:lnTo>
                  <a:lnTo>
                    <a:pt x="460" y="660"/>
                  </a:lnTo>
                  <a:lnTo>
                    <a:pt x="465" y="651"/>
                  </a:lnTo>
                  <a:lnTo>
                    <a:pt x="469" y="647"/>
                  </a:lnTo>
                  <a:lnTo>
                    <a:pt x="469" y="642"/>
                  </a:lnTo>
                  <a:lnTo>
                    <a:pt x="474" y="638"/>
                  </a:lnTo>
                  <a:lnTo>
                    <a:pt x="474" y="638"/>
                  </a:lnTo>
                  <a:lnTo>
                    <a:pt x="474" y="638"/>
                  </a:lnTo>
                  <a:lnTo>
                    <a:pt x="474" y="638"/>
                  </a:lnTo>
                  <a:close/>
                  <a:moveTo>
                    <a:pt x="407" y="616"/>
                  </a:moveTo>
                  <a:lnTo>
                    <a:pt x="407" y="616"/>
                  </a:lnTo>
                  <a:lnTo>
                    <a:pt x="407" y="616"/>
                  </a:lnTo>
                  <a:lnTo>
                    <a:pt x="407" y="616"/>
                  </a:lnTo>
                  <a:lnTo>
                    <a:pt x="407" y="616"/>
                  </a:lnTo>
                  <a:close/>
                </a:path>
              </a:pathLst>
            </a:custGeom>
            <a:solidFill>
              <a:srgbClr val="565A5C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04" name="Freeform 35"/>
            <p:cNvSpPr>
              <a:spLocks noEditPoints="1"/>
            </p:cNvSpPr>
            <p:nvPr/>
          </p:nvSpPr>
          <p:spPr bwMode="auto">
            <a:xfrm>
              <a:off x="1617663" y="3881438"/>
              <a:ext cx="371475" cy="555625"/>
            </a:xfrm>
            <a:custGeom>
              <a:avLst/>
              <a:gdLst>
                <a:gd name="T0" fmla="*/ 39 w 234"/>
                <a:gd name="T1" fmla="*/ 208 h 350"/>
                <a:gd name="T2" fmla="*/ 22 w 234"/>
                <a:gd name="T3" fmla="*/ 137 h 350"/>
                <a:gd name="T4" fmla="*/ 101 w 234"/>
                <a:gd name="T5" fmla="*/ 35 h 350"/>
                <a:gd name="T6" fmla="*/ 230 w 234"/>
                <a:gd name="T7" fmla="*/ 195 h 350"/>
                <a:gd name="T8" fmla="*/ 225 w 234"/>
                <a:gd name="T9" fmla="*/ 172 h 350"/>
                <a:gd name="T10" fmla="*/ 212 w 234"/>
                <a:gd name="T11" fmla="*/ 128 h 350"/>
                <a:gd name="T12" fmla="*/ 212 w 234"/>
                <a:gd name="T13" fmla="*/ 124 h 350"/>
                <a:gd name="T14" fmla="*/ 190 w 234"/>
                <a:gd name="T15" fmla="*/ 106 h 350"/>
                <a:gd name="T16" fmla="*/ 172 w 234"/>
                <a:gd name="T17" fmla="*/ 106 h 350"/>
                <a:gd name="T18" fmla="*/ 159 w 234"/>
                <a:gd name="T19" fmla="*/ 115 h 350"/>
                <a:gd name="T20" fmla="*/ 128 w 234"/>
                <a:gd name="T21" fmla="*/ 79 h 350"/>
                <a:gd name="T22" fmla="*/ 150 w 234"/>
                <a:gd name="T23" fmla="*/ 62 h 350"/>
                <a:gd name="T24" fmla="*/ 172 w 234"/>
                <a:gd name="T25" fmla="*/ 22 h 350"/>
                <a:gd name="T26" fmla="*/ 163 w 234"/>
                <a:gd name="T27" fmla="*/ 9 h 350"/>
                <a:gd name="T28" fmla="*/ 146 w 234"/>
                <a:gd name="T29" fmla="*/ 40 h 350"/>
                <a:gd name="T30" fmla="*/ 141 w 234"/>
                <a:gd name="T31" fmla="*/ 13 h 350"/>
                <a:gd name="T32" fmla="*/ 137 w 234"/>
                <a:gd name="T33" fmla="*/ 18 h 350"/>
                <a:gd name="T34" fmla="*/ 132 w 234"/>
                <a:gd name="T35" fmla="*/ 18 h 350"/>
                <a:gd name="T36" fmla="*/ 106 w 234"/>
                <a:gd name="T37" fmla="*/ 35 h 350"/>
                <a:gd name="T38" fmla="*/ 110 w 234"/>
                <a:gd name="T39" fmla="*/ 53 h 350"/>
                <a:gd name="T40" fmla="*/ 88 w 234"/>
                <a:gd name="T41" fmla="*/ 66 h 350"/>
                <a:gd name="T42" fmla="*/ 106 w 234"/>
                <a:gd name="T43" fmla="*/ 75 h 350"/>
                <a:gd name="T44" fmla="*/ 119 w 234"/>
                <a:gd name="T45" fmla="*/ 84 h 350"/>
                <a:gd name="T46" fmla="*/ 101 w 234"/>
                <a:gd name="T47" fmla="*/ 102 h 350"/>
                <a:gd name="T48" fmla="*/ 79 w 234"/>
                <a:gd name="T49" fmla="*/ 102 h 350"/>
                <a:gd name="T50" fmla="*/ 57 w 234"/>
                <a:gd name="T51" fmla="*/ 97 h 350"/>
                <a:gd name="T52" fmla="*/ 31 w 234"/>
                <a:gd name="T53" fmla="*/ 106 h 350"/>
                <a:gd name="T54" fmla="*/ 17 w 234"/>
                <a:gd name="T55" fmla="*/ 106 h 350"/>
                <a:gd name="T56" fmla="*/ 26 w 234"/>
                <a:gd name="T57" fmla="*/ 110 h 350"/>
                <a:gd name="T58" fmla="*/ 31 w 234"/>
                <a:gd name="T59" fmla="*/ 124 h 350"/>
                <a:gd name="T60" fmla="*/ 26 w 234"/>
                <a:gd name="T61" fmla="*/ 141 h 350"/>
                <a:gd name="T62" fmla="*/ 26 w 234"/>
                <a:gd name="T63" fmla="*/ 155 h 350"/>
                <a:gd name="T64" fmla="*/ 17 w 234"/>
                <a:gd name="T65" fmla="*/ 168 h 350"/>
                <a:gd name="T66" fmla="*/ 26 w 234"/>
                <a:gd name="T67" fmla="*/ 181 h 350"/>
                <a:gd name="T68" fmla="*/ 31 w 234"/>
                <a:gd name="T69" fmla="*/ 186 h 350"/>
                <a:gd name="T70" fmla="*/ 44 w 234"/>
                <a:gd name="T71" fmla="*/ 195 h 350"/>
                <a:gd name="T72" fmla="*/ 79 w 234"/>
                <a:gd name="T73" fmla="*/ 199 h 350"/>
                <a:gd name="T74" fmla="*/ 57 w 234"/>
                <a:gd name="T75" fmla="*/ 217 h 350"/>
                <a:gd name="T76" fmla="*/ 44 w 234"/>
                <a:gd name="T77" fmla="*/ 239 h 350"/>
                <a:gd name="T78" fmla="*/ 57 w 234"/>
                <a:gd name="T79" fmla="*/ 252 h 350"/>
                <a:gd name="T80" fmla="*/ 75 w 234"/>
                <a:gd name="T81" fmla="*/ 248 h 350"/>
                <a:gd name="T82" fmla="*/ 39 w 234"/>
                <a:gd name="T83" fmla="*/ 261 h 350"/>
                <a:gd name="T84" fmla="*/ 35 w 234"/>
                <a:gd name="T85" fmla="*/ 279 h 350"/>
                <a:gd name="T86" fmla="*/ 4 w 234"/>
                <a:gd name="T87" fmla="*/ 283 h 350"/>
                <a:gd name="T88" fmla="*/ 13 w 234"/>
                <a:gd name="T89" fmla="*/ 292 h 350"/>
                <a:gd name="T90" fmla="*/ 8 w 234"/>
                <a:gd name="T91" fmla="*/ 305 h 350"/>
                <a:gd name="T92" fmla="*/ 8 w 234"/>
                <a:gd name="T93" fmla="*/ 314 h 350"/>
                <a:gd name="T94" fmla="*/ 35 w 234"/>
                <a:gd name="T95" fmla="*/ 314 h 350"/>
                <a:gd name="T96" fmla="*/ 22 w 234"/>
                <a:gd name="T97" fmla="*/ 332 h 350"/>
                <a:gd name="T98" fmla="*/ 48 w 234"/>
                <a:gd name="T99" fmla="*/ 323 h 350"/>
                <a:gd name="T100" fmla="*/ 35 w 234"/>
                <a:gd name="T101" fmla="*/ 341 h 350"/>
                <a:gd name="T102" fmla="*/ 53 w 234"/>
                <a:gd name="T103" fmla="*/ 341 h 350"/>
                <a:gd name="T104" fmla="*/ 62 w 234"/>
                <a:gd name="T105" fmla="*/ 345 h 350"/>
                <a:gd name="T106" fmla="*/ 84 w 234"/>
                <a:gd name="T107" fmla="*/ 336 h 350"/>
                <a:gd name="T108" fmla="*/ 101 w 234"/>
                <a:gd name="T109" fmla="*/ 327 h 350"/>
                <a:gd name="T110" fmla="*/ 110 w 234"/>
                <a:gd name="T111" fmla="*/ 314 h 350"/>
                <a:gd name="T112" fmla="*/ 115 w 234"/>
                <a:gd name="T113" fmla="*/ 319 h 350"/>
                <a:gd name="T114" fmla="*/ 150 w 234"/>
                <a:gd name="T115" fmla="*/ 301 h 350"/>
                <a:gd name="T116" fmla="*/ 177 w 234"/>
                <a:gd name="T117" fmla="*/ 288 h 350"/>
                <a:gd name="T118" fmla="*/ 186 w 234"/>
                <a:gd name="T119" fmla="*/ 292 h 350"/>
                <a:gd name="T120" fmla="*/ 208 w 234"/>
                <a:gd name="T121" fmla="*/ 283 h 350"/>
                <a:gd name="T122" fmla="*/ 208 w 234"/>
                <a:gd name="T123" fmla="*/ 270 h 350"/>
                <a:gd name="T124" fmla="*/ 234 w 234"/>
                <a:gd name="T125" fmla="*/ 221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4" h="350">
                  <a:moveTo>
                    <a:pt x="35" y="332"/>
                  </a:moveTo>
                  <a:lnTo>
                    <a:pt x="35" y="332"/>
                  </a:lnTo>
                  <a:lnTo>
                    <a:pt x="35" y="332"/>
                  </a:lnTo>
                  <a:lnTo>
                    <a:pt x="31" y="332"/>
                  </a:lnTo>
                  <a:lnTo>
                    <a:pt x="31" y="332"/>
                  </a:lnTo>
                  <a:lnTo>
                    <a:pt x="31" y="332"/>
                  </a:lnTo>
                  <a:lnTo>
                    <a:pt x="31" y="332"/>
                  </a:lnTo>
                  <a:lnTo>
                    <a:pt x="26" y="332"/>
                  </a:lnTo>
                  <a:lnTo>
                    <a:pt x="26" y="332"/>
                  </a:lnTo>
                  <a:lnTo>
                    <a:pt x="26" y="336"/>
                  </a:lnTo>
                  <a:lnTo>
                    <a:pt x="26" y="336"/>
                  </a:lnTo>
                  <a:lnTo>
                    <a:pt x="31" y="336"/>
                  </a:lnTo>
                  <a:lnTo>
                    <a:pt x="31" y="332"/>
                  </a:lnTo>
                  <a:lnTo>
                    <a:pt x="35" y="332"/>
                  </a:lnTo>
                  <a:close/>
                  <a:moveTo>
                    <a:pt x="4" y="310"/>
                  </a:moveTo>
                  <a:lnTo>
                    <a:pt x="8" y="310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4" y="310"/>
                  </a:lnTo>
                  <a:lnTo>
                    <a:pt x="4" y="310"/>
                  </a:lnTo>
                  <a:close/>
                  <a:moveTo>
                    <a:pt x="35" y="203"/>
                  </a:moveTo>
                  <a:lnTo>
                    <a:pt x="35" y="203"/>
                  </a:lnTo>
                  <a:lnTo>
                    <a:pt x="35" y="203"/>
                  </a:lnTo>
                  <a:lnTo>
                    <a:pt x="31" y="203"/>
                  </a:lnTo>
                  <a:lnTo>
                    <a:pt x="35" y="203"/>
                  </a:lnTo>
                  <a:lnTo>
                    <a:pt x="39" y="208"/>
                  </a:lnTo>
                  <a:lnTo>
                    <a:pt x="39" y="208"/>
                  </a:lnTo>
                  <a:lnTo>
                    <a:pt x="39" y="208"/>
                  </a:lnTo>
                  <a:lnTo>
                    <a:pt x="39" y="208"/>
                  </a:lnTo>
                  <a:lnTo>
                    <a:pt x="39" y="208"/>
                  </a:lnTo>
                  <a:lnTo>
                    <a:pt x="39" y="208"/>
                  </a:lnTo>
                  <a:lnTo>
                    <a:pt x="39" y="203"/>
                  </a:lnTo>
                  <a:lnTo>
                    <a:pt x="39" y="203"/>
                  </a:lnTo>
                  <a:lnTo>
                    <a:pt x="39" y="203"/>
                  </a:lnTo>
                  <a:lnTo>
                    <a:pt x="39" y="203"/>
                  </a:lnTo>
                  <a:lnTo>
                    <a:pt x="39" y="203"/>
                  </a:lnTo>
                  <a:lnTo>
                    <a:pt x="35" y="203"/>
                  </a:lnTo>
                  <a:lnTo>
                    <a:pt x="35" y="203"/>
                  </a:lnTo>
                  <a:close/>
                  <a:moveTo>
                    <a:pt x="39" y="195"/>
                  </a:moveTo>
                  <a:lnTo>
                    <a:pt x="39" y="195"/>
                  </a:lnTo>
                  <a:lnTo>
                    <a:pt x="39" y="195"/>
                  </a:lnTo>
                  <a:lnTo>
                    <a:pt x="44" y="195"/>
                  </a:lnTo>
                  <a:lnTo>
                    <a:pt x="39" y="190"/>
                  </a:lnTo>
                  <a:lnTo>
                    <a:pt x="39" y="190"/>
                  </a:lnTo>
                  <a:lnTo>
                    <a:pt x="39" y="190"/>
                  </a:lnTo>
                  <a:lnTo>
                    <a:pt x="39" y="190"/>
                  </a:lnTo>
                  <a:lnTo>
                    <a:pt x="39" y="190"/>
                  </a:lnTo>
                  <a:lnTo>
                    <a:pt x="39" y="190"/>
                  </a:lnTo>
                  <a:lnTo>
                    <a:pt x="39" y="195"/>
                  </a:lnTo>
                  <a:lnTo>
                    <a:pt x="39" y="195"/>
                  </a:lnTo>
                  <a:lnTo>
                    <a:pt x="39" y="195"/>
                  </a:lnTo>
                  <a:close/>
                  <a:moveTo>
                    <a:pt x="13" y="128"/>
                  </a:moveTo>
                  <a:lnTo>
                    <a:pt x="13" y="133"/>
                  </a:lnTo>
                  <a:lnTo>
                    <a:pt x="17" y="128"/>
                  </a:lnTo>
                  <a:lnTo>
                    <a:pt x="17" y="128"/>
                  </a:lnTo>
                  <a:lnTo>
                    <a:pt x="22" y="133"/>
                  </a:lnTo>
                  <a:lnTo>
                    <a:pt x="22" y="133"/>
                  </a:lnTo>
                  <a:lnTo>
                    <a:pt x="22" y="133"/>
                  </a:lnTo>
                  <a:lnTo>
                    <a:pt x="22" y="133"/>
                  </a:lnTo>
                  <a:lnTo>
                    <a:pt x="22" y="133"/>
                  </a:lnTo>
                  <a:lnTo>
                    <a:pt x="22" y="137"/>
                  </a:lnTo>
                  <a:lnTo>
                    <a:pt x="22" y="133"/>
                  </a:lnTo>
                  <a:lnTo>
                    <a:pt x="22" y="133"/>
                  </a:lnTo>
                  <a:lnTo>
                    <a:pt x="22" y="137"/>
                  </a:lnTo>
                  <a:lnTo>
                    <a:pt x="22" y="137"/>
                  </a:lnTo>
                  <a:lnTo>
                    <a:pt x="26" y="137"/>
                  </a:lnTo>
                  <a:lnTo>
                    <a:pt x="26" y="137"/>
                  </a:lnTo>
                  <a:lnTo>
                    <a:pt x="26" y="137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17" y="124"/>
                  </a:lnTo>
                  <a:lnTo>
                    <a:pt x="17" y="124"/>
                  </a:lnTo>
                  <a:lnTo>
                    <a:pt x="17" y="128"/>
                  </a:lnTo>
                  <a:lnTo>
                    <a:pt x="17" y="128"/>
                  </a:lnTo>
                  <a:lnTo>
                    <a:pt x="13" y="124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24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13" y="128"/>
                  </a:lnTo>
                  <a:close/>
                  <a:moveTo>
                    <a:pt x="101" y="40"/>
                  </a:moveTo>
                  <a:lnTo>
                    <a:pt x="101" y="40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97" y="35"/>
                  </a:lnTo>
                  <a:lnTo>
                    <a:pt x="97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97" y="35"/>
                  </a:lnTo>
                  <a:lnTo>
                    <a:pt x="97" y="35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101" y="40"/>
                  </a:lnTo>
                  <a:close/>
                  <a:moveTo>
                    <a:pt x="234" y="217"/>
                  </a:moveTo>
                  <a:lnTo>
                    <a:pt x="230" y="217"/>
                  </a:lnTo>
                  <a:lnTo>
                    <a:pt x="230" y="217"/>
                  </a:lnTo>
                  <a:lnTo>
                    <a:pt x="230" y="212"/>
                  </a:lnTo>
                  <a:lnTo>
                    <a:pt x="230" y="212"/>
                  </a:lnTo>
                  <a:lnTo>
                    <a:pt x="230" y="208"/>
                  </a:lnTo>
                  <a:lnTo>
                    <a:pt x="230" y="208"/>
                  </a:lnTo>
                  <a:lnTo>
                    <a:pt x="230" y="208"/>
                  </a:lnTo>
                  <a:lnTo>
                    <a:pt x="230" y="208"/>
                  </a:lnTo>
                  <a:lnTo>
                    <a:pt x="230" y="208"/>
                  </a:lnTo>
                  <a:lnTo>
                    <a:pt x="230" y="208"/>
                  </a:lnTo>
                  <a:lnTo>
                    <a:pt x="230" y="208"/>
                  </a:lnTo>
                  <a:lnTo>
                    <a:pt x="230" y="203"/>
                  </a:lnTo>
                  <a:lnTo>
                    <a:pt x="230" y="199"/>
                  </a:lnTo>
                  <a:lnTo>
                    <a:pt x="230" y="199"/>
                  </a:lnTo>
                  <a:lnTo>
                    <a:pt x="230" y="199"/>
                  </a:lnTo>
                  <a:lnTo>
                    <a:pt x="230" y="199"/>
                  </a:lnTo>
                  <a:lnTo>
                    <a:pt x="230" y="199"/>
                  </a:lnTo>
                  <a:lnTo>
                    <a:pt x="230" y="195"/>
                  </a:lnTo>
                  <a:lnTo>
                    <a:pt x="230" y="195"/>
                  </a:lnTo>
                  <a:lnTo>
                    <a:pt x="230" y="195"/>
                  </a:lnTo>
                  <a:lnTo>
                    <a:pt x="230" y="190"/>
                  </a:lnTo>
                  <a:lnTo>
                    <a:pt x="230" y="190"/>
                  </a:lnTo>
                  <a:lnTo>
                    <a:pt x="230" y="190"/>
                  </a:lnTo>
                  <a:lnTo>
                    <a:pt x="230" y="190"/>
                  </a:lnTo>
                  <a:lnTo>
                    <a:pt x="230" y="190"/>
                  </a:lnTo>
                  <a:lnTo>
                    <a:pt x="225" y="190"/>
                  </a:lnTo>
                  <a:lnTo>
                    <a:pt x="225" y="190"/>
                  </a:lnTo>
                  <a:lnTo>
                    <a:pt x="225" y="190"/>
                  </a:lnTo>
                  <a:lnTo>
                    <a:pt x="225" y="190"/>
                  </a:lnTo>
                  <a:lnTo>
                    <a:pt x="225" y="186"/>
                  </a:lnTo>
                  <a:lnTo>
                    <a:pt x="221" y="186"/>
                  </a:lnTo>
                  <a:lnTo>
                    <a:pt x="221" y="186"/>
                  </a:lnTo>
                  <a:lnTo>
                    <a:pt x="221" y="186"/>
                  </a:lnTo>
                  <a:lnTo>
                    <a:pt x="225" y="181"/>
                  </a:lnTo>
                  <a:lnTo>
                    <a:pt x="225" y="181"/>
                  </a:lnTo>
                  <a:lnTo>
                    <a:pt x="225" y="181"/>
                  </a:lnTo>
                  <a:lnTo>
                    <a:pt x="225" y="181"/>
                  </a:lnTo>
                  <a:lnTo>
                    <a:pt x="225" y="181"/>
                  </a:lnTo>
                  <a:lnTo>
                    <a:pt x="230" y="181"/>
                  </a:lnTo>
                  <a:lnTo>
                    <a:pt x="230" y="181"/>
                  </a:lnTo>
                  <a:lnTo>
                    <a:pt x="230" y="181"/>
                  </a:lnTo>
                  <a:lnTo>
                    <a:pt x="230" y="181"/>
                  </a:lnTo>
                  <a:lnTo>
                    <a:pt x="230" y="181"/>
                  </a:lnTo>
                  <a:lnTo>
                    <a:pt x="230" y="181"/>
                  </a:lnTo>
                  <a:lnTo>
                    <a:pt x="230" y="181"/>
                  </a:lnTo>
                  <a:lnTo>
                    <a:pt x="230" y="181"/>
                  </a:lnTo>
                  <a:lnTo>
                    <a:pt x="225" y="181"/>
                  </a:lnTo>
                  <a:lnTo>
                    <a:pt x="225" y="181"/>
                  </a:lnTo>
                  <a:lnTo>
                    <a:pt x="225" y="181"/>
                  </a:lnTo>
                  <a:lnTo>
                    <a:pt x="230" y="181"/>
                  </a:lnTo>
                  <a:lnTo>
                    <a:pt x="225" y="177"/>
                  </a:lnTo>
                  <a:lnTo>
                    <a:pt x="225" y="177"/>
                  </a:lnTo>
                  <a:lnTo>
                    <a:pt x="225" y="177"/>
                  </a:lnTo>
                  <a:lnTo>
                    <a:pt x="225" y="177"/>
                  </a:lnTo>
                  <a:lnTo>
                    <a:pt x="225" y="172"/>
                  </a:lnTo>
                  <a:lnTo>
                    <a:pt x="225" y="172"/>
                  </a:lnTo>
                  <a:lnTo>
                    <a:pt x="225" y="172"/>
                  </a:lnTo>
                  <a:lnTo>
                    <a:pt x="225" y="177"/>
                  </a:lnTo>
                  <a:lnTo>
                    <a:pt x="225" y="172"/>
                  </a:lnTo>
                  <a:lnTo>
                    <a:pt x="230" y="172"/>
                  </a:lnTo>
                  <a:lnTo>
                    <a:pt x="230" y="172"/>
                  </a:lnTo>
                  <a:lnTo>
                    <a:pt x="230" y="172"/>
                  </a:lnTo>
                  <a:lnTo>
                    <a:pt x="230" y="172"/>
                  </a:lnTo>
                  <a:lnTo>
                    <a:pt x="230" y="168"/>
                  </a:lnTo>
                  <a:lnTo>
                    <a:pt x="230" y="168"/>
                  </a:lnTo>
                  <a:lnTo>
                    <a:pt x="230" y="168"/>
                  </a:lnTo>
                  <a:lnTo>
                    <a:pt x="230" y="164"/>
                  </a:lnTo>
                  <a:lnTo>
                    <a:pt x="230" y="164"/>
                  </a:lnTo>
                  <a:lnTo>
                    <a:pt x="230" y="164"/>
                  </a:lnTo>
                  <a:lnTo>
                    <a:pt x="225" y="164"/>
                  </a:lnTo>
                  <a:lnTo>
                    <a:pt x="225" y="164"/>
                  </a:lnTo>
                  <a:lnTo>
                    <a:pt x="225" y="159"/>
                  </a:lnTo>
                  <a:lnTo>
                    <a:pt x="221" y="159"/>
                  </a:lnTo>
                  <a:lnTo>
                    <a:pt x="221" y="159"/>
                  </a:lnTo>
                  <a:lnTo>
                    <a:pt x="221" y="159"/>
                  </a:lnTo>
                  <a:lnTo>
                    <a:pt x="221" y="159"/>
                  </a:lnTo>
                  <a:lnTo>
                    <a:pt x="221" y="155"/>
                  </a:lnTo>
                  <a:lnTo>
                    <a:pt x="221" y="155"/>
                  </a:lnTo>
                  <a:lnTo>
                    <a:pt x="221" y="150"/>
                  </a:lnTo>
                  <a:lnTo>
                    <a:pt x="221" y="150"/>
                  </a:lnTo>
                  <a:lnTo>
                    <a:pt x="221" y="146"/>
                  </a:lnTo>
                  <a:lnTo>
                    <a:pt x="221" y="146"/>
                  </a:lnTo>
                  <a:lnTo>
                    <a:pt x="221" y="146"/>
                  </a:lnTo>
                  <a:lnTo>
                    <a:pt x="221" y="141"/>
                  </a:lnTo>
                  <a:lnTo>
                    <a:pt x="221" y="141"/>
                  </a:lnTo>
                  <a:lnTo>
                    <a:pt x="221" y="141"/>
                  </a:lnTo>
                  <a:lnTo>
                    <a:pt x="221" y="137"/>
                  </a:lnTo>
                  <a:lnTo>
                    <a:pt x="216" y="137"/>
                  </a:lnTo>
                  <a:lnTo>
                    <a:pt x="216" y="137"/>
                  </a:lnTo>
                  <a:lnTo>
                    <a:pt x="212" y="137"/>
                  </a:lnTo>
                  <a:lnTo>
                    <a:pt x="212" y="133"/>
                  </a:lnTo>
                  <a:lnTo>
                    <a:pt x="212" y="133"/>
                  </a:lnTo>
                  <a:lnTo>
                    <a:pt x="212" y="128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16" y="128"/>
                  </a:lnTo>
                  <a:lnTo>
                    <a:pt x="216" y="128"/>
                  </a:lnTo>
                  <a:lnTo>
                    <a:pt x="216" y="124"/>
                  </a:lnTo>
                  <a:lnTo>
                    <a:pt x="216" y="124"/>
                  </a:lnTo>
                  <a:lnTo>
                    <a:pt x="221" y="128"/>
                  </a:lnTo>
                  <a:lnTo>
                    <a:pt x="221" y="128"/>
                  </a:lnTo>
                  <a:lnTo>
                    <a:pt x="221" y="128"/>
                  </a:lnTo>
                  <a:lnTo>
                    <a:pt x="225" y="128"/>
                  </a:lnTo>
                  <a:lnTo>
                    <a:pt x="225" y="128"/>
                  </a:lnTo>
                  <a:lnTo>
                    <a:pt x="225" y="128"/>
                  </a:lnTo>
                  <a:lnTo>
                    <a:pt x="230" y="128"/>
                  </a:lnTo>
                  <a:lnTo>
                    <a:pt x="230" y="124"/>
                  </a:lnTo>
                  <a:lnTo>
                    <a:pt x="225" y="124"/>
                  </a:lnTo>
                  <a:lnTo>
                    <a:pt x="225" y="124"/>
                  </a:lnTo>
                  <a:lnTo>
                    <a:pt x="225" y="124"/>
                  </a:lnTo>
                  <a:lnTo>
                    <a:pt x="225" y="124"/>
                  </a:lnTo>
                  <a:lnTo>
                    <a:pt x="225" y="124"/>
                  </a:lnTo>
                  <a:lnTo>
                    <a:pt x="225" y="124"/>
                  </a:lnTo>
                  <a:lnTo>
                    <a:pt x="225" y="124"/>
                  </a:lnTo>
                  <a:lnTo>
                    <a:pt x="221" y="119"/>
                  </a:lnTo>
                  <a:lnTo>
                    <a:pt x="221" y="119"/>
                  </a:lnTo>
                  <a:lnTo>
                    <a:pt x="221" y="119"/>
                  </a:lnTo>
                  <a:lnTo>
                    <a:pt x="216" y="119"/>
                  </a:lnTo>
                  <a:lnTo>
                    <a:pt x="216" y="119"/>
                  </a:lnTo>
                  <a:lnTo>
                    <a:pt x="216" y="119"/>
                  </a:lnTo>
                  <a:lnTo>
                    <a:pt x="216" y="119"/>
                  </a:lnTo>
                  <a:lnTo>
                    <a:pt x="216" y="119"/>
                  </a:lnTo>
                  <a:lnTo>
                    <a:pt x="216" y="119"/>
                  </a:lnTo>
                  <a:lnTo>
                    <a:pt x="216" y="115"/>
                  </a:lnTo>
                  <a:lnTo>
                    <a:pt x="212" y="119"/>
                  </a:lnTo>
                  <a:lnTo>
                    <a:pt x="212" y="119"/>
                  </a:lnTo>
                  <a:lnTo>
                    <a:pt x="212" y="119"/>
                  </a:lnTo>
                  <a:lnTo>
                    <a:pt x="212" y="119"/>
                  </a:lnTo>
                  <a:lnTo>
                    <a:pt x="212" y="119"/>
                  </a:lnTo>
                  <a:lnTo>
                    <a:pt x="212" y="119"/>
                  </a:lnTo>
                  <a:lnTo>
                    <a:pt x="212" y="119"/>
                  </a:lnTo>
                  <a:lnTo>
                    <a:pt x="212" y="124"/>
                  </a:lnTo>
                  <a:lnTo>
                    <a:pt x="212" y="124"/>
                  </a:lnTo>
                  <a:lnTo>
                    <a:pt x="212" y="124"/>
                  </a:lnTo>
                  <a:lnTo>
                    <a:pt x="212" y="119"/>
                  </a:lnTo>
                  <a:lnTo>
                    <a:pt x="208" y="119"/>
                  </a:lnTo>
                  <a:lnTo>
                    <a:pt x="208" y="119"/>
                  </a:lnTo>
                  <a:lnTo>
                    <a:pt x="208" y="119"/>
                  </a:lnTo>
                  <a:lnTo>
                    <a:pt x="203" y="124"/>
                  </a:lnTo>
                  <a:lnTo>
                    <a:pt x="203" y="124"/>
                  </a:lnTo>
                  <a:lnTo>
                    <a:pt x="203" y="124"/>
                  </a:lnTo>
                  <a:lnTo>
                    <a:pt x="203" y="124"/>
                  </a:lnTo>
                  <a:lnTo>
                    <a:pt x="203" y="124"/>
                  </a:lnTo>
                  <a:lnTo>
                    <a:pt x="203" y="124"/>
                  </a:lnTo>
                  <a:lnTo>
                    <a:pt x="203" y="124"/>
                  </a:lnTo>
                  <a:lnTo>
                    <a:pt x="203" y="124"/>
                  </a:lnTo>
                  <a:lnTo>
                    <a:pt x="199" y="124"/>
                  </a:lnTo>
                  <a:lnTo>
                    <a:pt x="199" y="119"/>
                  </a:lnTo>
                  <a:lnTo>
                    <a:pt x="199" y="119"/>
                  </a:lnTo>
                  <a:lnTo>
                    <a:pt x="199" y="119"/>
                  </a:lnTo>
                  <a:lnTo>
                    <a:pt x="199" y="119"/>
                  </a:lnTo>
                  <a:lnTo>
                    <a:pt x="199" y="115"/>
                  </a:lnTo>
                  <a:lnTo>
                    <a:pt x="199" y="115"/>
                  </a:lnTo>
                  <a:lnTo>
                    <a:pt x="199" y="115"/>
                  </a:lnTo>
                  <a:lnTo>
                    <a:pt x="199" y="110"/>
                  </a:lnTo>
                  <a:lnTo>
                    <a:pt x="199" y="110"/>
                  </a:lnTo>
                  <a:lnTo>
                    <a:pt x="199" y="110"/>
                  </a:lnTo>
                  <a:lnTo>
                    <a:pt x="199" y="110"/>
                  </a:lnTo>
                  <a:lnTo>
                    <a:pt x="199" y="110"/>
                  </a:lnTo>
                  <a:lnTo>
                    <a:pt x="194" y="110"/>
                  </a:lnTo>
                  <a:lnTo>
                    <a:pt x="194" y="110"/>
                  </a:lnTo>
                  <a:lnTo>
                    <a:pt x="194" y="110"/>
                  </a:lnTo>
                  <a:lnTo>
                    <a:pt x="194" y="110"/>
                  </a:lnTo>
                  <a:lnTo>
                    <a:pt x="194" y="110"/>
                  </a:lnTo>
                  <a:lnTo>
                    <a:pt x="194" y="110"/>
                  </a:lnTo>
                  <a:lnTo>
                    <a:pt x="190" y="110"/>
                  </a:lnTo>
                  <a:lnTo>
                    <a:pt x="190" y="106"/>
                  </a:lnTo>
                  <a:lnTo>
                    <a:pt x="190" y="106"/>
                  </a:lnTo>
                  <a:lnTo>
                    <a:pt x="190" y="106"/>
                  </a:lnTo>
                  <a:lnTo>
                    <a:pt x="190" y="106"/>
                  </a:lnTo>
                  <a:lnTo>
                    <a:pt x="190" y="102"/>
                  </a:lnTo>
                  <a:lnTo>
                    <a:pt x="190" y="102"/>
                  </a:lnTo>
                  <a:lnTo>
                    <a:pt x="186" y="102"/>
                  </a:lnTo>
                  <a:lnTo>
                    <a:pt x="190" y="102"/>
                  </a:lnTo>
                  <a:lnTo>
                    <a:pt x="190" y="102"/>
                  </a:lnTo>
                  <a:lnTo>
                    <a:pt x="190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3"/>
                  </a:lnTo>
                  <a:lnTo>
                    <a:pt x="186" y="93"/>
                  </a:lnTo>
                  <a:lnTo>
                    <a:pt x="181" y="93"/>
                  </a:lnTo>
                  <a:lnTo>
                    <a:pt x="181" y="88"/>
                  </a:lnTo>
                  <a:lnTo>
                    <a:pt x="177" y="88"/>
                  </a:lnTo>
                  <a:lnTo>
                    <a:pt x="177" y="93"/>
                  </a:lnTo>
                  <a:lnTo>
                    <a:pt x="172" y="97"/>
                  </a:lnTo>
                  <a:lnTo>
                    <a:pt x="172" y="97"/>
                  </a:lnTo>
                  <a:lnTo>
                    <a:pt x="172" y="97"/>
                  </a:lnTo>
                  <a:lnTo>
                    <a:pt x="172" y="97"/>
                  </a:lnTo>
                  <a:lnTo>
                    <a:pt x="172" y="97"/>
                  </a:lnTo>
                  <a:lnTo>
                    <a:pt x="172" y="97"/>
                  </a:lnTo>
                  <a:lnTo>
                    <a:pt x="172" y="97"/>
                  </a:lnTo>
                  <a:lnTo>
                    <a:pt x="172" y="97"/>
                  </a:lnTo>
                  <a:lnTo>
                    <a:pt x="172" y="97"/>
                  </a:lnTo>
                  <a:lnTo>
                    <a:pt x="172" y="97"/>
                  </a:lnTo>
                  <a:lnTo>
                    <a:pt x="172" y="97"/>
                  </a:lnTo>
                  <a:lnTo>
                    <a:pt x="172" y="97"/>
                  </a:lnTo>
                  <a:lnTo>
                    <a:pt x="172" y="97"/>
                  </a:lnTo>
                  <a:lnTo>
                    <a:pt x="172" y="102"/>
                  </a:lnTo>
                  <a:lnTo>
                    <a:pt x="168" y="102"/>
                  </a:lnTo>
                  <a:lnTo>
                    <a:pt x="168" y="102"/>
                  </a:lnTo>
                  <a:lnTo>
                    <a:pt x="168" y="102"/>
                  </a:lnTo>
                  <a:lnTo>
                    <a:pt x="172" y="102"/>
                  </a:lnTo>
                  <a:lnTo>
                    <a:pt x="172" y="102"/>
                  </a:lnTo>
                  <a:lnTo>
                    <a:pt x="172" y="106"/>
                  </a:lnTo>
                  <a:lnTo>
                    <a:pt x="172" y="106"/>
                  </a:lnTo>
                  <a:lnTo>
                    <a:pt x="172" y="106"/>
                  </a:lnTo>
                  <a:lnTo>
                    <a:pt x="172" y="106"/>
                  </a:lnTo>
                  <a:lnTo>
                    <a:pt x="168" y="110"/>
                  </a:lnTo>
                  <a:lnTo>
                    <a:pt x="168" y="110"/>
                  </a:lnTo>
                  <a:lnTo>
                    <a:pt x="168" y="110"/>
                  </a:lnTo>
                  <a:lnTo>
                    <a:pt x="168" y="110"/>
                  </a:lnTo>
                  <a:lnTo>
                    <a:pt x="168" y="110"/>
                  </a:lnTo>
                  <a:lnTo>
                    <a:pt x="168" y="110"/>
                  </a:lnTo>
                  <a:lnTo>
                    <a:pt x="168" y="110"/>
                  </a:lnTo>
                  <a:lnTo>
                    <a:pt x="168" y="110"/>
                  </a:lnTo>
                  <a:lnTo>
                    <a:pt x="168" y="110"/>
                  </a:lnTo>
                  <a:lnTo>
                    <a:pt x="168" y="115"/>
                  </a:lnTo>
                  <a:lnTo>
                    <a:pt x="168" y="115"/>
                  </a:lnTo>
                  <a:lnTo>
                    <a:pt x="168" y="115"/>
                  </a:lnTo>
                  <a:lnTo>
                    <a:pt x="168" y="115"/>
                  </a:lnTo>
                  <a:lnTo>
                    <a:pt x="163" y="115"/>
                  </a:lnTo>
                  <a:lnTo>
                    <a:pt x="163" y="115"/>
                  </a:lnTo>
                  <a:lnTo>
                    <a:pt x="163" y="115"/>
                  </a:lnTo>
                  <a:lnTo>
                    <a:pt x="163" y="115"/>
                  </a:lnTo>
                  <a:lnTo>
                    <a:pt x="163" y="115"/>
                  </a:lnTo>
                  <a:lnTo>
                    <a:pt x="163" y="110"/>
                  </a:lnTo>
                  <a:lnTo>
                    <a:pt x="163" y="110"/>
                  </a:lnTo>
                  <a:lnTo>
                    <a:pt x="163" y="115"/>
                  </a:lnTo>
                  <a:lnTo>
                    <a:pt x="163" y="115"/>
                  </a:lnTo>
                  <a:lnTo>
                    <a:pt x="163" y="115"/>
                  </a:lnTo>
                  <a:lnTo>
                    <a:pt x="163" y="115"/>
                  </a:lnTo>
                  <a:lnTo>
                    <a:pt x="163" y="115"/>
                  </a:lnTo>
                  <a:lnTo>
                    <a:pt x="163" y="115"/>
                  </a:lnTo>
                  <a:lnTo>
                    <a:pt x="159" y="115"/>
                  </a:lnTo>
                  <a:lnTo>
                    <a:pt x="159" y="115"/>
                  </a:lnTo>
                  <a:lnTo>
                    <a:pt x="159" y="115"/>
                  </a:lnTo>
                  <a:lnTo>
                    <a:pt x="159" y="115"/>
                  </a:lnTo>
                  <a:lnTo>
                    <a:pt x="159" y="115"/>
                  </a:lnTo>
                  <a:lnTo>
                    <a:pt x="159" y="115"/>
                  </a:lnTo>
                  <a:lnTo>
                    <a:pt x="159" y="115"/>
                  </a:lnTo>
                  <a:lnTo>
                    <a:pt x="159" y="115"/>
                  </a:lnTo>
                  <a:lnTo>
                    <a:pt x="159" y="115"/>
                  </a:lnTo>
                  <a:lnTo>
                    <a:pt x="159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0" y="115"/>
                  </a:lnTo>
                  <a:lnTo>
                    <a:pt x="150" y="115"/>
                  </a:lnTo>
                  <a:lnTo>
                    <a:pt x="150" y="115"/>
                  </a:lnTo>
                  <a:lnTo>
                    <a:pt x="146" y="110"/>
                  </a:lnTo>
                  <a:lnTo>
                    <a:pt x="146" y="110"/>
                  </a:lnTo>
                  <a:lnTo>
                    <a:pt x="146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37" y="110"/>
                  </a:lnTo>
                  <a:lnTo>
                    <a:pt x="137" y="106"/>
                  </a:lnTo>
                  <a:lnTo>
                    <a:pt x="137" y="106"/>
                  </a:lnTo>
                  <a:lnTo>
                    <a:pt x="137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8" y="93"/>
                  </a:lnTo>
                  <a:lnTo>
                    <a:pt x="128" y="93"/>
                  </a:lnTo>
                  <a:lnTo>
                    <a:pt x="124" y="93"/>
                  </a:lnTo>
                  <a:lnTo>
                    <a:pt x="124" y="93"/>
                  </a:lnTo>
                  <a:lnTo>
                    <a:pt x="124" y="88"/>
                  </a:lnTo>
                  <a:lnTo>
                    <a:pt x="119" y="88"/>
                  </a:lnTo>
                  <a:lnTo>
                    <a:pt x="119" y="88"/>
                  </a:lnTo>
                  <a:lnTo>
                    <a:pt x="119" y="88"/>
                  </a:lnTo>
                  <a:lnTo>
                    <a:pt x="119" y="84"/>
                  </a:lnTo>
                  <a:lnTo>
                    <a:pt x="119" y="84"/>
                  </a:lnTo>
                  <a:lnTo>
                    <a:pt x="119" y="84"/>
                  </a:lnTo>
                  <a:lnTo>
                    <a:pt x="119" y="84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32" y="79"/>
                  </a:lnTo>
                  <a:lnTo>
                    <a:pt x="132" y="79"/>
                  </a:lnTo>
                  <a:lnTo>
                    <a:pt x="137" y="79"/>
                  </a:lnTo>
                  <a:lnTo>
                    <a:pt x="141" y="75"/>
                  </a:lnTo>
                  <a:lnTo>
                    <a:pt x="146" y="71"/>
                  </a:lnTo>
                  <a:lnTo>
                    <a:pt x="146" y="71"/>
                  </a:lnTo>
                  <a:lnTo>
                    <a:pt x="146" y="71"/>
                  </a:lnTo>
                  <a:lnTo>
                    <a:pt x="141" y="71"/>
                  </a:lnTo>
                  <a:lnTo>
                    <a:pt x="141" y="71"/>
                  </a:lnTo>
                  <a:lnTo>
                    <a:pt x="141" y="71"/>
                  </a:lnTo>
                  <a:lnTo>
                    <a:pt x="141" y="71"/>
                  </a:lnTo>
                  <a:lnTo>
                    <a:pt x="141" y="71"/>
                  </a:lnTo>
                  <a:lnTo>
                    <a:pt x="137" y="71"/>
                  </a:lnTo>
                  <a:lnTo>
                    <a:pt x="137" y="71"/>
                  </a:lnTo>
                  <a:lnTo>
                    <a:pt x="137" y="71"/>
                  </a:lnTo>
                  <a:lnTo>
                    <a:pt x="137" y="71"/>
                  </a:lnTo>
                  <a:lnTo>
                    <a:pt x="137" y="71"/>
                  </a:lnTo>
                  <a:lnTo>
                    <a:pt x="137" y="71"/>
                  </a:lnTo>
                  <a:lnTo>
                    <a:pt x="137" y="71"/>
                  </a:lnTo>
                  <a:lnTo>
                    <a:pt x="137" y="66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2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41" y="62"/>
                  </a:lnTo>
                  <a:lnTo>
                    <a:pt x="141" y="62"/>
                  </a:lnTo>
                  <a:lnTo>
                    <a:pt x="146" y="62"/>
                  </a:lnTo>
                  <a:lnTo>
                    <a:pt x="146" y="62"/>
                  </a:lnTo>
                  <a:lnTo>
                    <a:pt x="146" y="62"/>
                  </a:lnTo>
                  <a:lnTo>
                    <a:pt x="150" y="62"/>
                  </a:lnTo>
                  <a:lnTo>
                    <a:pt x="150" y="62"/>
                  </a:lnTo>
                  <a:lnTo>
                    <a:pt x="150" y="62"/>
                  </a:lnTo>
                  <a:lnTo>
                    <a:pt x="150" y="62"/>
                  </a:lnTo>
                  <a:lnTo>
                    <a:pt x="150" y="62"/>
                  </a:lnTo>
                  <a:lnTo>
                    <a:pt x="150" y="62"/>
                  </a:lnTo>
                  <a:lnTo>
                    <a:pt x="150" y="57"/>
                  </a:lnTo>
                  <a:lnTo>
                    <a:pt x="150" y="57"/>
                  </a:lnTo>
                  <a:lnTo>
                    <a:pt x="150" y="57"/>
                  </a:lnTo>
                  <a:lnTo>
                    <a:pt x="150" y="57"/>
                  </a:lnTo>
                  <a:lnTo>
                    <a:pt x="155" y="48"/>
                  </a:lnTo>
                  <a:lnTo>
                    <a:pt x="159" y="48"/>
                  </a:lnTo>
                  <a:lnTo>
                    <a:pt x="159" y="48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59" y="35"/>
                  </a:lnTo>
                  <a:lnTo>
                    <a:pt x="159" y="35"/>
                  </a:lnTo>
                  <a:lnTo>
                    <a:pt x="159" y="35"/>
                  </a:lnTo>
                  <a:lnTo>
                    <a:pt x="159" y="35"/>
                  </a:lnTo>
                  <a:lnTo>
                    <a:pt x="159" y="35"/>
                  </a:lnTo>
                  <a:lnTo>
                    <a:pt x="163" y="35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26"/>
                  </a:lnTo>
                  <a:lnTo>
                    <a:pt x="168" y="26"/>
                  </a:lnTo>
                  <a:lnTo>
                    <a:pt x="172" y="22"/>
                  </a:lnTo>
                  <a:lnTo>
                    <a:pt x="172" y="22"/>
                  </a:lnTo>
                  <a:lnTo>
                    <a:pt x="172" y="22"/>
                  </a:lnTo>
                  <a:lnTo>
                    <a:pt x="177" y="22"/>
                  </a:lnTo>
                  <a:lnTo>
                    <a:pt x="177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86" y="18"/>
                  </a:lnTo>
                  <a:lnTo>
                    <a:pt x="186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77" y="13"/>
                  </a:lnTo>
                  <a:lnTo>
                    <a:pt x="177" y="13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4"/>
                  </a:lnTo>
                  <a:lnTo>
                    <a:pt x="168" y="4"/>
                  </a:lnTo>
                  <a:lnTo>
                    <a:pt x="168" y="4"/>
                  </a:lnTo>
                  <a:lnTo>
                    <a:pt x="168" y="4"/>
                  </a:lnTo>
                  <a:lnTo>
                    <a:pt x="163" y="4"/>
                  </a:lnTo>
                  <a:lnTo>
                    <a:pt x="163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9" y="4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3" y="9"/>
                  </a:lnTo>
                  <a:lnTo>
                    <a:pt x="168" y="9"/>
                  </a:lnTo>
                  <a:lnTo>
                    <a:pt x="168" y="13"/>
                  </a:lnTo>
                  <a:lnTo>
                    <a:pt x="163" y="13"/>
                  </a:lnTo>
                  <a:lnTo>
                    <a:pt x="163" y="9"/>
                  </a:lnTo>
                  <a:lnTo>
                    <a:pt x="163" y="9"/>
                  </a:lnTo>
                  <a:lnTo>
                    <a:pt x="163" y="9"/>
                  </a:lnTo>
                  <a:lnTo>
                    <a:pt x="163" y="9"/>
                  </a:lnTo>
                  <a:lnTo>
                    <a:pt x="163" y="9"/>
                  </a:lnTo>
                  <a:lnTo>
                    <a:pt x="163" y="9"/>
                  </a:lnTo>
                  <a:lnTo>
                    <a:pt x="163" y="9"/>
                  </a:lnTo>
                  <a:lnTo>
                    <a:pt x="159" y="9"/>
                  </a:lnTo>
                  <a:lnTo>
                    <a:pt x="159" y="9"/>
                  </a:lnTo>
                  <a:lnTo>
                    <a:pt x="159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5" y="18"/>
                  </a:lnTo>
                  <a:lnTo>
                    <a:pt x="155" y="22"/>
                  </a:lnTo>
                  <a:lnTo>
                    <a:pt x="155" y="22"/>
                  </a:lnTo>
                  <a:lnTo>
                    <a:pt x="155" y="22"/>
                  </a:lnTo>
                  <a:lnTo>
                    <a:pt x="155" y="26"/>
                  </a:lnTo>
                  <a:lnTo>
                    <a:pt x="155" y="26"/>
                  </a:lnTo>
                  <a:lnTo>
                    <a:pt x="155" y="26"/>
                  </a:lnTo>
                  <a:lnTo>
                    <a:pt x="155" y="26"/>
                  </a:lnTo>
                  <a:lnTo>
                    <a:pt x="159" y="26"/>
                  </a:lnTo>
                  <a:lnTo>
                    <a:pt x="159" y="31"/>
                  </a:lnTo>
                  <a:lnTo>
                    <a:pt x="159" y="31"/>
                  </a:lnTo>
                  <a:lnTo>
                    <a:pt x="155" y="31"/>
                  </a:lnTo>
                  <a:lnTo>
                    <a:pt x="155" y="31"/>
                  </a:lnTo>
                  <a:lnTo>
                    <a:pt x="155" y="35"/>
                  </a:lnTo>
                  <a:lnTo>
                    <a:pt x="155" y="35"/>
                  </a:lnTo>
                  <a:lnTo>
                    <a:pt x="155" y="35"/>
                  </a:lnTo>
                  <a:lnTo>
                    <a:pt x="150" y="35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35"/>
                  </a:lnTo>
                  <a:lnTo>
                    <a:pt x="150" y="35"/>
                  </a:lnTo>
                  <a:lnTo>
                    <a:pt x="150" y="35"/>
                  </a:lnTo>
                  <a:lnTo>
                    <a:pt x="150" y="31"/>
                  </a:lnTo>
                  <a:lnTo>
                    <a:pt x="150" y="31"/>
                  </a:lnTo>
                  <a:lnTo>
                    <a:pt x="146" y="31"/>
                  </a:lnTo>
                  <a:lnTo>
                    <a:pt x="146" y="31"/>
                  </a:lnTo>
                  <a:lnTo>
                    <a:pt x="150" y="31"/>
                  </a:lnTo>
                  <a:lnTo>
                    <a:pt x="150" y="31"/>
                  </a:lnTo>
                  <a:lnTo>
                    <a:pt x="150" y="26"/>
                  </a:lnTo>
                  <a:lnTo>
                    <a:pt x="150" y="26"/>
                  </a:lnTo>
                  <a:lnTo>
                    <a:pt x="155" y="26"/>
                  </a:lnTo>
                  <a:lnTo>
                    <a:pt x="155" y="26"/>
                  </a:lnTo>
                  <a:lnTo>
                    <a:pt x="155" y="26"/>
                  </a:lnTo>
                  <a:lnTo>
                    <a:pt x="150" y="22"/>
                  </a:lnTo>
                  <a:lnTo>
                    <a:pt x="150" y="22"/>
                  </a:lnTo>
                  <a:lnTo>
                    <a:pt x="150" y="22"/>
                  </a:lnTo>
                  <a:lnTo>
                    <a:pt x="150" y="22"/>
                  </a:lnTo>
                  <a:lnTo>
                    <a:pt x="150" y="22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3"/>
                  </a:lnTo>
                  <a:lnTo>
                    <a:pt x="150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22"/>
                  </a:lnTo>
                  <a:lnTo>
                    <a:pt x="141" y="22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6"/>
                  </a:lnTo>
                  <a:lnTo>
                    <a:pt x="146" y="26"/>
                  </a:lnTo>
                  <a:lnTo>
                    <a:pt x="146" y="26"/>
                  </a:lnTo>
                  <a:lnTo>
                    <a:pt x="146" y="26"/>
                  </a:lnTo>
                  <a:lnTo>
                    <a:pt x="146" y="26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1" y="22"/>
                  </a:lnTo>
                  <a:lnTo>
                    <a:pt x="141" y="22"/>
                  </a:lnTo>
                  <a:lnTo>
                    <a:pt x="141" y="22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22"/>
                  </a:lnTo>
                  <a:lnTo>
                    <a:pt x="137" y="22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41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2" y="22"/>
                  </a:lnTo>
                  <a:lnTo>
                    <a:pt x="132" y="22"/>
                  </a:lnTo>
                  <a:lnTo>
                    <a:pt x="132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2" y="22"/>
                  </a:lnTo>
                  <a:lnTo>
                    <a:pt x="132" y="22"/>
                  </a:lnTo>
                  <a:lnTo>
                    <a:pt x="132" y="22"/>
                  </a:lnTo>
                  <a:lnTo>
                    <a:pt x="132" y="22"/>
                  </a:lnTo>
                  <a:lnTo>
                    <a:pt x="132" y="18"/>
                  </a:lnTo>
                  <a:lnTo>
                    <a:pt x="132" y="18"/>
                  </a:lnTo>
                  <a:lnTo>
                    <a:pt x="132" y="22"/>
                  </a:lnTo>
                  <a:lnTo>
                    <a:pt x="132" y="22"/>
                  </a:lnTo>
                  <a:lnTo>
                    <a:pt x="132" y="18"/>
                  </a:lnTo>
                  <a:lnTo>
                    <a:pt x="128" y="18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2" y="18"/>
                  </a:lnTo>
                  <a:lnTo>
                    <a:pt x="132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5"/>
                  </a:lnTo>
                  <a:lnTo>
                    <a:pt x="110" y="35"/>
                  </a:lnTo>
                  <a:lnTo>
                    <a:pt x="110" y="35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5"/>
                  </a:lnTo>
                  <a:lnTo>
                    <a:pt x="106" y="35"/>
                  </a:lnTo>
                  <a:lnTo>
                    <a:pt x="106" y="35"/>
                  </a:lnTo>
                  <a:lnTo>
                    <a:pt x="106" y="35"/>
                  </a:lnTo>
                  <a:lnTo>
                    <a:pt x="106" y="35"/>
                  </a:lnTo>
                  <a:lnTo>
                    <a:pt x="106" y="35"/>
                  </a:lnTo>
                  <a:lnTo>
                    <a:pt x="106" y="35"/>
                  </a:lnTo>
                  <a:lnTo>
                    <a:pt x="106" y="35"/>
                  </a:lnTo>
                  <a:lnTo>
                    <a:pt x="106" y="35"/>
                  </a:lnTo>
                  <a:lnTo>
                    <a:pt x="106" y="35"/>
                  </a:lnTo>
                  <a:lnTo>
                    <a:pt x="106" y="35"/>
                  </a:lnTo>
                  <a:lnTo>
                    <a:pt x="106" y="35"/>
                  </a:lnTo>
                  <a:lnTo>
                    <a:pt x="106" y="35"/>
                  </a:lnTo>
                  <a:lnTo>
                    <a:pt x="106" y="40"/>
                  </a:lnTo>
                  <a:lnTo>
                    <a:pt x="106" y="40"/>
                  </a:lnTo>
                  <a:lnTo>
                    <a:pt x="110" y="40"/>
                  </a:lnTo>
                  <a:lnTo>
                    <a:pt x="106" y="44"/>
                  </a:lnTo>
                  <a:lnTo>
                    <a:pt x="106" y="44"/>
                  </a:lnTo>
                  <a:lnTo>
                    <a:pt x="106" y="44"/>
                  </a:lnTo>
                  <a:lnTo>
                    <a:pt x="106" y="44"/>
                  </a:lnTo>
                  <a:lnTo>
                    <a:pt x="106" y="40"/>
                  </a:lnTo>
                  <a:lnTo>
                    <a:pt x="106" y="40"/>
                  </a:lnTo>
                  <a:lnTo>
                    <a:pt x="106" y="40"/>
                  </a:lnTo>
                  <a:lnTo>
                    <a:pt x="106" y="44"/>
                  </a:lnTo>
                  <a:lnTo>
                    <a:pt x="106" y="44"/>
                  </a:lnTo>
                  <a:lnTo>
                    <a:pt x="106" y="48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10" y="44"/>
                  </a:lnTo>
                  <a:lnTo>
                    <a:pt x="110" y="44"/>
                  </a:lnTo>
                  <a:lnTo>
                    <a:pt x="110" y="44"/>
                  </a:lnTo>
                  <a:lnTo>
                    <a:pt x="110" y="44"/>
                  </a:lnTo>
                  <a:lnTo>
                    <a:pt x="110" y="44"/>
                  </a:lnTo>
                  <a:lnTo>
                    <a:pt x="110" y="44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06" y="48"/>
                  </a:lnTo>
                  <a:lnTo>
                    <a:pt x="110" y="48"/>
                  </a:lnTo>
                  <a:lnTo>
                    <a:pt x="110" y="53"/>
                  </a:lnTo>
                  <a:lnTo>
                    <a:pt x="110" y="53"/>
                  </a:lnTo>
                  <a:lnTo>
                    <a:pt x="110" y="53"/>
                  </a:lnTo>
                  <a:lnTo>
                    <a:pt x="110" y="53"/>
                  </a:lnTo>
                  <a:lnTo>
                    <a:pt x="106" y="48"/>
                  </a:lnTo>
                  <a:lnTo>
                    <a:pt x="106" y="53"/>
                  </a:lnTo>
                  <a:lnTo>
                    <a:pt x="101" y="53"/>
                  </a:lnTo>
                  <a:lnTo>
                    <a:pt x="101" y="48"/>
                  </a:lnTo>
                  <a:lnTo>
                    <a:pt x="101" y="48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97" y="53"/>
                  </a:lnTo>
                  <a:lnTo>
                    <a:pt x="97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106" y="57"/>
                  </a:lnTo>
                  <a:lnTo>
                    <a:pt x="106" y="57"/>
                  </a:lnTo>
                  <a:lnTo>
                    <a:pt x="106" y="57"/>
                  </a:lnTo>
                  <a:lnTo>
                    <a:pt x="106" y="57"/>
                  </a:lnTo>
                  <a:lnTo>
                    <a:pt x="106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6" y="57"/>
                  </a:lnTo>
                  <a:lnTo>
                    <a:pt x="106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7" y="71"/>
                  </a:lnTo>
                  <a:lnTo>
                    <a:pt x="97" y="71"/>
                  </a:lnTo>
                  <a:lnTo>
                    <a:pt x="97" y="71"/>
                  </a:lnTo>
                  <a:lnTo>
                    <a:pt x="97" y="71"/>
                  </a:lnTo>
                  <a:lnTo>
                    <a:pt x="101" y="71"/>
                  </a:lnTo>
                  <a:lnTo>
                    <a:pt x="101" y="71"/>
                  </a:lnTo>
                  <a:lnTo>
                    <a:pt x="101" y="71"/>
                  </a:lnTo>
                  <a:lnTo>
                    <a:pt x="101" y="71"/>
                  </a:lnTo>
                  <a:lnTo>
                    <a:pt x="101" y="71"/>
                  </a:lnTo>
                  <a:lnTo>
                    <a:pt x="101" y="71"/>
                  </a:lnTo>
                  <a:lnTo>
                    <a:pt x="101" y="71"/>
                  </a:lnTo>
                  <a:lnTo>
                    <a:pt x="101" y="71"/>
                  </a:lnTo>
                  <a:lnTo>
                    <a:pt x="101" y="71"/>
                  </a:lnTo>
                  <a:lnTo>
                    <a:pt x="101" y="71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10" y="71"/>
                  </a:lnTo>
                  <a:lnTo>
                    <a:pt x="110" y="71"/>
                  </a:lnTo>
                  <a:lnTo>
                    <a:pt x="110" y="71"/>
                  </a:lnTo>
                  <a:lnTo>
                    <a:pt x="110" y="71"/>
                  </a:lnTo>
                  <a:lnTo>
                    <a:pt x="115" y="71"/>
                  </a:lnTo>
                  <a:lnTo>
                    <a:pt x="115" y="71"/>
                  </a:lnTo>
                  <a:lnTo>
                    <a:pt x="115" y="71"/>
                  </a:lnTo>
                  <a:lnTo>
                    <a:pt x="115" y="71"/>
                  </a:lnTo>
                  <a:lnTo>
                    <a:pt x="115" y="71"/>
                  </a:lnTo>
                  <a:lnTo>
                    <a:pt x="115" y="71"/>
                  </a:lnTo>
                  <a:lnTo>
                    <a:pt x="115" y="71"/>
                  </a:lnTo>
                  <a:lnTo>
                    <a:pt x="119" y="71"/>
                  </a:lnTo>
                  <a:lnTo>
                    <a:pt x="119" y="71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71"/>
                  </a:lnTo>
                  <a:lnTo>
                    <a:pt x="124" y="71"/>
                  </a:lnTo>
                  <a:lnTo>
                    <a:pt x="124" y="71"/>
                  </a:lnTo>
                  <a:lnTo>
                    <a:pt x="124" y="71"/>
                  </a:lnTo>
                  <a:lnTo>
                    <a:pt x="119" y="71"/>
                  </a:lnTo>
                  <a:lnTo>
                    <a:pt x="119" y="71"/>
                  </a:lnTo>
                  <a:lnTo>
                    <a:pt x="119" y="71"/>
                  </a:lnTo>
                  <a:lnTo>
                    <a:pt x="119" y="71"/>
                  </a:lnTo>
                  <a:lnTo>
                    <a:pt x="119" y="71"/>
                  </a:lnTo>
                  <a:lnTo>
                    <a:pt x="119" y="75"/>
                  </a:lnTo>
                  <a:lnTo>
                    <a:pt x="115" y="75"/>
                  </a:lnTo>
                  <a:lnTo>
                    <a:pt x="115" y="79"/>
                  </a:lnTo>
                  <a:lnTo>
                    <a:pt x="115" y="79"/>
                  </a:lnTo>
                  <a:lnTo>
                    <a:pt x="115" y="79"/>
                  </a:lnTo>
                  <a:lnTo>
                    <a:pt x="115" y="79"/>
                  </a:lnTo>
                  <a:lnTo>
                    <a:pt x="119" y="79"/>
                  </a:lnTo>
                  <a:lnTo>
                    <a:pt x="119" y="84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0" y="84"/>
                  </a:lnTo>
                  <a:lnTo>
                    <a:pt x="106" y="84"/>
                  </a:lnTo>
                  <a:lnTo>
                    <a:pt x="106" y="84"/>
                  </a:lnTo>
                  <a:lnTo>
                    <a:pt x="106" y="84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6" y="84"/>
                  </a:lnTo>
                  <a:lnTo>
                    <a:pt x="106" y="84"/>
                  </a:lnTo>
                  <a:lnTo>
                    <a:pt x="106" y="84"/>
                  </a:lnTo>
                  <a:lnTo>
                    <a:pt x="101" y="84"/>
                  </a:lnTo>
                  <a:lnTo>
                    <a:pt x="101" y="84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97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7"/>
                  </a:lnTo>
                  <a:lnTo>
                    <a:pt x="93" y="97"/>
                  </a:lnTo>
                  <a:lnTo>
                    <a:pt x="93" y="97"/>
                  </a:lnTo>
                  <a:lnTo>
                    <a:pt x="97" y="97"/>
                  </a:lnTo>
                  <a:lnTo>
                    <a:pt x="101" y="97"/>
                  </a:lnTo>
                  <a:lnTo>
                    <a:pt x="101" y="97"/>
                  </a:lnTo>
                  <a:lnTo>
                    <a:pt x="101" y="97"/>
                  </a:lnTo>
                  <a:lnTo>
                    <a:pt x="101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101" y="102"/>
                  </a:lnTo>
                  <a:lnTo>
                    <a:pt x="101" y="102"/>
                  </a:lnTo>
                  <a:lnTo>
                    <a:pt x="101" y="102"/>
                  </a:lnTo>
                  <a:lnTo>
                    <a:pt x="101" y="102"/>
                  </a:lnTo>
                  <a:lnTo>
                    <a:pt x="101" y="102"/>
                  </a:lnTo>
                  <a:lnTo>
                    <a:pt x="101" y="102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97" y="106"/>
                  </a:lnTo>
                  <a:lnTo>
                    <a:pt x="97" y="106"/>
                  </a:lnTo>
                  <a:lnTo>
                    <a:pt x="97" y="106"/>
                  </a:lnTo>
                  <a:lnTo>
                    <a:pt x="97" y="106"/>
                  </a:lnTo>
                  <a:lnTo>
                    <a:pt x="97" y="106"/>
                  </a:lnTo>
                  <a:lnTo>
                    <a:pt x="97" y="106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97" y="110"/>
                  </a:lnTo>
                  <a:lnTo>
                    <a:pt x="97" y="110"/>
                  </a:lnTo>
                  <a:lnTo>
                    <a:pt x="97" y="106"/>
                  </a:lnTo>
                  <a:lnTo>
                    <a:pt x="97" y="106"/>
                  </a:lnTo>
                  <a:lnTo>
                    <a:pt x="93" y="106"/>
                  </a:lnTo>
                  <a:lnTo>
                    <a:pt x="93" y="106"/>
                  </a:lnTo>
                  <a:lnTo>
                    <a:pt x="93" y="106"/>
                  </a:lnTo>
                  <a:lnTo>
                    <a:pt x="93" y="102"/>
                  </a:lnTo>
                  <a:lnTo>
                    <a:pt x="93" y="102"/>
                  </a:lnTo>
                  <a:lnTo>
                    <a:pt x="88" y="102"/>
                  </a:lnTo>
                  <a:lnTo>
                    <a:pt x="88" y="102"/>
                  </a:lnTo>
                  <a:lnTo>
                    <a:pt x="88" y="102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0" y="102"/>
                  </a:lnTo>
                  <a:lnTo>
                    <a:pt x="70" y="106"/>
                  </a:lnTo>
                  <a:lnTo>
                    <a:pt x="70" y="106"/>
                  </a:lnTo>
                  <a:lnTo>
                    <a:pt x="70" y="106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15"/>
                  </a:lnTo>
                  <a:lnTo>
                    <a:pt x="66" y="115"/>
                  </a:lnTo>
                  <a:lnTo>
                    <a:pt x="66" y="110"/>
                  </a:lnTo>
                  <a:lnTo>
                    <a:pt x="66" y="110"/>
                  </a:lnTo>
                  <a:lnTo>
                    <a:pt x="66" y="110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57" y="97"/>
                  </a:lnTo>
                  <a:lnTo>
                    <a:pt x="57" y="97"/>
                  </a:lnTo>
                  <a:lnTo>
                    <a:pt x="57" y="97"/>
                  </a:lnTo>
                  <a:lnTo>
                    <a:pt x="57" y="97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3" y="102"/>
                  </a:lnTo>
                  <a:lnTo>
                    <a:pt x="53" y="97"/>
                  </a:lnTo>
                  <a:lnTo>
                    <a:pt x="48" y="97"/>
                  </a:lnTo>
                  <a:lnTo>
                    <a:pt x="48" y="97"/>
                  </a:lnTo>
                  <a:lnTo>
                    <a:pt x="48" y="97"/>
                  </a:lnTo>
                  <a:lnTo>
                    <a:pt x="48" y="97"/>
                  </a:lnTo>
                  <a:lnTo>
                    <a:pt x="48" y="97"/>
                  </a:lnTo>
                  <a:lnTo>
                    <a:pt x="39" y="97"/>
                  </a:lnTo>
                  <a:lnTo>
                    <a:pt x="35" y="97"/>
                  </a:lnTo>
                  <a:lnTo>
                    <a:pt x="35" y="97"/>
                  </a:lnTo>
                  <a:lnTo>
                    <a:pt x="35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102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5" y="106"/>
                  </a:lnTo>
                  <a:lnTo>
                    <a:pt x="35" y="106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6"/>
                  </a:lnTo>
                  <a:lnTo>
                    <a:pt x="31" y="106"/>
                  </a:lnTo>
                  <a:lnTo>
                    <a:pt x="31" y="106"/>
                  </a:lnTo>
                  <a:lnTo>
                    <a:pt x="31" y="106"/>
                  </a:lnTo>
                  <a:lnTo>
                    <a:pt x="26" y="106"/>
                  </a:lnTo>
                  <a:lnTo>
                    <a:pt x="26" y="110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17" y="102"/>
                  </a:lnTo>
                  <a:lnTo>
                    <a:pt x="17" y="102"/>
                  </a:lnTo>
                  <a:lnTo>
                    <a:pt x="17" y="106"/>
                  </a:lnTo>
                  <a:lnTo>
                    <a:pt x="17" y="106"/>
                  </a:lnTo>
                  <a:lnTo>
                    <a:pt x="17" y="106"/>
                  </a:lnTo>
                  <a:lnTo>
                    <a:pt x="17" y="106"/>
                  </a:lnTo>
                  <a:lnTo>
                    <a:pt x="17" y="106"/>
                  </a:lnTo>
                  <a:lnTo>
                    <a:pt x="17" y="106"/>
                  </a:lnTo>
                  <a:lnTo>
                    <a:pt x="22" y="106"/>
                  </a:lnTo>
                  <a:lnTo>
                    <a:pt x="17" y="106"/>
                  </a:lnTo>
                  <a:lnTo>
                    <a:pt x="17" y="110"/>
                  </a:lnTo>
                  <a:lnTo>
                    <a:pt x="17" y="110"/>
                  </a:lnTo>
                  <a:lnTo>
                    <a:pt x="17" y="110"/>
                  </a:lnTo>
                  <a:lnTo>
                    <a:pt x="17" y="110"/>
                  </a:lnTo>
                  <a:lnTo>
                    <a:pt x="17" y="115"/>
                  </a:lnTo>
                  <a:lnTo>
                    <a:pt x="17" y="115"/>
                  </a:lnTo>
                  <a:lnTo>
                    <a:pt x="17" y="119"/>
                  </a:lnTo>
                  <a:lnTo>
                    <a:pt x="17" y="119"/>
                  </a:lnTo>
                  <a:lnTo>
                    <a:pt x="17" y="119"/>
                  </a:lnTo>
                  <a:lnTo>
                    <a:pt x="17" y="119"/>
                  </a:lnTo>
                  <a:lnTo>
                    <a:pt x="17" y="119"/>
                  </a:lnTo>
                  <a:lnTo>
                    <a:pt x="17" y="119"/>
                  </a:lnTo>
                  <a:lnTo>
                    <a:pt x="17" y="115"/>
                  </a:lnTo>
                  <a:lnTo>
                    <a:pt x="17" y="115"/>
                  </a:lnTo>
                  <a:lnTo>
                    <a:pt x="17" y="115"/>
                  </a:lnTo>
                  <a:lnTo>
                    <a:pt x="17" y="115"/>
                  </a:lnTo>
                  <a:lnTo>
                    <a:pt x="17" y="115"/>
                  </a:lnTo>
                  <a:lnTo>
                    <a:pt x="17" y="115"/>
                  </a:lnTo>
                  <a:lnTo>
                    <a:pt x="17" y="115"/>
                  </a:lnTo>
                  <a:lnTo>
                    <a:pt x="17" y="115"/>
                  </a:lnTo>
                  <a:lnTo>
                    <a:pt x="17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2" y="110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6" y="119"/>
                  </a:lnTo>
                  <a:lnTo>
                    <a:pt x="22" y="119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31" y="119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24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7"/>
                  </a:lnTo>
                  <a:lnTo>
                    <a:pt x="26" y="137"/>
                  </a:lnTo>
                  <a:lnTo>
                    <a:pt x="26" y="141"/>
                  </a:lnTo>
                  <a:lnTo>
                    <a:pt x="31" y="137"/>
                  </a:lnTo>
                  <a:lnTo>
                    <a:pt x="35" y="137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6"/>
                  </a:lnTo>
                  <a:lnTo>
                    <a:pt x="44" y="146"/>
                  </a:lnTo>
                  <a:lnTo>
                    <a:pt x="44" y="146"/>
                  </a:lnTo>
                  <a:lnTo>
                    <a:pt x="35" y="146"/>
                  </a:lnTo>
                  <a:lnTo>
                    <a:pt x="35" y="146"/>
                  </a:lnTo>
                  <a:lnTo>
                    <a:pt x="35" y="146"/>
                  </a:lnTo>
                  <a:lnTo>
                    <a:pt x="35" y="146"/>
                  </a:lnTo>
                  <a:lnTo>
                    <a:pt x="35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26" y="146"/>
                  </a:lnTo>
                  <a:lnTo>
                    <a:pt x="26" y="150"/>
                  </a:lnTo>
                  <a:lnTo>
                    <a:pt x="26" y="150"/>
                  </a:lnTo>
                  <a:lnTo>
                    <a:pt x="26" y="150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26" y="159"/>
                  </a:lnTo>
                  <a:lnTo>
                    <a:pt x="31" y="159"/>
                  </a:lnTo>
                  <a:lnTo>
                    <a:pt x="35" y="164"/>
                  </a:lnTo>
                  <a:lnTo>
                    <a:pt x="39" y="164"/>
                  </a:lnTo>
                  <a:lnTo>
                    <a:pt x="39" y="164"/>
                  </a:lnTo>
                  <a:lnTo>
                    <a:pt x="39" y="164"/>
                  </a:lnTo>
                  <a:lnTo>
                    <a:pt x="35" y="164"/>
                  </a:lnTo>
                  <a:lnTo>
                    <a:pt x="31" y="164"/>
                  </a:lnTo>
                  <a:lnTo>
                    <a:pt x="31" y="159"/>
                  </a:lnTo>
                  <a:lnTo>
                    <a:pt x="31" y="159"/>
                  </a:lnTo>
                  <a:lnTo>
                    <a:pt x="31" y="159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2" y="164"/>
                  </a:lnTo>
                  <a:lnTo>
                    <a:pt x="22" y="164"/>
                  </a:lnTo>
                  <a:lnTo>
                    <a:pt x="22" y="164"/>
                  </a:lnTo>
                  <a:lnTo>
                    <a:pt x="26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17" y="164"/>
                  </a:lnTo>
                  <a:lnTo>
                    <a:pt x="17" y="164"/>
                  </a:lnTo>
                  <a:lnTo>
                    <a:pt x="17" y="164"/>
                  </a:lnTo>
                  <a:lnTo>
                    <a:pt x="17" y="168"/>
                  </a:lnTo>
                  <a:lnTo>
                    <a:pt x="17" y="168"/>
                  </a:lnTo>
                  <a:lnTo>
                    <a:pt x="17" y="168"/>
                  </a:lnTo>
                  <a:lnTo>
                    <a:pt x="13" y="168"/>
                  </a:lnTo>
                  <a:lnTo>
                    <a:pt x="13" y="168"/>
                  </a:lnTo>
                  <a:lnTo>
                    <a:pt x="13" y="168"/>
                  </a:lnTo>
                  <a:lnTo>
                    <a:pt x="13" y="168"/>
                  </a:lnTo>
                  <a:lnTo>
                    <a:pt x="13" y="168"/>
                  </a:lnTo>
                  <a:lnTo>
                    <a:pt x="13" y="168"/>
                  </a:lnTo>
                  <a:lnTo>
                    <a:pt x="17" y="168"/>
                  </a:lnTo>
                  <a:lnTo>
                    <a:pt x="17" y="168"/>
                  </a:lnTo>
                  <a:lnTo>
                    <a:pt x="17" y="168"/>
                  </a:lnTo>
                  <a:lnTo>
                    <a:pt x="17" y="172"/>
                  </a:lnTo>
                  <a:lnTo>
                    <a:pt x="17" y="172"/>
                  </a:lnTo>
                  <a:lnTo>
                    <a:pt x="17" y="172"/>
                  </a:lnTo>
                  <a:lnTo>
                    <a:pt x="22" y="172"/>
                  </a:lnTo>
                  <a:lnTo>
                    <a:pt x="22" y="172"/>
                  </a:lnTo>
                  <a:lnTo>
                    <a:pt x="22" y="172"/>
                  </a:lnTo>
                  <a:lnTo>
                    <a:pt x="22" y="172"/>
                  </a:lnTo>
                  <a:lnTo>
                    <a:pt x="17" y="172"/>
                  </a:lnTo>
                  <a:lnTo>
                    <a:pt x="17" y="172"/>
                  </a:lnTo>
                  <a:lnTo>
                    <a:pt x="17" y="172"/>
                  </a:lnTo>
                  <a:lnTo>
                    <a:pt x="17" y="172"/>
                  </a:lnTo>
                  <a:lnTo>
                    <a:pt x="17" y="177"/>
                  </a:lnTo>
                  <a:lnTo>
                    <a:pt x="22" y="177"/>
                  </a:lnTo>
                  <a:lnTo>
                    <a:pt x="22" y="177"/>
                  </a:lnTo>
                  <a:lnTo>
                    <a:pt x="17" y="177"/>
                  </a:lnTo>
                  <a:lnTo>
                    <a:pt x="17" y="177"/>
                  </a:lnTo>
                  <a:lnTo>
                    <a:pt x="17" y="177"/>
                  </a:lnTo>
                  <a:lnTo>
                    <a:pt x="17" y="177"/>
                  </a:lnTo>
                  <a:lnTo>
                    <a:pt x="13" y="177"/>
                  </a:lnTo>
                  <a:lnTo>
                    <a:pt x="13" y="177"/>
                  </a:lnTo>
                  <a:lnTo>
                    <a:pt x="13" y="181"/>
                  </a:lnTo>
                  <a:lnTo>
                    <a:pt x="13" y="181"/>
                  </a:lnTo>
                  <a:lnTo>
                    <a:pt x="13" y="177"/>
                  </a:lnTo>
                  <a:lnTo>
                    <a:pt x="17" y="177"/>
                  </a:lnTo>
                  <a:lnTo>
                    <a:pt x="17" y="181"/>
                  </a:lnTo>
                  <a:lnTo>
                    <a:pt x="17" y="181"/>
                  </a:lnTo>
                  <a:lnTo>
                    <a:pt x="17" y="181"/>
                  </a:lnTo>
                  <a:lnTo>
                    <a:pt x="22" y="181"/>
                  </a:lnTo>
                  <a:lnTo>
                    <a:pt x="22" y="181"/>
                  </a:lnTo>
                  <a:lnTo>
                    <a:pt x="22" y="181"/>
                  </a:lnTo>
                  <a:lnTo>
                    <a:pt x="22" y="181"/>
                  </a:lnTo>
                  <a:lnTo>
                    <a:pt x="22" y="181"/>
                  </a:lnTo>
                  <a:lnTo>
                    <a:pt x="22" y="181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6" y="177"/>
                  </a:lnTo>
                  <a:lnTo>
                    <a:pt x="26" y="177"/>
                  </a:lnTo>
                  <a:lnTo>
                    <a:pt x="26" y="177"/>
                  </a:lnTo>
                  <a:lnTo>
                    <a:pt x="26" y="177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31" y="181"/>
                  </a:lnTo>
                  <a:lnTo>
                    <a:pt x="31" y="181"/>
                  </a:lnTo>
                  <a:lnTo>
                    <a:pt x="31" y="181"/>
                  </a:lnTo>
                  <a:lnTo>
                    <a:pt x="31" y="181"/>
                  </a:lnTo>
                  <a:lnTo>
                    <a:pt x="31" y="181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35" y="177"/>
                  </a:lnTo>
                  <a:lnTo>
                    <a:pt x="35" y="181"/>
                  </a:lnTo>
                  <a:lnTo>
                    <a:pt x="31" y="181"/>
                  </a:lnTo>
                  <a:lnTo>
                    <a:pt x="31" y="181"/>
                  </a:lnTo>
                  <a:lnTo>
                    <a:pt x="35" y="181"/>
                  </a:lnTo>
                  <a:lnTo>
                    <a:pt x="35" y="181"/>
                  </a:lnTo>
                  <a:lnTo>
                    <a:pt x="35" y="181"/>
                  </a:lnTo>
                  <a:lnTo>
                    <a:pt x="31" y="181"/>
                  </a:lnTo>
                  <a:lnTo>
                    <a:pt x="31" y="181"/>
                  </a:lnTo>
                  <a:lnTo>
                    <a:pt x="31" y="181"/>
                  </a:lnTo>
                  <a:lnTo>
                    <a:pt x="31" y="186"/>
                  </a:lnTo>
                  <a:lnTo>
                    <a:pt x="31" y="186"/>
                  </a:lnTo>
                  <a:lnTo>
                    <a:pt x="31" y="186"/>
                  </a:lnTo>
                  <a:lnTo>
                    <a:pt x="26" y="186"/>
                  </a:lnTo>
                  <a:lnTo>
                    <a:pt x="26" y="186"/>
                  </a:lnTo>
                  <a:lnTo>
                    <a:pt x="26" y="186"/>
                  </a:lnTo>
                  <a:lnTo>
                    <a:pt x="31" y="186"/>
                  </a:lnTo>
                  <a:lnTo>
                    <a:pt x="31" y="186"/>
                  </a:lnTo>
                  <a:lnTo>
                    <a:pt x="31" y="186"/>
                  </a:lnTo>
                  <a:lnTo>
                    <a:pt x="35" y="190"/>
                  </a:lnTo>
                  <a:lnTo>
                    <a:pt x="35" y="190"/>
                  </a:lnTo>
                  <a:lnTo>
                    <a:pt x="35" y="186"/>
                  </a:lnTo>
                  <a:lnTo>
                    <a:pt x="35" y="186"/>
                  </a:lnTo>
                  <a:lnTo>
                    <a:pt x="39" y="186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39" y="181"/>
                  </a:lnTo>
                  <a:lnTo>
                    <a:pt x="44" y="181"/>
                  </a:lnTo>
                  <a:lnTo>
                    <a:pt x="44" y="181"/>
                  </a:lnTo>
                  <a:lnTo>
                    <a:pt x="39" y="186"/>
                  </a:lnTo>
                  <a:lnTo>
                    <a:pt x="39" y="186"/>
                  </a:lnTo>
                  <a:lnTo>
                    <a:pt x="44" y="186"/>
                  </a:lnTo>
                  <a:lnTo>
                    <a:pt x="44" y="186"/>
                  </a:lnTo>
                  <a:lnTo>
                    <a:pt x="44" y="186"/>
                  </a:lnTo>
                  <a:lnTo>
                    <a:pt x="44" y="181"/>
                  </a:lnTo>
                  <a:lnTo>
                    <a:pt x="44" y="181"/>
                  </a:lnTo>
                  <a:lnTo>
                    <a:pt x="44" y="181"/>
                  </a:lnTo>
                  <a:lnTo>
                    <a:pt x="44" y="181"/>
                  </a:lnTo>
                  <a:lnTo>
                    <a:pt x="48" y="181"/>
                  </a:lnTo>
                  <a:lnTo>
                    <a:pt x="44" y="181"/>
                  </a:lnTo>
                  <a:lnTo>
                    <a:pt x="44" y="181"/>
                  </a:lnTo>
                  <a:lnTo>
                    <a:pt x="44" y="186"/>
                  </a:lnTo>
                  <a:lnTo>
                    <a:pt x="44" y="186"/>
                  </a:lnTo>
                  <a:lnTo>
                    <a:pt x="44" y="186"/>
                  </a:lnTo>
                  <a:lnTo>
                    <a:pt x="44" y="186"/>
                  </a:lnTo>
                  <a:lnTo>
                    <a:pt x="44" y="186"/>
                  </a:lnTo>
                  <a:lnTo>
                    <a:pt x="44" y="186"/>
                  </a:lnTo>
                  <a:lnTo>
                    <a:pt x="44" y="186"/>
                  </a:lnTo>
                  <a:lnTo>
                    <a:pt x="44" y="186"/>
                  </a:lnTo>
                  <a:lnTo>
                    <a:pt x="44" y="186"/>
                  </a:lnTo>
                  <a:lnTo>
                    <a:pt x="44" y="190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4" y="195"/>
                  </a:lnTo>
                  <a:lnTo>
                    <a:pt x="44" y="190"/>
                  </a:lnTo>
                  <a:lnTo>
                    <a:pt x="44" y="190"/>
                  </a:lnTo>
                  <a:lnTo>
                    <a:pt x="48" y="190"/>
                  </a:lnTo>
                  <a:lnTo>
                    <a:pt x="48" y="190"/>
                  </a:lnTo>
                  <a:lnTo>
                    <a:pt x="44" y="195"/>
                  </a:lnTo>
                  <a:lnTo>
                    <a:pt x="48" y="195"/>
                  </a:lnTo>
                  <a:lnTo>
                    <a:pt x="48" y="195"/>
                  </a:lnTo>
                  <a:lnTo>
                    <a:pt x="48" y="195"/>
                  </a:lnTo>
                  <a:lnTo>
                    <a:pt x="48" y="195"/>
                  </a:lnTo>
                  <a:lnTo>
                    <a:pt x="53" y="195"/>
                  </a:lnTo>
                  <a:lnTo>
                    <a:pt x="53" y="195"/>
                  </a:lnTo>
                  <a:lnTo>
                    <a:pt x="53" y="195"/>
                  </a:lnTo>
                  <a:lnTo>
                    <a:pt x="53" y="195"/>
                  </a:lnTo>
                  <a:lnTo>
                    <a:pt x="70" y="190"/>
                  </a:lnTo>
                  <a:lnTo>
                    <a:pt x="75" y="190"/>
                  </a:lnTo>
                  <a:lnTo>
                    <a:pt x="75" y="190"/>
                  </a:lnTo>
                  <a:lnTo>
                    <a:pt x="79" y="190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5" y="195"/>
                  </a:lnTo>
                  <a:lnTo>
                    <a:pt x="75" y="195"/>
                  </a:lnTo>
                  <a:lnTo>
                    <a:pt x="75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5" y="195"/>
                  </a:lnTo>
                  <a:lnTo>
                    <a:pt x="75" y="195"/>
                  </a:lnTo>
                  <a:lnTo>
                    <a:pt x="75" y="195"/>
                  </a:lnTo>
                  <a:lnTo>
                    <a:pt x="75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203"/>
                  </a:lnTo>
                  <a:lnTo>
                    <a:pt x="79" y="203"/>
                  </a:lnTo>
                  <a:lnTo>
                    <a:pt x="79" y="203"/>
                  </a:lnTo>
                  <a:lnTo>
                    <a:pt x="75" y="203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203"/>
                  </a:lnTo>
                  <a:lnTo>
                    <a:pt x="75" y="203"/>
                  </a:lnTo>
                  <a:lnTo>
                    <a:pt x="75" y="203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66" y="203"/>
                  </a:lnTo>
                  <a:lnTo>
                    <a:pt x="66" y="208"/>
                  </a:lnTo>
                  <a:lnTo>
                    <a:pt x="66" y="203"/>
                  </a:lnTo>
                  <a:lnTo>
                    <a:pt x="62" y="203"/>
                  </a:lnTo>
                  <a:lnTo>
                    <a:pt x="62" y="203"/>
                  </a:lnTo>
                  <a:lnTo>
                    <a:pt x="62" y="203"/>
                  </a:lnTo>
                  <a:lnTo>
                    <a:pt x="62" y="203"/>
                  </a:lnTo>
                  <a:lnTo>
                    <a:pt x="62" y="208"/>
                  </a:lnTo>
                  <a:lnTo>
                    <a:pt x="57" y="208"/>
                  </a:lnTo>
                  <a:lnTo>
                    <a:pt x="57" y="208"/>
                  </a:lnTo>
                  <a:lnTo>
                    <a:pt x="53" y="212"/>
                  </a:lnTo>
                  <a:lnTo>
                    <a:pt x="57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21"/>
                  </a:lnTo>
                  <a:lnTo>
                    <a:pt x="48" y="221"/>
                  </a:lnTo>
                  <a:lnTo>
                    <a:pt x="53" y="221"/>
                  </a:lnTo>
                  <a:lnTo>
                    <a:pt x="57" y="221"/>
                  </a:lnTo>
                  <a:lnTo>
                    <a:pt x="57" y="221"/>
                  </a:lnTo>
                  <a:lnTo>
                    <a:pt x="57" y="221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9"/>
                  </a:lnTo>
                  <a:lnTo>
                    <a:pt x="48" y="239"/>
                  </a:lnTo>
                  <a:lnTo>
                    <a:pt x="48" y="239"/>
                  </a:lnTo>
                  <a:lnTo>
                    <a:pt x="48" y="239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31" y="252"/>
                  </a:lnTo>
                  <a:lnTo>
                    <a:pt x="31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35" y="252"/>
                  </a:lnTo>
                  <a:lnTo>
                    <a:pt x="35" y="252"/>
                  </a:lnTo>
                  <a:lnTo>
                    <a:pt x="39" y="252"/>
                  </a:lnTo>
                  <a:lnTo>
                    <a:pt x="39" y="252"/>
                  </a:lnTo>
                  <a:lnTo>
                    <a:pt x="39" y="252"/>
                  </a:lnTo>
                  <a:lnTo>
                    <a:pt x="39" y="252"/>
                  </a:lnTo>
                  <a:lnTo>
                    <a:pt x="39" y="248"/>
                  </a:lnTo>
                  <a:lnTo>
                    <a:pt x="39" y="248"/>
                  </a:lnTo>
                  <a:lnTo>
                    <a:pt x="44" y="248"/>
                  </a:lnTo>
                  <a:lnTo>
                    <a:pt x="48" y="248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8" y="243"/>
                  </a:lnTo>
                  <a:lnTo>
                    <a:pt x="48" y="243"/>
                  </a:lnTo>
                  <a:lnTo>
                    <a:pt x="48" y="248"/>
                  </a:lnTo>
                  <a:lnTo>
                    <a:pt x="48" y="248"/>
                  </a:lnTo>
                  <a:lnTo>
                    <a:pt x="48" y="248"/>
                  </a:lnTo>
                  <a:lnTo>
                    <a:pt x="48" y="248"/>
                  </a:lnTo>
                  <a:lnTo>
                    <a:pt x="48" y="248"/>
                  </a:lnTo>
                  <a:lnTo>
                    <a:pt x="53" y="248"/>
                  </a:lnTo>
                  <a:lnTo>
                    <a:pt x="53" y="248"/>
                  </a:lnTo>
                  <a:lnTo>
                    <a:pt x="57" y="248"/>
                  </a:lnTo>
                  <a:lnTo>
                    <a:pt x="57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57" y="248"/>
                  </a:lnTo>
                  <a:lnTo>
                    <a:pt x="57" y="252"/>
                  </a:lnTo>
                  <a:lnTo>
                    <a:pt x="57" y="252"/>
                  </a:lnTo>
                  <a:lnTo>
                    <a:pt x="57" y="252"/>
                  </a:lnTo>
                  <a:lnTo>
                    <a:pt x="62" y="252"/>
                  </a:lnTo>
                  <a:lnTo>
                    <a:pt x="62" y="252"/>
                  </a:lnTo>
                  <a:lnTo>
                    <a:pt x="62" y="252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70" y="243"/>
                  </a:lnTo>
                  <a:lnTo>
                    <a:pt x="75" y="239"/>
                  </a:lnTo>
                  <a:lnTo>
                    <a:pt x="75" y="239"/>
                  </a:lnTo>
                  <a:lnTo>
                    <a:pt x="75" y="234"/>
                  </a:lnTo>
                  <a:lnTo>
                    <a:pt x="75" y="234"/>
                  </a:lnTo>
                  <a:lnTo>
                    <a:pt x="79" y="234"/>
                  </a:lnTo>
                  <a:lnTo>
                    <a:pt x="79" y="234"/>
                  </a:lnTo>
                  <a:lnTo>
                    <a:pt x="79" y="234"/>
                  </a:lnTo>
                  <a:lnTo>
                    <a:pt x="75" y="239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79" y="239"/>
                  </a:lnTo>
                  <a:lnTo>
                    <a:pt x="79" y="243"/>
                  </a:lnTo>
                  <a:lnTo>
                    <a:pt x="79" y="243"/>
                  </a:lnTo>
                  <a:lnTo>
                    <a:pt x="79" y="243"/>
                  </a:lnTo>
                  <a:lnTo>
                    <a:pt x="79" y="243"/>
                  </a:lnTo>
                  <a:lnTo>
                    <a:pt x="84" y="243"/>
                  </a:lnTo>
                  <a:lnTo>
                    <a:pt x="84" y="243"/>
                  </a:lnTo>
                  <a:lnTo>
                    <a:pt x="88" y="243"/>
                  </a:lnTo>
                  <a:lnTo>
                    <a:pt x="88" y="243"/>
                  </a:lnTo>
                  <a:lnTo>
                    <a:pt x="88" y="243"/>
                  </a:lnTo>
                  <a:lnTo>
                    <a:pt x="79" y="248"/>
                  </a:lnTo>
                  <a:lnTo>
                    <a:pt x="75" y="248"/>
                  </a:lnTo>
                  <a:lnTo>
                    <a:pt x="75" y="248"/>
                  </a:lnTo>
                  <a:lnTo>
                    <a:pt x="75" y="248"/>
                  </a:lnTo>
                  <a:lnTo>
                    <a:pt x="75" y="248"/>
                  </a:lnTo>
                  <a:lnTo>
                    <a:pt x="75" y="248"/>
                  </a:lnTo>
                  <a:lnTo>
                    <a:pt x="75" y="248"/>
                  </a:lnTo>
                  <a:lnTo>
                    <a:pt x="75" y="248"/>
                  </a:lnTo>
                  <a:lnTo>
                    <a:pt x="75" y="248"/>
                  </a:lnTo>
                  <a:lnTo>
                    <a:pt x="70" y="248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2" y="252"/>
                  </a:lnTo>
                  <a:lnTo>
                    <a:pt x="62" y="252"/>
                  </a:lnTo>
                  <a:lnTo>
                    <a:pt x="57" y="252"/>
                  </a:lnTo>
                  <a:lnTo>
                    <a:pt x="57" y="252"/>
                  </a:lnTo>
                  <a:lnTo>
                    <a:pt x="57" y="252"/>
                  </a:lnTo>
                  <a:lnTo>
                    <a:pt x="57" y="252"/>
                  </a:lnTo>
                  <a:lnTo>
                    <a:pt x="53" y="252"/>
                  </a:lnTo>
                  <a:lnTo>
                    <a:pt x="53" y="252"/>
                  </a:lnTo>
                  <a:lnTo>
                    <a:pt x="53" y="252"/>
                  </a:lnTo>
                  <a:lnTo>
                    <a:pt x="53" y="252"/>
                  </a:lnTo>
                  <a:lnTo>
                    <a:pt x="53" y="252"/>
                  </a:lnTo>
                  <a:lnTo>
                    <a:pt x="48" y="252"/>
                  </a:lnTo>
                  <a:lnTo>
                    <a:pt x="48" y="252"/>
                  </a:lnTo>
                  <a:lnTo>
                    <a:pt x="48" y="252"/>
                  </a:lnTo>
                  <a:lnTo>
                    <a:pt x="44" y="252"/>
                  </a:lnTo>
                  <a:lnTo>
                    <a:pt x="44" y="252"/>
                  </a:lnTo>
                  <a:lnTo>
                    <a:pt x="44" y="252"/>
                  </a:lnTo>
                  <a:lnTo>
                    <a:pt x="44" y="252"/>
                  </a:lnTo>
                  <a:lnTo>
                    <a:pt x="39" y="252"/>
                  </a:lnTo>
                  <a:lnTo>
                    <a:pt x="39" y="252"/>
                  </a:lnTo>
                  <a:lnTo>
                    <a:pt x="39" y="252"/>
                  </a:lnTo>
                  <a:lnTo>
                    <a:pt x="39" y="257"/>
                  </a:lnTo>
                  <a:lnTo>
                    <a:pt x="39" y="257"/>
                  </a:lnTo>
                  <a:lnTo>
                    <a:pt x="39" y="257"/>
                  </a:lnTo>
                  <a:lnTo>
                    <a:pt x="39" y="257"/>
                  </a:lnTo>
                  <a:lnTo>
                    <a:pt x="39" y="257"/>
                  </a:lnTo>
                  <a:lnTo>
                    <a:pt x="39" y="257"/>
                  </a:lnTo>
                  <a:lnTo>
                    <a:pt x="39" y="257"/>
                  </a:lnTo>
                  <a:lnTo>
                    <a:pt x="39" y="261"/>
                  </a:lnTo>
                  <a:lnTo>
                    <a:pt x="39" y="261"/>
                  </a:lnTo>
                  <a:lnTo>
                    <a:pt x="39" y="261"/>
                  </a:lnTo>
                  <a:lnTo>
                    <a:pt x="39" y="261"/>
                  </a:lnTo>
                  <a:lnTo>
                    <a:pt x="44" y="261"/>
                  </a:lnTo>
                  <a:lnTo>
                    <a:pt x="44" y="261"/>
                  </a:lnTo>
                  <a:lnTo>
                    <a:pt x="39" y="261"/>
                  </a:lnTo>
                  <a:lnTo>
                    <a:pt x="39" y="261"/>
                  </a:lnTo>
                  <a:lnTo>
                    <a:pt x="39" y="261"/>
                  </a:lnTo>
                  <a:lnTo>
                    <a:pt x="39" y="261"/>
                  </a:lnTo>
                  <a:lnTo>
                    <a:pt x="35" y="261"/>
                  </a:lnTo>
                  <a:lnTo>
                    <a:pt x="35" y="261"/>
                  </a:lnTo>
                  <a:lnTo>
                    <a:pt x="31" y="265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6" y="270"/>
                  </a:lnTo>
                  <a:lnTo>
                    <a:pt x="31" y="270"/>
                  </a:lnTo>
                  <a:lnTo>
                    <a:pt x="31" y="270"/>
                  </a:lnTo>
                  <a:lnTo>
                    <a:pt x="31" y="274"/>
                  </a:lnTo>
                  <a:lnTo>
                    <a:pt x="31" y="274"/>
                  </a:lnTo>
                  <a:lnTo>
                    <a:pt x="31" y="274"/>
                  </a:lnTo>
                  <a:lnTo>
                    <a:pt x="31" y="274"/>
                  </a:lnTo>
                  <a:lnTo>
                    <a:pt x="31" y="274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1" y="274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5" y="279"/>
                  </a:lnTo>
                  <a:lnTo>
                    <a:pt x="35" y="279"/>
                  </a:lnTo>
                  <a:lnTo>
                    <a:pt x="35" y="279"/>
                  </a:lnTo>
                  <a:lnTo>
                    <a:pt x="35" y="279"/>
                  </a:lnTo>
                  <a:lnTo>
                    <a:pt x="31" y="283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1" y="283"/>
                  </a:lnTo>
                  <a:lnTo>
                    <a:pt x="31" y="283"/>
                  </a:lnTo>
                  <a:lnTo>
                    <a:pt x="26" y="283"/>
                  </a:lnTo>
                  <a:lnTo>
                    <a:pt x="26" y="283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74"/>
                  </a:lnTo>
                  <a:lnTo>
                    <a:pt x="22" y="274"/>
                  </a:lnTo>
                  <a:lnTo>
                    <a:pt x="22" y="274"/>
                  </a:lnTo>
                  <a:lnTo>
                    <a:pt x="22" y="274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17" y="279"/>
                  </a:lnTo>
                  <a:lnTo>
                    <a:pt x="17" y="283"/>
                  </a:lnTo>
                  <a:lnTo>
                    <a:pt x="13" y="283"/>
                  </a:lnTo>
                  <a:lnTo>
                    <a:pt x="13" y="283"/>
                  </a:lnTo>
                  <a:lnTo>
                    <a:pt x="13" y="279"/>
                  </a:lnTo>
                  <a:lnTo>
                    <a:pt x="13" y="279"/>
                  </a:lnTo>
                  <a:lnTo>
                    <a:pt x="8" y="279"/>
                  </a:lnTo>
                  <a:lnTo>
                    <a:pt x="8" y="279"/>
                  </a:lnTo>
                  <a:lnTo>
                    <a:pt x="8" y="283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0" y="288"/>
                  </a:lnTo>
                  <a:lnTo>
                    <a:pt x="0" y="283"/>
                  </a:lnTo>
                  <a:lnTo>
                    <a:pt x="0" y="283"/>
                  </a:lnTo>
                  <a:lnTo>
                    <a:pt x="0" y="288"/>
                  </a:lnTo>
                  <a:lnTo>
                    <a:pt x="0" y="288"/>
                  </a:lnTo>
                  <a:lnTo>
                    <a:pt x="0" y="288"/>
                  </a:lnTo>
                  <a:lnTo>
                    <a:pt x="0" y="288"/>
                  </a:lnTo>
                  <a:lnTo>
                    <a:pt x="0" y="288"/>
                  </a:lnTo>
                  <a:lnTo>
                    <a:pt x="0" y="288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4" y="292"/>
                  </a:lnTo>
                  <a:lnTo>
                    <a:pt x="4" y="292"/>
                  </a:lnTo>
                  <a:lnTo>
                    <a:pt x="4" y="292"/>
                  </a:lnTo>
                  <a:lnTo>
                    <a:pt x="4" y="292"/>
                  </a:lnTo>
                  <a:lnTo>
                    <a:pt x="4" y="292"/>
                  </a:lnTo>
                  <a:lnTo>
                    <a:pt x="4" y="292"/>
                  </a:lnTo>
                  <a:lnTo>
                    <a:pt x="8" y="292"/>
                  </a:lnTo>
                  <a:lnTo>
                    <a:pt x="8" y="292"/>
                  </a:lnTo>
                  <a:lnTo>
                    <a:pt x="8" y="292"/>
                  </a:lnTo>
                  <a:lnTo>
                    <a:pt x="8" y="292"/>
                  </a:lnTo>
                  <a:lnTo>
                    <a:pt x="8" y="292"/>
                  </a:lnTo>
                  <a:lnTo>
                    <a:pt x="8" y="292"/>
                  </a:lnTo>
                  <a:lnTo>
                    <a:pt x="8" y="292"/>
                  </a:lnTo>
                  <a:lnTo>
                    <a:pt x="8" y="292"/>
                  </a:lnTo>
                  <a:lnTo>
                    <a:pt x="8" y="292"/>
                  </a:lnTo>
                  <a:lnTo>
                    <a:pt x="8" y="292"/>
                  </a:lnTo>
                  <a:lnTo>
                    <a:pt x="8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13" y="292"/>
                  </a:lnTo>
                  <a:lnTo>
                    <a:pt x="22" y="292"/>
                  </a:lnTo>
                  <a:lnTo>
                    <a:pt x="22" y="292"/>
                  </a:lnTo>
                  <a:lnTo>
                    <a:pt x="22" y="292"/>
                  </a:lnTo>
                  <a:lnTo>
                    <a:pt x="26" y="292"/>
                  </a:lnTo>
                  <a:lnTo>
                    <a:pt x="26" y="292"/>
                  </a:lnTo>
                  <a:lnTo>
                    <a:pt x="26" y="292"/>
                  </a:lnTo>
                  <a:lnTo>
                    <a:pt x="26" y="292"/>
                  </a:lnTo>
                  <a:lnTo>
                    <a:pt x="26" y="292"/>
                  </a:lnTo>
                  <a:lnTo>
                    <a:pt x="26" y="288"/>
                  </a:lnTo>
                  <a:lnTo>
                    <a:pt x="35" y="288"/>
                  </a:lnTo>
                  <a:lnTo>
                    <a:pt x="35" y="292"/>
                  </a:lnTo>
                  <a:lnTo>
                    <a:pt x="35" y="292"/>
                  </a:lnTo>
                  <a:lnTo>
                    <a:pt x="35" y="292"/>
                  </a:lnTo>
                  <a:lnTo>
                    <a:pt x="35" y="292"/>
                  </a:lnTo>
                  <a:lnTo>
                    <a:pt x="31" y="292"/>
                  </a:lnTo>
                  <a:lnTo>
                    <a:pt x="31" y="292"/>
                  </a:lnTo>
                  <a:lnTo>
                    <a:pt x="26" y="292"/>
                  </a:lnTo>
                  <a:lnTo>
                    <a:pt x="26" y="296"/>
                  </a:lnTo>
                  <a:lnTo>
                    <a:pt x="26" y="296"/>
                  </a:lnTo>
                  <a:lnTo>
                    <a:pt x="26" y="296"/>
                  </a:lnTo>
                  <a:lnTo>
                    <a:pt x="26" y="296"/>
                  </a:lnTo>
                  <a:lnTo>
                    <a:pt x="26" y="296"/>
                  </a:lnTo>
                  <a:lnTo>
                    <a:pt x="26" y="292"/>
                  </a:lnTo>
                  <a:lnTo>
                    <a:pt x="26" y="292"/>
                  </a:lnTo>
                  <a:lnTo>
                    <a:pt x="22" y="296"/>
                  </a:lnTo>
                  <a:lnTo>
                    <a:pt x="22" y="296"/>
                  </a:lnTo>
                  <a:lnTo>
                    <a:pt x="17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5"/>
                  </a:lnTo>
                  <a:lnTo>
                    <a:pt x="8" y="305"/>
                  </a:lnTo>
                  <a:lnTo>
                    <a:pt x="8" y="305"/>
                  </a:lnTo>
                  <a:lnTo>
                    <a:pt x="8" y="305"/>
                  </a:lnTo>
                  <a:lnTo>
                    <a:pt x="8" y="305"/>
                  </a:lnTo>
                  <a:lnTo>
                    <a:pt x="8" y="305"/>
                  </a:lnTo>
                  <a:lnTo>
                    <a:pt x="8" y="305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9"/>
                  </a:lnTo>
                  <a:lnTo>
                    <a:pt x="4" y="319"/>
                  </a:lnTo>
                  <a:lnTo>
                    <a:pt x="4" y="319"/>
                  </a:lnTo>
                  <a:lnTo>
                    <a:pt x="8" y="319"/>
                  </a:lnTo>
                  <a:lnTo>
                    <a:pt x="8" y="319"/>
                  </a:lnTo>
                  <a:lnTo>
                    <a:pt x="8" y="319"/>
                  </a:lnTo>
                  <a:lnTo>
                    <a:pt x="8" y="314"/>
                  </a:lnTo>
                  <a:lnTo>
                    <a:pt x="8" y="314"/>
                  </a:lnTo>
                  <a:lnTo>
                    <a:pt x="13" y="314"/>
                  </a:lnTo>
                  <a:lnTo>
                    <a:pt x="13" y="319"/>
                  </a:lnTo>
                  <a:lnTo>
                    <a:pt x="13" y="319"/>
                  </a:lnTo>
                  <a:lnTo>
                    <a:pt x="13" y="319"/>
                  </a:lnTo>
                  <a:lnTo>
                    <a:pt x="17" y="323"/>
                  </a:lnTo>
                  <a:lnTo>
                    <a:pt x="17" y="323"/>
                  </a:lnTo>
                  <a:lnTo>
                    <a:pt x="17" y="323"/>
                  </a:lnTo>
                  <a:lnTo>
                    <a:pt x="17" y="323"/>
                  </a:lnTo>
                  <a:lnTo>
                    <a:pt x="22" y="323"/>
                  </a:lnTo>
                  <a:lnTo>
                    <a:pt x="22" y="319"/>
                  </a:lnTo>
                  <a:lnTo>
                    <a:pt x="22" y="323"/>
                  </a:lnTo>
                  <a:lnTo>
                    <a:pt x="22" y="319"/>
                  </a:lnTo>
                  <a:lnTo>
                    <a:pt x="26" y="319"/>
                  </a:lnTo>
                  <a:lnTo>
                    <a:pt x="26" y="319"/>
                  </a:lnTo>
                  <a:lnTo>
                    <a:pt x="26" y="319"/>
                  </a:lnTo>
                  <a:lnTo>
                    <a:pt x="26" y="319"/>
                  </a:lnTo>
                  <a:lnTo>
                    <a:pt x="26" y="319"/>
                  </a:lnTo>
                  <a:lnTo>
                    <a:pt x="31" y="319"/>
                  </a:lnTo>
                  <a:lnTo>
                    <a:pt x="31" y="319"/>
                  </a:lnTo>
                  <a:lnTo>
                    <a:pt x="31" y="319"/>
                  </a:lnTo>
                  <a:lnTo>
                    <a:pt x="31" y="319"/>
                  </a:lnTo>
                  <a:lnTo>
                    <a:pt x="31" y="319"/>
                  </a:lnTo>
                  <a:lnTo>
                    <a:pt x="31" y="319"/>
                  </a:lnTo>
                  <a:lnTo>
                    <a:pt x="31" y="319"/>
                  </a:lnTo>
                  <a:lnTo>
                    <a:pt x="31" y="319"/>
                  </a:lnTo>
                  <a:lnTo>
                    <a:pt x="31" y="319"/>
                  </a:lnTo>
                  <a:lnTo>
                    <a:pt x="31" y="319"/>
                  </a:lnTo>
                  <a:lnTo>
                    <a:pt x="35" y="319"/>
                  </a:lnTo>
                  <a:lnTo>
                    <a:pt x="35" y="314"/>
                  </a:lnTo>
                  <a:lnTo>
                    <a:pt x="35" y="314"/>
                  </a:lnTo>
                  <a:lnTo>
                    <a:pt x="35" y="314"/>
                  </a:lnTo>
                  <a:lnTo>
                    <a:pt x="39" y="314"/>
                  </a:lnTo>
                  <a:lnTo>
                    <a:pt x="44" y="314"/>
                  </a:lnTo>
                  <a:lnTo>
                    <a:pt x="44" y="314"/>
                  </a:lnTo>
                  <a:lnTo>
                    <a:pt x="44" y="314"/>
                  </a:lnTo>
                  <a:lnTo>
                    <a:pt x="39" y="314"/>
                  </a:lnTo>
                  <a:lnTo>
                    <a:pt x="39" y="314"/>
                  </a:lnTo>
                  <a:lnTo>
                    <a:pt x="35" y="314"/>
                  </a:lnTo>
                  <a:lnTo>
                    <a:pt x="35" y="314"/>
                  </a:lnTo>
                  <a:lnTo>
                    <a:pt x="35" y="314"/>
                  </a:lnTo>
                  <a:lnTo>
                    <a:pt x="35" y="319"/>
                  </a:lnTo>
                  <a:lnTo>
                    <a:pt x="35" y="319"/>
                  </a:lnTo>
                  <a:lnTo>
                    <a:pt x="35" y="319"/>
                  </a:lnTo>
                  <a:lnTo>
                    <a:pt x="31" y="319"/>
                  </a:lnTo>
                  <a:lnTo>
                    <a:pt x="31" y="319"/>
                  </a:lnTo>
                  <a:lnTo>
                    <a:pt x="35" y="323"/>
                  </a:lnTo>
                  <a:lnTo>
                    <a:pt x="35" y="323"/>
                  </a:lnTo>
                  <a:lnTo>
                    <a:pt x="35" y="323"/>
                  </a:lnTo>
                  <a:lnTo>
                    <a:pt x="31" y="323"/>
                  </a:lnTo>
                  <a:lnTo>
                    <a:pt x="31" y="323"/>
                  </a:lnTo>
                  <a:lnTo>
                    <a:pt x="31" y="323"/>
                  </a:lnTo>
                  <a:lnTo>
                    <a:pt x="31" y="323"/>
                  </a:lnTo>
                  <a:lnTo>
                    <a:pt x="31" y="323"/>
                  </a:lnTo>
                  <a:lnTo>
                    <a:pt x="31" y="323"/>
                  </a:lnTo>
                  <a:lnTo>
                    <a:pt x="26" y="323"/>
                  </a:lnTo>
                  <a:lnTo>
                    <a:pt x="26" y="323"/>
                  </a:lnTo>
                  <a:lnTo>
                    <a:pt x="31" y="323"/>
                  </a:lnTo>
                  <a:lnTo>
                    <a:pt x="31" y="323"/>
                  </a:lnTo>
                  <a:lnTo>
                    <a:pt x="26" y="323"/>
                  </a:lnTo>
                  <a:lnTo>
                    <a:pt x="26" y="323"/>
                  </a:lnTo>
                  <a:lnTo>
                    <a:pt x="22" y="323"/>
                  </a:lnTo>
                  <a:lnTo>
                    <a:pt x="22" y="327"/>
                  </a:lnTo>
                  <a:lnTo>
                    <a:pt x="26" y="327"/>
                  </a:lnTo>
                  <a:lnTo>
                    <a:pt x="26" y="327"/>
                  </a:lnTo>
                  <a:lnTo>
                    <a:pt x="22" y="327"/>
                  </a:lnTo>
                  <a:lnTo>
                    <a:pt x="22" y="332"/>
                  </a:lnTo>
                  <a:lnTo>
                    <a:pt x="17" y="327"/>
                  </a:lnTo>
                  <a:lnTo>
                    <a:pt x="17" y="332"/>
                  </a:lnTo>
                  <a:lnTo>
                    <a:pt x="17" y="332"/>
                  </a:lnTo>
                  <a:lnTo>
                    <a:pt x="17" y="332"/>
                  </a:lnTo>
                  <a:lnTo>
                    <a:pt x="17" y="332"/>
                  </a:lnTo>
                  <a:lnTo>
                    <a:pt x="17" y="332"/>
                  </a:lnTo>
                  <a:lnTo>
                    <a:pt x="17" y="332"/>
                  </a:lnTo>
                  <a:lnTo>
                    <a:pt x="17" y="332"/>
                  </a:lnTo>
                  <a:lnTo>
                    <a:pt x="17" y="332"/>
                  </a:lnTo>
                  <a:lnTo>
                    <a:pt x="22" y="332"/>
                  </a:lnTo>
                  <a:lnTo>
                    <a:pt x="22" y="332"/>
                  </a:lnTo>
                  <a:lnTo>
                    <a:pt x="17" y="332"/>
                  </a:lnTo>
                  <a:lnTo>
                    <a:pt x="17" y="336"/>
                  </a:lnTo>
                  <a:lnTo>
                    <a:pt x="13" y="336"/>
                  </a:lnTo>
                  <a:lnTo>
                    <a:pt x="13" y="336"/>
                  </a:lnTo>
                  <a:lnTo>
                    <a:pt x="13" y="336"/>
                  </a:lnTo>
                  <a:lnTo>
                    <a:pt x="13" y="336"/>
                  </a:lnTo>
                  <a:lnTo>
                    <a:pt x="13" y="336"/>
                  </a:lnTo>
                  <a:lnTo>
                    <a:pt x="13" y="336"/>
                  </a:lnTo>
                  <a:lnTo>
                    <a:pt x="17" y="336"/>
                  </a:lnTo>
                  <a:lnTo>
                    <a:pt x="17" y="336"/>
                  </a:lnTo>
                  <a:lnTo>
                    <a:pt x="17" y="336"/>
                  </a:lnTo>
                  <a:lnTo>
                    <a:pt x="22" y="336"/>
                  </a:lnTo>
                  <a:lnTo>
                    <a:pt x="22" y="336"/>
                  </a:lnTo>
                  <a:lnTo>
                    <a:pt x="22" y="336"/>
                  </a:lnTo>
                  <a:lnTo>
                    <a:pt x="22" y="336"/>
                  </a:lnTo>
                  <a:lnTo>
                    <a:pt x="26" y="332"/>
                  </a:lnTo>
                  <a:lnTo>
                    <a:pt x="26" y="332"/>
                  </a:lnTo>
                  <a:lnTo>
                    <a:pt x="26" y="332"/>
                  </a:lnTo>
                  <a:lnTo>
                    <a:pt x="26" y="332"/>
                  </a:lnTo>
                  <a:lnTo>
                    <a:pt x="26" y="332"/>
                  </a:lnTo>
                  <a:lnTo>
                    <a:pt x="26" y="332"/>
                  </a:lnTo>
                  <a:lnTo>
                    <a:pt x="26" y="332"/>
                  </a:lnTo>
                  <a:lnTo>
                    <a:pt x="31" y="332"/>
                  </a:lnTo>
                  <a:lnTo>
                    <a:pt x="35" y="332"/>
                  </a:lnTo>
                  <a:lnTo>
                    <a:pt x="39" y="327"/>
                  </a:lnTo>
                  <a:lnTo>
                    <a:pt x="39" y="327"/>
                  </a:lnTo>
                  <a:lnTo>
                    <a:pt x="44" y="327"/>
                  </a:lnTo>
                  <a:lnTo>
                    <a:pt x="44" y="327"/>
                  </a:lnTo>
                  <a:lnTo>
                    <a:pt x="44" y="327"/>
                  </a:lnTo>
                  <a:lnTo>
                    <a:pt x="44" y="327"/>
                  </a:lnTo>
                  <a:lnTo>
                    <a:pt x="48" y="327"/>
                  </a:lnTo>
                  <a:lnTo>
                    <a:pt x="44" y="323"/>
                  </a:lnTo>
                  <a:lnTo>
                    <a:pt x="44" y="323"/>
                  </a:lnTo>
                  <a:lnTo>
                    <a:pt x="48" y="323"/>
                  </a:lnTo>
                  <a:lnTo>
                    <a:pt x="44" y="323"/>
                  </a:lnTo>
                  <a:lnTo>
                    <a:pt x="48" y="323"/>
                  </a:lnTo>
                  <a:lnTo>
                    <a:pt x="48" y="323"/>
                  </a:lnTo>
                  <a:lnTo>
                    <a:pt x="48" y="323"/>
                  </a:lnTo>
                  <a:lnTo>
                    <a:pt x="48" y="323"/>
                  </a:lnTo>
                  <a:lnTo>
                    <a:pt x="48" y="323"/>
                  </a:lnTo>
                  <a:lnTo>
                    <a:pt x="48" y="323"/>
                  </a:lnTo>
                  <a:lnTo>
                    <a:pt x="48" y="323"/>
                  </a:lnTo>
                  <a:lnTo>
                    <a:pt x="48" y="323"/>
                  </a:lnTo>
                  <a:lnTo>
                    <a:pt x="48" y="323"/>
                  </a:lnTo>
                  <a:lnTo>
                    <a:pt x="48" y="327"/>
                  </a:lnTo>
                  <a:lnTo>
                    <a:pt x="48" y="327"/>
                  </a:lnTo>
                  <a:lnTo>
                    <a:pt x="53" y="327"/>
                  </a:lnTo>
                  <a:lnTo>
                    <a:pt x="53" y="327"/>
                  </a:lnTo>
                  <a:lnTo>
                    <a:pt x="53" y="327"/>
                  </a:lnTo>
                  <a:lnTo>
                    <a:pt x="53" y="327"/>
                  </a:lnTo>
                  <a:lnTo>
                    <a:pt x="53" y="327"/>
                  </a:lnTo>
                  <a:lnTo>
                    <a:pt x="53" y="327"/>
                  </a:lnTo>
                  <a:lnTo>
                    <a:pt x="53" y="327"/>
                  </a:lnTo>
                  <a:lnTo>
                    <a:pt x="48" y="327"/>
                  </a:lnTo>
                  <a:lnTo>
                    <a:pt x="48" y="332"/>
                  </a:lnTo>
                  <a:lnTo>
                    <a:pt x="44" y="332"/>
                  </a:lnTo>
                  <a:lnTo>
                    <a:pt x="44" y="332"/>
                  </a:lnTo>
                  <a:lnTo>
                    <a:pt x="44" y="332"/>
                  </a:lnTo>
                  <a:lnTo>
                    <a:pt x="35" y="336"/>
                  </a:lnTo>
                  <a:lnTo>
                    <a:pt x="35" y="336"/>
                  </a:lnTo>
                  <a:lnTo>
                    <a:pt x="35" y="336"/>
                  </a:lnTo>
                  <a:lnTo>
                    <a:pt x="35" y="336"/>
                  </a:lnTo>
                  <a:lnTo>
                    <a:pt x="35" y="336"/>
                  </a:lnTo>
                  <a:lnTo>
                    <a:pt x="35" y="341"/>
                  </a:lnTo>
                  <a:lnTo>
                    <a:pt x="31" y="341"/>
                  </a:lnTo>
                  <a:lnTo>
                    <a:pt x="35" y="341"/>
                  </a:lnTo>
                  <a:lnTo>
                    <a:pt x="44" y="336"/>
                  </a:lnTo>
                  <a:lnTo>
                    <a:pt x="48" y="336"/>
                  </a:lnTo>
                  <a:lnTo>
                    <a:pt x="44" y="336"/>
                  </a:lnTo>
                  <a:lnTo>
                    <a:pt x="44" y="336"/>
                  </a:lnTo>
                  <a:lnTo>
                    <a:pt x="44" y="336"/>
                  </a:lnTo>
                  <a:lnTo>
                    <a:pt x="39" y="341"/>
                  </a:lnTo>
                  <a:lnTo>
                    <a:pt x="39" y="341"/>
                  </a:lnTo>
                  <a:lnTo>
                    <a:pt x="39" y="341"/>
                  </a:lnTo>
                  <a:lnTo>
                    <a:pt x="35" y="341"/>
                  </a:lnTo>
                  <a:lnTo>
                    <a:pt x="35" y="341"/>
                  </a:lnTo>
                  <a:lnTo>
                    <a:pt x="35" y="345"/>
                  </a:lnTo>
                  <a:lnTo>
                    <a:pt x="31" y="345"/>
                  </a:lnTo>
                  <a:lnTo>
                    <a:pt x="31" y="345"/>
                  </a:lnTo>
                  <a:lnTo>
                    <a:pt x="31" y="345"/>
                  </a:lnTo>
                  <a:lnTo>
                    <a:pt x="31" y="345"/>
                  </a:lnTo>
                  <a:lnTo>
                    <a:pt x="31" y="345"/>
                  </a:lnTo>
                  <a:lnTo>
                    <a:pt x="31" y="345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1" y="350"/>
                  </a:lnTo>
                  <a:lnTo>
                    <a:pt x="35" y="350"/>
                  </a:lnTo>
                  <a:lnTo>
                    <a:pt x="35" y="350"/>
                  </a:lnTo>
                  <a:lnTo>
                    <a:pt x="35" y="345"/>
                  </a:lnTo>
                  <a:lnTo>
                    <a:pt x="35" y="350"/>
                  </a:lnTo>
                  <a:lnTo>
                    <a:pt x="39" y="345"/>
                  </a:lnTo>
                  <a:lnTo>
                    <a:pt x="39" y="345"/>
                  </a:lnTo>
                  <a:lnTo>
                    <a:pt x="39" y="345"/>
                  </a:lnTo>
                  <a:lnTo>
                    <a:pt x="39" y="345"/>
                  </a:lnTo>
                  <a:lnTo>
                    <a:pt x="39" y="345"/>
                  </a:lnTo>
                  <a:lnTo>
                    <a:pt x="39" y="341"/>
                  </a:lnTo>
                  <a:lnTo>
                    <a:pt x="39" y="345"/>
                  </a:lnTo>
                  <a:lnTo>
                    <a:pt x="44" y="345"/>
                  </a:lnTo>
                  <a:lnTo>
                    <a:pt x="44" y="345"/>
                  </a:lnTo>
                  <a:lnTo>
                    <a:pt x="44" y="345"/>
                  </a:lnTo>
                  <a:lnTo>
                    <a:pt x="44" y="345"/>
                  </a:lnTo>
                  <a:lnTo>
                    <a:pt x="44" y="345"/>
                  </a:lnTo>
                  <a:lnTo>
                    <a:pt x="44" y="345"/>
                  </a:lnTo>
                  <a:lnTo>
                    <a:pt x="48" y="345"/>
                  </a:lnTo>
                  <a:lnTo>
                    <a:pt x="48" y="345"/>
                  </a:lnTo>
                  <a:lnTo>
                    <a:pt x="48" y="341"/>
                  </a:lnTo>
                  <a:lnTo>
                    <a:pt x="48" y="341"/>
                  </a:lnTo>
                  <a:lnTo>
                    <a:pt x="48" y="341"/>
                  </a:lnTo>
                  <a:lnTo>
                    <a:pt x="53" y="341"/>
                  </a:lnTo>
                  <a:lnTo>
                    <a:pt x="53" y="341"/>
                  </a:lnTo>
                  <a:lnTo>
                    <a:pt x="53" y="341"/>
                  </a:lnTo>
                  <a:lnTo>
                    <a:pt x="53" y="341"/>
                  </a:lnTo>
                  <a:lnTo>
                    <a:pt x="53" y="341"/>
                  </a:lnTo>
                  <a:lnTo>
                    <a:pt x="53" y="341"/>
                  </a:lnTo>
                  <a:lnTo>
                    <a:pt x="53" y="341"/>
                  </a:lnTo>
                  <a:lnTo>
                    <a:pt x="53" y="341"/>
                  </a:lnTo>
                  <a:lnTo>
                    <a:pt x="53" y="345"/>
                  </a:lnTo>
                  <a:lnTo>
                    <a:pt x="53" y="345"/>
                  </a:lnTo>
                  <a:lnTo>
                    <a:pt x="57" y="345"/>
                  </a:lnTo>
                  <a:lnTo>
                    <a:pt x="57" y="341"/>
                  </a:lnTo>
                  <a:lnTo>
                    <a:pt x="57" y="341"/>
                  </a:lnTo>
                  <a:lnTo>
                    <a:pt x="57" y="341"/>
                  </a:lnTo>
                  <a:lnTo>
                    <a:pt x="57" y="341"/>
                  </a:lnTo>
                  <a:lnTo>
                    <a:pt x="57" y="341"/>
                  </a:lnTo>
                  <a:lnTo>
                    <a:pt x="57" y="341"/>
                  </a:lnTo>
                  <a:lnTo>
                    <a:pt x="57" y="341"/>
                  </a:lnTo>
                  <a:lnTo>
                    <a:pt x="57" y="341"/>
                  </a:lnTo>
                  <a:lnTo>
                    <a:pt x="57" y="341"/>
                  </a:lnTo>
                  <a:lnTo>
                    <a:pt x="57" y="341"/>
                  </a:lnTo>
                  <a:lnTo>
                    <a:pt x="57" y="345"/>
                  </a:lnTo>
                  <a:lnTo>
                    <a:pt x="57" y="345"/>
                  </a:lnTo>
                  <a:lnTo>
                    <a:pt x="57" y="345"/>
                  </a:lnTo>
                  <a:lnTo>
                    <a:pt x="57" y="345"/>
                  </a:lnTo>
                  <a:lnTo>
                    <a:pt x="57" y="345"/>
                  </a:lnTo>
                  <a:lnTo>
                    <a:pt x="57" y="345"/>
                  </a:lnTo>
                  <a:lnTo>
                    <a:pt x="57" y="345"/>
                  </a:lnTo>
                  <a:lnTo>
                    <a:pt x="57" y="345"/>
                  </a:lnTo>
                  <a:lnTo>
                    <a:pt x="57" y="345"/>
                  </a:lnTo>
                  <a:lnTo>
                    <a:pt x="57" y="345"/>
                  </a:lnTo>
                  <a:lnTo>
                    <a:pt x="57" y="345"/>
                  </a:lnTo>
                  <a:lnTo>
                    <a:pt x="57" y="345"/>
                  </a:lnTo>
                  <a:lnTo>
                    <a:pt x="57" y="345"/>
                  </a:lnTo>
                  <a:lnTo>
                    <a:pt x="57" y="345"/>
                  </a:lnTo>
                  <a:lnTo>
                    <a:pt x="62" y="345"/>
                  </a:lnTo>
                  <a:lnTo>
                    <a:pt x="62" y="345"/>
                  </a:lnTo>
                  <a:lnTo>
                    <a:pt x="62" y="345"/>
                  </a:lnTo>
                  <a:lnTo>
                    <a:pt x="62" y="345"/>
                  </a:lnTo>
                  <a:lnTo>
                    <a:pt x="62" y="345"/>
                  </a:lnTo>
                  <a:lnTo>
                    <a:pt x="62" y="345"/>
                  </a:lnTo>
                  <a:lnTo>
                    <a:pt x="62" y="345"/>
                  </a:lnTo>
                  <a:lnTo>
                    <a:pt x="62" y="345"/>
                  </a:lnTo>
                  <a:lnTo>
                    <a:pt x="62" y="345"/>
                  </a:lnTo>
                  <a:lnTo>
                    <a:pt x="62" y="345"/>
                  </a:lnTo>
                  <a:lnTo>
                    <a:pt x="62" y="345"/>
                  </a:lnTo>
                  <a:lnTo>
                    <a:pt x="66" y="345"/>
                  </a:lnTo>
                  <a:lnTo>
                    <a:pt x="66" y="345"/>
                  </a:lnTo>
                  <a:lnTo>
                    <a:pt x="66" y="345"/>
                  </a:lnTo>
                  <a:lnTo>
                    <a:pt x="66" y="345"/>
                  </a:lnTo>
                  <a:lnTo>
                    <a:pt x="66" y="345"/>
                  </a:lnTo>
                  <a:lnTo>
                    <a:pt x="66" y="341"/>
                  </a:lnTo>
                  <a:lnTo>
                    <a:pt x="66" y="341"/>
                  </a:lnTo>
                  <a:lnTo>
                    <a:pt x="66" y="341"/>
                  </a:lnTo>
                  <a:lnTo>
                    <a:pt x="66" y="341"/>
                  </a:lnTo>
                  <a:lnTo>
                    <a:pt x="70" y="341"/>
                  </a:lnTo>
                  <a:lnTo>
                    <a:pt x="70" y="341"/>
                  </a:lnTo>
                  <a:lnTo>
                    <a:pt x="70" y="341"/>
                  </a:lnTo>
                  <a:lnTo>
                    <a:pt x="70" y="341"/>
                  </a:lnTo>
                  <a:lnTo>
                    <a:pt x="70" y="341"/>
                  </a:lnTo>
                  <a:lnTo>
                    <a:pt x="70" y="341"/>
                  </a:lnTo>
                  <a:lnTo>
                    <a:pt x="70" y="341"/>
                  </a:lnTo>
                  <a:lnTo>
                    <a:pt x="70" y="341"/>
                  </a:lnTo>
                  <a:lnTo>
                    <a:pt x="70" y="341"/>
                  </a:lnTo>
                  <a:lnTo>
                    <a:pt x="75" y="341"/>
                  </a:lnTo>
                  <a:lnTo>
                    <a:pt x="75" y="341"/>
                  </a:lnTo>
                  <a:lnTo>
                    <a:pt x="75" y="341"/>
                  </a:lnTo>
                  <a:lnTo>
                    <a:pt x="75" y="341"/>
                  </a:lnTo>
                  <a:lnTo>
                    <a:pt x="79" y="341"/>
                  </a:lnTo>
                  <a:lnTo>
                    <a:pt x="79" y="341"/>
                  </a:lnTo>
                  <a:lnTo>
                    <a:pt x="79" y="341"/>
                  </a:lnTo>
                  <a:lnTo>
                    <a:pt x="79" y="341"/>
                  </a:lnTo>
                  <a:lnTo>
                    <a:pt x="79" y="341"/>
                  </a:lnTo>
                  <a:lnTo>
                    <a:pt x="79" y="341"/>
                  </a:lnTo>
                  <a:lnTo>
                    <a:pt x="79" y="341"/>
                  </a:lnTo>
                  <a:lnTo>
                    <a:pt x="79" y="341"/>
                  </a:lnTo>
                  <a:lnTo>
                    <a:pt x="84" y="341"/>
                  </a:lnTo>
                  <a:lnTo>
                    <a:pt x="84" y="336"/>
                  </a:lnTo>
                  <a:lnTo>
                    <a:pt x="84" y="336"/>
                  </a:lnTo>
                  <a:lnTo>
                    <a:pt x="84" y="336"/>
                  </a:lnTo>
                  <a:lnTo>
                    <a:pt x="84" y="336"/>
                  </a:lnTo>
                  <a:lnTo>
                    <a:pt x="84" y="336"/>
                  </a:lnTo>
                  <a:lnTo>
                    <a:pt x="84" y="336"/>
                  </a:lnTo>
                  <a:lnTo>
                    <a:pt x="84" y="336"/>
                  </a:lnTo>
                  <a:lnTo>
                    <a:pt x="88" y="336"/>
                  </a:lnTo>
                  <a:lnTo>
                    <a:pt x="88" y="336"/>
                  </a:lnTo>
                  <a:lnTo>
                    <a:pt x="88" y="336"/>
                  </a:lnTo>
                  <a:lnTo>
                    <a:pt x="88" y="336"/>
                  </a:lnTo>
                  <a:lnTo>
                    <a:pt x="88" y="336"/>
                  </a:lnTo>
                  <a:lnTo>
                    <a:pt x="93" y="336"/>
                  </a:lnTo>
                  <a:lnTo>
                    <a:pt x="93" y="336"/>
                  </a:lnTo>
                  <a:lnTo>
                    <a:pt x="93" y="336"/>
                  </a:lnTo>
                  <a:lnTo>
                    <a:pt x="93" y="336"/>
                  </a:lnTo>
                  <a:lnTo>
                    <a:pt x="93" y="336"/>
                  </a:lnTo>
                  <a:lnTo>
                    <a:pt x="93" y="336"/>
                  </a:lnTo>
                  <a:lnTo>
                    <a:pt x="93" y="336"/>
                  </a:lnTo>
                  <a:lnTo>
                    <a:pt x="93" y="332"/>
                  </a:lnTo>
                  <a:lnTo>
                    <a:pt x="93" y="332"/>
                  </a:lnTo>
                  <a:lnTo>
                    <a:pt x="88" y="332"/>
                  </a:lnTo>
                  <a:lnTo>
                    <a:pt x="88" y="332"/>
                  </a:lnTo>
                  <a:lnTo>
                    <a:pt x="88" y="332"/>
                  </a:lnTo>
                  <a:lnTo>
                    <a:pt x="93" y="332"/>
                  </a:lnTo>
                  <a:lnTo>
                    <a:pt x="97" y="332"/>
                  </a:lnTo>
                  <a:lnTo>
                    <a:pt x="97" y="332"/>
                  </a:lnTo>
                  <a:lnTo>
                    <a:pt x="97" y="332"/>
                  </a:lnTo>
                  <a:lnTo>
                    <a:pt x="101" y="336"/>
                  </a:lnTo>
                  <a:lnTo>
                    <a:pt x="101" y="336"/>
                  </a:lnTo>
                  <a:lnTo>
                    <a:pt x="101" y="332"/>
                  </a:lnTo>
                  <a:lnTo>
                    <a:pt x="101" y="332"/>
                  </a:lnTo>
                  <a:lnTo>
                    <a:pt x="101" y="332"/>
                  </a:lnTo>
                  <a:lnTo>
                    <a:pt x="101" y="332"/>
                  </a:lnTo>
                  <a:lnTo>
                    <a:pt x="101" y="327"/>
                  </a:lnTo>
                  <a:lnTo>
                    <a:pt x="101" y="327"/>
                  </a:lnTo>
                  <a:lnTo>
                    <a:pt x="101" y="327"/>
                  </a:lnTo>
                  <a:lnTo>
                    <a:pt x="101" y="327"/>
                  </a:lnTo>
                  <a:lnTo>
                    <a:pt x="101" y="327"/>
                  </a:lnTo>
                  <a:lnTo>
                    <a:pt x="101" y="327"/>
                  </a:lnTo>
                  <a:lnTo>
                    <a:pt x="101" y="327"/>
                  </a:lnTo>
                  <a:lnTo>
                    <a:pt x="101" y="327"/>
                  </a:lnTo>
                  <a:lnTo>
                    <a:pt x="101" y="327"/>
                  </a:lnTo>
                  <a:lnTo>
                    <a:pt x="101" y="327"/>
                  </a:lnTo>
                  <a:lnTo>
                    <a:pt x="97" y="327"/>
                  </a:lnTo>
                  <a:lnTo>
                    <a:pt x="97" y="327"/>
                  </a:lnTo>
                  <a:lnTo>
                    <a:pt x="101" y="327"/>
                  </a:lnTo>
                  <a:lnTo>
                    <a:pt x="101" y="327"/>
                  </a:lnTo>
                  <a:lnTo>
                    <a:pt x="101" y="327"/>
                  </a:lnTo>
                  <a:lnTo>
                    <a:pt x="101" y="327"/>
                  </a:lnTo>
                  <a:lnTo>
                    <a:pt x="106" y="327"/>
                  </a:lnTo>
                  <a:lnTo>
                    <a:pt x="101" y="327"/>
                  </a:lnTo>
                  <a:lnTo>
                    <a:pt x="101" y="327"/>
                  </a:lnTo>
                  <a:lnTo>
                    <a:pt x="101" y="327"/>
                  </a:lnTo>
                  <a:lnTo>
                    <a:pt x="106" y="327"/>
                  </a:lnTo>
                  <a:lnTo>
                    <a:pt x="106" y="327"/>
                  </a:lnTo>
                  <a:lnTo>
                    <a:pt x="106" y="327"/>
                  </a:lnTo>
                  <a:lnTo>
                    <a:pt x="106" y="327"/>
                  </a:lnTo>
                  <a:lnTo>
                    <a:pt x="106" y="327"/>
                  </a:lnTo>
                  <a:lnTo>
                    <a:pt x="110" y="327"/>
                  </a:lnTo>
                  <a:lnTo>
                    <a:pt x="110" y="327"/>
                  </a:lnTo>
                  <a:lnTo>
                    <a:pt x="110" y="323"/>
                  </a:lnTo>
                  <a:lnTo>
                    <a:pt x="110" y="323"/>
                  </a:lnTo>
                  <a:lnTo>
                    <a:pt x="110" y="323"/>
                  </a:lnTo>
                  <a:lnTo>
                    <a:pt x="110" y="323"/>
                  </a:lnTo>
                  <a:lnTo>
                    <a:pt x="110" y="323"/>
                  </a:lnTo>
                  <a:lnTo>
                    <a:pt x="110" y="319"/>
                  </a:lnTo>
                  <a:lnTo>
                    <a:pt x="110" y="319"/>
                  </a:lnTo>
                  <a:lnTo>
                    <a:pt x="115" y="319"/>
                  </a:lnTo>
                  <a:lnTo>
                    <a:pt x="110" y="319"/>
                  </a:lnTo>
                  <a:lnTo>
                    <a:pt x="110" y="319"/>
                  </a:lnTo>
                  <a:lnTo>
                    <a:pt x="110" y="319"/>
                  </a:lnTo>
                  <a:lnTo>
                    <a:pt x="115" y="319"/>
                  </a:lnTo>
                  <a:lnTo>
                    <a:pt x="115" y="319"/>
                  </a:lnTo>
                  <a:lnTo>
                    <a:pt x="110" y="319"/>
                  </a:lnTo>
                  <a:lnTo>
                    <a:pt x="110" y="319"/>
                  </a:lnTo>
                  <a:lnTo>
                    <a:pt x="110" y="319"/>
                  </a:lnTo>
                  <a:lnTo>
                    <a:pt x="110" y="314"/>
                  </a:lnTo>
                  <a:lnTo>
                    <a:pt x="110" y="314"/>
                  </a:lnTo>
                  <a:lnTo>
                    <a:pt x="110" y="314"/>
                  </a:lnTo>
                  <a:lnTo>
                    <a:pt x="110" y="314"/>
                  </a:lnTo>
                  <a:lnTo>
                    <a:pt x="110" y="314"/>
                  </a:lnTo>
                  <a:lnTo>
                    <a:pt x="106" y="314"/>
                  </a:lnTo>
                  <a:lnTo>
                    <a:pt x="106" y="310"/>
                  </a:lnTo>
                  <a:lnTo>
                    <a:pt x="106" y="310"/>
                  </a:lnTo>
                  <a:lnTo>
                    <a:pt x="106" y="310"/>
                  </a:lnTo>
                  <a:lnTo>
                    <a:pt x="110" y="310"/>
                  </a:lnTo>
                  <a:lnTo>
                    <a:pt x="110" y="310"/>
                  </a:lnTo>
                  <a:lnTo>
                    <a:pt x="110" y="310"/>
                  </a:lnTo>
                  <a:lnTo>
                    <a:pt x="115" y="310"/>
                  </a:lnTo>
                  <a:lnTo>
                    <a:pt x="115" y="310"/>
                  </a:lnTo>
                  <a:lnTo>
                    <a:pt x="115" y="310"/>
                  </a:lnTo>
                  <a:lnTo>
                    <a:pt x="115" y="310"/>
                  </a:lnTo>
                  <a:lnTo>
                    <a:pt x="115" y="310"/>
                  </a:lnTo>
                  <a:lnTo>
                    <a:pt x="119" y="310"/>
                  </a:lnTo>
                  <a:lnTo>
                    <a:pt x="119" y="310"/>
                  </a:lnTo>
                  <a:lnTo>
                    <a:pt x="119" y="310"/>
                  </a:lnTo>
                  <a:lnTo>
                    <a:pt x="119" y="310"/>
                  </a:lnTo>
                  <a:lnTo>
                    <a:pt x="119" y="310"/>
                  </a:lnTo>
                  <a:lnTo>
                    <a:pt x="119" y="314"/>
                  </a:lnTo>
                  <a:lnTo>
                    <a:pt x="119" y="314"/>
                  </a:lnTo>
                  <a:lnTo>
                    <a:pt x="119" y="314"/>
                  </a:lnTo>
                  <a:lnTo>
                    <a:pt x="119" y="314"/>
                  </a:lnTo>
                  <a:lnTo>
                    <a:pt x="119" y="314"/>
                  </a:lnTo>
                  <a:lnTo>
                    <a:pt x="119" y="314"/>
                  </a:lnTo>
                  <a:lnTo>
                    <a:pt x="119" y="314"/>
                  </a:lnTo>
                  <a:lnTo>
                    <a:pt x="119" y="314"/>
                  </a:lnTo>
                  <a:lnTo>
                    <a:pt x="119" y="314"/>
                  </a:lnTo>
                  <a:lnTo>
                    <a:pt x="115" y="314"/>
                  </a:lnTo>
                  <a:lnTo>
                    <a:pt x="115" y="314"/>
                  </a:lnTo>
                  <a:lnTo>
                    <a:pt x="115" y="319"/>
                  </a:lnTo>
                  <a:lnTo>
                    <a:pt x="115" y="319"/>
                  </a:lnTo>
                  <a:lnTo>
                    <a:pt x="115" y="319"/>
                  </a:lnTo>
                  <a:lnTo>
                    <a:pt x="115" y="319"/>
                  </a:lnTo>
                  <a:lnTo>
                    <a:pt x="115" y="319"/>
                  </a:lnTo>
                  <a:lnTo>
                    <a:pt x="115" y="319"/>
                  </a:lnTo>
                  <a:lnTo>
                    <a:pt x="115" y="319"/>
                  </a:lnTo>
                  <a:lnTo>
                    <a:pt x="115" y="319"/>
                  </a:lnTo>
                  <a:lnTo>
                    <a:pt x="115" y="319"/>
                  </a:lnTo>
                  <a:lnTo>
                    <a:pt x="119" y="319"/>
                  </a:lnTo>
                  <a:lnTo>
                    <a:pt x="119" y="319"/>
                  </a:lnTo>
                  <a:lnTo>
                    <a:pt x="124" y="319"/>
                  </a:lnTo>
                  <a:lnTo>
                    <a:pt x="128" y="319"/>
                  </a:lnTo>
                  <a:lnTo>
                    <a:pt x="128" y="314"/>
                  </a:lnTo>
                  <a:lnTo>
                    <a:pt x="128" y="314"/>
                  </a:lnTo>
                  <a:lnTo>
                    <a:pt x="128" y="314"/>
                  </a:lnTo>
                  <a:lnTo>
                    <a:pt x="132" y="314"/>
                  </a:lnTo>
                  <a:lnTo>
                    <a:pt x="132" y="314"/>
                  </a:lnTo>
                  <a:lnTo>
                    <a:pt x="132" y="310"/>
                  </a:lnTo>
                  <a:lnTo>
                    <a:pt x="132" y="310"/>
                  </a:lnTo>
                  <a:lnTo>
                    <a:pt x="132" y="310"/>
                  </a:lnTo>
                  <a:lnTo>
                    <a:pt x="132" y="310"/>
                  </a:lnTo>
                  <a:lnTo>
                    <a:pt x="132" y="310"/>
                  </a:lnTo>
                  <a:lnTo>
                    <a:pt x="132" y="310"/>
                  </a:lnTo>
                  <a:lnTo>
                    <a:pt x="137" y="310"/>
                  </a:lnTo>
                  <a:lnTo>
                    <a:pt x="137" y="305"/>
                  </a:lnTo>
                  <a:lnTo>
                    <a:pt x="137" y="305"/>
                  </a:lnTo>
                  <a:lnTo>
                    <a:pt x="137" y="305"/>
                  </a:lnTo>
                  <a:lnTo>
                    <a:pt x="137" y="305"/>
                  </a:lnTo>
                  <a:lnTo>
                    <a:pt x="137" y="305"/>
                  </a:lnTo>
                  <a:lnTo>
                    <a:pt x="137" y="305"/>
                  </a:lnTo>
                  <a:lnTo>
                    <a:pt x="137" y="305"/>
                  </a:lnTo>
                  <a:lnTo>
                    <a:pt x="137" y="305"/>
                  </a:lnTo>
                  <a:lnTo>
                    <a:pt x="137" y="305"/>
                  </a:lnTo>
                  <a:lnTo>
                    <a:pt x="141" y="305"/>
                  </a:lnTo>
                  <a:lnTo>
                    <a:pt x="141" y="305"/>
                  </a:lnTo>
                  <a:lnTo>
                    <a:pt x="141" y="305"/>
                  </a:lnTo>
                  <a:lnTo>
                    <a:pt x="141" y="305"/>
                  </a:lnTo>
                  <a:lnTo>
                    <a:pt x="146" y="305"/>
                  </a:lnTo>
                  <a:lnTo>
                    <a:pt x="146" y="305"/>
                  </a:lnTo>
                  <a:lnTo>
                    <a:pt x="150" y="305"/>
                  </a:lnTo>
                  <a:lnTo>
                    <a:pt x="150" y="301"/>
                  </a:lnTo>
                  <a:lnTo>
                    <a:pt x="150" y="301"/>
                  </a:lnTo>
                  <a:lnTo>
                    <a:pt x="150" y="301"/>
                  </a:lnTo>
                  <a:lnTo>
                    <a:pt x="150" y="301"/>
                  </a:lnTo>
                  <a:lnTo>
                    <a:pt x="150" y="301"/>
                  </a:lnTo>
                  <a:lnTo>
                    <a:pt x="150" y="296"/>
                  </a:lnTo>
                  <a:lnTo>
                    <a:pt x="150" y="296"/>
                  </a:lnTo>
                  <a:lnTo>
                    <a:pt x="150" y="296"/>
                  </a:lnTo>
                  <a:lnTo>
                    <a:pt x="150" y="296"/>
                  </a:lnTo>
                  <a:lnTo>
                    <a:pt x="150" y="296"/>
                  </a:lnTo>
                  <a:lnTo>
                    <a:pt x="150" y="296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6" y="296"/>
                  </a:lnTo>
                  <a:lnTo>
                    <a:pt x="150" y="292"/>
                  </a:lnTo>
                  <a:lnTo>
                    <a:pt x="150" y="292"/>
                  </a:lnTo>
                  <a:lnTo>
                    <a:pt x="150" y="292"/>
                  </a:lnTo>
                  <a:lnTo>
                    <a:pt x="150" y="292"/>
                  </a:lnTo>
                  <a:lnTo>
                    <a:pt x="150" y="292"/>
                  </a:lnTo>
                  <a:lnTo>
                    <a:pt x="150" y="296"/>
                  </a:lnTo>
                  <a:lnTo>
                    <a:pt x="150" y="296"/>
                  </a:lnTo>
                  <a:lnTo>
                    <a:pt x="150" y="296"/>
                  </a:lnTo>
                  <a:lnTo>
                    <a:pt x="150" y="292"/>
                  </a:lnTo>
                  <a:lnTo>
                    <a:pt x="150" y="292"/>
                  </a:lnTo>
                  <a:lnTo>
                    <a:pt x="150" y="292"/>
                  </a:lnTo>
                  <a:lnTo>
                    <a:pt x="155" y="292"/>
                  </a:lnTo>
                  <a:lnTo>
                    <a:pt x="159" y="292"/>
                  </a:lnTo>
                  <a:lnTo>
                    <a:pt x="168" y="292"/>
                  </a:lnTo>
                  <a:lnTo>
                    <a:pt x="168" y="292"/>
                  </a:lnTo>
                  <a:lnTo>
                    <a:pt x="172" y="292"/>
                  </a:lnTo>
                  <a:lnTo>
                    <a:pt x="172" y="292"/>
                  </a:lnTo>
                  <a:lnTo>
                    <a:pt x="172" y="288"/>
                  </a:lnTo>
                  <a:lnTo>
                    <a:pt x="172" y="288"/>
                  </a:lnTo>
                  <a:lnTo>
                    <a:pt x="172" y="288"/>
                  </a:lnTo>
                  <a:lnTo>
                    <a:pt x="172" y="288"/>
                  </a:lnTo>
                  <a:lnTo>
                    <a:pt x="172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92"/>
                  </a:lnTo>
                  <a:lnTo>
                    <a:pt x="177" y="292"/>
                  </a:lnTo>
                  <a:lnTo>
                    <a:pt x="177" y="292"/>
                  </a:lnTo>
                  <a:lnTo>
                    <a:pt x="181" y="292"/>
                  </a:lnTo>
                  <a:lnTo>
                    <a:pt x="181" y="288"/>
                  </a:lnTo>
                  <a:lnTo>
                    <a:pt x="181" y="288"/>
                  </a:lnTo>
                  <a:lnTo>
                    <a:pt x="181" y="288"/>
                  </a:lnTo>
                  <a:lnTo>
                    <a:pt x="181" y="288"/>
                  </a:lnTo>
                  <a:lnTo>
                    <a:pt x="181" y="288"/>
                  </a:lnTo>
                  <a:lnTo>
                    <a:pt x="181" y="283"/>
                  </a:lnTo>
                  <a:lnTo>
                    <a:pt x="181" y="283"/>
                  </a:lnTo>
                  <a:lnTo>
                    <a:pt x="181" y="283"/>
                  </a:lnTo>
                  <a:lnTo>
                    <a:pt x="181" y="279"/>
                  </a:lnTo>
                  <a:lnTo>
                    <a:pt x="181" y="279"/>
                  </a:lnTo>
                  <a:lnTo>
                    <a:pt x="181" y="279"/>
                  </a:lnTo>
                  <a:lnTo>
                    <a:pt x="181" y="279"/>
                  </a:lnTo>
                  <a:lnTo>
                    <a:pt x="181" y="279"/>
                  </a:lnTo>
                  <a:lnTo>
                    <a:pt x="181" y="279"/>
                  </a:lnTo>
                  <a:lnTo>
                    <a:pt x="181" y="279"/>
                  </a:lnTo>
                  <a:lnTo>
                    <a:pt x="181" y="279"/>
                  </a:lnTo>
                  <a:lnTo>
                    <a:pt x="181" y="283"/>
                  </a:lnTo>
                  <a:lnTo>
                    <a:pt x="186" y="283"/>
                  </a:lnTo>
                  <a:lnTo>
                    <a:pt x="186" y="283"/>
                  </a:lnTo>
                  <a:lnTo>
                    <a:pt x="186" y="283"/>
                  </a:lnTo>
                  <a:lnTo>
                    <a:pt x="186" y="283"/>
                  </a:lnTo>
                  <a:lnTo>
                    <a:pt x="186" y="288"/>
                  </a:lnTo>
                  <a:lnTo>
                    <a:pt x="186" y="288"/>
                  </a:lnTo>
                  <a:lnTo>
                    <a:pt x="186" y="288"/>
                  </a:lnTo>
                  <a:lnTo>
                    <a:pt x="186" y="288"/>
                  </a:lnTo>
                  <a:lnTo>
                    <a:pt x="186" y="288"/>
                  </a:lnTo>
                  <a:lnTo>
                    <a:pt x="186" y="292"/>
                  </a:lnTo>
                  <a:lnTo>
                    <a:pt x="186" y="292"/>
                  </a:lnTo>
                  <a:lnTo>
                    <a:pt x="186" y="292"/>
                  </a:lnTo>
                  <a:lnTo>
                    <a:pt x="186" y="288"/>
                  </a:lnTo>
                  <a:lnTo>
                    <a:pt x="186" y="288"/>
                  </a:lnTo>
                  <a:lnTo>
                    <a:pt x="190" y="288"/>
                  </a:lnTo>
                  <a:lnTo>
                    <a:pt x="190" y="288"/>
                  </a:lnTo>
                  <a:lnTo>
                    <a:pt x="190" y="288"/>
                  </a:lnTo>
                  <a:lnTo>
                    <a:pt x="190" y="288"/>
                  </a:lnTo>
                  <a:lnTo>
                    <a:pt x="190" y="288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4" y="279"/>
                  </a:lnTo>
                  <a:lnTo>
                    <a:pt x="194" y="279"/>
                  </a:lnTo>
                  <a:lnTo>
                    <a:pt x="194" y="279"/>
                  </a:lnTo>
                  <a:lnTo>
                    <a:pt x="194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4" y="283"/>
                  </a:lnTo>
                  <a:lnTo>
                    <a:pt x="199" y="283"/>
                  </a:lnTo>
                  <a:lnTo>
                    <a:pt x="199" y="283"/>
                  </a:lnTo>
                  <a:lnTo>
                    <a:pt x="203" y="288"/>
                  </a:lnTo>
                  <a:lnTo>
                    <a:pt x="203" y="288"/>
                  </a:lnTo>
                  <a:lnTo>
                    <a:pt x="203" y="283"/>
                  </a:lnTo>
                  <a:lnTo>
                    <a:pt x="208" y="283"/>
                  </a:lnTo>
                  <a:lnTo>
                    <a:pt x="208" y="283"/>
                  </a:lnTo>
                  <a:lnTo>
                    <a:pt x="208" y="283"/>
                  </a:lnTo>
                  <a:lnTo>
                    <a:pt x="212" y="283"/>
                  </a:lnTo>
                  <a:lnTo>
                    <a:pt x="208" y="283"/>
                  </a:lnTo>
                  <a:lnTo>
                    <a:pt x="208" y="283"/>
                  </a:lnTo>
                  <a:lnTo>
                    <a:pt x="212" y="283"/>
                  </a:lnTo>
                  <a:lnTo>
                    <a:pt x="212" y="283"/>
                  </a:lnTo>
                  <a:lnTo>
                    <a:pt x="212" y="283"/>
                  </a:lnTo>
                  <a:lnTo>
                    <a:pt x="212" y="283"/>
                  </a:lnTo>
                  <a:lnTo>
                    <a:pt x="212" y="283"/>
                  </a:lnTo>
                  <a:lnTo>
                    <a:pt x="212" y="283"/>
                  </a:lnTo>
                  <a:lnTo>
                    <a:pt x="212" y="283"/>
                  </a:lnTo>
                  <a:lnTo>
                    <a:pt x="212" y="283"/>
                  </a:lnTo>
                  <a:lnTo>
                    <a:pt x="212" y="283"/>
                  </a:lnTo>
                  <a:lnTo>
                    <a:pt x="212" y="288"/>
                  </a:lnTo>
                  <a:lnTo>
                    <a:pt x="212" y="288"/>
                  </a:lnTo>
                  <a:lnTo>
                    <a:pt x="212" y="288"/>
                  </a:lnTo>
                  <a:lnTo>
                    <a:pt x="212" y="288"/>
                  </a:lnTo>
                  <a:lnTo>
                    <a:pt x="212" y="288"/>
                  </a:lnTo>
                  <a:lnTo>
                    <a:pt x="216" y="288"/>
                  </a:lnTo>
                  <a:lnTo>
                    <a:pt x="216" y="283"/>
                  </a:lnTo>
                  <a:lnTo>
                    <a:pt x="216" y="283"/>
                  </a:lnTo>
                  <a:lnTo>
                    <a:pt x="212" y="279"/>
                  </a:lnTo>
                  <a:lnTo>
                    <a:pt x="212" y="274"/>
                  </a:lnTo>
                  <a:lnTo>
                    <a:pt x="212" y="274"/>
                  </a:lnTo>
                  <a:lnTo>
                    <a:pt x="212" y="274"/>
                  </a:lnTo>
                  <a:lnTo>
                    <a:pt x="212" y="274"/>
                  </a:lnTo>
                  <a:lnTo>
                    <a:pt x="212" y="279"/>
                  </a:lnTo>
                  <a:lnTo>
                    <a:pt x="212" y="274"/>
                  </a:lnTo>
                  <a:lnTo>
                    <a:pt x="212" y="274"/>
                  </a:lnTo>
                  <a:lnTo>
                    <a:pt x="208" y="274"/>
                  </a:lnTo>
                  <a:lnTo>
                    <a:pt x="212" y="274"/>
                  </a:lnTo>
                  <a:lnTo>
                    <a:pt x="208" y="274"/>
                  </a:lnTo>
                  <a:lnTo>
                    <a:pt x="208" y="274"/>
                  </a:lnTo>
                  <a:lnTo>
                    <a:pt x="208" y="270"/>
                  </a:lnTo>
                  <a:lnTo>
                    <a:pt x="208" y="270"/>
                  </a:lnTo>
                  <a:lnTo>
                    <a:pt x="208" y="270"/>
                  </a:lnTo>
                  <a:lnTo>
                    <a:pt x="208" y="270"/>
                  </a:lnTo>
                  <a:lnTo>
                    <a:pt x="208" y="270"/>
                  </a:lnTo>
                  <a:lnTo>
                    <a:pt x="208" y="270"/>
                  </a:lnTo>
                  <a:lnTo>
                    <a:pt x="208" y="270"/>
                  </a:lnTo>
                  <a:lnTo>
                    <a:pt x="208" y="270"/>
                  </a:lnTo>
                  <a:lnTo>
                    <a:pt x="212" y="270"/>
                  </a:lnTo>
                  <a:lnTo>
                    <a:pt x="212" y="270"/>
                  </a:lnTo>
                  <a:lnTo>
                    <a:pt x="212" y="270"/>
                  </a:lnTo>
                  <a:lnTo>
                    <a:pt x="212" y="270"/>
                  </a:lnTo>
                  <a:lnTo>
                    <a:pt x="212" y="274"/>
                  </a:lnTo>
                  <a:lnTo>
                    <a:pt x="216" y="270"/>
                  </a:lnTo>
                  <a:lnTo>
                    <a:pt x="212" y="270"/>
                  </a:lnTo>
                  <a:lnTo>
                    <a:pt x="216" y="270"/>
                  </a:lnTo>
                  <a:lnTo>
                    <a:pt x="216" y="265"/>
                  </a:lnTo>
                  <a:lnTo>
                    <a:pt x="216" y="265"/>
                  </a:lnTo>
                  <a:lnTo>
                    <a:pt x="216" y="265"/>
                  </a:lnTo>
                  <a:lnTo>
                    <a:pt x="216" y="261"/>
                  </a:lnTo>
                  <a:lnTo>
                    <a:pt x="216" y="261"/>
                  </a:lnTo>
                  <a:lnTo>
                    <a:pt x="221" y="257"/>
                  </a:lnTo>
                  <a:lnTo>
                    <a:pt x="221" y="257"/>
                  </a:lnTo>
                  <a:lnTo>
                    <a:pt x="221" y="252"/>
                  </a:lnTo>
                  <a:lnTo>
                    <a:pt x="221" y="248"/>
                  </a:lnTo>
                  <a:lnTo>
                    <a:pt x="221" y="248"/>
                  </a:lnTo>
                  <a:lnTo>
                    <a:pt x="221" y="248"/>
                  </a:lnTo>
                  <a:lnTo>
                    <a:pt x="221" y="243"/>
                  </a:lnTo>
                  <a:lnTo>
                    <a:pt x="225" y="239"/>
                  </a:lnTo>
                  <a:lnTo>
                    <a:pt x="225" y="239"/>
                  </a:lnTo>
                  <a:lnTo>
                    <a:pt x="225" y="239"/>
                  </a:lnTo>
                  <a:lnTo>
                    <a:pt x="225" y="234"/>
                  </a:lnTo>
                  <a:lnTo>
                    <a:pt x="225" y="230"/>
                  </a:lnTo>
                  <a:lnTo>
                    <a:pt x="225" y="230"/>
                  </a:lnTo>
                  <a:lnTo>
                    <a:pt x="230" y="230"/>
                  </a:lnTo>
                  <a:lnTo>
                    <a:pt x="230" y="226"/>
                  </a:lnTo>
                  <a:lnTo>
                    <a:pt x="230" y="226"/>
                  </a:lnTo>
                  <a:lnTo>
                    <a:pt x="230" y="221"/>
                  </a:lnTo>
                  <a:lnTo>
                    <a:pt x="234" y="221"/>
                  </a:lnTo>
                  <a:lnTo>
                    <a:pt x="234" y="221"/>
                  </a:lnTo>
                  <a:lnTo>
                    <a:pt x="234" y="221"/>
                  </a:lnTo>
                  <a:lnTo>
                    <a:pt x="234" y="221"/>
                  </a:lnTo>
                  <a:lnTo>
                    <a:pt x="234" y="221"/>
                  </a:lnTo>
                  <a:lnTo>
                    <a:pt x="234" y="21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05" name="Freeform 37"/>
            <p:cNvSpPr>
              <a:spLocks/>
            </p:cNvSpPr>
            <p:nvPr/>
          </p:nvSpPr>
          <p:spPr bwMode="auto">
            <a:xfrm>
              <a:off x="3836988" y="4808538"/>
              <a:ext cx="569912" cy="344488"/>
            </a:xfrm>
            <a:custGeom>
              <a:avLst/>
              <a:gdLst>
                <a:gd name="T0" fmla="*/ 350 w 359"/>
                <a:gd name="T1" fmla="*/ 36 h 217"/>
                <a:gd name="T2" fmla="*/ 337 w 359"/>
                <a:gd name="T3" fmla="*/ 27 h 217"/>
                <a:gd name="T4" fmla="*/ 328 w 359"/>
                <a:gd name="T5" fmla="*/ 18 h 217"/>
                <a:gd name="T6" fmla="*/ 319 w 359"/>
                <a:gd name="T7" fmla="*/ 13 h 217"/>
                <a:gd name="T8" fmla="*/ 297 w 359"/>
                <a:gd name="T9" fmla="*/ 18 h 217"/>
                <a:gd name="T10" fmla="*/ 284 w 359"/>
                <a:gd name="T11" fmla="*/ 0 h 217"/>
                <a:gd name="T12" fmla="*/ 266 w 359"/>
                <a:gd name="T13" fmla="*/ 5 h 217"/>
                <a:gd name="T14" fmla="*/ 235 w 359"/>
                <a:gd name="T15" fmla="*/ 5 h 217"/>
                <a:gd name="T16" fmla="*/ 226 w 359"/>
                <a:gd name="T17" fmla="*/ 18 h 217"/>
                <a:gd name="T18" fmla="*/ 213 w 359"/>
                <a:gd name="T19" fmla="*/ 27 h 217"/>
                <a:gd name="T20" fmla="*/ 195 w 359"/>
                <a:gd name="T21" fmla="*/ 31 h 217"/>
                <a:gd name="T22" fmla="*/ 186 w 359"/>
                <a:gd name="T23" fmla="*/ 27 h 217"/>
                <a:gd name="T24" fmla="*/ 177 w 359"/>
                <a:gd name="T25" fmla="*/ 40 h 217"/>
                <a:gd name="T26" fmla="*/ 142 w 359"/>
                <a:gd name="T27" fmla="*/ 44 h 217"/>
                <a:gd name="T28" fmla="*/ 142 w 359"/>
                <a:gd name="T29" fmla="*/ 58 h 217"/>
                <a:gd name="T30" fmla="*/ 84 w 359"/>
                <a:gd name="T31" fmla="*/ 62 h 217"/>
                <a:gd name="T32" fmla="*/ 76 w 359"/>
                <a:gd name="T33" fmla="*/ 53 h 217"/>
                <a:gd name="T34" fmla="*/ 53 w 359"/>
                <a:gd name="T35" fmla="*/ 49 h 217"/>
                <a:gd name="T36" fmla="*/ 49 w 359"/>
                <a:gd name="T37" fmla="*/ 58 h 217"/>
                <a:gd name="T38" fmla="*/ 45 w 359"/>
                <a:gd name="T39" fmla="*/ 71 h 217"/>
                <a:gd name="T40" fmla="*/ 27 w 359"/>
                <a:gd name="T41" fmla="*/ 67 h 217"/>
                <a:gd name="T42" fmla="*/ 18 w 359"/>
                <a:gd name="T43" fmla="*/ 71 h 217"/>
                <a:gd name="T44" fmla="*/ 31 w 359"/>
                <a:gd name="T45" fmla="*/ 84 h 217"/>
                <a:gd name="T46" fmla="*/ 18 w 359"/>
                <a:gd name="T47" fmla="*/ 98 h 217"/>
                <a:gd name="T48" fmla="*/ 18 w 359"/>
                <a:gd name="T49" fmla="*/ 106 h 217"/>
                <a:gd name="T50" fmla="*/ 22 w 359"/>
                <a:gd name="T51" fmla="*/ 115 h 217"/>
                <a:gd name="T52" fmla="*/ 22 w 359"/>
                <a:gd name="T53" fmla="*/ 124 h 217"/>
                <a:gd name="T54" fmla="*/ 9 w 359"/>
                <a:gd name="T55" fmla="*/ 124 h 217"/>
                <a:gd name="T56" fmla="*/ 0 w 359"/>
                <a:gd name="T57" fmla="*/ 133 h 217"/>
                <a:gd name="T58" fmla="*/ 14 w 359"/>
                <a:gd name="T59" fmla="*/ 137 h 217"/>
                <a:gd name="T60" fmla="*/ 14 w 359"/>
                <a:gd name="T61" fmla="*/ 146 h 217"/>
                <a:gd name="T62" fmla="*/ 22 w 359"/>
                <a:gd name="T63" fmla="*/ 160 h 217"/>
                <a:gd name="T64" fmla="*/ 36 w 359"/>
                <a:gd name="T65" fmla="*/ 168 h 217"/>
                <a:gd name="T66" fmla="*/ 40 w 359"/>
                <a:gd name="T67" fmla="*/ 173 h 217"/>
                <a:gd name="T68" fmla="*/ 49 w 359"/>
                <a:gd name="T69" fmla="*/ 186 h 217"/>
                <a:gd name="T70" fmla="*/ 62 w 359"/>
                <a:gd name="T71" fmla="*/ 199 h 217"/>
                <a:gd name="T72" fmla="*/ 71 w 359"/>
                <a:gd name="T73" fmla="*/ 204 h 217"/>
                <a:gd name="T74" fmla="*/ 84 w 359"/>
                <a:gd name="T75" fmla="*/ 213 h 217"/>
                <a:gd name="T76" fmla="*/ 106 w 359"/>
                <a:gd name="T77" fmla="*/ 217 h 217"/>
                <a:gd name="T78" fmla="*/ 120 w 359"/>
                <a:gd name="T79" fmla="*/ 217 h 217"/>
                <a:gd name="T80" fmla="*/ 133 w 359"/>
                <a:gd name="T81" fmla="*/ 208 h 217"/>
                <a:gd name="T82" fmla="*/ 142 w 359"/>
                <a:gd name="T83" fmla="*/ 208 h 217"/>
                <a:gd name="T84" fmla="*/ 151 w 359"/>
                <a:gd name="T85" fmla="*/ 204 h 217"/>
                <a:gd name="T86" fmla="*/ 168 w 359"/>
                <a:gd name="T87" fmla="*/ 199 h 217"/>
                <a:gd name="T88" fmla="*/ 177 w 359"/>
                <a:gd name="T89" fmla="*/ 195 h 217"/>
                <a:gd name="T90" fmla="*/ 191 w 359"/>
                <a:gd name="T91" fmla="*/ 186 h 217"/>
                <a:gd name="T92" fmla="*/ 213 w 359"/>
                <a:gd name="T93" fmla="*/ 186 h 217"/>
                <a:gd name="T94" fmla="*/ 239 w 359"/>
                <a:gd name="T95" fmla="*/ 191 h 217"/>
                <a:gd name="T96" fmla="*/ 244 w 359"/>
                <a:gd name="T97" fmla="*/ 182 h 217"/>
                <a:gd name="T98" fmla="*/ 257 w 359"/>
                <a:gd name="T99" fmla="*/ 182 h 217"/>
                <a:gd name="T100" fmla="*/ 266 w 359"/>
                <a:gd name="T101" fmla="*/ 177 h 217"/>
                <a:gd name="T102" fmla="*/ 275 w 359"/>
                <a:gd name="T103" fmla="*/ 155 h 217"/>
                <a:gd name="T104" fmla="*/ 284 w 359"/>
                <a:gd name="T105" fmla="*/ 142 h 217"/>
                <a:gd name="T106" fmla="*/ 288 w 359"/>
                <a:gd name="T107" fmla="*/ 133 h 217"/>
                <a:gd name="T108" fmla="*/ 292 w 359"/>
                <a:gd name="T109" fmla="*/ 120 h 217"/>
                <a:gd name="T110" fmla="*/ 301 w 359"/>
                <a:gd name="T111" fmla="*/ 106 h 217"/>
                <a:gd name="T112" fmla="*/ 310 w 359"/>
                <a:gd name="T113" fmla="*/ 84 h 217"/>
                <a:gd name="T114" fmla="*/ 323 w 359"/>
                <a:gd name="T115" fmla="*/ 71 h 217"/>
                <a:gd name="T116" fmla="*/ 332 w 359"/>
                <a:gd name="T117" fmla="*/ 62 h 217"/>
                <a:gd name="T118" fmla="*/ 350 w 359"/>
                <a:gd name="T119" fmla="*/ 58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9" h="217">
                  <a:moveTo>
                    <a:pt x="354" y="49"/>
                  </a:moveTo>
                  <a:lnTo>
                    <a:pt x="354" y="49"/>
                  </a:lnTo>
                  <a:lnTo>
                    <a:pt x="354" y="44"/>
                  </a:lnTo>
                  <a:lnTo>
                    <a:pt x="354" y="44"/>
                  </a:lnTo>
                  <a:lnTo>
                    <a:pt x="359" y="44"/>
                  </a:lnTo>
                  <a:lnTo>
                    <a:pt x="359" y="44"/>
                  </a:lnTo>
                  <a:lnTo>
                    <a:pt x="359" y="40"/>
                  </a:lnTo>
                  <a:lnTo>
                    <a:pt x="354" y="40"/>
                  </a:lnTo>
                  <a:lnTo>
                    <a:pt x="354" y="40"/>
                  </a:lnTo>
                  <a:lnTo>
                    <a:pt x="354" y="40"/>
                  </a:lnTo>
                  <a:lnTo>
                    <a:pt x="350" y="36"/>
                  </a:lnTo>
                  <a:lnTo>
                    <a:pt x="350" y="36"/>
                  </a:lnTo>
                  <a:lnTo>
                    <a:pt x="350" y="36"/>
                  </a:lnTo>
                  <a:lnTo>
                    <a:pt x="350" y="36"/>
                  </a:lnTo>
                  <a:lnTo>
                    <a:pt x="350" y="36"/>
                  </a:lnTo>
                  <a:lnTo>
                    <a:pt x="350" y="36"/>
                  </a:lnTo>
                  <a:lnTo>
                    <a:pt x="346" y="36"/>
                  </a:lnTo>
                  <a:lnTo>
                    <a:pt x="346" y="36"/>
                  </a:lnTo>
                  <a:lnTo>
                    <a:pt x="346" y="36"/>
                  </a:lnTo>
                  <a:lnTo>
                    <a:pt x="341" y="36"/>
                  </a:lnTo>
                  <a:lnTo>
                    <a:pt x="341" y="36"/>
                  </a:lnTo>
                  <a:lnTo>
                    <a:pt x="341" y="31"/>
                  </a:lnTo>
                  <a:lnTo>
                    <a:pt x="341" y="31"/>
                  </a:lnTo>
                  <a:lnTo>
                    <a:pt x="337" y="27"/>
                  </a:lnTo>
                  <a:lnTo>
                    <a:pt x="337" y="27"/>
                  </a:lnTo>
                  <a:lnTo>
                    <a:pt x="337" y="27"/>
                  </a:lnTo>
                  <a:lnTo>
                    <a:pt x="337" y="27"/>
                  </a:lnTo>
                  <a:lnTo>
                    <a:pt x="337" y="27"/>
                  </a:lnTo>
                  <a:lnTo>
                    <a:pt x="337" y="27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28" y="22"/>
                  </a:lnTo>
                  <a:lnTo>
                    <a:pt x="328" y="22"/>
                  </a:lnTo>
                  <a:lnTo>
                    <a:pt x="328" y="18"/>
                  </a:lnTo>
                  <a:lnTo>
                    <a:pt x="328" y="18"/>
                  </a:lnTo>
                  <a:lnTo>
                    <a:pt x="328" y="18"/>
                  </a:lnTo>
                  <a:lnTo>
                    <a:pt x="328" y="18"/>
                  </a:lnTo>
                  <a:lnTo>
                    <a:pt x="328" y="18"/>
                  </a:lnTo>
                  <a:lnTo>
                    <a:pt x="323" y="18"/>
                  </a:lnTo>
                  <a:lnTo>
                    <a:pt x="323" y="18"/>
                  </a:lnTo>
                  <a:lnTo>
                    <a:pt x="328" y="13"/>
                  </a:lnTo>
                  <a:lnTo>
                    <a:pt x="323" y="13"/>
                  </a:lnTo>
                  <a:lnTo>
                    <a:pt x="323" y="13"/>
                  </a:lnTo>
                  <a:lnTo>
                    <a:pt x="319" y="13"/>
                  </a:lnTo>
                  <a:lnTo>
                    <a:pt x="319" y="13"/>
                  </a:lnTo>
                  <a:lnTo>
                    <a:pt x="319" y="13"/>
                  </a:lnTo>
                  <a:lnTo>
                    <a:pt x="319" y="13"/>
                  </a:lnTo>
                  <a:lnTo>
                    <a:pt x="319" y="13"/>
                  </a:lnTo>
                  <a:lnTo>
                    <a:pt x="319" y="13"/>
                  </a:lnTo>
                  <a:lnTo>
                    <a:pt x="319" y="13"/>
                  </a:lnTo>
                  <a:lnTo>
                    <a:pt x="315" y="13"/>
                  </a:lnTo>
                  <a:lnTo>
                    <a:pt x="315" y="13"/>
                  </a:lnTo>
                  <a:lnTo>
                    <a:pt x="315" y="13"/>
                  </a:lnTo>
                  <a:lnTo>
                    <a:pt x="310" y="13"/>
                  </a:lnTo>
                  <a:lnTo>
                    <a:pt x="310" y="18"/>
                  </a:lnTo>
                  <a:lnTo>
                    <a:pt x="306" y="18"/>
                  </a:lnTo>
                  <a:lnTo>
                    <a:pt x="306" y="18"/>
                  </a:lnTo>
                  <a:lnTo>
                    <a:pt x="306" y="18"/>
                  </a:lnTo>
                  <a:lnTo>
                    <a:pt x="301" y="18"/>
                  </a:lnTo>
                  <a:lnTo>
                    <a:pt x="301" y="18"/>
                  </a:lnTo>
                  <a:lnTo>
                    <a:pt x="297" y="18"/>
                  </a:lnTo>
                  <a:lnTo>
                    <a:pt x="297" y="18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2" y="13"/>
                  </a:lnTo>
                  <a:lnTo>
                    <a:pt x="292" y="9"/>
                  </a:lnTo>
                  <a:lnTo>
                    <a:pt x="292" y="9"/>
                  </a:lnTo>
                  <a:lnTo>
                    <a:pt x="288" y="5"/>
                  </a:lnTo>
                  <a:lnTo>
                    <a:pt x="288" y="5"/>
                  </a:lnTo>
                  <a:lnTo>
                    <a:pt x="288" y="5"/>
                  </a:lnTo>
                  <a:lnTo>
                    <a:pt x="288" y="5"/>
                  </a:lnTo>
                  <a:lnTo>
                    <a:pt x="288" y="5"/>
                  </a:lnTo>
                  <a:lnTo>
                    <a:pt x="284" y="5"/>
                  </a:lnTo>
                  <a:lnTo>
                    <a:pt x="284" y="5"/>
                  </a:lnTo>
                  <a:lnTo>
                    <a:pt x="284" y="5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75" y="0"/>
                  </a:lnTo>
                  <a:lnTo>
                    <a:pt x="275" y="0"/>
                  </a:lnTo>
                  <a:lnTo>
                    <a:pt x="275" y="5"/>
                  </a:lnTo>
                  <a:lnTo>
                    <a:pt x="275" y="5"/>
                  </a:lnTo>
                  <a:lnTo>
                    <a:pt x="275" y="5"/>
                  </a:lnTo>
                  <a:lnTo>
                    <a:pt x="275" y="5"/>
                  </a:lnTo>
                  <a:lnTo>
                    <a:pt x="275" y="5"/>
                  </a:lnTo>
                  <a:lnTo>
                    <a:pt x="270" y="5"/>
                  </a:lnTo>
                  <a:lnTo>
                    <a:pt x="270" y="5"/>
                  </a:lnTo>
                  <a:lnTo>
                    <a:pt x="270" y="5"/>
                  </a:lnTo>
                  <a:lnTo>
                    <a:pt x="270" y="5"/>
                  </a:lnTo>
                  <a:lnTo>
                    <a:pt x="266" y="5"/>
                  </a:lnTo>
                  <a:lnTo>
                    <a:pt x="261" y="5"/>
                  </a:lnTo>
                  <a:lnTo>
                    <a:pt x="261" y="5"/>
                  </a:lnTo>
                  <a:lnTo>
                    <a:pt x="261" y="5"/>
                  </a:lnTo>
                  <a:lnTo>
                    <a:pt x="257" y="5"/>
                  </a:lnTo>
                  <a:lnTo>
                    <a:pt x="257" y="5"/>
                  </a:lnTo>
                  <a:lnTo>
                    <a:pt x="257" y="5"/>
                  </a:lnTo>
                  <a:lnTo>
                    <a:pt x="253" y="5"/>
                  </a:lnTo>
                  <a:lnTo>
                    <a:pt x="253" y="0"/>
                  </a:lnTo>
                  <a:lnTo>
                    <a:pt x="253" y="0"/>
                  </a:lnTo>
                  <a:lnTo>
                    <a:pt x="248" y="0"/>
                  </a:lnTo>
                  <a:lnTo>
                    <a:pt x="248" y="0"/>
                  </a:lnTo>
                  <a:lnTo>
                    <a:pt x="248" y="0"/>
                  </a:lnTo>
                  <a:lnTo>
                    <a:pt x="235" y="5"/>
                  </a:lnTo>
                  <a:lnTo>
                    <a:pt x="235" y="5"/>
                  </a:lnTo>
                  <a:lnTo>
                    <a:pt x="230" y="5"/>
                  </a:lnTo>
                  <a:lnTo>
                    <a:pt x="230" y="5"/>
                  </a:lnTo>
                  <a:lnTo>
                    <a:pt x="230" y="5"/>
                  </a:lnTo>
                  <a:lnTo>
                    <a:pt x="230" y="5"/>
                  </a:lnTo>
                  <a:lnTo>
                    <a:pt x="230" y="5"/>
                  </a:lnTo>
                  <a:lnTo>
                    <a:pt x="230" y="9"/>
                  </a:lnTo>
                  <a:lnTo>
                    <a:pt x="230" y="9"/>
                  </a:lnTo>
                  <a:lnTo>
                    <a:pt x="230" y="9"/>
                  </a:lnTo>
                  <a:lnTo>
                    <a:pt x="230" y="9"/>
                  </a:lnTo>
                  <a:lnTo>
                    <a:pt x="230" y="9"/>
                  </a:lnTo>
                  <a:lnTo>
                    <a:pt x="230" y="9"/>
                  </a:lnTo>
                  <a:lnTo>
                    <a:pt x="230" y="13"/>
                  </a:lnTo>
                  <a:lnTo>
                    <a:pt x="226" y="13"/>
                  </a:lnTo>
                  <a:lnTo>
                    <a:pt x="226" y="18"/>
                  </a:lnTo>
                  <a:lnTo>
                    <a:pt x="226" y="22"/>
                  </a:lnTo>
                  <a:lnTo>
                    <a:pt x="222" y="22"/>
                  </a:lnTo>
                  <a:lnTo>
                    <a:pt x="222" y="27"/>
                  </a:lnTo>
                  <a:lnTo>
                    <a:pt x="222" y="27"/>
                  </a:lnTo>
                  <a:lnTo>
                    <a:pt x="222" y="27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7"/>
                  </a:lnTo>
                  <a:lnTo>
                    <a:pt x="217" y="27"/>
                  </a:lnTo>
                  <a:lnTo>
                    <a:pt x="213" y="27"/>
                  </a:lnTo>
                  <a:lnTo>
                    <a:pt x="213" y="27"/>
                  </a:lnTo>
                  <a:lnTo>
                    <a:pt x="213" y="27"/>
                  </a:lnTo>
                  <a:lnTo>
                    <a:pt x="213" y="27"/>
                  </a:lnTo>
                  <a:lnTo>
                    <a:pt x="213" y="27"/>
                  </a:lnTo>
                  <a:lnTo>
                    <a:pt x="213" y="27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08" y="31"/>
                  </a:lnTo>
                  <a:lnTo>
                    <a:pt x="208" y="31"/>
                  </a:lnTo>
                  <a:lnTo>
                    <a:pt x="208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6"/>
                  </a:lnTo>
                  <a:lnTo>
                    <a:pt x="199" y="36"/>
                  </a:lnTo>
                  <a:lnTo>
                    <a:pt x="199" y="36"/>
                  </a:lnTo>
                  <a:lnTo>
                    <a:pt x="199" y="31"/>
                  </a:lnTo>
                  <a:lnTo>
                    <a:pt x="195" y="31"/>
                  </a:lnTo>
                  <a:lnTo>
                    <a:pt x="195" y="36"/>
                  </a:lnTo>
                  <a:lnTo>
                    <a:pt x="195" y="36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1" y="31"/>
                  </a:lnTo>
                  <a:lnTo>
                    <a:pt x="191" y="31"/>
                  </a:lnTo>
                  <a:lnTo>
                    <a:pt x="191" y="31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2" y="27"/>
                  </a:lnTo>
                  <a:lnTo>
                    <a:pt x="182" y="31"/>
                  </a:lnTo>
                  <a:lnTo>
                    <a:pt x="182" y="31"/>
                  </a:lnTo>
                  <a:lnTo>
                    <a:pt x="177" y="36"/>
                  </a:lnTo>
                  <a:lnTo>
                    <a:pt x="177" y="36"/>
                  </a:lnTo>
                  <a:lnTo>
                    <a:pt x="177" y="36"/>
                  </a:lnTo>
                  <a:lnTo>
                    <a:pt x="177" y="36"/>
                  </a:lnTo>
                  <a:lnTo>
                    <a:pt x="177" y="36"/>
                  </a:lnTo>
                  <a:lnTo>
                    <a:pt x="177" y="36"/>
                  </a:lnTo>
                  <a:lnTo>
                    <a:pt x="177" y="36"/>
                  </a:lnTo>
                  <a:lnTo>
                    <a:pt x="177" y="36"/>
                  </a:lnTo>
                  <a:lnTo>
                    <a:pt x="177" y="36"/>
                  </a:lnTo>
                  <a:lnTo>
                    <a:pt x="177" y="36"/>
                  </a:lnTo>
                  <a:lnTo>
                    <a:pt x="177" y="40"/>
                  </a:lnTo>
                  <a:lnTo>
                    <a:pt x="168" y="40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60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1" y="40"/>
                  </a:lnTo>
                  <a:lnTo>
                    <a:pt x="151" y="40"/>
                  </a:lnTo>
                  <a:lnTo>
                    <a:pt x="146" y="40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42" y="49"/>
                  </a:lnTo>
                  <a:lnTo>
                    <a:pt x="142" y="49"/>
                  </a:lnTo>
                  <a:lnTo>
                    <a:pt x="142" y="49"/>
                  </a:lnTo>
                  <a:lnTo>
                    <a:pt x="142" y="49"/>
                  </a:lnTo>
                  <a:lnTo>
                    <a:pt x="142" y="49"/>
                  </a:lnTo>
                  <a:lnTo>
                    <a:pt x="142" y="53"/>
                  </a:lnTo>
                  <a:lnTo>
                    <a:pt x="142" y="53"/>
                  </a:lnTo>
                  <a:lnTo>
                    <a:pt x="142" y="53"/>
                  </a:lnTo>
                  <a:lnTo>
                    <a:pt x="142" y="58"/>
                  </a:lnTo>
                  <a:lnTo>
                    <a:pt x="142" y="58"/>
                  </a:lnTo>
                  <a:lnTo>
                    <a:pt x="142" y="58"/>
                  </a:lnTo>
                  <a:lnTo>
                    <a:pt x="142" y="58"/>
                  </a:lnTo>
                  <a:lnTo>
                    <a:pt x="142" y="58"/>
                  </a:lnTo>
                  <a:lnTo>
                    <a:pt x="142" y="58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33" y="62"/>
                  </a:lnTo>
                  <a:lnTo>
                    <a:pt x="133" y="62"/>
                  </a:lnTo>
                  <a:lnTo>
                    <a:pt x="129" y="62"/>
                  </a:lnTo>
                  <a:lnTo>
                    <a:pt x="120" y="62"/>
                  </a:lnTo>
                  <a:lnTo>
                    <a:pt x="115" y="62"/>
                  </a:lnTo>
                  <a:lnTo>
                    <a:pt x="115" y="67"/>
                  </a:lnTo>
                  <a:lnTo>
                    <a:pt x="106" y="62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89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6" y="58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1" y="53"/>
                  </a:lnTo>
                  <a:lnTo>
                    <a:pt x="67" y="49"/>
                  </a:lnTo>
                  <a:lnTo>
                    <a:pt x="67" y="44"/>
                  </a:lnTo>
                  <a:lnTo>
                    <a:pt x="62" y="44"/>
                  </a:lnTo>
                  <a:lnTo>
                    <a:pt x="62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3" y="49"/>
                  </a:lnTo>
                  <a:lnTo>
                    <a:pt x="53" y="49"/>
                  </a:lnTo>
                  <a:lnTo>
                    <a:pt x="53" y="49"/>
                  </a:lnTo>
                  <a:lnTo>
                    <a:pt x="53" y="49"/>
                  </a:lnTo>
                  <a:lnTo>
                    <a:pt x="53" y="49"/>
                  </a:lnTo>
                  <a:lnTo>
                    <a:pt x="53" y="49"/>
                  </a:lnTo>
                  <a:lnTo>
                    <a:pt x="53" y="49"/>
                  </a:lnTo>
                  <a:lnTo>
                    <a:pt x="53" y="49"/>
                  </a:lnTo>
                  <a:lnTo>
                    <a:pt x="53" y="49"/>
                  </a:lnTo>
                  <a:lnTo>
                    <a:pt x="53" y="49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49" y="53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53" y="67"/>
                  </a:lnTo>
                  <a:lnTo>
                    <a:pt x="53" y="67"/>
                  </a:lnTo>
                  <a:lnTo>
                    <a:pt x="49" y="67"/>
                  </a:lnTo>
                  <a:lnTo>
                    <a:pt x="49" y="71"/>
                  </a:lnTo>
                  <a:lnTo>
                    <a:pt x="45" y="71"/>
                  </a:lnTo>
                  <a:lnTo>
                    <a:pt x="40" y="71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1" y="71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2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22" y="75"/>
                  </a:lnTo>
                  <a:lnTo>
                    <a:pt x="22" y="71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31" y="75"/>
                  </a:lnTo>
                  <a:lnTo>
                    <a:pt x="31" y="80"/>
                  </a:lnTo>
                  <a:lnTo>
                    <a:pt x="31" y="80"/>
                  </a:lnTo>
                  <a:lnTo>
                    <a:pt x="31" y="80"/>
                  </a:lnTo>
                  <a:lnTo>
                    <a:pt x="31" y="80"/>
                  </a:lnTo>
                  <a:lnTo>
                    <a:pt x="31" y="80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27" y="84"/>
                  </a:lnTo>
                  <a:lnTo>
                    <a:pt x="31" y="89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2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8" y="102"/>
                  </a:lnTo>
                  <a:lnTo>
                    <a:pt x="22" y="102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18" y="111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8" y="120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22" y="124"/>
                  </a:lnTo>
                  <a:lnTo>
                    <a:pt x="22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9"/>
                  </a:lnTo>
                  <a:lnTo>
                    <a:pt x="9" y="129"/>
                  </a:lnTo>
                  <a:lnTo>
                    <a:pt x="9" y="129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5" y="133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9" y="137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6"/>
                  </a:lnTo>
                  <a:lnTo>
                    <a:pt x="14" y="146"/>
                  </a:lnTo>
                  <a:lnTo>
                    <a:pt x="14" y="146"/>
                  </a:lnTo>
                  <a:lnTo>
                    <a:pt x="14" y="146"/>
                  </a:lnTo>
                  <a:lnTo>
                    <a:pt x="14" y="146"/>
                  </a:lnTo>
                  <a:lnTo>
                    <a:pt x="14" y="146"/>
                  </a:lnTo>
                  <a:lnTo>
                    <a:pt x="14" y="146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8" y="151"/>
                  </a:lnTo>
                  <a:lnTo>
                    <a:pt x="18" y="151"/>
                  </a:lnTo>
                  <a:lnTo>
                    <a:pt x="18" y="151"/>
                  </a:lnTo>
                  <a:lnTo>
                    <a:pt x="14" y="151"/>
                  </a:lnTo>
                  <a:lnTo>
                    <a:pt x="14" y="151"/>
                  </a:lnTo>
                  <a:lnTo>
                    <a:pt x="14" y="151"/>
                  </a:lnTo>
                  <a:lnTo>
                    <a:pt x="14" y="151"/>
                  </a:lnTo>
                  <a:lnTo>
                    <a:pt x="18" y="151"/>
                  </a:lnTo>
                  <a:lnTo>
                    <a:pt x="18" y="155"/>
                  </a:lnTo>
                  <a:lnTo>
                    <a:pt x="18" y="155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31" y="168"/>
                  </a:lnTo>
                  <a:lnTo>
                    <a:pt x="31" y="168"/>
                  </a:lnTo>
                  <a:lnTo>
                    <a:pt x="36" y="168"/>
                  </a:lnTo>
                  <a:lnTo>
                    <a:pt x="36" y="168"/>
                  </a:lnTo>
                  <a:lnTo>
                    <a:pt x="36" y="168"/>
                  </a:lnTo>
                  <a:lnTo>
                    <a:pt x="36" y="168"/>
                  </a:lnTo>
                  <a:lnTo>
                    <a:pt x="36" y="168"/>
                  </a:lnTo>
                  <a:lnTo>
                    <a:pt x="36" y="168"/>
                  </a:lnTo>
                  <a:lnTo>
                    <a:pt x="36" y="168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0" y="173"/>
                  </a:lnTo>
                  <a:lnTo>
                    <a:pt x="40" y="173"/>
                  </a:lnTo>
                  <a:lnTo>
                    <a:pt x="40" y="173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0" y="173"/>
                  </a:lnTo>
                  <a:lnTo>
                    <a:pt x="40" y="173"/>
                  </a:lnTo>
                  <a:lnTo>
                    <a:pt x="40" y="173"/>
                  </a:lnTo>
                  <a:lnTo>
                    <a:pt x="40" y="173"/>
                  </a:lnTo>
                  <a:lnTo>
                    <a:pt x="40" y="173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53" y="191"/>
                  </a:lnTo>
                  <a:lnTo>
                    <a:pt x="53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62" y="195"/>
                  </a:lnTo>
                  <a:lnTo>
                    <a:pt x="62" y="195"/>
                  </a:lnTo>
                  <a:lnTo>
                    <a:pt x="62" y="195"/>
                  </a:lnTo>
                  <a:lnTo>
                    <a:pt x="62" y="199"/>
                  </a:lnTo>
                  <a:lnTo>
                    <a:pt x="62" y="199"/>
                  </a:lnTo>
                  <a:lnTo>
                    <a:pt x="62" y="199"/>
                  </a:lnTo>
                  <a:lnTo>
                    <a:pt x="62" y="199"/>
                  </a:lnTo>
                  <a:lnTo>
                    <a:pt x="67" y="199"/>
                  </a:lnTo>
                  <a:lnTo>
                    <a:pt x="62" y="199"/>
                  </a:lnTo>
                  <a:lnTo>
                    <a:pt x="62" y="199"/>
                  </a:lnTo>
                  <a:lnTo>
                    <a:pt x="62" y="199"/>
                  </a:lnTo>
                  <a:lnTo>
                    <a:pt x="62" y="199"/>
                  </a:lnTo>
                  <a:lnTo>
                    <a:pt x="62" y="199"/>
                  </a:lnTo>
                  <a:lnTo>
                    <a:pt x="62" y="199"/>
                  </a:lnTo>
                  <a:lnTo>
                    <a:pt x="67" y="199"/>
                  </a:lnTo>
                  <a:lnTo>
                    <a:pt x="67" y="199"/>
                  </a:lnTo>
                  <a:lnTo>
                    <a:pt x="67" y="199"/>
                  </a:lnTo>
                  <a:lnTo>
                    <a:pt x="67" y="204"/>
                  </a:lnTo>
                  <a:lnTo>
                    <a:pt x="67" y="204"/>
                  </a:lnTo>
                  <a:lnTo>
                    <a:pt x="67" y="204"/>
                  </a:lnTo>
                  <a:lnTo>
                    <a:pt x="67" y="204"/>
                  </a:lnTo>
                  <a:lnTo>
                    <a:pt x="67" y="204"/>
                  </a:lnTo>
                  <a:lnTo>
                    <a:pt x="71" y="204"/>
                  </a:lnTo>
                  <a:lnTo>
                    <a:pt x="71" y="204"/>
                  </a:lnTo>
                  <a:lnTo>
                    <a:pt x="71" y="204"/>
                  </a:lnTo>
                  <a:lnTo>
                    <a:pt x="71" y="204"/>
                  </a:lnTo>
                  <a:lnTo>
                    <a:pt x="71" y="204"/>
                  </a:lnTo>
                  <a:lnTo>
                    <a:pt x="71" y="204"/>
                  </a:lnTo>
                  <a:lnTo>
                    <a:pt x="76" y="204"/>
                  </a:lnTo>
                  <a:lnTo>
                    <a:pt x="76" y="204"/>
                  </a:lnTo>
                  <a:lnTo>
                    <a:pt x="80" y="204"/>
                  </a:lnTo>
                  <a:lnTo>
                    <a:pt x="80" y="208"/>
                  </a:lnTo>
                  <a:lnTo>
                    <a:pt x="80" y="208"/>
                  </a:lnTo>
                  <a:lnTo>
                    <a:pt x="80" y="208"/>
                  </a:lnTo>
                  <a:lnTo>
                    <a:pt x="84" y="208"/>
                  </a:lnTo>
                  <a:lnTo>
                    <a:pt x="84" y="208"/>
                  </a:lnTo>
                  <a:lnTo>
                    <a:pt x="84" y="213"/>
                  </a:lnTo>
                  <a:lnTo>
                    <a:pt x="84" y="213"/>
                  </a:lnTo>
                  <a:lnTo>
                    <a:pt x="84" y="213"/>
                  </a:lnTo>
                  <a:lnTo>
                    <a:pt x="84" y="213"/>
                  </a:lnTo>
                  <a:lnTo>
                    <a:pt x="89" y="213"/>
                  </a:lnTo>
                  <a:lnTo>
                    <a:pt x="93" y="213"/>
                  </a:lnTo>
                  <a:lnTo>
                    <a:pt x="93" y="217"/>
                  </a:lnTo>
                  <a:lnTo>
                    <a:pt x="93" y="217"/>
                  </a:lnTo>
                  <a:lnTo>
                    <a:pt x="93" y="217"/>
                  </a:lnTo>
                  <a:lnTo>
                    <a:pt x="93" y="217"/>
                  </a:lnTo>
                  <a:lnTo>
                    <a:pt x="93" y="217"/>
                  </a:lnTo>
                  <a:lnTo>
                    <a:pt x="93" y="217"/>
                  </a:lnTo>
                  <a:lnTo>
                    <a:pt x="98" y="217"/>
                  </a:lnTo>
                  <a:lnTo>
                    <a:pt x="106" y="217"/>
                  </a:lnTo>
                  <a:lnTo>
                    <a:pt x="106" y="217"/>
                  </a:lnTo>
                  <a:lnTo>
                    <a:pt x="106" y="217"/>
                  </a:lnTo>
                  <a:lnTo>
                    <a:pt x="106" y="217"/>
                  </a:lnTo>
                  <a:lnTo>
                    <a:pt x="106" y="217"/>
                  </a:lnTo>
                  <a:lnTo>
                    <a:pt x="111" y="217"/>
                  </a:lnTo>
                  <a:lnTo>
                    <a:pt x="111" y="217"/>
                  </a:lnTo>
                  <a:lnTo>
                    <a:pt x="115" y="217"/>
                  </a:lnTo>
                  <a:lnTo>
                    <a:pt x="115" y="217"/>
                  </a:lnTo>
                  <a:lnTo>
                    <a:pt x="115" y="217"/>
                  </a:lnTo>
                  <a:lnTo>
                    <a:pt x="115" y="217"/>
                  </a:lnTo>
                  <a:lnTo>
                    <a:pt x="120" y="217"/>
                  </a:lnTo>
                  <a:lnTo>
                    <a:pt x="120" y="217"/>
                  </a:lnTo>
                  <a:lnTo>
                    <a:pt x="120" y="217"/>
                  </a:lnTo>
                  <a:lnTo>
                    <a:pt x="120" y="217"/>
                  </a:lnTo>
                  <a:lnTo>
                    <a:pt x="120" y="217"/>
                  </a:lnTo>
                  <a:lnTo>
                    <a:pt x="120" y="217"/>
                  </a:lnTo>
                  <a:lnTo>
                    <a:pt x="120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9" y="217"/>
                  </a:lnTo>
                  <a:lnTo>
                    <a:pt x="129" y="217"/>
                  </a:lnTo>
                  <a:lnTo>
                    <a:pt x="133" y="213"/>
                  </a:lnTo>
                  <a:lnTo>
                    <a:pt x="133" y="213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7" y="208"/>
                  </a:lnTo>
                  <a:lnTo>
                    <a:pt x="137" y="208"/>
                  </a:lnTo>
                  <a:lnTo>
                    <a:pt x="142" y="208"/>
                  </a:lnTo>
                  <a:lnTo>
                    <a:pt x="142" y="208"/>
                  </a:lnTo>
                  <a:lnTo>
                    <a:pt x="142" y="208"/>
                  </a:lnTo>
                  <a:lnTo>
                    <a:pt x="142" y="208"/>
                  </a:lnTo>
                  <a:lnTo>
                    <a:pt x="142" y="208"/>
                  </a:lnTo>
                  <a:lnTo>
                    <a:pt x="142" y="204"/>
                  </a:lnTo>
                  <a:lnTo>
                    <a:pt x="142" y="208"/>
                  </a:lnTo>
                  <a:lnTo>
                    <a:pt x="142" y="208"/>
                  </a:lnTo>
                  <a:lnTo>
                    <a:pt x="146" y="208"/>
                  </a:lnTo>
                  <a:lnTo>
                    <a:pt x="146" y="204"/>
                  </a:lnTo>
                  <a:lnTo>
                    <a:pt x="146" y="204"/>
                  </a:lnTo>
                  <a:lnTo>
                    <a:pt x="146" y="204"/>
                  </a:lnTo>
                  <a:lnTo>
                    <a:pt x="146" y="204"/>
                  </a:lnTo>
                  <a:lnTo>
                    <a:pt x="146" y="204"/>
                  </a:lnTo>
                  <a:lnTo>
                    <a:pt x="151" y="204"/>
                  </a:lnTo>
                  <a:lnTo>
                    <a:pt x="151" y="204"/>
                  </a:lnTo>
                  <a:lnTo>
                    <a:pt x="151" y="204"/>
                  </a:lnTo>
                  <a:lnTo>
                    <a:pt x="151" y="204"/>
                  </a:lnTo>
                  <a:lnTo>
                    <a:pt x="151" y="204"/>
                  </a:lnTo>
                  <a:lnTo>
                    <a:pt x="151" y="204"/>
                  </a:lnTo>
                  <a:lnTo>
                    <a:pt x="151" y="204"/>
                  </a:lnTo>
                  <a:lnTo>
                    <a:pt x="151" y="204"/>
                  </a:lnTo>
                  <a:lnTo>
                    <a:pt x="151" y="204"/>
                  </a:lnTo>
                  <a:lnTo>
                    <a:pt x="155" y="204"/>
                  </a:lnTo>
                  <a:lnTo>
                    <a:pt x="155" y="204"/>
                  </a:lnTo>
                  <a:lnTo>
                    <a:pt x="155" y="204"/>
                  </a:lnTo>
                  <a:lnTo>
                    <a:pt x="155" y="199"/>
                  </a:lnTo>
                  <a:lnTo>
                    <a:pt x="155" y="199"/>
                  </a:lnTo>
                  <a:lnTo>
                    <a:pt x="160" y="199"/>
                  </a:lnTo>
                  <a:lnTo>
                    <a:pt x="160" y="199"/>
                  </a:lnTo>
                  <a:lnTo>
                    <a:pt x="160" y="199"/>
                  </a:lnTo>
                  <a:lnTo>
                    <a:pt x="160" y="199"/>
                  </a:lnTo>
                  <a:lnTo>
                    <a:pt x="160" y="199"/>
                  </a:lnTo>
                  <a:lnTo>
                    <a:pt x="164" y="199"/>
                  </a:lnTo>
                  <a:lnTo>
                    <a:pt x="168" y="199"/>
                  </a:lnTo>
                  <a:lnTo>
                    <a:pt x="168" y="199"/>
                  </a:lnTo>
                  <a:lnTo>
                    <a:pt x="168" y="199"/>
                  </a:lnTo>
                  <a:lnTo>
                    <a:pt x="168" y="199"/>
                  </a:lnTo>
                  <a:lnTo>
                    <a:pt x="168" y="199"/>
                  </a:lnTo>
                  <a:lnTo>
                    <a:pt x="168" y="199"/>
                  </a:lnTo>
                  <a:lnTo>
                    <a:pt x="168" y="199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1"/>
                  </a:lnTo>
                  <a:lnTo>
                    <a:pt x="177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77" y="191"/>
                  </a:lnTo>
                  <a:lnTo>
                    <a:pt x="177" y="191"/>
                  </a:lnTo>
                  <a:lnTo>
                    <a:pt x="182" y="191"/>
                  </a:lnTo>
                  <a:lnTo>
                    <a:pt x="182" y="186"/>
                  </a:lnTo>
                  <a:lnTo>
                    <a:pt x="182" y="186"/>
                  </a:lnTo>
                  <a:lnTo>
                    <a:pt x="182" y="186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91" y="186"/>
                  </a:lnTo>
                  <a:lnTo>
                    <a:pt x="191" y="186"/>
                  </a:lnTo>
                  <a:lnTo>
                    <a:pt x="191" y="186"/>
                  </a:lnTo>
                  <a:lnTo>
                    <a:pt x="195" y="191"/>
                  </a:lnTo>
                  <a:lnTo>
                    <a:pt x="195" y="191"/>
                  </a:lnTo>
                  <a:lnTo>
                    <a:pt x="199" y="186"/>
                  </a:lnTo>
                  <a:lnTo>
                    <a:pt x="199" y="186"/>
                  </a:lnTo>
                  <a:lnTo>
                    <a:pt x="204" y="186"/>
                  </a:lnTo>
                  <a:lnTo>
                    <a:pt x="204" y="186"/>
                  </a:lnTo>
                  <a:lnTo>
                    <a:pt x="208" y="191"/>
                  </a:lnTo>
                  <a:lnTo>
                    <a:pt x="208" y="191"/>
                  </a:lnTo>
                  <a:lnTo>
                    <a:pt x="213" y="186"/>
                  </a:lnTo>
                  <a:lnTo>
                    <a:pt x="213" y="186"/>
                  </a:lnTo>
                  <a:lnTo>
                    <a:pt x="213" y="186"/>
                  </a:lnTo>
                  <a:lnTo>
                    <a:pt x="213" y="186"/>
                  </a:lnTo>
                  <a:lnTo>
                    <a:pt x="213" y="191"/>
                  </a:lnTo>
                  <a:lnTo>
                    <a:pt x="213" y="191"/>
                  </a:lnTo>
                  <a:lnTo>
                    <a:pt x="213" y="191"/>
                  </a:lnTo>
                  <a:lnTo>
                    <a:pt x="217" y="191"/>
                  </a:lnTo>
                  <a:lnTo>
                    <a:pt x="217" y="191"/>
                  </a:lnTo>
                  <a:lnTo>
                    <a:pt x="217" y="191"/>
                  </a:lnTo>
                  <a:lnTo>
                    <a:pt x="222" y="191"/>
                  </a:lnTo>
                  <a:lnTo>
                    <a:pt x="230" y="186"/>
                  </a:lnTo>
                  <a:lnTo>
                    <a:pt x="230" y="186"/>
                  </a:lnTo>
                  <a:lnTo>
                    <a:pt x="235" y="186"/>
                  </a:lnTo>
                  <a:lnTo>
                    <a:pt x="235" y="186"/>
                  </a:lnTo>
                  <a:lnTo>
                    <a:pt x="235" y="191"/>
                  </a:lnTo>
                  <a:lnTo>
                    <a:pt x="239" y="191"/>
                  </a:lnTo>
                  <a:lnTo>
                    <a:pt x="239" y="191"/>
                  </a:lnTo>
                  <a:lnTo>
                    <a:pt x="239" y="191"/>
                  </a:lnTo>
                  <a:lnTo>
                    <a:pt x="239" y="191"/>
                  </a:lnTo>
                  <a:lnTo>
                    <a:pt x="244" y="191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44" y="182"/>
                  </a:lnTo>
                  <a:lnTo>
                    <a:pt x="244" y="182"/>
                  </a:lnTo>
                  <a:lnTo>
                    <a:pt x="244" y="182"/>
                  </a:lnTo>
                  <a:lnTo>
                    <a:pt x="248" y="182"/>
                  </a:lnTo>
                  <a:lnTo>
                    <a:pt x="248" y="177"/>
                  </a:lnTo>
                  <a:lnTo>
                    <a:pt x="248" y="177"/>
                  </a:lnTo>
                  <a:lnTo>
                    <a:pt x="248" y="177"/>
                  </a:lnTo>
                  <a:lnTo>
                    <a:pt x="253" y="177"/>
                  </a:lnTo>
                  <a:lnTo>
                    <a:pt x="253" y="177"/>
                  </a:lnTo>
                  <a:lnTo>
                    <a:pt x="253" y="182"/>
                  </a:lnTo>
                  <a:lnTo>
                    <a:pt x="253" y="182"/>
                  </a:lnTo>
                  <a:lnTo>
                    <a:pt x="253" y="182"/>
                  </a:lnTo>
                  <a:lnTo>
                    <a:pt x="253" y="182"/>
                  </a:lnTo>
                  <a:lnTo>
                    <a:pt x="253" y="182"/>
                  </a:lnTo>
                  <a:lnTo>
                    <a:pt x="257" y="182"/>
                  </a:lnTo>
                  <a:lnTo>
                    <a:pt x="257" y="182"/>
                  </a:lnTo>
                  <a:lnTo>
                    <a:pt x="257" y="182"/>
                  </a:lnTo>
                  <a:lnTo>
                    <a:pt x="257" y="182"/>
                  </a:lnTo>
                  <a:lnTo>
                    <a:pt x="257" y="182"/>
                  </a:lnTo>
                  <a:lnTo>
                    <a:pt x="261" y="182"/>
                  </a:lnTo>
                  <a:lnTo>
                    <a:pt x="261" y="182"/>
                  </a:lnTo>
                  <a:lnTo>
                    <a:pt x="261" y="182"/>
                  </a:lnTo>
                  <a:lnTo>
                    <a:pt x="261" y="182"/>
                  </a:lnTo>
                  <a:lnTo>
                    <a:pt x="266" y="177"/>
                  </a:lnTo>
                  <a:lnTo>
                    <a:pt x="266" y="177"/>
                  </a:lnTo>
                  <a:lnTo>
                    <a:pt x="266" y="177"/>
                  </a:lnTo>
                  <a:lnTo>
                    <a:pt x="266" y="177"/>
                  </a:lnTo>
                  <a:lnTo>
                    <a:pt x="266" y="177"/>
                  </a:lnTo>
                  <a:lnTo>
                    <a:pt x="266" y="177"/>
                  </a:lnTo>
                  <a:lnTo>
                    <a:pt x="266" y="173"/>
                  </a:lnTo>
                  <a:lnTo>
                    <a:pt x="270" y="168"/>
                  </a:lnTo>
                  <a:lnTo>
                    <a:pt x="270" y="168"/>
                  </a:lnTo>
                  <a:lnTo>
                    <a:pt x="270" y="168"/>
                  </a:lnTo>
                  <a:lnTo>
                    <a:pt x="270" y="168"/>
                  </a:lnTo>
                  <a:lnTo>
                    <a:pt x="275" y="168"/>
                  </a:lnTo>
                  <a:lnTo>
                    <a:pt x="275" y="164"/>
                  </a:lnTo>
                  <a:lnTo>
                    <a:pt x="270" y="164"/>
                  </a:lnTo>
                  <a:lnTo>
                    <a:pt x="270" y="160"/>
                  </a:lnTo>
                  <a:lnTo>
                    <a:pt x="275" y="160"/>
                  </a:lnTo>
                  <a:lnTo>
                    <a:pt x="275" y="160"/>
                  </a:lnTo>
                  <a:lnTo>
                    <a:pt x="275" y="160"/>
                  </a:lnTo>
                  <a:lnTo>
                    <a:pt x="275" y="155"/>
                  </a:lnTo>
                  <a:lnTo>
                    <a:pt x="275" y="155"/>
                  </a:lnTo>
                  <a:lnTo>
                    <a:pt x="275" y="151"/>
                  </a:lnTo>
                  <a:lnTo>
                    <a:pt x="275" y="151"/>
                  </a:lnTo>
                  <a:lnTo>
                    <a:pt x="279" y="151"/>
                  </a:lnTo>
                  <a:lnTo>
                    <a:pt x="279" y="151"/>
                  </a:lnTo>
                  <a:lnTo>
                    <a:pt x="279" y="151"/>
                  </a:lnTo>
                  <a:lnTo>
                    <a:pt x="279" y="151"/>
                  </a:lnTo>
                  <a:lnTo>
                    <a:pt x="279" y="151"/>
                  </a:lnTo>
                  <a:lnTo>
                    <a:pt x="284" y="146"/>
                  </a:lnTo>
                  <a:lnTo>
                    <a:pt x="284" y="146"/>
                  </a:lnTo>
                  <a:lnTo>
                    <a:pt x="284" y="146"/>
                  </a:lnTo>
                  <a:lnTo>
                    <a:pt x="284" y="146"/>
                  </a:lnTo>
                  <a:lnTo>
                    <a:pt x="284" y="146"/>
                  </a:lnTo>
                  <a:lnTo>
                    <a:pt x="284" y="142"/>
                  </a:lnTo>
                  <a:lnTo>
                    <a:pt x="284" y="142"/>
                  </a:lnTo>
                  <a:lnTo>
                    <a:pt x="284" y="142"/>
                  </a:lnTo>
                  <a:lnTo>
                    <a:pt x="284" y="142"/>
                  </a:lnTo>
                  <a:lnTo>
                    <a:pt x="284" y="142"/>
                  </a:lnTo>
                  <a:lnTo>
                    <a:pt x="284" y="142"/>
                  </a:lnTo>
                  <a:lnTo>
                    <a:pt x="284" y="142"/>
                  </a:lnTo>
                  <a:lnTo>
                    <a:pt x="284" y="142"/>
                  </a:lnTo>
                  <a:lnTo>
                    <a:pt x="284" y="137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37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92" y="129"/>
                  </a:lnTo>
                  <a:lnTo>
                    <a:pt x="292" y="129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2" y="120"/>
                  </a:lnTo>
                  <a:lnTo>
                    <a:pt x="292" y="120"/>
                  </a:lnTo>
                  <a:lnTo>
                    <a:pt x="292" y="120"/>
                  </a:lnTo>
                  <a:lnTo>
                    <a:pt x="297" y="120"/>
                  </a:lnTo>
                  <a:lnTo>
                    <a:pt x="297" y="115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1"/>
                  </a:lnTo>
                  <a:lnTo>
                    <a:pt x="301" y="111"/>
                  </a:lnTo>
                  <a:lnTo>
                    <a:pt x="301" y="111"/>
                  </a:lnTo>
                  <a:lnTo>
                    <a:pt x="301" y="111"/>
                  </a:lnTo>
                  <a:lnTo>
                    <a:pt x="301" y="111"/>
                  </a:lnTo>
                  <a:lnTo>
                    <a:pt x="301" y="111"/>
                  </a:lnTo>
                  <a:lnTo>
                    <a:pt x="301" y="106"/>
                  </a:lnTo>
                  <a:lnTo>
                    <a:pt x="301" y="106"/>
                  </a:lnTo>
                  <a:lnTo>
                    <a:pt x="301" y="106"/>
                  </a:lnTo>
                  <a:lnTo>
                    <a:pt x="301" y="106"/>
                  </a:lnTo>
                  <a:lnTo>
                    <a:pt x="301" y="106"/>
                  </a:lnTo>
                  <a:lnTo>
                    <a:pt x="301" y="102"/>
                  </a:lnTo>
                  <a:lnTo>
                    <a:pt x="306" y="102"/>
                  </a:lnTo>
                  <a:lnTo>
                    <a:pt x="306" y="102"/>
                  </a:lnTo>
                  <a:lnTo>
                    <a:pt x="306" y="98"/>
                  </a:lnTo>
                  <a:lnTo>
                    <a:pt x="306" y="98"/>
                  </a:lnTo>
                  <a:lnTo>
                    <a:pt x="310" y="98"/>
                  </a:lnTo>
                  <a:lnTo>
                    <a:pt x="310" y="93"/>
                  </a:lnTo>
                  <a:lnTo>
                    <a:pt x="310" y="93"/>
                  </a:lnTo>
                  <a:lnTo>
                    <a:pt x="310" y="89"/>
                  </a:lnTo>
                  <a:lnTo>
                    <a:pt x="310" y="89"/>
                  </a:lnTo>
                  <a:lnTo>
                    <a:pt x="310" y="84"/>
                  </a:lnTo>
                  <a:lnTo>
                    <a:pt x="310" y="84"/>
                  </a:lnTo>
                  <a:lnTo>
                    <a:pt x="315" y="80"/>
                  </a:lnTo>
                  <a:lnTo>
                    <a:pt x="319" y="80"/>
                  </a:lnTo>
                  <a:lnTo>
                    <a:pt x="319" y="80"/>
                  </a:lnTo>
                  <a:lnTo>
                    <a:pt x="319" y="80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23" y="75"/>
                  </a:lnTo>
                  <a:lnTo>
                    <a:pt x="323" y="71"/>
                  </a:lnTo>
                  <a:lnTo>
                    <a:pt x="323" y="71"/>
                  </a:lnTo>
                  <a:lnTo>
                    <a:pt x="323" y="71"/>
                  </a:lnTo>
                  <a:lnTo>
                    <a:pt x="323" y="71"/>
                  </a:lnTo>
                  <a:lnTo>
                    <a:pt x="323" y="71"/>
                  </a:lnTo>
                  <a:lnTo>
                    <a:pt x="323" y="71"/>
                  </a:lnTo>
                  <a:lnTo>
                    <a:pt x="323" y="67"/>
                  </a:lnTo>
                  <a:lnTo>
                    <a:pt x="328" y="67"/>
                  </a:lnTo>
                  <a:lnTo>
                    <a:pt x="328" y="67"/>
                  </a:lnTo>
                  <a:lnTo>
                    <a:pt x="328" y="67"/>
                  </a:lnTo>
                  <a:lnTo>
                    <a:pt x="328" y="67"/>
                  </a:lnTo>
                  <a:lnTo>
                    <a:pt x="332" y="67"/>
                  </a:lnTo>
                  <a:lnTo>
                    <a:pt x="332" y="67"/>
                  </a:lnTo>
                  <a:lnTo>
                    <a:pt x="332" y="67"/>
                  </a:lnTo>
                  <a:lnTo>
                    <a:pt x="332" y="67"/>
                  </a:lnTo>
                  <a:lnTo>
                    <a:pt x="332" y="62"/>
                  </a:lnTo>
                  <a:lnTo>
                    <a:pt x="337" y="62"/>
                  </a:lnTo>
                  <a:lnTo>
                    <a:pt x="341" y="62"/>
                  </a:lnTo>
                  <a:lnTo>
                    <a:pt x="341" y="62"/>
                  </a:lnTo>
                  <a:lnTo>
                    <a:pt x="341" y="62"/>
                  </a:lnTo>
                  <a:lnTo>
                    <a:pt x="346" y="62"/>
                  </a:lnTo>
                  <a:lnTo>
                    <a:pt x="346" y="62"/>
                  </a:lnTo>
                  <a:lnTo>
                    <a:pt x="350" y="62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9" y="49"/>
                  </a:lnTo>
                  <a:lnTo>
                    <a:pt x="359" y="49"/>
                  </a:lnTo>
                  <a:lnTo>
                    <a:pt x="354" y="49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06" name="Freeform 38"/>
            <p:cNvSpPr>
              <a:spLocks noEditPoints="1"/>
            </p:cNvSpPr>
            <p:nvPr/>
          </p:nvSpPr>
          <p:spPr bwMode="auto">
            <a:xfrm>
              <a:off x="4132263" y="5616576"/>
              <a:ext cx="723900" cy="723900"/>
            </a:xfrm>
            <a:custGeom>
              <a:avLst/>
              <a:gdLst>
                <a:gd name="T0" fmla="*/ 310 w 456"/>
                <a:gd name="T1" fmla="*/ 434 h 456"/>
                <a:gd name="T2" fmla="*/ 235 w 456"/>
                <a:gd name="T3" fmla="*/ 417 h 456"/>
                <a:gd name="T4" fmla="*/ 204 w 456"/>
                <a:gd name="T5" fmla="*/ 434 h 456"/>
                <a:gd name="T6" fmla="*/ 292 w 456"/>
                <a:gd name="T7" fmla="*/ 456 h 456"/>
                <a:gd name="T8" fmla="*/ 438 w 456"/>
                <a:gd name="T9" fmla="*/ 390 h 456"/>
                <a:gd name="T10" fmla="*/ 434 w 456"/>
                <a:gd name="T11" fmla="*/ 355 h 456"/>
                <a:gd name="T12" fmla="*/ 297 w 456"/>
                <a:gd name="T13" fmla="*/ 341 h 456"/>
                <a:gd name="T14" fmla="*/ 266 w 456"/>
                <a:gd name="T15" fmla="*/ 319 h 456"/>
                <a:gd name="T16" fmla="*/ 328 w 456"/>
                <a:gd name="T17" fmla="*/ 315 h 456"/>
                <a:gd name="T18" fmla="*/ 381 w 456"/>
                <a:gd name="T19" fmla="*/ 315 h 456"/>
                <a:gd name="T20" fmla="*/ 252 w 456"/>
                <a:gd name="T21" fmla="*/ 315 h 456"/>
                <a:gd name="T22" fmla="*/ 252 w 456"/>
                <a:gd name="T23" fmla="*/ 297 h 456"/>
                <a:gd name="T24" fmla="*/ 204 w 456"/>
                <a:gd name="T25" fmla="*/ 288 h 456"/>
                <a:gd name="T26" fmla="*/ 350 w 456"/>
                <a:gd name="T27" fmla="*/ 288 h 456"/>
                <a:gd name="T28" fmla="*/ 385 w 456"/>
                <a:gd name="T29" fmla="*/ 270 h 456"/>
                <a:gd name="T30" fmla="*/ 71 w 456"/>
                <a:gd name="T31" fmla="*/ 279 h 456"/>
                <a:gd name="T32" fmla="*/ 204 w 456"/>
                <a:gd name="T33" fmla="*/ 257 h 456"/>
                <a:gd name="T34" fmla="*/ 49 w 456"/>
                <a:gd name="T35" fmla="*/ 231 h 456"/>
                <a:gd name="T36" fmla="*/ 53 w 456"/>
                <a:gd name="T37" fmla="*/ 226 h 456"/>
                <a:gd name="T38" fmla="*/ 332 w 456"/>
                <a:gd name="T39" fmla="*/ 244 h 456"/>
                <a:gd name="T40" fmla="*/ 62 w 456"/>
                <a:gd name="T41" fmla="*/ 213 h 456"/>
                <a:gd name="T42" fmla="*/ 261 w 456"/>
                <a:gd name="T43" fmla="*/ 200 h 456"/>
                <a:gd name="T44" fmla="*/ 261 w 456"/>
                <a:gd name="T45" fmla="*/ 253 h 456"/>
                <a:gd name="T46" fmla="*/ 199 w 456"/>
                <a:gd name="T47" fmla="*/ 195 h 456"/>
                <a:gd name="T48" fmla="*/ 208 w 456"/>
                <a:gd name="T49" fmla="*/ 217 h 456"/>
                <a:gd name="T50" fmla="*/ 204 w 456"/>
                <a:gd name="T51" fmla="*/ 177 h 456"/>
                <a:gd name="T52" fmla="*/ 368 w 456"/>
                <a:gd name="T53" fmla="*/ 191 h 456"/>
                <a:gd name="T54" fmla="*/ 345 w 456"/>
                <a:gd name="T55" fmla="*/ 177 h 456"/>
                <a:gd name="T56" fmla="*/ 13 w 456"/>
                <a:gd name="T57" fmla="*/ 133 h 456"/>
                <a:gd name="T58" fmla="*/ 288 w 456"/>
                <a:gd name="T59" fmla="*/ 129 h 456"/>
                <a:gd name="T60" fmla="*/ 306 w 456"/>
                <a:gd name="T61" fmla="*/ 124 h 456"/>
                <a:gd name="T62" fmla="*/ 275 w 456"/>
                <a:gd name="T63" fmla="*/ 71 h 456"/>
                <a:gd name="T64" fmla="*/ 186 w 456"/>
                <a:gd name="T65" fmla="*/ 270 h 456"/>
                <a:gd name="T66" fmla="*/ 226 w 456"/>
                <a:gd name="T67" fmla="*/ 270 h 456"/>
                <a:gd name="T68" fmla="*/ 230 w 456"/>
                <a:gd name="T69" fmla="*/ 239 h 456"/>
                <a:gd name="T70" fmla="*/ 164 w 456"/>
                <a:gd name="T71" fmla="*/ 204 h 456"/>
                <a:gd name="T72" fmla="*/ 173 w 456"/>
                <a:gd name="T73" fmla="*/ 182 h 456"/>
                <a:gd name="T74" fmla="*/ 190 w 456"/>
                <a:gd name="T75" fmla="*/ 182 h 456"/>
                <a:gd name="T76" fmla="*/ 164 w 456"/>
                <a:gd name="T77" fmla="*/ 89 h 456"/>
                <a:gd name="T78" fmla="*/ 217 w 456"/>
                <a:gd name="T79" fmla="*/ 129 h 456"/>
                <a:gd name="T80" fmla="*/ 230 w 456"/>
                <a:gd name="T81" fmla="*/ 115 h 456"/>
                <a:gd name="T82" fmla="*/ 226 w 456"/>
                <a:gd name="T83" fmla="*/ 84 h 456"/>
                <a:gd name="T84" fmla="*/ 292 w 456"/>
                <a:gd name="T85" fmla="*/ 53 h 456"/>
                <a:gd name="T86" fmla="*/ 350 w 456"/>
                <a:gd name="T87" fmla="*/ 58 h 456"/>
                <a:gd name="T88" fmla="*/ 345 w 456"/>
                <a:gd name="T89" fmla="*/ 0 h 456"/>
                <a:gd name="T90" fmla="*/ 288 w 456"/>
                <a:gd name="T91" fmla="*/ 31 h 456"/>
                <a:gd name="T92" fmla="*/ 226 w 456"/>
                <a:gd name="T93" fmla="*/ 22 h 456"/>
                <a:gd name="T94" fmla="*/ 137 w 456"/>
                <a:gd name="T95" fmla="*/ 40 h 456"/>
                <a:gd name="T96" fmla="*/ 71 w 456"/>
                <a:gd name="T97" fmla="*/ 84 h 456"/>
                <a:gd name="T98" fmla="*/ 36 w 456"/>
                <a:gd name="T99" fmla="*/ 142 h 456"/>
                <a:gd name="T100" fmla="*/ 36 w 456"/>
                <a:gd name="T101" fmla="*/ 169 h 456"/>
                <a:gd name="T102" fmla="*/ 67 w 456"/>
                <a:gd name="T103" fmla="*/ 186 h 456"/>
                <a:gd name="T104" fmla="*/ 71 w 456"/>
                <a:gd name="T105" fmla="*/ 195 h 456"/>
                <a:gd name="T106" fmla="*/ 80 w 456"/>
                <a:gd name="T107" fmla="*/ 226 h 456"/>
                <a:gd name="T108" fmla="*/ 93 w 456"/>
                <a:gd name="T109" fmla="*/ 231 h 456"/>
                <a:gd name="T110" fmla="*/ 146 w 456"/>
                <a:gd name="T111" fmla="*/ 235 h 456"/>
                <a:gd name="T112" fmla="*/ 182 w 456"/>
                <a:gd name="T113" fmla="*/ 244 h 456"/>
                <a:gd name="T114" fmla="*/ 133 w 456"/>
                <a:gd name="T115" fmla="*/ 239 h 456"/>
                <a:gd name="T116" fmla="*/ 89 w 456"/>
                <a:gd name="T117" fmla="*/ 279 h 456"/>
                <a:gd name="T118" fmla="*/ 133 w 456"/>
                <a:gd name="T119" fmla="*/ 324 h 456"/>
                <a:gd name="T120" fmla="*/ 155 w 456"/>
                <a:gd name="T121" fmla="*/ 341 h 456"/>
                <a:gd name="T122" fmla="*/ 182 w 456"/>
                <a:gd name="T123" fmla="*/ 337 h 456"/>
                <a:gd name="T124" fmla="*/ 164 w 456"/>
                <a:gd name="T125" fmla="*/ 284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6" h="456">
                  <a:moveTo>
                    <a:pt x="354" y="434"/>
                  </a:moveTo>
                  <a:lnTo>
                    <a:pt x="354" y="434"/>
                  </a:lnTo>
                  <a:lnTo>
                    <a:pt x="354" y="434"/>
                  </a:lnTo>
                  <a:lnTo>
                    <a:pt x="350" y="434"/>
                  </a:lnTo>
                  <a:lnTo>
                    <a:pt x="350" y="434"/>
                  </a:lnTo>
                  <a:lnTo>
                    <a:pt x="354" y="434"/>
                  </a:lnTo>
                  <a:lnTo>
                    <a:pt x="354" y="434"/>
                  </a:lnTo>
                  <a:lnTo>
                    <a:pt x="354" y="434"/>
                  </a:lnTo>
                  <a:lnTo>
                    <a:pt x="350" y="434"/>
                  </a:lnTo>
                  <a:lnTo>
                    <a:pt x="350" y="434"/>
                  </a:lnTo>
                  <a:lnTo>
                    <a:pt x="350" y="434"/>
                  </a:lnTo>
                  <a:lnTo>
                    <a:pt x="350" y="434"/>
                  </a:lnTo>
                  <a:lnTo>
                    <a:pt x="350" y="439"/>
                  </a:lnTo>
                  <a:lnTo>
                    <a:pt x="345" y="439"/>
                  </a:lnTo>
                  <a:lnTo>
                    <a:pt x="345" y="439"/>
                  </a:lnTo>
                  <a:lnTo>
                    <a:pt x="345" y="439"/>
                  </a:lnTo>
                  <a:lnTo>
                    <a:pt x="345" y="439"/>
                  </a:lnTo>
                  <a:lnTo>
                    <a:pt x="345" y="439"/>
                  </a:lnTo>
                  <a:lnTo>
                    <a:pt x="345" y="439"/>
                  </a:lnTo>
                  <a:lnTo>
                    <a:pt x="345" y="439"/>
                  </a:lnTo>
                  <a:lnTo>
                    <a:pt x="341" y="439"/>
                  </a:lnTo>
                  <a:lnTo>
                    <a:pt x="341" y="439"/>
                  </a:lnTo>
                  <a:lnTo>
                    <a:pt x="341" y="439"/>
                  </a:lnTo>
                  <a:lnTo>
                    <a:pt x="341" y="439"/>
                  </a:lnTo>
                  <a:lnTo>
                    <a:pt x="341" y="439"/>
                  </a:lnTo>
                  <a:lnTo>
                    <a:pt x="341" y="439"/>
                  </a:lnTo>
                  <a:lnTo>
                    <a:pt x="341" y="439"/>
                  </a:lnTo>
                  <a:lnTo>
                    <a:pt x="337" y="439"/>
                  </a:lnTo>
                  <a:lnTo>
                    <a:pt x="337" y="439"/>
                  </a:lnTo>
                  <a:lnTo>
                    <a:pt x="337" y="439"/>
                  </a:lnTo>
                  <a:lnTo>
                    <a:pt x="337" y="439"/>
                  </a:lnTo>
                  <a:lnTo>
                    <a:pt x="337" y="439"/>
                  </a:lnTo>
                  <a:lnTo>
                    <a:pt x="337" y="439"/>
                  </a:lnTo>
                  <a:lnTo>
                    <a:pt x="332" y="443"/>
                  </a:lnTo>
                  <a:lnTo>
                    <a:pt x="332" y="443"/>
                  </a:lnTo>
                  <a:lnTo>
                    <a:pt x="332" y="443"/>
                  </a:lnTo>
                  <a:lnTo>
                    <a:pt x="332" y="443"/>
                  </a:lnTo>
                  <a:lnTo>
                    <a:pt x="332" y="443"/>
                  </a:lnTo>
                  <a:lnTo>
                    <a:pt x="328" y="443"/>
                  </a:lnTo>
                  <a:lnTo>
                    <a:pt x="328" y="443"/>
                  </a:lnTo>
                  <a:lnTo>
                    <a:pt x="328" y="443"/>
                  </a:lnTo>
                  <a:lnTo>
                    <a:pt x="328" y="443"/>
                  </a:lnTo>
                  <a:lnTo>
                    <a:pt x="328" y="448"/>
                  </a:lnTo>
                  <a:lnTo>
                    <a:pt x="328" y="448"/>
                  </a:lnTo>
                  <a:lnTo>
                    <a:pt x="328" y="448"/>
                  </a:lnTo>
                  <a:lnTo>
                    <a:pt x="323" y="448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9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0"/>
                  </a:lnTo>
                  <a:lnTo>
                    <a:pt x="319" y="430"/>
                  </a:lnTo>
                  <a:lnTo>
                    <a:pt x="319" y="430"/>
                  </a:lnTo>
                  <a:lnTo>
                    <a:pt x="319" y="430"/>
                  </a:lnTo>
                  <a:lnTo>
                    <a:pt x="319" y="430"/>
                  </a:lnTo>
                  <a:lnTo>
                    <a:pt x="319" y="430"/>
                  </a:lnTo>
                  <a:lnTo>
                    <a:pt x="310" y="434"/>
                  </a:lnTo>
                  <a:lnTo>
                    <a:pt x="306" y="434"/>
                  </a:lnTo>
                  <a:lnTo>
                    <a:pt x="306" y="434"/>
                  </a:lnTo>
                  <a:lnTo>
                    <a:pt x="306" y="434"/>
                  </a:lnTo>
                  <a:lnTo>
                    <a:pt x="306" y="434"/>
                  </a:lnTo>
                  <a:lnTo>
                    <a:pt x="306" y="430"/>
                  </a:lnTo>
                  <a:lnTo>
                    <a:pt x="301" y="430"/>
                  </a:lnTo>
                  <a:lnTo>
                    <a:pt x="301" y="430"/>
                  </a:lnTo>
                  <a:lnTo>
                    <a:pt x="301" y="430"/>
                  </a:lnTo>
                  <a:lnTo>
                    <a:pt x="301" y="430"/>
                  </a:lnTo>
                  <a:lnTo>
                    <a:pt x="301" y="430"/>
                  </a:lnTo>
                  <a:lnTo>
                    <a:pt x="297" y="430"/>
                  </a:lnTo>
                  <a:lnTo>
                    <a:pt x="297" y="430"/>
                  </a:lnTo>
                  <a:lnTo>
                    <a:pt x="297" y="430"/>
                  </a:lnTo>
                  <a:lnTo>
                    <a:pt x="297" y="430"/>
                  </a:lnTo>
                  <a:lnTo>
                    <a:pt x="292" y="430"/>
                  </a:lnTo>
                  <a:lnTo>
                    <a:pt x="292" y="430"/>
                  </a:lnTo>
                  <a:lnTo>
                    <a:pt x="292" y="430"/>
                  </a:lnTo>
                  <a:lnTo>
                    <a:pt x="292" y="430"/>
                  </a:lnTo>
                  <a:lnTo>
                    <a:pt x="288" y="430"/>
                  </a:lnTo>
                  <a:lnTo>
                    <a:pt x="288" y="430"/>
                  </a:lnTo>
                  <a:lnTo>
                    <a:pt x="288" y="430"/>
                  </a:lnTo>
                  <a:lnTo>
                    <a:pt x="288" y="430"/>
                  </a:lnTo>
                  <a:lnTo>
                    <a:pt x="288" y="430"/>
                  </a:lnTo>
                  <a:lnTo>
                    <a:pt x="288" y="430"/>
                  </a:lnTo>
                  <a:lnTo>
                    <a:pt x="288" y="430"/>
                  </a:lnTo>
                  <a:lnTo>
                    <a:pt x="288" y="425"/>
                  </a:lnTo>
                  <a:lnTo>
                    <a:pt x="288" y="425"/>
                  </a:lnTo>
                  <a:lnTo>
                    <a:pt x="283" y="425"/>
                  </a:lnTo>
                  <a:lnTo>
                    <a:pt x="283" y="425"/>
                  </a:lnTo>
                  <a:lnTo>
                    <a:pt x="283" y="425"/>
                  </a:lnTo>
                  <a:lnTo>
                    <a:pt x="283" y="425"/>
                  </a:lnTo>
                  <a:lnTo>
                    <a:pt x="283" y="425"/>
                  </a:lnTo>
                  <a:lnTo>
                    <a:pt x="283" y="425"/>
                  </a:lnTo>
                  <a:lnTo>
                    <a:pt x="283" y="425"/>
                  </a:lnTo>
                  <a:lnTo>
                    <a:pt x="279" y="425"/>
                  </a:lnTo>
                  <a:lnTo>
                    <a:pt x="275" y="425"/>
                  </a:lnTo>
                  <a:lnTo>
                    <a:pt x="275" y="425"/>
                  </a:lnTo>
                  <a:lnTo>
                    <a:pt x="275" y="425"/>
                  </a:lnTo>
                  <a:lnTo>
                    <a:pt x="275" y="425"/>
                  </a:lnTo>
                  <a:lnTo>
                    <a:pt x="270" y="425"/>
                  </a:lnTo>
                  <a:lnTo>
                    <a:pt x="266" y="425"/>
                  </a:lnTo>
                  <a:lnTo>
                    <a:pt x="266" y="425"/>
                  </a:lnTo>
                  <a:lnTo>
                    <a:pt x="266" y="425"/>
                  </a:lnTo>
                  <a:lnTo>
                    <a:pt x="261" y="430"/>
                  </a:lnTo>
                  <a:lnTo>
                    <a:pt x="261" y="430"/>
                  </a:lnTo>
                  <a:lnTo>
                    <a:pt x="257" y="430"/>
                  </a:lnTo>
                  <a:lnTo>
                    <a:pt x="257" y="430"/>
                  </a:lnTo>
                  <a:lnTo>
                    <a:pt x="252" y="430"/>
                  </a:lnTo>
                  <a:lnTo>
                    <a:pt x="248" y="430"/>
                  </a:lnTo>
                  <a:lnTo>
                    <a:pt x="248" y="430"/>
                  </a:lnTo>
                  <a:lnTo>
                    <a:pt x="248" y="430"/>
                  </a:lnTo>
                  <a:lnTo>
                    <a:pt x="244" y="430"/>
                  </a:lnTo>
                  <a:lnTo>
                    <a:pt x="244" y="430"/>
                  </a:lnTo>
                  <a:lnTo>
                    <a:pt x="244" y="430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4" y="421"/>
                  </a:lnTo>
                  <a:lnTo>
                    <a:pt x="244" y="421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39" y="425"/>
                  </a:lnTo>
                  <a:lnTo>
                    <a:pt x="239" y="425"/>
                  </a:lnTo>
                  <a:lnTo>
                    <a:pt x="239" y="421"/>
                  </a:lnTo>
                  <a:lnTo>
                    <a:pt x="235" y="421"/>
                  </a:lnTo>
                  <a:lnTo>
                    <a:pt x="235" y="421"/>
                  </a:lnTo>
                  <a:lnTo>
                    <a:pt x="235" y="421"/>
                  </a:lnTo>
                  <a:lnTo>
                    <a:pt x="235" y="421"/>
                  </a:lnTo>
                  <a:lnTo>
                    <a:pt x="235" y="421"/>
                  </a:lnTo>
                  <a:lnTo>
                    <a:pt x="235" y="421"/>
                  </a:lnTo>
                  <a:lnTo>
                    <a:pt x="239" y="421"/>
                  </a:lnTo>
                  <a:lnTo>
                    <a:pt x="239" y="421"/>
                  </a:lnTo>
                  <a:lnTo>
                    <a:pt x="239" y="421"/>
                  </a:lnTo>
                  <a:lnTo>
                    <a:pt x="239" y="421"/>
                  </a:lnTo>
                  <a:lnTo>
                    <a:pt x="239" y="421"/>
                  </a:lnTo>
                  <a:lnTo>
                    <a:pt x="239" y="421"/>
                  </a:lnTo>
                  <a:lnTo>
                    <a:pt x="244" y="421"/>
                  </a:lnTo>
                  <a:lnTo>
                    <a:pt x="244" y="417"/>
                  </a:lnTo>
                  <a:lnTo>
                    <a:pt x="239" y="417"/>
                  </a:lnTo>
                  <a:lnTo>
                    <a:pt x="239" y="417"/>
                  </a:lnTo>
                  <a:lnTo>
                    <a:pt x="239" y="417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5" y="421"/>
                  </a:lnTo>
                  <a:lnTo>
                    <a:pt x="235" y="421"/>
                  </a:lnTo>
                  <a:lnTo>
                    <a:pt x="235" y="421"/>
                  </a:lnTo>
                  <a:lnTo>
                    <a:pt x="230" y="421"/>
                  </a:lnTo>
                  <a:lnTo>
                    <a:pt x="230" y="421"/>
                  </a:lnTo>
                  <a:lnTo>
                    <a:pt x="226" y="421"/>
                  </a:lnTo>
                  <a:lnTo>
                    <a:pt x="226" y="421"/>
                  </a:lnTo>
                  <a:lnTo>
                    <a:pt x="226" y="421"/>
                  </a:lnTo>
                  <a:lnTo>
                    <a:pt x="221" y="421"/>
                  </a:lnTo>
                  <a:lnTo>
                    <a:pt x="221" y="417"/>
                  </a:lnTo>
                  <a:lnTo>
                    <a:pt x="221" y="417"/>
                  </a:lnTo>
                  <a:lnTo>
                    <a:pt x="221" y="417"/>
                  </a:lnTo>
                  <a:lnTo>
                    <a:pt x="221" y="412"/>
                  </a:lnTo>
                  <a:lnTo>
                    <a:pt x="217" y="412"/>
                  </a:lnTo>
                  <a:lnTo>
                    <a:pt x="217" y="412"/>
                  </a:lnTo>
                  <a:lnTo>
                    <a:pt x="221" y="412"/>
                  </a:lnTo>
                  <a:lnTo>
                    <a:pt x="221" y="412"/>
                  </a:lnTo>
                  <a:lnTo>
                    <a:pt x="217" y="408"/>
                  </a:lnTo>
                  <a:lnTo>
                    <a:pt x="217" y="408"/>
                  </a:lnTo>
                  <a:lnTo>
                    <a:pt x="217" y="408"/>
                  </a:lnTo>
                  <a:lnTo>
                    <a:pt x="217" y="408"/>
                  </a:lnTo>
                  <a:lnTo>
                    <a:pt x="217" y="412"/>
                  </a:lnTo>
                  <a:lnTo>
                    <a:pt x="217" y="412"/>
                  </a:lnTo>
                  <a:lnTo>
                    <a:pt x="217" y="412"/>
                  </a:lnTo>
                  <a:lnTo>
                    <a:pt x="217" y="412"/>
                  </a:lnTo>
                  <a:lnTo>
                    <a:pt x="217" y="412"/>
                  </a:lnTo>
                  <a:lnTo>
                    <a:pt x="217" y="417"/>
                  </a:lnTo>
                  <a:lnTo>
                    <a:pt x="217" y="417"/>
                  </a:lnTo>
                  <a:lnTo>
                    <a:pt x="217" y="417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08" y="417"/>
                  </a:lnTo>
                  <a:lnTo>
                    <a:pt x="208" y="417"/>
                  </a:lnTo>
                  <a:lnTo>
                    <a:pt x="208" y="412"/>
                  </a:lnTo>
                  <a:lnTo>
                    <a:pt x="208" y="417"/>
                  </a:lnTo>
                  <a:lnTo>
                    <a:pt x="208" y="417"/>
                  </a:lnTo>
                  <a:lnTo>
                    <a:pt x="208" y="417"/>
                  </a:lnTo>
                  <a:lnTo>
                    <a:pt x="208" y="417"/>
                  </a:lnTo>
                  <a:lnTo>
                    <a:pt x="208" y="421"/>
                  </a:lnTo>
                  <a:lnTo>
                    <a:pt x="208" y="421"/>
                  </a:lnTo>
                  <a:lnTo>
                    <a:pt x="208" y="421"/>
                  </a:lnTo>
                  <a:lnTo>
                    <a:pt x="208" y="421"/>
                  </a:lnTo>
                  <a:lnTo>
                    <a:pt x="208" y="421"/>
                  </a:lnTo>
                  <a:lnTo>
                    <a:pt x="208" y="421"/>
                  </a:lnTo>
                  <a:lnTo>
                    <a:pt x="208" y="421"/>
                  </a:lnTo>
                  <a:lnTo>
                    <a:pt x="208" y="421"/>
                  </a:lnTo>
                  <a:lnTo>
                    <a:pt x="208" y="421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30"/>
                  </a:lnTo>
                  <a:lnTo>
                    <a:pt x="208" y="430"/>
                  </a:lnTo>
                  <a:lnTo>
                    <a:pt x="208" y="430"/>
                  </a:lnTo>
                  <a:lnTo>
                    <a:pt x="208" y="430"/>
                  </a:lnTo>
                  <a:lnTo>
                    <a:pt x="208" y="430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4" y="434"/>
                  </a:lnTo>
                  <a:lnTo>
                    <a:pt x="204" y="434"/>
                  </a:lnTo>
                  <a:lnTo>
                    <a:pt x="204" y="434"/>
                  </a:lnTo>
                  <a:lnTo>
                    <a:pt x="204" y="434"/>
                  </a:lnTo>
                  <a:lnTo>
                    <a:pt x="208" y="434"/>
                  </a:lnTo>
                  <a:lnTo>
                    <a:pt x="204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9"/>
                  </a:lnTo>
                  <a:lnTo>
                    <a:pt x="208" y="439"/>
                  </a:lnTo>
                  <a:lnTo>
                    <a:pt x="208" y="439"/>
                  </a:lnTo>
                  <a:lnTo>
                    <a:pt x="208" y="439"/>
                  </a:lnTo>
                  <a:lnTo>
                    <a:pt x="213" y="439"/>
                  </a:lnTo>
                  <a:lnTo>
                    <a:pt x="213" y="439"/>
                  </a:lnTo>
                  <a:lnTo>
                    <a:pt x="213" y="439"/>
                  </a:lnTo>
                  <a:lnTo>
                    <a:pt x="217" y="439"/>
                  </a:lnTo>
                  <a:lnTo>
                    <a:pt x="221" y="439"/>
                  </a:lnTo>
                  <a:lnTo>
                    <a:pt x="221" y="439"/>
                  </a:lnTo>
                  <a:lnTo>
                    <a:pt x="221" y="439"/>
                  </a:lnTo>
                  <a:lnTo>
                    <a:pt x="221" y="439"/>
                  </a:lnTo>
                  <a:lnTo>
                    <a:pt x="221" y="439"/>
                  </a:lnTo>
                  <a:lnTo>
                    <a:pt x="221" y="439"/>
                  </a:lnTo>
                  <a:lnTo>
                    <a:pt x="221" y="439"/>
                  </a:lnTo>
                  <a:lnTo>
                    <a:pt x="226" y="439"/>
                  </a:lnTo>
                  <a:lnTo>
                    <a:pt x="230" y="439"/>
                  </a:lnTo>
                  <a:lnTo>
                    <a:pt x="230" y="439"/>
                  </a:lnTo>
                  <a:lnTo>
                    <a:pt x="235" y="439"/>
                  </a:lnTo>
                  <a:lnTo>
                    <a:pt x="235" y="443"/>
                  </a:lnTo>
                  <a:lnTo>
                    <a:pt x="235" y="439"/>
                  </a:lnTo>
                  <a:lnTo>
                    <a:pt x="235" y="439"/>
                  </a:lnTo>
                  <a:lnTo>
                    <a:pt x="235" y="439"/>
                  </a:lnTo>
                  <a:lnTo>
                    <a:pt x="235" y="439"/>
                  </a:lnTo>
                  <a:lnTo>
                    <a:pt x="235" y="439"/>
                  </a:lnTo>
                  <a:lnTo>
                    <a:pt x="239" y="439"/>
                  </a:lnTo>
                  <a:lnTo>
                    <a:pt x="239" y="439"/>
                  </a:lnTo>
                  <a:lnTo>
                    <a:pt x="239" y="439"/>
                  </a:lnTo>
                  <a:lnTo>
                    <a:pt x="239" y="439"/>
                  </a:lnTo>
                  <a:lnTo>
                    <a:pt x="244" y="439"/>
                  </a:lnTo>
                  <a:lnTo>
                    <a:pt x="244" y="439"/>
                  </a:lnTo>
                  <a:lnTo>
                    <a:pt x="244" y="439"/>
                  </a:lnTo>
                  <a:lnTo>
                    <a:pt x="244" y="439"/>
                  </a:lnTo>
                  <a:lnTo>
                    <a:pt x="244" y="443"/>
                  </a:lnTo>
                  <a:lnTo>
                    <a:pt x="248" y="443"/>
                  </a:lnTo>
                  <a:lnTo>
                    <a:pt x="252" y="443"/>
                  </a:lnTo>
                  <a:lnTo>
                    <a:pt x="252" y="443"/>
                  </a:lnTo>
                  <a:lnTo>
                    <a:pt x="252" y="443"/>
                  </a:lnTo>
                  <a:lnTo>
                    <a:pt x="257" y="443"/>
                  </a:lnTo>
                  <a:lnTo>
                    <a:pt x="257" y="443"/>
                  </a:lnTo>
                  <a:lnTo>
                    <a:pt x="257" y="443"/>
                  </a:lnTo>
                  <a:lnTo>
                    <a:pt x="257" y="443"/>
                  </a:lnTo>
                  <a:lnTo>
                    <a:pt x="257" y="443"/>
                  </a:lnTo>
                  <a:lnTo>
                    <a:pt x="261" y="448"/>
                  </a:lnTo>
                  <a:lnTo>
                    <a:pt x="261" y="448"/>
                  </a:lnTo>
                  <a:lnTo>
                    <a:pt x="261" y="448"/>
                  </a:lnTo>
                  <a:lnTo>
                    <a:pt x="261" y="448"/>
                  </a:lnTo>
                  <a:lnTo>
                    <a:pt x="261" y="448"/>
                  </a:lnTo>
                  <a:lnTo>
                    <a:pt x="266" y="448"/>
                  </a:lnTo>
                  <a:lnTo>
                    <a:pt x="270" y="448"/>
                  </a:lnTo>
                  <a:lnTo>
                    <a:pt x="270" y="448"/>
                  </a:lnTo>
                  <a:lnTo>
                    <a:pt x="270" y="448"/>
                  </a:lnTo>
                  <a:lnTo>
                    <a:pt x="270" y="448"/>
                  </a:lnTo>
                  <a:lnTo>
                    <a:pt x="270" y="448"/>
                  </a:lnTo>
                  <a:lnTo>
                    <a:pt x="270" y="448"/>
                  </a:lnTo>
                  <a:lnTo>
                    <a:pt x="270" y="448"/>
                  </a:lnTo>
                  <a:lnTo>
                    <a:pt x="270" y="452"/>
                  </a:lnTo>
                  <a:lnTo>
                    <a:pt x="270" y="452"/>
                  </a:lnTo>
                  <a:lnTo>
                    <a:pt x="270" y="452"/>
                  </a:lnTo>
                  <a:lnTo>
                    <a:pt x="270" y="452"/>
                  </a:lnTo>
                  <a:lnTo>
                    <a:pt x="270" y="452"/>
                  </a:lnTo>
                  <a:lnTo>
                    <a:pt x="270" y="456"/>
                  </a:lnTo>
                  <a:lnTo>
                    <a:pt x="270" y="456"/>
                  </a:lnTo>
                  <a:lnTo>
                    <a:pt x="270" y="456"/>
                  </a:lnTo>
                  <a:lnTo>
                    <a:pt x="270" y="456"/>
                  </a:lnTo>
                  <a:lnTo>
                    <a:pt x="275" y="456"/>
                  </a:lnTo>
                  <a:lnTo>
                    <a:pt x="283" y="456"/>
                  </a:lnTo>
                  <a:lnTo>
                    <a:pt x="283" y="456"/>
                  </a:lnTo>
                  <a:lnTo>
                    <a:pt x="283" y="456"/>
                  </a:lnTo>
                  <a:lnTo>
                    <a:pt x="288" y="456"/>
                  </a:lnTo>
                  <a:lnTo>
                    <a:pt x="288" y="456"/>
                  </a:lnTo>
                  <a:lnTo>
                    <a:pt x="288" y="456"/>
                  </a:lnTo>
                  <a:lnTo>
                    <a:pt x="288" y="456"/>
                  </a:lnTo>
                  <a:lnTo>
                    <a:pt x="288" y="456"/>
                  </a:lnTo>
                  <a:lnTo>
                    <a:pt x="288" y="456"/>
                  </a:lnTo>
                  <a:lnTo>
                    <a:pt x="288" y="456"/>
                  </a:lnTo>
                  <a:lnTo>
                    <a:pt x="288" y="456"/>
                  </a:lnTo>
                  <a:lnTo>
                    <a:pt x="292" y="456"/>
                  </a:lnTo>
                  <a:lnTo>
                    <a:pt x="292" y="456"/>
                  </a:lnTo>
                  <a:lnTo>
                    <a:pt x="292" y="456"/>
                  </a:lnTo>
                  <a:lnTo>
                    <a:pt x="297" y="456"/>
                  </a:lnTo>
                  <a:lnTo>
                    <a:pt x="297" y="456"/>
                  </a:lnTo>
                  <a:lnTo>
                    <a:pt x="297" y="456"/>
                  </a:lnTo>
                  <a:lnTo>
                    <a:pt x="301" y="456"/>
                  </a:lnTo>
                  <a:lnTo>
                    <a:pt x="301" y="452"/>
                  </a:lnTo>
                  <a:lnTo>
                    <a:pt x="301" y="452"/>
                  </a:lnTo>
                  <a:lnTo>
                    <a:pt x="301" y="452"/>
                  </a:lnTo>
                  <a:lnTo>
                    <a:pt x="306" y="452"/>
                  </a:lnTo>
                  <a:lnTo>
                    <a:pt x="310" y="456"/>
                  </a:lnTo>
                  <a:lnTo>
                    <a:pt x="310" y="452"/>
                  </a:lnTo>
                  <a:lnTo>
                    <a:pt x="310" y="452"/>
                  </a:lnTo>
                  <a:lnTo>
                    <a:pt x="314" y="452"/>
                  </a:lnTo>
                  <a:lnTo>
                    <a:pt x="319" y="452"/>
                  </a:lnTo>
                  <a:lnTo>
                    <a:pt x="328" y="452"/>
                  </a:lnTo>
                  <a:lnTo>
                    <a:pt x="332" y="452"/>
                  </a:lnTo>
                  <a:lnTo>
                    <a:pt x="332" y="452"/>
                  </a:lnTo>
                  <a:lnTo>
                    <a:pt x="332" y="452"/>
                  </a:lnTo>
                  <a:lnTo>
                    <a:pt x="337" y="452"/>
                  </a:lnTo>
                  <a:lnTo>
                    <a:pt x="337" y="452"/>
                  </a:lnTo>
                  <a:lnTo>
                    <a:pt x="337" y="452"/>
                  </a:lnTo>
                  <a:lnTo>
                    <a:pt x="337" y="452"/>
                  </a:lnTo>
                  <a:lnTo>
                    <a:pt x="337" y="452"/>
                  </a:lnTo>
                  <a:lnTo>
                    <a:pt x="337" y="452"/>
                  </a:lnTo>
                  <a:lnTo>
                    <a:pt x="337" y="452"/>
                  </a:lnTo>
                  <a:lnTo>
                    <a:pt x="341" y="452"/>
                  </a:lnTo>
                  <a:lnTo>
                    <a:pt x="341" y="452"/>
                  </a:lnTo>
                  <a:lnTo>
                    <a:pt x="341" y="452"/>
                  </a:lnTo>
                  <a:lnTo>
                    <a:pt x="341" y="452"/>
                  </a:lnTo>
                  <a:lnTo>
                    <a:pt x="341" y="452"/>
                  </a:lnTo>
                  <a:lnTo>
                    <a:pt x="345" y="452"/>
                  </a:lnTo>
                  <a:lnTo>
                    <a:pt x="345" y="452"/>
                  </a:lnTo>
                  <a:lnTo>
                    <a:pt x="345" y="452"/>
                  </a:lnTo>
                  <a:lnTo>
                    <a:pt x="350" y="452"/>
                  </a:lnTo>
                  <a:lnTo>
                    <a:pt x="350" y="452"/>
                  </a:lnTo>
                  <a:lnTo>
                    <a:pt x="350" y="452"/>
                  </a:lnTo>
                  <a:lnTo>
                    <a:pt x="350" y="452"/>
                  </a:lnTo>
                  <a:lnTo>
                    <a:pt x="350" y="448"/>
                  </a:lnTo>
                  <a:lnTo>
                    <a:pt x="350" y="448"/>
                  </a:lnTo>
                  <a:lnTo>
                    <a:pt x="350" y="448"/>
                  </a:lnTo>
                  <a:lnTo>
                    <a:pt x="350" y="448"/>
                  </a:lnTo>
                  <a:lnTo>
                    <a:pt x="350" y="448"/>
                  </a:lnTo>
                  <a:lnTo>
                    <a:pt x="350" y="443"/>
                  </a:lnTo>
                  <a:lnTo>
                    <a:pt x="350" y="443"/>
                  </a:lnTo>
                  <a:lnTo>
                    <a:pt x="350" y="443"/>
                  </a:lnTo>
                  <a:lnTo>
                    <a:pt x="354" y="443"/>
                  </a:lnTo>
                  <a:lnTo>
                    <a:pt x="354" y="439"/>
                  </a:lnTo>
                  <a:lnTo>
                    <a:pt x="354" y="443"/>
                  </a:lnTo>
                  <a:lnTo>
                    <a:pt x="350" y="439"/>
                  </a:lnTo>
                  <a:lnTo>
                    <a:pt x="350" y="439"/>
                  </a:lnTo>
                  <a:lnTo>
                    <a:pt x="350" y="434"/>
                  </a:lnTo>
                  <a:lnTo>
                    <a:pt x="354" y="434"/>
                  </a:lnTo>
                  <a:close/>
                  <a:moveTo>
                    <a:pt x="195" y="394"/>
                  </a:moveTo>
                  <a:lnTo>
                    <a:pt x="195" y="394"/>
                  </a:lnTo>
                  <a:lnTo>
                    <a:pt x="195" y="394"/>
                  </a:lnTo>
                  <a:lnTo>
                    <a:pt x="195" y="394"/>
                  </a:lnTo>
                  <a:lnTo>
                    <a:pt x="195" y="394"/>
                  </a:lnTo>
                  <a:lnTo>
                    <a:pt x="195" y="394"/>
                  </a:lnTo>
                  <a:lnTo>
                    <a:pt x="190" y="394"/>
                  </a:lnTo>
                  <a:lnTo>
                    <a:pt x="195" y="394"/>
                  </a:lnTo>
                  <a:lnTo>
                    <a:pt x="195" y="399"/>
                  </a:lnTo>
                  <a:lnTo>
                    <a:pt x="195" y="399"/>
                  </a:lnTo>
                  <a:lnTo>
                    <a:pt x="195" y="399"/>
                  </a:lnTo>
                  <a:lnTo>
                    <a:pt x="195" y="399"/>
                  </a:lnTo>
                  <a:lnTo>
                    <a:pt x="195" y="399"/>
                  </a:lnTo>
                  <a:lnTo>
                    <a:pt x="195" y="399"/>
                  </a:lnTo>
                  <a:lnTo>
                    <a:pt x="195" y="394"/>
                  </a:lnTo>
                  <a:close/>
                  <a:moveTo>
                    <a:pt x="425" y="381"/>
                  </a:moveTo>
                  <a:lnTo>
                    <a:pt x="425" y="381"/>
                  </a:lnTo>
                  <a:lnTo>
                    <a:pt x="425" y="381"/>
                  </a:lnTo>
                  <a:lnTo>
                    <a:pt x="425" y="381"/>
                  </a:lnTo>
                  <a:lnTo>
                    <a:pt x="430" y="381"/>
                  </a:lnTo>
                  <a:lnTo>
                    <a:pt x="430" y="381"/>
                  </a:lnTo>
                  <a:lnTo>
                    <a:pt x="430" y="381"/>
                  </a:lnTo>
                  <a:lnTo>
                    <a:pt x="430" y="386"/>
                  </a:lnTo>
                  <a:lnTo>
                    <a:pt x="430" y="386"/>
                  </a:lnTo>
                  <a:lnTo>
                    <a:pt x="430" y="390"/>
                  </a:lnTo>
                  <a:lnTo>
                    <a:pt x="425" y="390"/>
                  </a:lnTo>
                  <a:lnTo>
                    <a:pt x="430" y="394"/>
                  </a:lnTo>
                  <a:lnTo>
                    <a:pt x="430" y="394"/>
                  </a:lnTo>
                  <a:lnTo>
                    <a:pt x="430" y="394"/>
                  </a:lnTo>
                  <a:lnTo>
                    <a:pt x="430" y="394"/>
                  </a:lnTo>
                  <a:lnTo>
                    <a:pt x="434" y="394"/>
                  </a:lnTo>
                  <a:lnTo>
                    <a:pt x="434" y="394"/>
                  </a:lnTo>
                  <a:lnTo>
                    <a:pt x="438" y="390"/>
                  </a:lnTo>
                  <a:lnTo>
                    <a:pt x="438" y="386"/>
                  </a:lnTo>
                  <a:lnTo>
                    <a:pt x="438" y="386"/>
                  </a:lnTo>
                  <a:lnTo>
                    <a:pt x="443" y="386"/>
                  </a:lnTo>
                  <a:lnTo>
                    <a:pt x="443" y="386"/>
                  </a:lnTo>
                  <a:lnTo>
                    <a:pt x="443" y="386"/>
                  </a:lnTo>
                  <a:lnTo>
                    <a:pt x="447" y="386"/>
                  </a:lnTo>
                  <a:lnTo>
                    <a:pt x="447" y="386"/>
                  </a:lnTo>
                  <a:lnTo>
                    <a:pt x="447" y="386"/>
                  </a:lnTo>
                  <a:lnTo>
                    <a:pt x="447" y="386"/>
                  </a:lnTo>
                  <a:lnTo>
                    <a:pt x="447" y="381"/>
                  </a:lnTo>
                  <a:lnTo>
                    <a:pt x="447" y="381"/>
                  </a:lnTo>
                  <a:lnTo>
                    <a:pt x="447" y="381"/>
                  </a:lnTo>
                  <a:lnTo>
                    <a:pt x="447" y="381"/>
                  </a:lnTo>
                  <a:lnTo>
                    <a:pt x="447" y="381"/>
                  </a:lnTo>
                  <a:lnTo>
                    <a:pt x="447" y="381"/>
                  </a:lnTo>
                  <a:lnTo>
                    <a:pt x="447" y="381"/>
                  </a:lnTo>
                  <a:lnTo>
                    <a:pt x="447" y="377"/>
                  </a:lnTo>
                  <a:lnTo>
                    <a:pt x="447" y="377"/>
                  </a:lnTo>
                  <a:lnTo>
                    <a:pt x="447" y="377"/>
                  </a:lnTo>
                  <a:lnTo>
                    <a:pt x="447" y="377"/>
                  </a:lnTo>
                  <a:lnTo>
                    <a:pt x="447" y="377"/>
                  </a:lnTo>
                  <a:lnTo>
                    <a:pt x="447" y="377"/>
                  </a:lnTo>
                  <a:lnTo>
                    <a:pt x="447" y="377"/>
                  </a:lnTo>
                  <a:lnTo>
                    <a:pt x="447" y="377"/>
                  </a:lnTo>
                  <a:lnTo>
                    <a:pt x="447" y="377"/>
                  </a:lnTo>
                  <a:lnTo>
                    <a:pt x="452" y="372"/>
                  </a:lnTo>
                  <a:lnTo>
                    <a:pt x="452" y="372"/>
                  </a:lnTo>
                  <a:lnTo>
                    <a:pt x="452" y="372"/>
                  </a:lnTo>
                  <a:lnTo>
                    <a:pt x="452" y="372"/>
                  </a:lnTo>
                  <a:lnTo>
                    <a:pt x="452" y="372"/>
                  </a:lnTo>
                  <a:lnTo>
                    <a:pt x="452" y="368"/>
                  </a:lnTo>
                  <a:lnTo>
                    <a:pt x="452" y="368"/>
                  </a:lnTo>
                  <a:lnTo>
                    <a:pt x="452" y="368"/>
                  </a:lnTo>
                  <a:lnTo>
                    <a:pt x="452" y="363"/>
                  </a:lnTo>
                  <a:lnTo>
                    <a:pt x="452" y="363"/>
                  </a:lnTo>
                  <a:lnTo>
                    <a:pt x="456" y="363"/>
                  </a:lnTo>
                  <a:lnTo>
                    <a:pt x="452" y="363"/>
                  </a:lnTo>
                  <a:lnTo>
                    <a:pt x="456" y="359"/>
                  </a:lnTo>
                  <a:lnTo>
                    <a:pt x="456" y="359"/>
                  </a:lnTo>
                  <a:lnTo>
                    <a:pt x="456" y="359"/>
                  </a:lnTo>
                  <a:lnTo>
                    <a:pt x="452" y="359"/>
                  </a:lnTo>
                  <a:lnTo>
                    <a:pt x="452" y="359"/>
                  </a:lnTo>
                  <a:lnTo>
                    <a:pt x="452" y="359"/>
                  </a:lnTo>
                  <a:lnTo>
                    <a:pt x="447" y="359"/>
                  </a:lnTo>
                  <a:lnTo>
                    <a:pt x="447" y="363"/>
                  </a:lnTo>
                  <a:lnTo>
                    <a:pt x="447" y="363"/>
                  </a:lnTo>
                  <a:lnTo>
                    <a:pt x="438" y="363"/>
                  </a:lnTo>
                  <a:lnTo>
                    <a:pt x="438" y="368"/>
                  </a:lnTo>
                  <a:lnTo>
                    <a:pt x="434" y="368"/>
                  </a:lnTo>
                  <a:lnTo>
                    <a:pt x="434" y="368"/>
                  </a:lnTo>
                  <a:lnTo>
                    <a:pt x="434" y="368"/>
                  </a:lnTo>
                  <a:lnTo>
                    <a:pt x="434" y="372"/>
                  </a:lnTo>
                  <a:lnTo>
                    <a:pt x="434" y="372"/>
                  </a:lnTo>
                  <a:lnTo>
                    <a:pt x="430" y="372"/>
                  </a:lnTo>
                  <a:lnTo>
                    <a:pt x="430" y="372"/>
                  </a:lnTo>
                  <a:lnTo>
                    <a:pt x="430" y="372"/>
                  </a:lnTo>
                  <a:lnTo>
                    <a:pt x="430" y="372"/>
                  </a:lnTo>
                  <a:lnTo>
                    <a:pt x="430" y="372"/>
                  </a:lnTo>
                  <a:lnTo>
                    <a:pt x="430" y="372"/>
                  </a:lnTo>
                  <a:lnTo>
                    <a:pt x="430" y="377"/>
                  </a:lnTo>
                  <a:lnTo>
                    <a:pt x="430" y="377"/>
                  </a:lnTo>
                  <a:lnTo>
                    <a:pt x="430" y="377"/>
                  </a:lnTo>
                  <a:lnTo>
                    <a:pt x="430" y="377"/>
                  </a:lnTo>
                  <a:lnTo>
                    <a:pt x="430" y="377"/>
                  </a:lnTo>
                  <a:lnTo>
                    <a:pt x="430" y="377"/>
                  </a:lnTo>
                  <a:lnTo>
                    <a:pt x="425" y="381"/>
                  </a:lnTo>
                  <a:close/>
                  <a:moveTo>
                    <a:pt x="399" y="350"/>
                  </a:moveTo>
                  <a:lnTo>
                    <a:pt x="399" y="350"/>
                  </a:lnTo>
                  <a:lnTo>
                    <a:pt x="394" y="350"/>
                  </a:lnTo>
                  <a:lnTo>
                    <a:pt x="394" y="350"/>
                  </a:lnTo>
                  <a:lnTo>
                    <a:pt x="399" y="350"/>
                  </a:lnTo>
                  <a:lnTo>
                    <a:pt x="399" y="350"/>
                  </a:lnTo>
                  <a:lnTo>
                    <a:pt x="399" y="350"/>
                  </a:lnTo>
                  <a:lnTo>
                    <a:pt x="399" y="350"/>
                  </a:lnTo>
                  <a:lnTo>
                    <a:pt x="399" y="350"/>
                  </a:lnTo>
                  <a:lnTo>
                    <a:pt x="399" y="350"/>
                  </a:lnTo>
                  <a:lnTo>
                    <a:pt x="399" y="350"/>
                  </a:lnTo>
                  <a:lnTo>
                    <a:pt x="399" y="350"/>
                  </a:lnTo>
                  <a:close/>
                  <a:moveTo>
                    <a:pt x="430" y="350"/>
                  </a:moveTo>
                  <a:lnTo>
                    <a:pt x="430" y="350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46"/>
                  </a:lnTo>
                  <a:lnTo>
                    <a:pt x="434" y="346"/>
                  </a:lnTo>
                  <a:lnTo>
                    <a:pt x="434" y="346"/>
                  </a:lnTo>
                  <a:lnTo>
                    <a:pt x="434" y="346"/>
                  </a:lnTo>
                  <a:lnTo>
                    <a:pt x="434" y="346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close/>
                  <a:moveTo>
                    <a:pt x="115" y="341"/>
                  </a:moveTo>
                  <a:lnTo>
                    <a:pt x="111" y="341"/>
                  </a:lnTo>
                  <a:lnTo>
                    <a:pt x="111" y="341"/>
                  </a:lnTo>
                  <a:lnTo>
                    <a:pt x="111" y="341"/>
                  </a:lnTo>
                  <a:lnTo>
                    <a:pt x="115" y="341"/>
                  </a:lnTo>
                  <a:lnTo>
                    <a:pt x="115" y="341"/>
                  </a:lnTo>
                  <a:lnTo>
                    <a:pt x="115" y="341"/>
                  </a:lnTo>
                  <a:lnTo>
                    <a:pt x="115" y="341"/>
                  </a:lnTo>
                  <a:lnTo>
                    <a:pt x="115" y="341"/>
                  </a:lnTo>
                  <a:lnTo>
                    <a:pt x="115" y="341"/>
                  </a:lnTo>
                  <a:lnTo>
                    <a:pt x="115" y="341"/>
                  </a:lnTo>
                  <a:lnTo>
                    <a:pt x="115" y="341"/>
                  </a:lnTo>
                  <a:lnTo>
                    <a:pt x="115" y="341"/>
                  </a:lnTo>
                  <a:close/>
                  <a:moveTo>
                    <a:pt x="297" y="341"/>
                  </a:moveTo>
                  <a:lnTo>
                    <a:pt x="297" y="341"/>
                  </a:lnTo>
                  <a:lnTo>
                    <a:pt x="297" y="341"/>
                  </a:lnTo>
                  <a:lnTo>
                    <a:pt x="301" y="346"/>
                  </a:lnTo>
                  <a:lnTo>
                    <a:pt x="306" y="346"/>
                  </a:lnTo>
                  <a:lnTo>
                    <a:pt x="306" y="346"/>
                  </a:lnTo>
                  <a:lnTo>
                    <a:pt x="306" y="346"/>
                  </a:lnTo>
                  <a:lnTo>
                    <a:pt x="306" y="341"/>
                  </a:lnTo>
                  <a:lnTo>
                    <a:pt x="306" y="341"/>
                  </a:lnTo>
                  <a:lnTo>
                    <a:pt x="306" y="341"/>
                  </a:lnTo>
                  <a:lnTo>
                    <a:pt x="306" y="341"/>
                  </a:lnTo>
                  <a:lnTo>
                    <a:pt x="306" y="341"/>
                  </a:lnTo>
                  <a:lnTo>
                    <a:pt x="306" y="341"/>
                  </a:lnTo>
                  <a:lnTo>
                    <a:pt x="301" y="341"/>
                  </a:lnTo>
                  <a:lnTo>
                    <a:pt x="301" y="341"/>
                  </a:lnTo>
                  <a:lnTo>
                    <a:pt x="301" y="341"/>
                  </a:lnTo>
                  <a:lnTo>
                    <a:pt x="301" y="337"/>
                  </a:lnTo>
                  <a:lnTo>
                    <a:pt x="301" y="337"/>
                  </a:lnTo>
                  <a:lnTo>
                    <a:pt x="297" y="337"/>
                  </a:lnTo>
                  <a:lnTo>
                    <a:pt x="297" y="337"/>
                  </a:lnTo>
                  <a:lnTo>
                    <a:pt x="297" y="341"/>
                  </a:lnTo>
                  <a:lnTo>
                    <a:pt x="297" y="341"/>
                  </a:lnTo>
                  <a:lnTo>
                    <a:pt x="297" y="341"/>
                  </a:lnTo>
                  <a:lnTo>
                    <a:pt x="297" y="341"/>
                  </a:lnTo>
                  <a:lnTo>
                    <a:pt x="297" y="341"/>
                  </a:lnTo>
                  <a:lnTo>
                    <a:pt x="297" y="341"/>
                  </a:lnTo>
                  <a:lnTo>
                    <a:pt x="297" y="341"/>
                  </a:lnTo>
                  <a:close/>
                  <a:moveTo>
                    <a:pt x="111" y="337"/>
                  </a:move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41"/>
                  </a:lnTo>
                  <a:lnTo>
                    <a:pt x="111" y="341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close/>
                  <a:moveTo>
                    <a:pt x="394" y="341"/>
                  </a:moveTo>
                  <a:lnTo>
                    <a:pt x="394" y="341"/>
                  </a:lnTo>
                  <a:lnTo>
                    <a:pt x="399" y="337"/>
                  </a:lnTo>
                  <a:lnTo>
                    <a:pt x="399" y="337"/>
                  </a:lnTo>
                  <a:lnTo>
                    <a:pt x="407" y="332"/>
                  </a:lnTo>
                  <a:lnTo>
                    <a:pt x="407" y="332"/>
                  </a:lnTo>
                  <a:lnTo>
                    <a:pt x="407" y="332"/>
                  </a:lnTo>
                  <a:lnTo>
                    <a:pt x="403" y="332"/>
                  </a:lnTo>
                  <a:lnTo>
                    <a:pt x="403" y="328"/>
                  </a:lnTo>
                  <a:lnTo>
                    <a:pt x="403" y="328"/>
                  </a:lnTo>
                  <a:lnTo>
                    <a:pt x="399" y="332"/>
                  </a:lnTo>
                  <a:lnTo>
                    <a:pt x="394" y="332"/>
                  </a:lnTo>
                  <a:lnTo>
                    <a:pt x="394" y="332"/>
                  </a:lnTo>
                  <a:lnTo>
                    <a:pt x="390" y="337"/>
                  </a:lnTo>
                  <a:lnTo>
                    <a:pt x="390" y="337"/>
                  </a:lnTo>
                  <a:lnTo>
                    <a:pt x="390" y="337"/>
                  </a:lnTo>
                  <a:lnTo>
                    <a:pt x="390" y="337"/>
                  </a:lnTo>
                  <a:lnTo>
                    <a:pt x="385" y="337"/>
                  </a:lnTo>
                  <a:lnTo>
                    <a:pt x="385" y="337"/>
                  </a:lnTo>
                  <a:lnTo>
                    <a:pt x="385" y="337"/>
                  </a:lnTo>
                  <a:lnTo>
                    <a:pt x="385" y="337"/>
                  </a:lnTo>
                  <a:lnTo>
                    <a:pt x="385" y="341"/>
                  </a:lnTo>
                  <a:lnTo>
                    <a:pt x="385" y="337"/>
                  </a:lnTo>
                  <a:lnTo>
                    <a:pt x="385" y="341"/>
                  </a:lnTo>
                  <a:lnTo>
                    <a:pt x="385" y="341"/>
                  </a:lnTo>
                  <a:lnTo>
                    <a:pt x="385" y="341"/>
                  </a:lnTo>
                  <a:lnTo>
                    <a:pt x="385" y="346"/>
                  </a:lnTo>
                  <a:lnTo>
                    <a:pt x="385" y="346"/>
                  </a:lnTo>
                  <a:lnTo>
                    <a:pt x="390" y="346"/>
                  </a:lnTo>
                  <a:lnTo>
                    <a:pt x="385" y="346"/>
                  </a:lnTo>
                  <a:lnTo>
                    <a:pt x="385" y="341"/>
                  </a:lnTo>
                  <a:lnTo>
                    <a:pt x="390" y="341"/>
                  </a:lnTo>
                  <a:lnTo>
                    <a:pt x="390" y="341"/>
                  </a:lnTo>
                  <a:lnTo>
                    <a:pt x="390" y="341"/>
                  </a:lnTo>
                  <a:lnTo>
                    <a:pt x="390" y="341"/>
                  </a:lnTo>
                  <a:lnTo>
                    <a:pt x="390" y="337"/>
                  </a:lnTo>
                  <a:lnTo>
                    <a:pt x="394" y="337"/>
                  </a:lnTo>
                  <a:lnTo>
                    <a:pt x="394" y="341"/>
                  </a:lnTo>
                  <a:lnTo>
                    <a:pt x="394" y="341"/>
                  </a:lnTo>
                  <a:close/>
                  <a:moveTo>
                    <a:pt x="288" y="324"/>
                  </a:moveTo>
                  <a:lnTo>
                    <a:pt x="288" y="328"/>
                  </a:lnTo>
                  <a:lnTo>
                    <a:pt x="288" y="328"/>
                  </a:lnTo>
                  <a:lnTo>
                    <a:pt x="288" y="328"/>
                  </a:lnTo>
                  <a:lnTo>
                    <a:pt x="288" y="324"/>
                  </a:lnTo>
                  <a:lnTo>
                    <a:pt x="288" y="324"/>
                  </a:lnTo>
                  <a:lnTo>
                    <a:pt x="288" y="324"/>
                  </a:lnTo>
                  <a:lnTo>
                    <a:pt x="288" y="319"/>
                  </a:lnTo>
                  <a:lnTo>
                    <a:pt x="288" y="319"/>
                  </a:lnTo>
                  <a:lnTo>
                    <a:pt x="288" y="319"/>
                  </a:lnTo>
                  <a:lnTo>
                    <a:pt x="283" y="324"/>
                  </a:lnTo>
                  <a:lnTo>
                    <a:pt x="283" y="324"/>
                  </a:lnTo>
                  <a:lnTo>
                    <a:pt x="283" y="324"/>
                  </a:lnTo>
                  <a:lnTo>
                    <a:pt x="288" y="324"/>
                  </a:lnTo>
                  <a:close/>
                  <a:moveTo>
                    <a:pt x="266" y="324"/>
                  </a:moveTo>
                  <a:lnTo>
                    <a:pt x="266" y="328"/>
                  </a:lnTo>
                  <a:lnTo>
                    <a:pt x="266" y="328"/>
                  </a:lnTo>
                  <a:lnTo>
                    <a:pt x="270" y="328"/>
                  </a:lnTo>
                  <a:lnTo>
                    <a:pt x="270" y="328"/>
                  </a:lnTo>
                  <a:lnTo>
                    <a:pt x="270" y="328"/>
                  </a:lnTo>
                  <a:lnTo>
                    <a:pt x="270" y="328"/>
                  </a:lnTo>
                  <a:lnTo>
                    <a:pt x="270" y="328"/>
                  </a:lnTo>
                  <a:lnTo>
                    <a:pt x="270" y="328"/>
                  </a:lnTo>
                  <a:lnTo>
                    <a:pt x="270" y="324"/>
                  </a:lnTo>
                  <a:lnTo>
                    <a:pt x="270" y="324"/>
                  </a:lnTo>
                  <a:lnTo>
                    <a:pt x="270" y="319"/>
                  </a:lnTo>
                  <a:lnTo>
                    <a:pt x="266" y="319"/>
                  </a:lnTo>
                  <a:lnTo>
                    <a:pt x="266" y="324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6" y="324"/>
                  </a:lnTo>
                  <a:lnTo>
                    <a:pt x="266" y="324"/>
                  </a:lnTo>
                  <a:lnTo>
                    <a:pt x="266" y="324"/>
                  </a:lnTo>
                  <a:lnTo>
                    <a:pt x="266" y="324"/>
                  </a:lnTo>
                  <a:lnTo>
                    <a:pt x="266" y="324"/>
                  </a:lnTo>
                  <a:lnTo>
                    <a:pt x="266" y="324"/>
                  </a:lnTo>
                  <a:close/>
                  <a:moveTo>
                    <a:pt x="385" y="328"/>
                  </a:moveTo>
                  <a:lnTo>
                    <a:pt x="385" y="328"/>
                  </a:lnTo>
                  <a:lnTo>
                    <a:pt x="385" y="328"/>
                  </a:lnTo>
                  <a:lnTo>
                    <a:pt x="385" y="328"/>
                  </a:lnTo>
                  <a:lnTo>
                    <a:pt x="385" y="328"/>
                  </a:lnTo>
                  <a:lnTo>
                    <a:pt x="385" y="328"/>
                  </a:lnTo>
                  <a:lnTo>
                    <a:pt x="385" y="328"/>
                  </a:lnTo>
                  <a:lnTo>
                    <a:pt x="385" y="328"/>
                  </a:lnTo>
                  <a:lnTo>
                    <a:pt x="385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19"/>
                  </a:lnTo>
                  <a:lnTo>
                    <a:pt x="390" y="319"/>
                  </a:lnTo>
                  <a:lnTo>
                    <a:pt x="390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24"/>
                  </a:lnTo>
                  <a:lnTo>
                    <a:pt x="385" y="324"/>
                  </a:lnTo>
                  <a:lnTo>
                    <a:pt x="385" y="324"/>
                  </a:lnTo>
                  <a:lnTo>
                    <a:pt x="385" y="324"/>
                  </a:lnTo>
                  <a:lnTo>
                    <a:pt x="385" y="324"/>
                  </a:lnTo>
                  <a:lnTo>
                    <a:pt x="385" y="324"/>
                  </a:lnTo>
                  <a:lnTo>
                    <a:pt x="385" y="324"/>
                  </a:lnTo>
                  <a:lnTo>
                    <a:pt x="385" y="324"/>
                  </a:lnTo>
                  <a:lnTo>
                    <a:pt x="385" y="328"/>
                  </a:lnTo>
                  <a:lnTo>
                    <a:pt x="385" y="328"/>
                  </a:lnTo>
                  <a:close/>
                  <a:moveTo>
                    <a:pt x="328" y="315"/>
                  </a:moveTo>
                  <a:lnTo>
                    <a:pt x="328" y="315"/>
                  </a:lnTo>
                  <a:lnTo>
                    <a:pt x="328" y="315"/>
                  </a:lnTo>
                  <a:lnTo>
                    <a:pt x="323" y="315"/>
                  </a:lnTo>
                  <a:lnTo>
                    <a:pt x="328" y="319"/>
                  </a:lnTo>
                  <a:lnTo>
                    <a:pt x="328" y="319"/>
                  </a:lnTo>
                  <a:lnTo>
                    <a:pt x="328" y="319"/>
                  </a:lnTo>
                  <a:lnTo>
                    <a:pt x="328" y="315"/>
                  </a:lnTo>
                  <a:lnTo>
                    <a:pt x="328" y="315"/>
                  </a:lnTo>
                  <a:lnTo>
                    <a:pt x="328" y="319"/>
                  </a:lnTo>
                  <a:lnTo>
                    <a:pt x="328" y="319"/>
                  </a:lnTo>
                  <a:lnTo>
                    <a:pt x="328" y="315"/>
                  </a:lnTo>
                  <a:lnTo>
                    <a:pt x="328" y="315"/>
                  </a:lnTo>
                  <a:lnTo>
                    <a:pt x="328" y="315"/>
                  </a:lnTo>
                  <a:lnTo>
                    <a:pt x="328" y="315"/>
                  </a:lnTo>
                  <a:lnTo>
                    <a:pt x="328" y="315"/>
                  </a:lnTo>
                  <a:lnTo>
                    <a:pt x="328" y="315"/>
                  </a:lnTo>
                  <a:close/>
                  <a:moveTo>
                    <a:pt x="292" y="324"/>
                  </a:moveTo>
                  <a:lnTo>
                    <a:pt x="297" y="324"/>
                  </a:lnTo>
                  <a:lnTo>
                    <a:pt x="297" y="324"/>
                  </a:lnTo>
                  <a:lnTo>
                    <a:pt x="297" y="324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301" y="315"/>
                  </a:lnTo>
                  <a:lnTo>
                    <a:pt x="301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2" y="315"/>
                  </a:lnTo>
                  <a:lnTo>
                    <a:pt x="292" y="315"/>
                  </a:lnTo>
                  <a:lnTo>
                    <a:pt x="292" y="319"/>
                  </a:lnTo>
                  <a:lnTo>
                    <a:pt x="292" y="319"/>
                  </a:lnTo>
                  <a:lnTo>
                    <a:pt x="292" y="319"/>
                  </a:lnTo>
                  <a:lnTo>
                    <a:pt x="292" y="319"/>
                  </a:lnTo>
                  <a:lnTo>
                    <a:pt x="292" y="319"/>
                  </a:lnTo>
                  <a:lnTo>
                    <a:pt x="288" y="319"/>
                  </a:lnTo>
                  <a:lnTo>
                    <a:pt x="288" y="324"/>
                  </a:lnTo>
                  <a:lnTo>
                    <a:pt x="288" y="324"/>
                  </a:lnTo>
                  <a:lnTo>
                    <a:pt x="288" y="324"/>
                  </a:lnTo>
                  <a:lnTo>
                    <a:pt x="292" y="324"/>
                  </a:lnTo>
                  <a:lnTo>
                    <a:pt x="292" y="324"/>
                  </a:lnTo>
                  <a:lnTo>
                    <a:pt x="292" y="324"/>
                  </a:lnTo>
                  <a:lnTo>
                    <a:pt x="292" y="324"/>
                  </a:lnTo>
                  <a:lnTo>
                    <a:pt x="292" y="324"/>
                  </a:lnTo>
                  <a:close/>
                  <a:moveTo>
                    <a:pt x="381" y="315"/>
                  </a:moveTo>
                  <a:lnTo>
                    <a:pt x="381" y="315"/>
                  </a:lnTo>
                  <a:lnTo>
                    <a:pt x="381" y="319"/>
                  </a:lnTo>
                  <a:lnTo>
                    <a:pt x="381" y="319"/>
                  </a:lnTo>
                  <a:lnTo>
                    <a:pt x="381" y="319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5" y="315"/>
                  </a:lnTo>
                  <a:lnTo>
                    <a:pt x="385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76" y="310"/>
                  </a:lnTo>
                  <a:lnTo>
                    <a:pt x="376" y="310"/>
                  </a:lnTo>
                  <a:lnTo>
                    <a:pt x="376" y="310"/>
                  </a:lnTo>
                  <a:lnTo>
                    <a:pt x="376" y="310"/>
                  </a:lnTo>
                  <a:lnTo>
                    <a:pt x="376" y="315"/>
                  </a:lnTo>
                  <a:lnTo>
                    <a:pt x="376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close/>
                  <a:moveTo>
                    <a:pt x="310" y="328"/>
                  </a:moveTo>
                  <a:lnTo>
                    <a:pt x="310" y="324"/>
                  </a:lnTo>
                  <a:lnTo>
                    <a:pt x="314" y="324"/>
                  </a:lnTo>
                  <a:lnTo>
                    <a:pt x="314" y="324"/>
                  </a:lnTo>
                  <a:lnTo>
                    <a:pt x="314" y="324"/>
                  </a:lnTo>
                  <a:lnTo>
                    <a:pt x="314" y="319"/>
                  </a:lnTo>
                  <a:lnTo>
                    <a:pt x="314" y="319"/>
                  </a:lnTo>
                  <a:lnTo>
                    <a:pt x="314" y="315"/>
                  </a:lnTo>
                  <a:lnTo>
                    <a:pt x="314" y="315"/>
                  </a:lnTo>
                  <a:lnTo>
                    <a:pt x="314" y="315"/>
                  </a:lnTo>
                  <a:lnTo>
                    <a:pt x="314" y="310"/>
                  </a:lnTo>
                  <a:lnTo>
                    <a:pt x="314" y="310"/>
                  </a:lnTo>
                  <a:lnTo>
                    <a:pt x="310" y="310"/>
                  </a:lnTo>
                  <a:lnTo>
                    <a:pt x="310" y="310"/>
                  </a:lnTo>
                  <a:lnTo>
                    <a:pt x="310" y="310"/>
                  </a:lnTo>
                  <a:lnTo>
                    <a:pt x="310" y="310"/>
                  </a:lnTo>
                  <a:lnTo>
                    <a:pt x="310" y="310"/>
                  </a:lnTo>
                  <a:lnTo>
                    <a:pt x="310" y="310"/>
                  </a:lnTo>
                  <a:lnTo>
                    <a:pt x="310" y="315"/>
                  </a:lnTo>
                  <a:lnTo>
                    <a:pt x="306" y="315"/>
                  </a:lnTo>
                  <a:lnTo>
                    <a:pt x="301" y="319"/>
                  </a:lnTo>
                  <a:lnTo>
                    <a:pt x="301" y="319"/>
                  </a:lnTo>
                  <a:lnTo>
                    <a:pt x="301" y="319"/>
                  </a:lnTo>
                  <a:lnTo>
                    <a:pt x="301" y="319"/>
                  </a:lnTo>
                  <a:lnTo>
                    <a:pt x="301" y="319"/>
                  </a:lnTo>
                  <a:lnTo>
                    <a:pt x="301" y="319"/>
                  </a:lnTo>
                  <a:lnTo>
                    <a:pt x="301" y="319"/>
                  </a:lnTo>
                  <a:lnTo>
                    <a:pt x="301" y="319"/>
                  </a:lnTo>
                  <a:lnTo>
                    <a:pt x="301" y="319"/>
                  </a:lnTo>
                  <a:lnTo>
                    <a:pt x="306" y="319"/>
                  </a:lnTo>
                  <a:lnTo>
                    <a:pt x="306" y="319"/>
                  </a:lnTo>
                  <a:lnTo>
                    <a:pt x="306" y="324"/>
                  </a:lnTo>
                  <a:lnTo>
                    <a:pt x="306" y="324"/>
                  </a:lnTo>
                  <a:lnTo>
                    <a:pt x="306" y="324"/>
                  </a:lnTo>
                  <a:lnTo>
                    <a:pt x="306" y="324"/>
                  </a:lnTo>
                  <a:lnTo>
                    <a:pt x="306" y="324"/>
                  </a:lnTo>
                  <a:lnTo>
                    <a:pt x="306" y="324"/>
                  </a:lnTo>
                  <a:lnTo>
                    <a:pt x="306" y="324"/>
                  </a:lnTo>
                  <a:lnTo>
                    <a:pt x="306" y="324"/>
                  </a:lnTo>
                  <a:lnTo>
                    <a:pt x="306" y="324"/>
                  </a:lnTo>
                  <a:lnTo>
                    <a:pt x="306" y="328"/>
                  </a:lnTo>
                  <a:lnTo>
                    <a:pt x="306" y="328"/>
                  </a:lnTo>
                  <a:lnTo>
                    <a:pt x="306" y="328"/>
                  </a:lnTo>
                  <a:lnTo>
                    <a:pt x="306" y="328"/>
                  </a:lnTo>
                  <a:lnTo>
                    <a:pt x="306" y="328"/>
                  </a:lnTo>
                  <a:lnTo>
                    <a:pt x="306" y="328"/>
                  </a:lnTo>
                  <a:lnTo>
                    <a:pt x="310" y="328"/>
                  </a:lnTo>
                  <a:lnTo>
                    <a:pt x="310" y="328"/>
                  </a:lnTo>
                  <a:lnTo>
                    <a:pt x="310" y="328"/>
                  </a:lnTo>
                  <a:lnTo>
                    <a:pt x="310" y="328"/>
                  </a:lnTo>
                  <a:close/>
                  <a:moveTo>
                    <a:pt x="257" y="315"/>
                  </a:moveTo>
                  <a:lnTo>
                    <a:pt x="261" y="315"/>
                  </a:lnTo>
                  <a:lnTo>
                    <a:pt x="261" y="310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2" y="310"/>
                  </a:lnTo>
                  <a:lnTo>
                    <a:pt x="252" y="310"/>
                  </a:lnTo>
                  <a:lnTo>
                    <a:pt x="252" y="310"/>
                  </a:lnTo>
                  <a:lnTo>
                    <a:pt x="252" y="310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close/>
                  <a:moveTo>
                    <a:pt x="186" y="306"/>
                  </a:move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2" y="306"/>
                  </a:lnTo>
                  <a:lnTo>
                    <a:pt x="182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close/>
                  <a:moveTo>
                    <a:pt x="204" y="301"/>
                  </a:moveTo>
                  <a:lnTo>
                    <a:pt x="208" y="301"/>
                  </a:lnTo>
                  <a:lnTo>
                    <a:pt x="208" y="301"/>
                  </a:lnTo>
                  <a:lnTo>
                    <a:pt x="208" y="297"/>
                  </a:lnTo>
                  <a:lnTo>
                    <a:pt x="208" y="297"/>
                  </a:lnTo>
                  <a:lnTo>
                    <a:pt x="208" y="301"/>
                  </a:lnTo>
                  <a:lnTo>
                    <a:pt x="204" y="301"/>
                  </a:lnTo>
                  <a:lnTo>
                    <a:pt x="204" y="301"/>
                  </a:lnTo>
                  <a:lnTo>
                    <a:pt x="199" y="301"/>
                  </a:lnTo>
                  <a:lnTo>
                    <a:pt x="199" y="301"/>
                  </a:lnTo>
                  <a:lnTo>
                    <a:pt x="199" y="301"/>
                  </a:lnTo>
                  <a:lnTo>
                    <a:pt x="204" y="301"/>
                  </a:lnTo>
                  <a:lnTo>
                    <a:pt x="204" y="301"/>
                  </a:lnTo>
                  <a:lnTo>
                    <a:pt x="204" y="301"/>
                  </a:lnTo>
                  <a:lnTo>
                    <a:pt x="204" y="301"/>
                  </a:lnTo>
                  <a:lnTo>
                    <a:pt x="204" y="301"/>
                  </a:lnTo>
                  <a:lnTo>
                    <a:pt x="204" y="301"/>
                  </a:lnTo>
                  <a:close/>
                  <a:moveTo>
                    <a:pt x="252" y="301"/>
                  </a:moveTo>
                  <a:lnTo>
                    <a:pt x="252" y="301"/>
                  </a:lnTo>
                  <a:lnTo>
                    <a:pt x="252" y="301"/>
                  </a:lnTo>
                  <a:lnTo>
                    <a:pt x="252" y="301"/>
                  </a:lnTo>
                  <a:lnTo>
                    <a:pt x="252" y="301"/>
                  </a:lnTo>
                  <a:lnTo>
                    <a:pt x="252" y="301"/>
                  </a:lnTo>
                  <a:lnTo>
                    <a:pt x="252" y="301"/>
                  </a:lnTo>
                  <a:lnTo>
                    <a:pt x="252" y="301"/>
                  </a:lnTo>
                  <a:lnTo>
                    <a:pt x="257" y="297"/>
                  </a:lnTo>
                  <a:lnTo>
                    <a:pt x="257" y="297"/>
                  </a:lnTo>
                  <a:lnTo>
                    <a:pt x="257" y="297"/>
                  </a:lnTo>
                  <a:lnTo>
                    <a:pt x="257" y="297"/>
                  </a:lnTo>
                  <a:lnTo>
                    <a:pt x="257" y="297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301"/>
                  </a:lnTo>
                  <a:close/>
                  <a:moveTo>
                    <a:pt x="306" y="297"/>
                  </a:moveTo>
                  <a:lnTo>
                    <a:pt x="306" y="297"/>
                  </a:lnTo>
                  <a:lnTo>
                    <a:pt x="306" y="297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10" y="293"/>
                  </a:lnTo>
                  <a:lnTo>
                    <a:pt x="310" y="293"/>
                  </a:lnTo>
                  <a:lnTo>
                    <a:pt x="310" y="293"/>
                  </a:lnTo>
                  <a:lnTo>
                    <a:pt x="310" y="293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01" y="288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7"/>
                  </a:lnTo>
                  <a:lnTo>
                    <a:pt x="301" y="297"/>
                  </a:lnTo>
                  <a:lnTo>
                    <a:pt x="301" y="297"/>
                  </a:lnTo>
                  <a:lnTo>
                    <a:pt x="301" y="297"/>
                  </a:lnTo>
                  <a:lnTo>
                    <a:pt x="301" y="297"/>
                  </a:lnTo>
                  <a:lnTo>
                    <a:pt x="306" y="297"/>
                  </a:lnTo>
                  <a:close/>
                  <a:moveTo>
                    <a:pt x="283" y="297"/>
                  </a:moveTo>
                  <a:lnTo>
                    <a:pt x="283" y="297"/>
                  </a:lnTo>
                  <a:lnTo>
                    <a:pt x="283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3"/>
                  </a:lnTo>
                  <a:lnTo>
                    <a:pt x="279" y="293"/>
                  </a:lnTo>
                  <a:lnTo>
                    <a:pt x="283" y="293"/>
                  </a:lnTo>
                  <a:lnTo>
                    <a:pt x="283" y="293"/>
                  </a:lnTo>
                  <a:lnTo>
                    <a:pt x="283" y="293"/>
                  </a:lnTo>
                  <a:lnTo>
                    <a:pt x="279" y="293"/>
                  </a:lnTo>
                  <a:lnTo>
                    <a:pt x="279" y="293"/>
                  </a:lnTo>
                  <a:lnTo>
                    <a:pt x="279" y="288"/>
                  </a:lnTo>
                  <a:lnTo>
                    <a:pt x="279" y="288"/>
                  </a:lnTo>
                  <a:lnTo>
                    <a:pt x="279" y="288"/>
                  </a:lnTo>
                  <a:lnTo>
                    <a:pt x="279" y="288"/>
                  </a:lnTo>
                  <a:lnTo>
                    <a:pt x="279" y="293"/>
                  </a:lnTo>
                  <a:lnTo>
                    <a:pt x="279" y="293"/>
                  </a:lnTo>
                  <a:lnTo>
                    <a:pt x="279" y="293"/>
                  </a:lnTo>
                  <a:lnTo>
                    <a:pt x="279" y="293"/>
                  </a:lnTo>
                  <a:lnTo>
                    <a:pt x="275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5" y="297"/>
                  </a:lnTo>
                  <a:lnTo>
                    <a:pt x="275" y="297"/>
                  </a:lnTo>
                  <a:lnTo>
                    <a:pt x="275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301"/>
                  </a:lnTo>
                  <a:lnTo>
                    <a:pt x="279" y="297"/>
                  </a:lnTo>
                  <a:lnTo>
                    <a:pt x="283" y="297"/>
                  </a:lnTo>
                  <a:lnTo>
                    <a:pt x="283" y="297"/>
                  </a:lnTo>
                  <a:lnTo>
                    <a:pt x="283" y="297"/>
                  </a:lnTo>
                  <a:close/>
                  <a:moveTo>
                    <a:pt x="204" y="288"/>
                  </a:moveTo>
                  <a:lnTo>
                    <a:pt x="204" y="288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204" y="288"/>
                  </a:lnTo>
                  <a:close/>
                  <a:moveTo>
                    <a:pt x="283" y="279"/>
                  </a:moveTo>
                  <a:lnTo>
                    <a:pt x="283" y="279"/>
                  </a:lnTo>
                  <a:lnTo>
                    <a:pt x="283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8"/>
                  </a:lnTo>
                  <a:lnTo>
                    <a:pt x="292" y="288"/>
                  </a:lnTo>
                  <a:lnTo>
                    <a:pt x="292" y="288"/>
                  </a:lnTo>
                  <a:lnTo>
                    <a:pt x="292" y="288"/>
                  </a:lnTo>
                  <a:lnTo>
                    <a:pt x="297" y="288"/>
                  </a:lnTo>
                  <a:lnTo>
                    <a:pt x="297" y="288"/>
                  </a:lnTo>
                  <a:lnTo>
                    <a:pt x="297" y="288"/>
                  </a:lnTo>
                  <a:lnTo>
                    <a:pt x="297" y="284"/>
                  </a:lnTo>
                  <a:lnTo>
                    <a:pt x="297" y="284"/>
                  </a:lnTo>
                  <a:lnTo>
                    <a:pt x="297" y="284"/>
                  </a:lnTo>
                  <a:lnTo>
                    <a:pt x="297" y="284"/>
                  </a:lnTo>
                  <a:lnTo>
                    <a:pt x="297" y="284"/>
                  </a:lnTo>
                  <a:lnTo>
                    <a:pt x="297" y="284"/>
                  </a:lnTo>
                  <a:lnTo>
                    <a:pt x="297" y="284"/>
                  </a:lnTo>
                  <a:lnTo>
                    <a:pt x="292" y="279"/>
                  </a:lnTo>
                  <a:lnTo>
                    <a:pt x="292" y="279"/>
                  </a:lnTo>
                  <a:lnTo>
                    <a:pt x="292" y="284"/>
                  </a:lnTo>
                  <a:lnTo>
                    <a:pt x="292" y="279"/>
                  </a:lnTo>
                  <a:lnTo>
                    <a:pt x="292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3" y="279"/>
                  </a:lnTo>
                  <a:lnTo>
                    <a:pt x="283" y="279"/>
                  </a:lnTo>
                  <a:lnTo>
                    <a:pt x="283" y="279"/>
                  </a:lnTo>
                  <a:lnTo>
                    <a:pt x="283" y="279"/>
                  </a:lnTo>
                  <a:lnTo>
                    <a:pt x="283" y="279"/>
                  </a:lnTo>
                  <a:close/>
                  <a:moveTo>
                    <a:pt x="244" y="288"/>
                  </a:moveTo>
                  <a:lnTo>
                    <a:pt x="248" y="288"/>
                  </a:lnTo>
                  <a:lnTo>
                    <a:pt x="248" y="288"/>
                  </a:lnTo>
                  <a:lnTo>
                    <a:pt x="248" y="284"/>
                  </a:lnTo>
                  <a:lnTo>
                    <a:pt x="252" y="284"/>
                  </a:lnTo>
                  <a:lnTo>
                    <a:pt x="252" y="284"/>
                  </a:lnTo>
                  <a:lnTo>
                    <a:pt x="252" y="279"/>
                  </a:lnTo>
                  <a:lnTo>
                    <a:pt x="252" y="279"/>
                  </a:lnTo>
                  <a:lnTo>
                    <a:pt x="252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4" y="284"/>
                  </a:lnTo>
                  <a:lnTo>
                    <a:pt x="244" y="284"/>
                  </a:lnTo>
                  <a:lnTo>
                    <a:pt x="244" y="284"/>
                  </a:lnTo>
                  <a:lnTo>
                    <a:pt x="244" y="288"/>
                  </a:lnTo>
                  <a:lnTo>
                    <a:pt x="244" y="288"/>
                  </a:lnTo>
                  <a:close/>
                  <a:moveTo>
                    <a:pt x="341" y="288"/>
                  </a:moveTo>
                  <a:lnTo>
                    <a:pt x="341" y="288"/>
                  </a:lnTo>
                  <a:lnTo>
                    <a:pt x="341" y="288"/>
                  </a:lnTo>
                  <a:lnTo>
                    <a:pt x="350" y="288"/>
                  </a:lnTo>
                  <a:lnTo>
                    <a:pt x="350" y="284"/>
                  </a:lnTo>
                  <a:lnTo>
                    <a:pt x="354" y="284"/>
                  </a:lnTo>
                  <a:lnTo>
                    <a:pt x="354" y="279"/>
                  </a:lnTo>
                  <a:lnTo>
                    <a:pt x="354" y="279"/>
                  </a:lnTo>
                  <a:lnTo>
                    <a:pt x="354" y="279"/>
                  </a:lnTo>
                  <a:lnTo>
                    <a:pt x="350" y="279"/>
                  </a:lnTo>
                  <a:lnTo>
                    <a:pt x="350" y="279"/>
                  </a:lnTo>
                  <a:lnTo>
                    <a:pt x="350" y="279"/>
                  </a:lnTo>
                  <a:lnTo>
                    <a:pt x="345" y="284"/>
                  </a:lnTo>
                  <a:lnTo>
                    <a:pt x="345" y="279"/>
                  </a:lnTo>
                  <a:lnTo>
                    <a:pt x="345" y="284"/>
                  </a:lnTo>
                  <a:lnTo>
                    <a:pt x="341" y="279"/>
                  </a:lnTo>
                  <a:lnTo>
                    <a:pt x="341" y="279"/>
                  </a:lnTo>
                  <a:lnTo>
                    <a:pt x="341" y="284"/>
                  </a:lnTo>
                  <a:lnTo>
                    <a:pt x="337" y="284"/>
                  </a:lnTo>
                  <a:lnTo>
                    <a:pt x="337" y="284"/>
                  </a:lnTo>
                  <a:lnTo>
                    <a:pt x="337" y="284"/>
                  </a:lnTo>
                  <a:lnTo>
                    <a:pt x="337" y="284"/>
                  </a:lnTo>
                  <a:lnTo>
                    <a:pt x="337" y="288"/>
                  </a:lnTo>
                  <a:lnTo>
                    <a:pt x="337" y="288"/>
                  </a:lnTo>
                  <a:lnTo>
                    <a:pt x="337" y="288"/>
                  </a:lnTo>
                  <a:lnTo>
                    <a:pt x="337" y="288"/>
                  </a:lnTo>
                  <a:lnTo>
                    <a:pt x="337" y="288"/>
                  </a:lnTo>
                  <a:lnTo>
                    <a:pt x="337" y="288"/>
                  </a:lnTo>
                  <a:lnTo>
                    <a:pt x="341" y="288"/>
                  </a:lnTo>
                  <a:lnTo>
                    <a:pt x="341" y="288"/>
                  </a:lnTo>
                  <a:lnTo>
                    <a:pt x="341" y="288"/>
                  </a:lnTo>
                  <a:lnTo>
                    <a:pt x="341" y="288"/>
                  </a:lnTo>
                  <a:lnTo>
                    <a:pt x="341" y="288"/>
                  </a:lnTo>
                  <a:close/>
                  <a:moveTo>
                    <a:pt x="208" y="270"/>
                  </a:moveTo>
                  <a:lnTo>
                    <a:pt x="208" y="270"/>
                  </a:lnTo>
                  <a:lnTo>
                    <a:pt x="199" y="270"/>
                  </a:lnTo>
                  <a:lnTo>
                    <a:pt x="199" y="275"/>
                  </a:lnTo>
                  <a:lnTo>
                    <a:pt x="199" y="275"/>
                  </a:lnTo>
                  <a:lnTo>
                    <a:pt x="199" y="275"/>
                  </a:lnTo>
                  <a:lnTo>
                    <a:pt x="204" y="275"/>
                  </a:lnTo>
                  <a:lnTo>
                    <a:pt x="204" y="275"/>
                  </a:lnTo>
                  <a:lnTo>
                    <a:pt x="204" y="275"/>
                  </a:lnTo>
                  <a:lnTo>
                    <a:pt x="204" y="275"/>
                  </a:lnTo>
                  <a:lnTo>
                    <a:pt x="204" y="279"/>
                  </a:lnTo>
                  <a:lnTo>
                    <a:pt x="204" y="279"/>
                  </a:lnTo>
                  <a:lnTo>
                    <a:pt x="204" y="279"/>
                  </a:lnTo>
                  <a:lnTo>
                    <a:pt x="204" y="279"/>
                  </a:lnTo>
                  <a:lnTo>
                    <a:pt x="204" y="279"/>
                  </a:lnTo>
                  <a:lnTo>
                    <a:pt x="204" y="279"/>
                  </a:lnTo>
                  <a:lnTo>
                    <a:pt x="204" y="279"/>
                  </a:lnTo>
                  <a:lnTo>
                    <a:pt x="208" y="279"/>
                  </a:lnTo>
                  <a:lnTo>
                    <a:pt x="208" y="275"/>
                  </a:lnTo>
                  <a:lnTo>
                    <a:pt x="208" y="275"/>
                  </a:lnTo>
                  <a:lnTo>
                    <a:pt x="208" y="275"/>
                  </a:lnTo>
                  <a:lnTo>
                    <a:pt x="208" y="275"/>
                  </a:lnTo>
                  <a:lnTo>
                    <a:pt x="208" y="275"/>
                  </a:lnTo>
                  <a:lnTo>
                    <a:pt x="208" y="275"/>
                  </a:lnTo>
                  <a:lnTo>
                    <a:pt x="208" y="270"/>
                  </a:lnTo>
                  <a:close/>
                  <a:moveTo>
                    <a:pt x="376" y="279"/>
                  </a:moveTo>
                  <a:lnTo>
                    <a:pt x="376" y="279"/>
                  </a:lnTo>
                  <a:lnTo>
                    <a:pt x="376" y="279"/>
                  </a:lnTo>
                  <a:lnTo>
                    <a:pt x="376" y="279"/>
                  </a:lnTo>
                  <a:lnTo>
                    <a:pt x="381" y="279"/>
                  </a:lnTo>
                  <a:lnTo>
                    <a:pt x="381" y="279"/>
                  </a:lnTo>
                  <a:lnTo>
                    <a:pt x="381" y="279"/>
                  </a:lnTo>
                  <a:lnTo>
                    <a:pt x="381" y="279"/>
                  </a:lnTo>
                  <a:lnTo>
                    <a:pt x="381" y="279"/>
                  </a:lnTo>
                  <a:lnTo>
                    <a:pt x="385" y="279"/>
                  </a:lnTo>
                  <a:lnTo>
                    <a:pt x="385" y="279"/>
                  </a:lnTo>
                  <a:lnTo>
                    <a:pt x="385" y="279"/>
                  </a:lnTo>
                  <a:lnTo>
                    <a:pt x="390" y="275"/>
                  </a:lnTo>
                  <a:lnTo>
                    <a:pt x="390" y="275"/>
                  </a:lnTo>
                  <a:lnTo>
                    <a:pt x="394" y="275"/>
                  </a:lnTo>
                  <a:lnTo>
                    <a:pt x="394" y="275"/>
                  </a:lnTo>
                  <a:lnTo>
                    <a:pt x="394" y="275"/>
                  </a:lnTo>
                  <a:lnTo>
                    <a:pt x="394" y="275"/>
                  </a:lnTo>
                  <a:lnTo>
                    <a:pt x="390" y="275"/>
                  </a:lnTo>
                  <a:lnTo>
                    <a:pt x="390" y="275"/>
                  </a:lnTo>
                  <a:lnTo>
                    <a:pt x="390" y="275"/>
                  </a:lnTo>
                  <a:lnTo>
                    <a:pt x="390" y="275"/>
                  </a:lnTo>
                  <a:lnTo>
                    <a:pt x="390" y="275"/>
                  </a:lnTo>
                  <a:lnTo>
                    <a:pt x="390" y="275"/>
                  </a:lnTo>
                  <a:lnTo>
                    <a:pt x="394" y="270"/>
                  </a:lnTo>
                  <a:lnTo>
                    <a:pt x="390" y="270"/>
                  </a:lnTo>
                  <a:lnTo>
                    <a:pt x="390" y="270"/>
                  </a:lnTo>
                  <a:lnTo>
                    <a:pt x="390" y="270"/>
                  </a:lnTo>
                  <a:lnTo>
                    <a:pt x="390" y="270"/>
                  </a:lnTo>
                  <a:lnTo>
                    <a:pt x="390" y="270"/>
                  </a:lnTo>
                  <a:lnTo>
                    <a:pt x="385" y="270"/>
                  </a:lnTo>
                  <a:lnTo>
                    <a:pt x="385" y="270"/>
                  </a:lnTo>
                  <a:lnTo>
                    <a:pt x="385" y="270"/>
                  </a:lnTo>
                  <a:lnTo>
                    <a:pt x="385" y="275"/>
                  </a:lnTo>
                  <a:lnTo>
                    <a:pt x="390" y="275"/>
                  </a:lnTo>
                  <a:lnTo>
                    <a:pt x="385" y="275"/>
                  </a:lnTo>
                  <a:lnTo>
                    <a:pt x="385" y="275"/>
                  </a:lnTo>
                  <a:lnTo>
                    <a:pt x="385" y="270"/>
                  </a:lnTo>
                  <a:lnTo>
                    <a:pt x="381" y="270"/>
                  </a:lnTo>
                  <a:lnTo>
                    <a:pt x="381" y="270"/>
                  </a:lnTo>
                  <a:lnTo>
                    <a:pt x="381" y="270"/>
                  </a:lnTo>
                  <a:lnTo>
                    <a:pt x="381" y="270"/>
                  </a:lnTo>
                  <a:lnTo>
                    <a:pt x="376" y="270"/>
                  </a:lnTo>
                  <a:lnTo>
                    <a:pt x="372" y="270"/>
                  </a:lnTo>
                  <a:lnTo>
                    <a:pt x="372" y="270"/>
                  </a:lnTo>
                  <a:lnTo>
                    <a:pt x="372" y="270"/>
                  </a:lnTo>
                  <a:lnTo>
                    <a:pt x="368" y="275"/>
                  </a:lnTo>
                  <a:lnTo>
                    <a:pt x="368" y="275"/>
                  </a:lnTo>
                  <a:lnTo>
                    <a:pt x="368" y="275"/>
                  </a:lnTo>
                  <a:lnTo>
                    <a:pt x="368" y="275"/>
                  </a:lnTo>
                  <a:lnTo>
                    <a:pt x="368" y="275"/>
                  </a:lnTo>
                  <a:lnTo>
                    <a:pt x="368" y="275"/>
                  </a:lnTo>
                  <a:lnTo>
                    <a:pt x="368" y="275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72" y="279"/>
                  </a:lnTo>
                  <a:lnTo>
                    <a:pt x="372" y="275"/>
                  </a:lnTo>
                  <a:lnTo>
                    <a:pt x="372" y="275"/>
                  </a:lnTo>
                  <a:lnTo>
                    <a:pt x="372" y="275"/>
                  </a:lnTo>
                  <a:lnTo>
                    <a:pt x="372" y="275"/>
                  </a:lnTo>
                  <a:lnTo>
                    <a:pt x="376" y="275"/>
                  </a:lnTo>
                  <a:lnTo>
                    <a:pt x="376" y="275"/>
                  </a:lnTo>
                  <a:lnTo>
                    <a:pt x="376" y="279"/>
                  </a:lnTo>
                  <a:lnTo>
                    <a:pt x="376" y="279"/>
                  </a:lnTo>
                  <a:lnTo>
                    <a:pt x="376" y="279"/>
                  </a:lnTo>
                  <a:lnTo>
                    <a:pt x="376" y="279"/>
                  </a:lnTo>
                  <a:close/>
                  <a:moveTo>
                    <a:pt x="67" y="275"/>
                  </a:moveTo>
                  <a:lnTo>
                    <a:pt x="67" y="270"/>
                  </a:lnTo>
                  <a:lnTo>
                    <a:pt x="67" y="270"/>
                  </a:lnTo>
                  <a:lnTo>
                    <a:pt x="67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58" y="266"/>
                  </a:lnTo>
                  <a:lnTo>
                    <a:pt x="58" y="266"/>
                  </a:lnTo>
                  <a:lnTo>
                    <a:pt x="58" y="266"/>
                  </a:lnTo>
                  <a:lnTo>
                    <a:pt x="58" y="262"/>
                  </a:lnTo>
                  <a:lnTo>
                    <a:pt x="58" y="262"/>
                  </a:lnTo>
                  <a:lnTo>
                    <a:pt x="58" y="262"/>
                  </a:lnTo>
                  <a:lnTo>
                    <a:pt x="58" y="262"/>
                  </a:lnTo>
                  <a:lnTo>
                    <a:pt x="58" y="262"/>
                  </a:lnTo>
                  <a:lnTo>
                    <a:pt x="58" y="262"/>
                  </a:lnTo>
                  <a:lnTo>
                    <a:pt x="53" y="262"/>
                  </a:lnTo>
                  <a:lnTo>
                    <a:pt x="53" y="266"/>
                  </a:lnTo>
                  <a:lnTo>
                    <a:pt x="53" y="266"/>
                  </a:lnTo>
                  <a:lnTo>
                    <a:pt x="53" y="266"/>
                  </a:lnTo>
                  <a:lnTo>
                    <a:pt x="53" y="270"/>
                  </a:lnTo>
                  <a:lnTo>
                    <a:pt x="53" y="270"/>
                  </a:lnTo>
                  <a:lnTo>
                    <a:pt x="53" y="270"/>
                  </a:lnTo>
                  <a:lnTo>
                    <a:pt x="58" y="270"/>
                  </a:lnTo>
                  <a:lnTo>
                    <a:pt x="58" y="275"/>
                  </a:lnTo>
                  <a:lnTo>
                    <a:pt x="58" y="275"/>
                  </a:lnTo>
                  <a:lnTo>
                    <a:pt x="58" y="275"/>
                  </a:lnTo>
                  <a:lnTo>
                    <a:pt x="62" y="279"/>
                  </a:lnTo>
                  <a:lnTo>
                    <a:pt x="62" y="279"/>
                  </a:lnTo>
                  <a:lnTo>
                    <a:pt x="62" y="279"/>
                  </a:lnTo>
                  <a:lnTo>
                    <a:pt x="62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71" y="275"/>
                  </a:lnTo>
                  <a:lnTo>
                    <a:pt x="71" y="275"/>
                  </a:lnTo>
                  <a:lnTo>
                    <a:pt x="71" y="279"/>
                  </a:lnTo>
                  <a:lnTo>
                    <a:pt x="71" y="275"/>
                  </a:lnTo>
                  <a:lnTo>
                    <a:pt x="67" y="275"/>
                  </a:lnTo>
                  <a:close/>
                  <a:moveTo>
                    <a:pt x="283" y="275"/>
                  </a:moveTo>
                  <a:lnTo>
                    <a:pt x="283" y="275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79" y="266"/>
                  </a:lnTo>
                  <a:lnTo>
                    <a:pt x="283" y="266"/>
                  </a:lnTo>
                  <a:lnTo>
                    <a:pt x="283" y="266"/>
                  </a:lnTo>
                  <a:lnTo>
                    <a:pt x="283" y="262"/>
                  </a:lnTo>
                  <a:lnTo>
                    <a:pt x="279" y="262"/>
                  </a:lnTo>
                  <a:lnTo>
                    <a:pt x="275" y="262"/>
                  </a:lnTo>
                  <a:lnTo>
                    <a:pt x="275" y="262"/>
                  </a:lnTo>
                  <a:lnTo>
                    <a:pt x="275" y="262"/>
                  </a:lnTo>
                  <a:lnTo>
                    <a:pt x="275" y="262"/>
                  </a:lnTo>
                  <a:lnTo>
                    <a:pt x="275" y="262"/>
                  </a:lnTo>
                  <a:lnTo>
                    <a:pt x="275" y="262"/>
                  </a:lnTo>
                  <a:lnTo>
                    <a:pt x="275" y="262"/>
                  </a:lnTo>
                  <a:lnTo>
                    <a:pt x="275" y="257"/>
                  </a:lnTo>
                  <a:lnTo>
                    <a:pt x="275" y="257"/>
                  </a:lnTo>
                  <a:lnTo>
                    <a:pt x="275" y="257"/>
                  </a:lnTo>
                  <a:lnTo>
                    <a:pt x="275" y="257"/>
                  </a:lnTo>
                  <a:lnTo>
                    <a:pt x="275" y="257"/>
                  </a:lnTo>
                  <a:lnTo>
                    <a:pt x="275" y="257"/>
                  </a:lnTo>
                  <a:lnTo>
                    <a:pt x="270" y="257"/>
                  </a:lnTo>
                  <a:lnTo>
                    <a:pt x="270" y="257"/>
                  </a:lnTo>
                  <a:lnTo>
                    <a:pt x="270" y="257"/>
                  </a:lnTo>
                  <a:lnTo>
                    <a:pt x="266" y="262"/>
                  </a:lnTo>
                  <a:lnTo>
                    <a:pt x="266" y="262"/>
                  </a:lnTo>
                  <a:lnTo>
                    <a:pt x="266" y="262"/>
                  </a:lnTo>
                  <a:lnTo>
                    <a:pt x="266" y="262"/>
                  </a:lnTo>
                  <a:lnTo>
                    <a:pt x="266" y="262"/>
                  </a:lnTo>
                  <a:lnTo>
                    <a:pt x="266" y="262"/>
                  </a:lnTo>
                  <a:lnTo>
                    <a:pt x="266" y="262"/>
                  </a:lnTo>
                  <a:lnTo>
                    <a:pt x="270" y="262"/>
                  </a:lnTo>
                  <a:lnTo>
                    <a:pt x="270" y="266"/>
                  </a:lnTo>
                  <a:lnTo>
                    <a:pt x="270" y="266"/>
                  </a:lnTo>
                  <a:lnTo>
                    <a:pt x="270" y="266"/>
                  </a:lnTo>
                  <a:lnTo>
                    <a:pt x="270" y="266"/>
                  </a:lnTo>
                  <a:lnTo>
                    <a:pt x="270" y="266"/>
                  </a:lnTo>
                  <a:lnTo>
                    <a:pt x="270" y="266"/>
                  </a:lnTo>
                  <a:lnTo>
                    <a:pt x="270" y="266"/>
                  </a:lnTo>
                  <a:lnTo>
                    <a:pt x="270" y="266"/>
                  </a:lnTo>
                  <a:lnTo>
                    <a:pt x="275" y="266"/>
                  </a:lnTo>
                  <a:lnTo>
                    <a:pt x="275" y="270"/>
                  </a:lnTo>
                  <a:lnTo>
                    <a:pt x="275" y="270"/>
                  </a:lnTo>
                  <a:lnTo>
                    <a:pt x="275" y="270"/>
                  </a:lnTo>
                  <a:lnTo>
                    <a:pt x="275" y="270"/>
                  </a:lnTo>
                  <a:lnTo>
                    <a:pt x="275" y="270"/>
                  </a:lnTo>
                  <a:lnTo>
                    <a:pt x="275" y="270"/>
                  </a:lnTo>
                  <a:lnTo>
                    <a:pt x="279" y="270"/>
                  </a:lnTo>
                  <a:lnTo>
                    <a:pt x="279" y="270"/>
                  </a:lnTo>
                  <a:lnTo>
                    <a:pt x="279" y="275"/>
                  </a:lnTo>
                  <a:lnTo>
                    <a:pt x="279" y="275"/>
                  </a:lnTo>
                  <a:lnTo>
                    <a:pt x="279" y="275"/>
                  </a:lnTo>
                  <a:lnTo>
                    <a:pt x="279" y="279"/>
                  </a:lnTo>
                  <a:lnTo>
                    <a:pt x="283" y="279"/>
                  </a:lnTo>
                  <a:lnTo>
                    <a:pt x="283" y="279"/>
                  </a:lnTo>
                  <a:lnTo>
                    <a:pt x="283" y="275"/>
                  </a:lnTo>
                  <a:lnTo>
                    <a:pt x="283" y="275"/>
                  </a:lnTo>
                  <a:lnTo>
                    <a:pt x="283" y="275"/>
                  </a:lnTo>
                  <a:lnTo>
                    <a:pt x="283" y="275"/>
                  </a:lnTo>
                  <a:close/>
                  <a:moveTo>
                    <a:pt x="208" y="262"/>
                  </a:moveTo>
                  <a:lnTo>
                    <a:pt x="208" y="262"/>
                  </a:lnTo>
                  <a:lnTo>
                    <a:pt x="208" y="262"/>
                  </a:lnTo>
                  <a:lnTo>
                    <a:pt x="208" y="262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199" y="257"/>
                  </a:lnTo>
                  <a:lnTo>
                    <a:pt x="199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199" y="262"/>
                  </a:lnTo>
                  <a:lnTo>
                    <a:pt x="199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199" y="262"/>
                  </a:lnTo>
                  <a:lnTo>
                    <a:pt x="199" y="262"/>
                  </a:lnTo>
                  <a:lnTo>
                    <a:pt x="199" y="262"/>
                  </a:lnTo>
                  <a:lnTo>
                    <a:pt x="199" y="262"/>
                  </a:lnTo>
                  <a:lnTo>
                    <a:pt x="199" y="262"/>
                  </a:lnTo>
                  <a:lnTo>
                    <a:pt x="199" y="266"/>
                  </a:lnTo>
                  <a:lnTo>
                    <a:pt x="199" y="266"/>
                  </a:lnTo>
                  <a:lnTo>
                    <a:pt x="204" y="266"/>
                  </a:lnTo>
                  <a:lnTo>
                    <a:pt x="204" y="266"/>
                  </a:lnTo>
                  <a:lnTo>
                    <a:pt x="204" y="266"/>
                  </a:lnTo>
                  <a:lnTo>
                    <a:pt x="204" y="266"/>
                  </a:lnTo>
                  <a:lnTo>
                    <a:pt x="204" y="262"/>
                  </a:lnTo>
                  <a:lnTo>
                    <a:pt x="204" y="266"/>
                  </a:lnTo>
                  <a:lnTo>
                    <a:pt x="204" y="266"/>
                  </a:lnTo>
                  <a:lnTo>
                    <a:pt x="204" y="262"/>
                  </a:lnTo>
                  <a:lnTo>
                    <a:pt x="208" y="262"/>
                  </a:lnTo>
                  <a:lnTo>
                    <a:pt x="208" y="262"/>
                  </a:lnTo>
                  <a:lnTo>
                    <a:pt x="208" y="262"/>
                  </a:lnTo>
                  <a:lnTo>
                    <a:pt x="208" y="262"/>
                  </a:lnTo>
                  <a:close/>
                  <a:moveTo>
                    <a:pt x="58" y="253"/>
                  </a:moveTo>
                  <a:lnTo>
                    <a:pt x="58" y="253"/>
                  </a:lnTo>
                  <a:lnTo>
                    <a:pt x="58" y="253"/>
                  </a:lnTo>
                  <a:lnTo>
                    <a:pt x="58" y="253"/>
                  </a:lnTo>
                  <a:lnTo>
                    <a:pt x="58" y="253"/>
                  </a:lnTo>
                  <a:lnTo>
                    <a:pt x="58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44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49" y="226"/>
                  </a:lnTo>
                  <a:lnTo>
                    <a:pt x="49" y="226"/>
                  </a:lnTo>
                  <a:lnTo>
                    <a:pt x="49" y="226"/>
                  </a:lnTo>
                  <a:lnTo>
                    <a:pt x="49" y="226"/>
                  </a:lnTo>
                  <a:lnTo>
                    <a:pt x="49" y="226"/>
                  </a:lnTo>
                  <a:lnTo>
                    <a:pt x="49" y="226"/>
                  </a:lnTo>
                  <a:lnTo>
                    <a:pt x="49" y="231"/>
                  </a:lnTo>
                  <a:lnTo>
                    <a:pt x="49" y="231"/>
                  </a:lnTo>
                  <a:lnTo>
                    <a:pt x="49" y="231"/>
                  </a:lnTo>
                  <a:lnTo>
                    <a:pt x="49" y="231"/>
                  </a:lnTo>
                  <a:lnTo>
                    <a:pt x="49" y="231"/>
                  </a:lnTo>
                  <a:lnTo>
                    <a:pt x="49" y="235"/>
                  </a:lnTo>
                  <a:lnTo>
                    <a:pt x="49" y="235"/>
                  </a:lnTo>
                  <a:lnTo>
                    <a:pt x="49" y="235"/>
                  </a:lnTo>
                  <a:lnTo>
                    <a:pt x="44" y="235"/>
                  </a:lnTo>
                  <a:lnTo>
                    <a:pt x="44" y="235"/>
                  </a:lnTo>
                  <a:lnTo>
                    <a:pt x="44" y="235"/>
                  </a:lnTo>
                  <a:lnTo>
                    <a:pt x="44" y="235"/>
                  </a:lnTo>
                  <a:lnTo>
                    <a:pt x="44" y="235"/>
                  </a:lnTo>
                  <a:lnTo>
                    <a:pt x="44" y="235"/>
                  </a:lnTo>
                  <a:lnTo>
                    <a:pt x="44" y="235"/>
                  </a:lnTo>
                  <a:lnTo>
                    <a:pt x="44" y="235"/>
                  </a:lnTo>
                  <a:lnTo>
                    <a:pt x="44" y="235"/>
                  </a:lnTo>
                  <a:lnTo>
                    <a:pt x="40" y="235"/>
                  </a:lnTo>
                  <a:lnTo>
                    <a:pt x="40" y="235"/>
                  </a:lnTo>
                  <a:lnTo>
                    <a:pt x="40" y="235"/>
                  </a:lnTo>
                  <a:lnTo>
                    <a:pt x="40" y="235"/>
                  </a:lnTo>
                  <a:lnTo>
                    <a:pt x="40" y="235"/>
                  </a:lnTo>
                  <a:lnTo>
                    <a:pt x="40" y="235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40" y="244"/>
                  </a:lnTo>
                  <a:lnTo>
                    <a:pt x="44" y="244"/>
                  </a:lnTo>
                  <a:lnTo>
                    <a:pt x="44" y="244"/>
                  </a:lnTo>
                  <a:lnTo>
                    <a:pt x="44" y="244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44"/>
                  </a:lnTo>
                  <a:lnTo>
                    <a:pt x="44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4" y="244"/>
                  </a:lnTo>
                  <a:lnTo>
                    <a:pt x="44" y="244"/>
                  </a:lnTo>
                  <a:lnTo>
                    <a:pt x="44" y="244"/>
                  </a:lnTo>
                  <a:lnTo>
                    <a:pt x="44" y="244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9" y="248"/>
                  </a:lnTo>
                  <a:lnTo>
                    <a:pt x="49" y="248"/>
                  </a:lnTo>
                  <a:lnTo>
                    <a:pt x="49" y="253"/>
                  </a:lnTo>
                  <a:lnTo>
                    <a:pt x="49" y="248"/>
                  </a:lnTo>
                  <a:lnTo>
                    <a:pt x="53" y="248"/>
                  </a:lnTo>
                  <a:lnTo>
                    <a:pt x="53" y="248"/>
                  </a:lnTo>
                  <a:lnTo>
                    <a:pt x="58" y="253"/>
                  </a:lnTo>
                  <a:close/>
                  <a:moveTo>
                    <a:pt x="58" y="231"/>
                  </a:move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26"/>
                  </a:lnTo>
                  <a:lnTo>
                    <a:pt x="58" y="226"/>
                  </a:lnTo>
                  <a:lnTo>
                    <a:pt x="58" y="226"/>
                  </a:lnTo>
                  <a:lnTo>
                    <a:pt x="58" y="226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8" y="226"/>
                  </a:lnTo>
                  <a:lnTo>
                    <a:pt x="58" y="222"/>
                  </a:lnTo>
                  <a:lnTo>
                    <a:pt x="53" y="222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3" y="231"/>
                  </a:lnTo>
                  <a:lnTo>
                    <a:pt x="53" y="231"/>
                  </a:lnTo>
                  <a:lnTo>
                    <a:pt x="53" y="231"/>
                  </a:lnTo>
                  <a:lnTo>
                    <a:pt x="58" y="235"/>
                  </a:lnTo>
                  <a:lnTo>
                    <a:pt x="58" y="235"/>
                  </a:lnTo>
                  <a:lnTo>
                    <a:pt x="58" y="235"/>
                  </a:lnTo>
                  <a:lnTo>
                    <a:pt x="58" y="235"/>
                  </a:lnTo>
                  <a:lnTo>
                    <a:pt x="58" y="235"/>
                  </a:lnTo>
                  <a:lnTo>
                    <a:pt x="58" y="235"/>
                  </a:lnTo>
                  <a:lnTo>
                    <a:pt x="62" y="235"/>
                  </a:lnTo>
                  <a:lnTo>
                    <a:pt x="62" y="235"/>
                  </a:lnTo>
                  <a:lnTo>
                    <a:pt x="58" y="235"/>
                  </a:lnTo>
                  <a:lnTo>
                    <a:pt x="58" y="235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62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close/>
                  <a:moveTo>
                    <a:pt x="67" y="222"/>
                  </a:moveTo>
                  <a:lnTo>
                    <a:pt x="67" y="222"/>
                  </a:lnTo>
                  <a:lnTo>
                    <a:pt x="67" y="222"/>
                  </a:lnTo>
                  <a:lnTo>
                    <a:pt x="67" y="217"/>
                  </a:lnTo>
                  <a:lnTo>
                    <a:pt x="71" y="217"/>
                  </a:lnTo>
                  <a:lnTo>
                    <a:pt x="71" y="217"/>
                  </a:lnTo>
                  <a:lnTo>
                    <a:pt x="67" y="222"/>
                  </a:lnTo>
                  <a:lnTo>
                    <a:pt x="67" y="222"/>
                  </a:lnTo>
                  <a:close/>
                  <a:moveTo>
                    <a:pt x="341" y="222"/>
                  </a:moveTo>
                  <a:lnTo>
                    <a:pt x="341" y="222"/>
                  </a:lnTo>
                  <a:lnTo>
                    <a:pt x="341" y="222"/>
                  </a:lnTo>
                  <a:lnTo>
                    <a:pt x="341" y="222"/>
                  </a:lnTo>
                  <a:lnTo>
                    <a:pt x="341" y="217"/>
                  </a:lnTo>
                  <a:lnTo>
                    <a:pt x="341" y="217"/>
                  </a:lnTo>
                  <a:lnTo>
                    <a:pt x="337" y="217"/>
                  </a:lnTo>
                  <a:lnTo>
                    <a:pt x="337" y="217"/>
                  </a:lnTo>
                  <a:lnTo>
                    <a:pt x="328" y="217"/>
                  </a:lnTo>
                  <a:lnTo>
                    <a:pt x="328" y="217"/>
                  </a:lnTo>
                  <a:lnTo>
                    <a:pt x="328" y="222"/>
                  </a:lnTo>
                  <a:lnTo>
                    <a:pt x="328" y="222"/>
                  </a:lnTo>
                  <a:lnTo>
                    <a:pt x="328" y="222"/>
                  </a:lnTo>
                  <a:lnTo>
                    <a:pt x="328" y="222"/>
                  </a:lnTo>
                  <a:lnTo>
                    <a:pt x="328" y="226"/>
                  </a:lnTo>
                  <a:lnTo>
                    <a:pt x="332" y="226"/>
                  </a:lnTo>
                  <a:lnTo>
                    <a:pt x="332" y="226"/>
                  </a:lnTo>
                  <a:lnTo>
                    <a:pt x="332" y="226"/>
                  </a:lnTo>
                  <a:lnTo>
                    <a:pt x="332" y="226"/>
                  </a:lnTo>
                  <a:lnTo>
                    <a:pt x="332" y="226"/>
                  </a:lnTo>
                  <a:lnTo>
                    <a:pt x="332" y="226"/>
                  </a:lnTo>
                  <a:lnTo>
                    <a:pt x="332" y="231"/>
                  </a:lnTo>
                  <a:lnTo>
                    <a:pt x="332" y="231"/>
                  </a:lnTo>
                  <a:lnTo>
                    <a:pt x="332" y="231"/>
                  </a:lnTo>
                  <a:lnTo>
                    <a:pt x="332" y="231"/>
                  </a:lnTo>
                  <a:lnTo>
                    <a:pt x="337" y="231"/>
                  </a:lnTo>
                  <a:lnTo>
                    <a:pt x="337" y="231"/>
                  </a:lnTo>
                  <a:lnTo>
                    <a:pt x="337" y="231"/>
                  </a:lnTo>
                  <a:lnTo>
                    <a:pt x="337" y="231"/>
                  </a:lnTo>
                  <a:lnTo>
                    <a:pt x="337" y="231"/>
                  </a:lnTo>
                  <a:lnTo>
                    <a:pt x="337" y="231"/>
                  </a:lnTo>
                  <a:lnTo>
                    <a:pt x="337" y="231"/>
                  </a:lnTo>
                  <a:lnTo>
                    <a:pt x="337" y="231"/>
                  </a:lnTo>
                  <a:lnTo>
                    <a:pt x="337" y="235"/>
                  </a:lnTo>
                  <a:lnTo>
                    <a:pt x="337" y="235"/>
                  </a:lnTo>
                  <a:lnTo>
                    <a:pt x="337" y="235"/>
                  </a:lnTo>
                  <a:lnTo>
                    <a:pt x="337" y="235"/>
                  </a:lnTo>
                  <a:lnTo>
                    <a:pt x="337" y="235"/>
                  </a:lnTo>
                  <a:lnTo>
                    <a:pt x="337" y="235"/>
                  </a:lnTo>
                  <a:lnTo>
                    <a:pt x="332" y="235"/>
                  </a:lnTo>
                  <a:lnTo>
                    <a:pt x="332" y="235"/>
                  </a:lnTo>
                  <a:lnTo>
                    <a:pt x="332" y="239"/>
                  </a:lnTo>
                  <a:lnTo>
                    <a:pt x="332" y="239"/>
                  </a:lnTo>
                  <a:lnTo>
                    <a:pt x="332" y="239"/>
                  </a:lnTo>
                  <a:lnTo>
                    <a:pt x="332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32" y="239"/>
                  </a:lnTo>
                  <a:lnTo>
                    <a:pt x="332" y="239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7" y="244"/>
                  </a:lnTo>
                  <a:lnTo>
                    <a:pt x="337" y="248"/>
                  </a:lnTo>
                  <a:lnTo>
                    <a:pt x="337" y="248"/>
                  </a:lnTo>
                  <a:lnTo>
                    <a:pt x="337" y="248"/>
                  </a:lnTo>
                  <a:lnTo>
                    <a:pt x="337" y="248"/>
                  </a:lnTo>
                  <a:lnTo>
                    <a:pt x="337" y="244"/>
                  </a:lnTo>
                  <a:lnTo>
                    <a:pt x="337" y="244"/>
                  </a:lnTo>
                  <a:lnTo>
                    <a:pt x="337" y="244"/>
                  </a:lnTo>
                  <a:lnTo>
                    <a:pt x="341" y="244"/>
                  </a:lnTo>
                  <a:lnTo>
                    <a:pt x="341" y="244"/>
                  </a:lnTo>
                  <a:lnTo>
                    <a:pt x="341" y="239"/>
                  </a:lnTo>
                  <a:lnTo>
                    <a:pt x="341" y="239"/>
                  </a:lnTo>
                  <a:lnTo>
                    <a:pt x="341" y="239"/>
                  </a:lnTo>
                  <a:lnTo>
                    <a:pt x="345" y="235"/>
                  </a:lnTo>
                  <a:lnTo>
                    <a:pt x="345" y="235"/>
                  </a:lnTo>
                  <a:lnTo>
                    <a:pt x="345" y="235"/>
                  </a:lnTo>
                  <a:lnTo>
                    <a:pt x="345" y="231"/>
                  </a:lnTo>
                  <a:lnTo>
                    <a:pt x="345" y="231"/>
                  </a:lnTo>
                  <a:lnTo>
                    <a:pt x="345" y="226"/>
                  </a:lnTo>
                  <a:lnTo>
                    <a:pt x="345" y="226"/>
                  </a:lnTo>
                  <a:lnTo>
                    <a:pt x="345" y="226"/>
                  </a:lnTo>
                  <a:lnTo>
                    <a:pt x="345" y="226"/>
                  </a:lnTo>
                  <a:lnTo>
                    <a:pt x="345" y="226"/>
                  </a:lnTo>
                  <a:lnTo>
                    <a:pt x="345" y="226"/>
                  </a:lnTo>
                  <a:lnTo>
                    <a:pt x="345" y="226"/>
                  </a:lnTo>
                  <a:lnTo>
                    <a:pt x="341" y="226"/>
                  </a:lnTo>
                  <a:lnTo>
                    <a:pt x="345" y="226"/>
                  </a:lnTo>
                  <a:lnTo>
                    <a:pt x="345" y="222"/>
                  </a:lnTo>
                  <a:lnTo>
                    <a:pt x="345" y="222"/>
                  </a:lnTo>
                  <a:lnTo>
                    <a:pt x="345" y="222"/>
                  </a:lnTo>
                  <a:lnTo>
                    <a:pt x="345" y="222"/>
                  </a:lnTo>
                  <a:lnTo>
                    <a:pt x="345" y="217"/>
                  </a:lnTo>
                  <a:lnTo>
                    <a:pt x="345" y="217"/>
                  </a:lnTo>
                  <a:lnTo>
                    <a:pt x="341" y="222"/>
                  </a:lnTo>
                  <a:lnTo>
                    <a:pt x="341" y="222"/>
                  </a:lnTo>
                  <a:lnTo>
                    <a:pt x="341" y="222"/>
                  </a:lnTo>
                  <a:lnTo>
                    <a:pt x="341" y="222"/>
                  </a:lnTo>
                  <a:lnTo>
                    <a:pt x="341" y="222"/>
                  </a:lnTo>
                  <a:lnTo>
                    <a:pt x="341" y="222"/>
                  </a:lnTo>
                  <a:close/>
                  <a:moveTo>
                    <a:pt x="71" y="213"/>
                  </a:moveTo>
                  <a:lnTo>
                    <a:pt x="71" y="213"/>
                  </a:lnTo>
                  <a:lnTo>
                    <a:pt x="71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71" y="217"/>
                  </a:lnTo>
                  <a:lnTo>
                    <a:pt x="71" y="217"/>
                  </a:lnTo>
                  <a:lnTo>
                    <a:pt x="71" y="213"/>
                  </a:lnTo>
                  <a:close/>
                  <a:moveTo>
                    <a:pt x="62" y="213"/>
                  </a:move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17"/>
                  </a:lnTo>
                  <a:lnTo>
                    <a:pt x="62" y="217"/>
                  </a:lnTo>
                  <a:lnTo>
                    <a:pt x="62" y="217"/>
                  </a:lnTo>
                  <a:lnTo>
                    <a:pt x="62" y="217"/>
                  </a:lnTo>
                  <a:lnTo>
                    <a:pt x="62" y="217"/>
                  </a:lnTo>
                  <a:lnTo>
                    <a:pt x="62" y="217"/>
                  </a:lnTo>
                  <a:lnTo>
                    <a:pt x="62" y="217"/>
                  </a:lnTo>
                  <a:lnTo>
                    <a:pt x="62" y="217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close/>
                  <a:moveTo>
                    <a:pt x="58" y="204"/>
                  </a:moveTo>
                  <a:lnTo>
                    <a:pt x="58" y="204"/>
                  </a:lnTo>
                  <a:lnTo>
                    <a:pt x="58" y="204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3" y="200"/>
                  </a:lnTo>
                  <a:lnTo>
                    <a:pt x="53" y="200"/>
                  </a:lnTo>
                  <a:lnTo>
                    <a:pt x="53" y="204"/>
                  </a:lnTo>
                  <a:lnTo>
                    <a:pt x="53" y="204"/>
                  </a:lnTo>
                  <a:lnTo>
                    <a:pt x="53" y="204"/>
                  </a:lnTo>
                  <a:lnTo>
                    <a:pt x="53" y="204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13"/>
                  </a:lnTo>
                  <a:lnTo>
                    <a:pt x="49" y="217"/>
                  </a:lnTo>
                  <a:lnTo>
                    <a:pt x="49" y="217"/>
                  </a:lnTo>
                  <a:lnTo>
                    <a:pt x="49" y="217"/>
                  </a:lnTo>
                  <a:lnTo>
                    <a:pt x="49" y="217"/>
                  </a:lnTo>
                  <a:lnTo>
                    <a:pt x="49" y="217"/>
                  </a:lnTo>
                  <a:lnTo>
                    <a:pt x="49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8" y="217"/>
                  </a:lnTo>
                  <a:lnTo>
                    <a:pt x="58" y="217"/>
                  </a:lnTo>
                  <a:lnTo>
                    <a:pt x="58" y="217"/>
                  </a:lnTo>
                  <a:lnTo>
                    <a:pt x="58" y="217"/>
                  </a:lnTo>
                  <a:lnTo>
                    <a:pt x="58" y="217"/>
                  </a:lnTo>
                  <a:lnTo>
                    <a:pt x="58" y="217"/>
                  </a:lnTo>
                  <a:lnTo>
                    <a:pt x="58" y="217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17"/>
                  </a:lnTo>
                  <a:lnTo>
                    <a:pt x="58" y="217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58" y="204"/>
                  </a:lnTo>
                  <a:close/>
                  <a:moveTo>
                    <a:pt x="257" y="195"/>
                  </a:moveTo>
                  <a:lnTo>
                    <a:pt x="252" y="195"/>
                  </a:lnTo>
                  <a:lnTo>
                    <a:pt x="252" y="195"/>
                  </a:lnTo>
                  <a:lnTo>
                    <a:pt x="252" y="200"/>
                  </a:lnTo>
                  <a:lnTo>
                    <a:pt x="252" y="200"/>
                  </a:lnTo>
                  <a:lnTo>
                    <a:pt x="252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61" y="200"/>
                  </a:lnTo>
                  <a:lnTo>
                    <a:pt x="261" y="200"/>
                  </a:lnTo>
                  <a:lnTo>
                    <a:pt x="261" y="200"/>
                  </a:lnTo>
                  <a:lnTo>
                    <a:pt x="261" y="200"/>
                  </a:lnTo>
                  <a:lnTo>
                    <a:pt x="261" y="200"/>
                  </a:lnTo>
                  <a:lnTo>
                    <a:pt x="261" y="204"/>
                  </a:lnTo>
                  <a:lnTo>
                    <a:pt x="257" y="204"/>
                  </a:lnTo>
                  <a:lnTo>
                    <a:pt x="261" y="204"/>
                  </a:lnTo>
                  <a:lnTo>
                    <a:pt x="261" y="204"/>
                  </a:lnTo>
                  <a:lnTo>
                    <a:pt x="261" y="204"/>
                  </a:lnTo>
                  <a:lnTo>
                    <a:pt x="261" y="204"/>
                  </a:lnTo>
                  <a:lnTo>
                    <a:pt x="261" y="204"/>
                  </a:lnTo>
                  <a:lnTo>
                    <a:pt x="261" y="204"/>
                  </a:lnTo>
                  <a:lnTo>
                    <a:pt x="261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0"/>
                  </a:lnTo>
                  <a:lnTo>
                    <a:pt x="261" y="200"/>
                  </a:lnTo>
                  <a:lnTo>
                    <a:pt x="261" y="200"/>
                  </a:lnTo>
                  <a:lnTo>
                    <a:pt x="261" y="200"/>
                  </a:lnTo>
                  <a:lnTo>
                    <a:pt x="261" y="200"/>
                  </a:lnTo>
                  <a:lnTo>
                    <a:pt x="261" y="195"/>
                  </a:lnTo>
                  <a:lnTo>
                    <a:pt x="261" y="195"/>
                  </a:lnTo>
                  <a:lnTo>
                    <a:pt x="261" y="195"/>
                  </a:lnTo>
                  <a:lnTo>
                    <a:pt x="261" y="195"/>
                  </a:lnTo>
                  <a:lnTo>
                    <a:pt x="257" y="191"/>
                  </a:lnTo>
                  <a:lnTo>
                    <a:pt x="257" y="191"/>
                  </a:lnTo>
                  <a:lnTo>
                    <a:pt x="257" y="191"/>
                  </a:lnTo>
                  <a:lnTo>
                    <a:pt x="257" y="195"/>
                  </a:lnTo>
                  <a:lnTo>
                    <a:pt x="257" y="195"/>
                  </a:lnTo>
                  <a:lnTo>
                    <a:pt x="257" y="195"/>
                  </a:lnTo>
                  <a:lnTo>
                    <a:pt x="257" y="195"/>
                  </a:lnTo>
                  <a:lnTo>
                    <a:pt x="257" y="195"/>
                  </a:lnTo>
                  <a:close/>
                  <a:moveTo>
                    <a:pt x="244" y="253"/>
                  </a:moveTo>
                  <a:lnTo>
                    <a:pt x="244" y="253"/>
                  </a:lnTo>
                  <a:lnTo>
                    <a:pt x="244" y="253"/>
                  </a:lnTo>
                  <a:lnTo>
                    <a:pt x="244" y="253"/>
                  </a:lnTo>
                  <a:lnTo>
                    <a:pt x="244" y="253"/>
                  </a:lnTo>
                  <a:lnTo>
                    <a:pt x="244" y="253"/>
                  </a:lnTo>
                  <a:lnTo>
                    <a:pt x="244" y="253"/>
                  </a:lnTo>
                  <a:lnTo>
                    <a:pt x="244" y="253"/>
                  </a:lnTo>
                  <a:lnTo>
                    <a:pt x="244" y="253"/>
                  </a:lnTo>
                  <a:lnTo>
                    <a:pt x="248" y="253"/>
                  </a:lnTo>
                  <a:lnTo>
                    <a:pt x="248" y="253"/>
                  </a:lnTo>
                  <a:lnTo>
                    <a:pt x="248" y="253"/>
                  </a:lnTo>
                  <a:lnTo>
                    <a:pt x="248" y="253"/>
                  </a:lnTo>
                  <a:lnTo>
                    <a:pt x="248" y="253"/>
                  </a:lnTo>
                  <a:lnTo>
                    <a:pt x="248" y="253"/>
                  </a:lnTo>
                  <a:lnTo>
                    <a:pt x="248" y="257"/>
                  </a:lnTo>
                  <a:lnTo>
                    <a:pt x="248" y="257"/>
                  </a:lnTo>
                  <a:lnTo>
                    <a:pt x="248" y="257"/>
                  </a:lnTo>
                  <a:lnTo>
                    <a:pt x="248" y="257"/>
                  </a:lnTo>
                  <a:lnTo>
                    <a:pt x="248" y="257"/>
                  </a:lnTo>
                  <a:lnTo>
                    <a:pt x="248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7" y="257"/>
                  </a:lnTo>
                  <a:lnTo>
                    <a:pt x="257" y="257"/>
                  </a:lnTo>
                  <a:lnTo>
                    <a:pt x="257" y="262"/>
                  </a:lnTo>
                  <a:lnTo>
                    <a:pt x="257" y="262"/>
                  </a:lnTo>
                  <a:lnTo>
                    <a:pt x="257" y="262"/>
                  </a:lnTo>
                  <a:lnTo>
                    <a:pt x="257" y="257"/>
                  </a:lnTo>
                  <a:lnTo>
                    <a:pt x="261" y="257"/>
                  </a:lnTo>
                  <a:lnTo>
                    <a:pt x="261" y="257"/>
                  </a:lnTo>
                  <a:lnTo>
                    <a:pt x="261" y="257"/>
                  </a:lnTo>
                  <a:lnTo>
                    <a:pt x="261" y="253"/>
                  </a:lnTo>
                  <a:lnTo>
                    <a:pt x="261" y="253"/>
                  </a:lnTo>
                  <a:lnTo>
                    <a:pt x="261" y="253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57" y="248"/>
                  </a:lnTo>
                  <a:lnTo>
                    <a:pt x="257" y="248"/>
                  </a:lnTo>
                  <a:lnTo>
                    <a:pt x="257" y="248"/>
                  </a:lnTo>
                  <a:lnTo>
                    <a:pt x="252" y="248"/>
                  </a:lnTo>
                  <a:lnTo>
                    <a:pt x="252" y="248"/>
                  </a:lnTo>
                  <a:lnTo>
                    <a:pt x="252" y="248"/>
                  </a:lnTo>
                  <a:lnTo>
                    <a:pt x="248" y="248"/>
                  </a:lnTo>
                  <a:lnTo>
                    <a:pt x="248" y="248"/>
                  </a:lnTo>
                  <a:lnTo>
                    <a:pt x="248" y="244"/>
                  </a:lnTo>
                  <a:lnTo>
                    <a:pt x="248" y="244"/>
                  </a:lnTo>
                  <a:lnTo>
                    <a:pt x="248" y="244"/>
                  </a:lnTo>
                  <a:lnTo>
                    <a:pt x="248" y="244"/>
                  </a:lnTo>
                  <a:lnTo>
                    <a:pt x="244" y="244"/>
                  </a:lnTo>
                  <a:lnTo>
                    <a:pt x="244" y="244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5"/>
                  </a:lnTo>
                  <a:lnTo>
                    <a:pt x="244" y="235"/>
                  </a:lnTo>
                  <a:lnTo>
                    <a:pt x="244" y="235"/>
                  </a:lnTo>
                  <a:lnTo>
                    <a:pt x="244" y="235"/>
                  </a:lnTo>
                  <a:lnTo>
                    <a:pt x="244" y="231"/>
                  </a:lnTo>
                  <a:lnTo>
                    <a:pt x="244" y="231"/>
                  </a:lnTo>
                  <a:lnTo>
                    <a:pt x="239" y="231"/>
                  </a:lnTo>
                  <a:lnTo>
                    <a:pt x="239" y="231"/>
                  </a:lnTo>
                  <a:lnTo>
                    <a:pt x="244" y="231"/>
                  </a:lnTo>
                  <a:lnTo>
                    <a:pt x="244" y="231"/>
                  </a:lnTo>
                  <a:lnTo>
                    <a:pt x="239" y="226"/>
                  </a:lnTo>
                  <a:lnTo>
                    <a:pt x="239" y="226"/>
                  </a:lnTo>
                  <a:lnTo>
                    <a:pt x="244" y="222"/>
                  </a:lnTo>
                  <a:lnTo>
                    <a:pt x="244" y="222"/>
                  </a:lnTo>
                  <a:lnTo>
                    <a:pt x="244" y="222"/>
                  </a:lnTo>
                  <a:lnTo>
                    <a:pt x="239" y="217"/>
                  </a:lnTo>
                  <a:lnTo>
                    <a:pt x="239" y="217"/>
                  </a:lnTo>
                  <a:lnTo>
                    <a:pt x="239" y="217"/>
                  </a:lnTo>
                  <a:lnTo>
                    <a:pt x="239" y="213"/>
                  </a:lnTo>
                  <a:lnTo>
                    <a:pt x="239" y="213"/>
                  </a:lnTo>
                  <a:lnTo>
                    <a:pt x="239" y="213"/>
                  </a:lnTo>
                  <a:lnTo>
                    <a:pt x="239" y="213"/>
                  </a:lnTo>
                  <a:lnTo>
                    <a:pt x="239" y="213"/>
                  </a:lnTo>
                  <a:lnTo>
                    <a:pt x="235" y="213"/>
                  </a:lnTo>
                  <a:lnTo>
                    <a:pt x="235" y="213"/>
                  </a:lnTo>
                  <a:lnTo>
                    <a:pt x="230" y="213"/>
                  </a:lnTo>
                  <a:lnTo>
                    <a:pt x="230" y="213"/>
                  </a:lnTo>
                  <a:lnTo>
                    <a:pt x="230" y="213"/>
                  </a:lnTo>
                  <a:lnTo>
                    <a:pt x="230" y="213"/>
                  </a:lnTo>
                  <a:lnTo>
                    <a:pt x="230" y="213"/>
                  </a:lnTo>
                  <a:lnTo>
                    <a:pt x="226" y="213"/>
                  </a:lnTo>
                  <a:lnTo>
                    <a:pt x="226" y="213"/>
                  </a:lnTo>
                  <a:lnTo>
                    <a:pt x="221" y="213"/>
                  </a:lnTo>
                  <a:lnTo>
                    <a:pt x="221" y="213"/>
                  </a:lnTo>
                  <a:lnTo>
                    <a:pt x="217" y="208"/>
                  </a:lnTo>
                  <a:lnTo>
                    <a:pt x="217" y="208"/>
                  </a:lnTo>
                  <a:lnTo>
                    <a:pt x="217" y="208"/>
                  </a:lnTo>
                  <a:lnTo>
                    <a:pt x="217" y="208"/>
                  </a:lnTo>
                  <a:lnTo>
                    <a:pt x="217" y="204"/>
                  </a:lnTo>
                  <a:lnTo>
                    <a:pt x="217" y="204"/>
                  </a:lnTo>
                  <a:lnTo>
                    <a:pt x="213" y="208"/>
                  </a:lnTo>
                  <a:lnTo>
                    <a:pt x="213" y="208"/>
                  </a:lnTo>
                  <a:lnTo>
                    <a:pt x="213" y="208"/>
                  </a:lnTo>
                  <a:lnTo>
                    <a:pt x="213" y="204"/>
                  </a:lnTo>
                  <a:lnTo>
                    <a:pt x="213" y="204"/>
                  </a:lnTo>
                  <a:lnTo>
                    <a:pt x="208" y="204"/>
                  </a:lnTo>
                  <a:lnTo>
                    <a:pt x="208" y="204"/>
                  </a:lnTo>
                  <a:lnTo>
                    <a:pt x="208" y="204"/>
                  </a:lnTo>
                  <a:lnTo>
                    <a:pt x="208" y="204"/>
                  </a:lnTo>
                  <a:lnTo>
                    <a:pt x="208" y="204"/>
                  </a:lnTo>
                  <a:lnTo>
                    <a:pt x="208" y="204"/>
                  </a:lnTo>
                  <a:lnTo>
                    <a:pt x="208" y="204"/>
                  </a:lnTo>
                  <a:lnTo>
                    <a:pt x="204" y="204"/>
                  </a:lnTo>
                  <a:lnTo>
                    <a:pt x="204" y="200"/>
                  </a:lnTo>
                  <a:lnTo>
                    <a:pt x="204" y="200"/>
                  </a:lnTo>
                  <a:lnTo>
                    <a:pt x="204" y="200"/>
                  </a:lnTo>
                  <a:lnTo>
                    <a:pt x="204" y="200"/>
                  </a:lnTo>
                  <a:lnTo>
                    <a:pt x="204" y="195"/>
                  </a:lnTo>
                  <a:lnTo>
                    <a:pt x="199" y="195"/>
                  </a:lnTo>
                  <a:lnTo>
                    <a:pt x="199" y="195"/>
                  </a:lnTo>
                  <a:lnTo>
                    <a:pt x="199" y="195"/>
                  </a:lnTo>
                  <a:lnTo>
                    <a:pt x="199" y="191"/>
                  </a:lnTo>
                  <a:lnTo>
                    <a:pt x="199" y="191"/>
                  </a:lnTo>
                  <a:lnTo>
                    <a:pt x="199" y="191"/>
                  </a:lnTo>
                  <a:lnTo>
                    <a:pt x="199" y="191"/>
                  </a:lnTo>
                  <a:lnTo>
                    <a:pt x="195" y="191"/>
                  </a:lnTo>
                  <a:lnTo>
                    <a:pt x="195" y="191"/>
                  </a:lnTo>
                  <a:lnTo>
                    <a:pt x="195" y="191"/>
                  </a:lnTo>
                  <a:lnTo>
                    <a:pt x="195" y="186"/>
                  </a:lnTo>
                  <a:lnTo>
                    <a:pt x="195" y="186"/>
                  </a:lnTo>
                  <a:lnTo>
                    <a:pt x="195" y="186"/>
                  </a:lnTo>
                  <a:lnTo>
                    <a:pt x="190" y="186"/>
                  </a:lnTo>
                  <a:lnTo>
                    <a:pt x="190" y="191"/>
                  </a:lnTo>
                  <a:lnTo>
                    <a:pt x="190" y="191"/>
                  </a:lnTo>
                  <a:lnTo>
                    <a:pt x="186" y="191"/>
                  </a:lnTo>
                  <a:lnTo>
                    <a:pt x="186" y="191"/>
                  </a:lnTo>
                  <a:lnTo>
                    <a:pt x="186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3" y="200"/>
                  </a:lnTo>
                  <a:lnTo>
                    <a:pt x="173" y="200"/>
                  </a:lnTo>
                  <a:lnTo>
                    <a:pt x="173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4"/>
                  </a:lnTo>
                  <a:lnTo>
                    <a:pt x="173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186" y="200"/>
                  </a:lnTo>
                  <a:lnTo>
                    <a:pt x="186" y="200"/>
                  </a:lnTo>
                  <a:lnTo>
                    <a:pt x="186" y="200"/>
                  </a:lnTo>
                  <a:lnTo>
                    <a:pt x="186" y="200"/>
                  </a:lnTo>
                  <a:lnTo>
                    <a:pt x="190" y="200"/>
                  </a:lnTo>
                  <a:lnTo>
                    <a:pt x="195" y="204"/>
                  </a:lnTo>
                  <a:lnTo>
                    <a:pt x="195" y="204"/>
                  </a:lnTo>
                  <a:lnTo>
                    <a:pt x="195" y="208"/>
                  </a:lnTo>
                  <a:lnTo>
                    <a:pt x="195" y="208"/>
                  </a:lnTo>
                  <a:lnTo>
                    <a:pt x="195" y="208"/>
                  </a:lnTo>
                  <a:lnTo>
                    <a:pt x="195" y="208"/>
                  </a:lnTo>
                  <a:lnTo>
                    <a:pt x="199" y="208"/>
                  </a:lnTo>
                  <a:lnTo>
                    <a:pt x="199" y="208"/>
                  </a:lnTo>
                  <a:lnTo>
                    <a:pt x="199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7"/>
                  </a:lnTo>
                  <a:lnTo>
                    <a:pt x="204" y="217"/>
                  </a:lnTo>
                  <a:lnTo>
                    <a:pt x="204" y="217"/>
                  </a:lnTo>
                  <a:lnTo>
                    <a:pt x="204" y="217"/>
                  </a:lnTo>
                  <a:lnTo>
                    <a:pt x="208" y="217"/>
                  </a:lnTo>
                  <a:lnTo>
                    <a:pt x="208" y="217"/>
                  </a:lnTo>
                  <a:lnTo>
                    <a:pt x="208" y="217"/>
                  </a:lnTo>
                  <a:lnTo>
                    <a:pt x="213" y="222"/>
                  </a:lnTo>
                  <a:lnTo>
                    <a:pt x="213" y="222"/>
                  </a:lnTo>
                  <a:lnTo>
                    <a:pt x="213" y="222"/>
                  </a:lnTo>
                  <a:lnTo>
                    <a:pt x="213" y="222"/>
                  </a:lnTo>
                  <a:lnTo>
                    <a:pt x="213" y="222"/>
                  </a:lnTo>
                  <a:lnTo>
                    <a:pt x="213" y="222"/>
                  </a:lnTo>
                  <a:lnTo>
                    <a:pt x="213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13" y="226"/>
                  </a:lnTo>
                  <a:lnTo>
                    <a:pt x="213" y="226"/>
                  </a:lnTo>
                  <a:lnTo>
                    <a:pt x="213" y="231"/>
                  </a:lnTo>
                  <a:lnTo>
                    <a:pt x="213" y="231"/>
                  </a:lnTo>
                  <a:lnTo>
                    <a:pt x="213" y="231"/>
                  </a:lnTo>
                  <a:lnTo>
                    <a:pt x="217" y="231"/>
                  </a:lnTo>
                  <a:lnTo>
                    <a:pt x="217" y="231"/>
                  </a:lnTo>
                  <a:lnTo>
                    <a:pt x="221" y="231"/>
                  </a:lnTo>
                  <a:lnTo>
                    <a:pt x="221" y="231"/>
                  </a:lnTo>
                  <a:lnTo>
                    <a:pt x="221" y="231"/>
                  </a:lnTo>
                  <a:lnTo>
                    <a:pt x="221" y="231"/>
                  </a:lnTo>
                  <a:lnTo>
                    <a:pt x="221" y="231"/>
                  </a:lnTo>
                  <a:lnTo>
                    <a:pt x="226" y="231"/>
                  </a:lnTo>
                  <a:lnTo>
                    <a:pt x="226" y="231"/>
                  </a:lnTo>
                  <a:lnTo>
                    <a:pt x="230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5"/>
                  </a:lnTo>
                  <a:lnTo>
                    <a:pt x="235" y="235"/>
                  </a:lnTo>
                  <a:lnTo>
                    <a:pt x="235" y="235"/>
                  </a:lnTo>
                  <a:lnTo>
                    <a:pt x="235" y="235"/>
                  </a:lnTo>
                  <a:lnTo>
                    <a:pt x="230" y="235"/>
                  </a:lnTo>
                  <a:lnTo>
                    <a:pt x="235" y="235"/>
                  </a:lnTo>
                  <a:lnTo>
                    <a:pt x="235" y="235"/>
                  </a:lnTo>
                  <a:lnTo>
                    <a:pt x="235" y="235"/>
                  </a:lnTo>
                  <a:lnTo>
                    <a:pt x="239" y="235"/>
                  </a:lnTo>
                  <a:lnTo>
                    <a:pt x="235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5" y="239"/>
                  </a:lnTo>
                  <a:lnTo>
                    <a:pt x="235" y="239"/>
                  </a:lnTo>
                  <a:lnTo>
                    <a:pt x="235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44"/>
                  </a:lnTo>
                  <a:lnTo>
                    <a:pt x="239" y="244"/>
                  </a:lnTo>
                  <a:lnTo>
                    <a:pt x="239" y="244"/>
                  </a:lnTo>
                  <a:lnTo>
                    <a:pt x="239" y="244"/>
                  </a:lnTo>
                  <a:lnTo>
                    <a:pt x="239" y="244"/>
                  </a:lnTo>
                  <a:lnTo>
                    <a:pt x="239" y="244"/>
                  </a:lnTo>
                  <a:lnTo>
                    <a:pt x="239" y="244"/>
                  </a:lnTo>
                  <a:lnTo>
                    <a:pt x="244" y="244"/>
                  </a:lnTo>
                  <a:lnTo>
                    <a:pt x="244" y="248"/>
                  </a:lnTo>
                  <a:lnTo>
                    <a:pt x="244" y="248"/>
                  </a:lnTo>
                  <a:lnTo>
                    <a:pt x="239" y="248"/>
                  </a:lnTo>
                  <a:lnTo>
                    <a:pt x="239" y="248"/>
                  </a:lnTo>
                  <a:lnTo>
                    <a:pt x="239" y="248"/>
                  </a:lnTo>
                  <a:lnTo>
                    <a:pt x="244" y="248"/>
                  </a:lnTo>
                  <a:lnTo>
                    <a:pt x="244" y="248"/>
                  </a:lnTo>
                  <a:lnTo>
                    <a:pt x="244" y="253"/>
                  </a:lnTo>
                  <a:lnTo>
                    <a:pt x="244" y="253"/>
                  </a:lnTo>
                  <a:close/>
                  <a:moveTo>
                    <a:pt x="199" y="182"/>
                  </a:moveTo>
                  <a:lnTo>
                    <a:pt x="199" y="182"/>
                  </a:lnTo>
                  <a:lnTo>
                    <a:pt x="204" y="182"/>
                  </a:lnTo>
                  <a:lnTo>
                    <a:pt x="204" y="182"/>
                  </a:lnTo>
                  <a:lnTo>
                    <a:pt x="204" y="182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199" y="182"/>
                  </a:lnTo>
                  <a:lnTo>
                    <a:pt x="199" y="182"/>
                  </a:lnTo>
                  <a:lnTo>
                    <a:pt x="199" y="182"/>
                  </a:lnTo>
                  <a:lnTo>
                    <a:pt x="199" y="182"/>
                  </a:lnTo>
                  <a:close/>
                  <a:moveTo>
                    <a:pt x="217" y="177"/>
                  </a:moveTo>
                  <a:lnTo>
                    <a:pt x="213" y="177"/>
                  </a:lnTo>
                  <a:lnTo>
                    <a:pt x="213" y="177"/>
                  </a:lnTo>
                  <a:lnTo>
                    <a:pt x="213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13" y="177"/>
                  </a:lnTo>
                  <a:lnTo>
                    <a:pt x="213" y="177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86"/>
                  </a:lnTo>
                  <a:lnTo>
                    <a:pt x="217" y="186"/>
                  </a:lnTo>
                  <a:lnTo>
                    <a:pt x="217" y="186"/>
                  </a:lnTo>
                  <a:lnTo>
                    <a:pt x="217" y="186"/>
                  </a:lnTo>
                  <a:lnTo>
                    <a:pt x="217" y="182"/>
                  </a:lnTo>
                  <a:lnTo>
                    <a:pt x="221" y="182"/>
                  </a:lnTo>
                  <a:lnTo>
                    <a:pt x="221" y="182"/>
                  </a:lnTo>
                  <a:lnTo>
                    <a:pt x="217" y="182"/>
                  </a:lnTo>
                  <a:lnTo>
                    <a:pt x="217" y="182"/>
                  </a:lnTo>
                  <a:lnTo>
                    <a:pt x="217" y="182"/>
                  </a:lnTo>
                  <a:lnTo>
                    <a:pt x="217" y="182"/>
                  </a:lnTo>
                  <a:lnTo>
                    <a:pt x="217" y="177"/>
                  </a:lnTo>
                  <a:close/>
                  <a:moveTo>
                    <a:pt x="31" y="177"/>
                  </a:moveTo>
                  <a:lnTo>
                    <a:pt x="27" y="173"/>
                  </a:lnTo>
                  <a:lnTo>
                    <a:pt x="27" y="173"/>
                  </a:lnTo>
                  <a:lnTo>
                    <a:pt x="27" y="173"/>
                  </a:lnTo>
                  <a:lnTo>
                    <a:pt x="27" y="173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31" y="177"/>
                  </a:lnTo>
                  <a:close/>
                  <a:moveTo>
                    <a:pt x="363" y="191"/>
                  </a:moveTo>
                  <a:lnTo>
                    <a:pt x="363" y="191"/>
                  </a:lnTo>
                  <a:lnTo>
                    <a:pt x="363" y="191"/>
                  </a:lnTo>
                  <a:lnTo>
                    <a:pt x="363" y="191"/>
                  </a:lnTo>
                  <a:lnTo>
                    <a:pt x="363" y="191"/>
                  </a:lnTo>
                  <a:lnTo>
                    <a:pt x="363" y="191"/>
                  </a:lnTo>
                  <a:lnTo>
                    <a:pt x="363" y="186"/>
                  </a:lnTo>
                  <a:lnTo>
                    <a:pt x="359" y="186"/>
                  </a:lnTo>
                  <a:lnTo>
                    <a:pt x="359" y="182"/>
                  </a:lnTo>
                  <a:lnTo>
                    <a:pt x="359" y="182"/>
                  </a:lnTo>
                  <a:lnTo>
                    <a:pt x="363" y="182"/>
                  </a:lnTo>
                  <a:lnTo>
                    <a:pt x="363" y="182"/>
                  </a:lnTo>
                  <a:lnTo>
                    <a:pt x="363" y="182"/>
                  </a:lnTo>
                  <a:lnTo>
                    <a:pt x="363" y="182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91"/>
                  </a:lnTo>
                  <a:lnTo>
                    <a:pt x="368" y="191"/>
                  </a:lnTo>
                  <a:lnTo>
                    <a:pt x="368" y="191"/>
                  </a:lnTo>
                  <a:lnTo>
                    <a:pt x="368" y="191"/>
                  </a:lnTo>
                  <a:lnTo>
                    <a:pt x="368" y="191"/>
                  </a:lnTo>
                  <a:lnTo>
                    <a:pt x="368" y="186"/>
                  </a:lnTo>
                  <a:lnTo>
                    <a:pt x="368" y="186"/>
                  </a:lnTo>
                  <a:lnTo>
                    <a:pt x="368" y="186"/>
                  </a:lnTo>
                  <a:lnTo>
                    <a:pt x="368" y="186"/>
                  </a:lnTo>
                  <a:lnTo>
                    <a:pt x="368" y="182"/>
                  </a:lnTo>
                  <a:lnTo>
                    <a:pt x="368" y="182"/>
                  </a:lnTo>
                  <a:lnTo>
                    <a:pt x="368" y="182"/>
                  </a:lnTo>
                  <a:lnTo>
                    <a:pt x="368" y="182"/>
                  </a:lnTo>
                  <a:lnTo>
                    <a:pt x="363" y="182"/>
                  </a:lnTo>
                  <a:lnTo>
                    <a:pt x="363" y="182"/>
                  </a:lnTo>
                  <a:lnTo>
                    <a:pt x="363" y="182"/>
                  </a:lnTo>
                  <a:lnTo>
                    <a:pt x="363" y="182"/>
                  </a:lnTo>
                  <a:lnTo>
                    <a:pt x="363" y="177"/>
                  </a:lnTo>
                  <a:lnTo>
                    <a:pt x="363" y="177"/>
                  </a:lnTo>
                  <a:lnTo>
                    <a:pt x="363" y="177"/>
                  </a:lnTo>
                  <a:lnTo>
                    <a:pt x="363" y="177"/>
                  </a:lnTo>
                  <a:lnTo>
                    <a:pt x="363" y="173"/>
                  </a:lnTo>
                  <a:lnTo>
                    <a:pt x="363" y="173"/>
                  </a:lnTo>
                  <a:lnTo>
                    <a:pt x="359" y="173"/>
                  </a:lnTo>
                  <a:lnTo>
                    <a:pt x="359" y="173"/>
                  </a:lnTo>
                  <a:lnTo>
                    <a:pt x="359" y="173"/>
                  </a:lnTo>
                  <a:lnTo>
                    <a:pt x="354" y="173"/>
                  </a:lnTo>
                  <a:lnTo>
                    <a:pt x="359" y="169"/>
                  </a:lnTo>
                  <a:lnTo>
                    <a:pt x="359" y="169"/>
                  </a:lnTo>
                  <a:lnTo>
                    <a:pt x="359" y="169"/>
                  </a:lnTo>
                  <a:lnTo>
                    <a:pt x="354" y="169"/>
                  </a:lnTo>
                  <a:lnTo>
                    <a:pt x="354" y="164"/>
                  </a:lnTo>
                  <a:lnTo>
                    <a:pt x="354" y="164"/>
                  </a:lnTo>
                  <a:lnTo>
                    <a:pt x="354" y="164"/>
                  </a:lnTo>
                  <a:lnTo>
                    <a:pt x="345" y="164"/>
                  </a:lnTo>
                  <a:lnTo>
                    <a:pt x="345" y="164"/>
                  </a:lnTo>
                  <a:lnTo>
                    <a:pt x="345" y="169"/>
                  </a:lnTo>
                  <a:lnTo>
                    <a:pt x="345" y="169"/>
                  </a:lnTo>
                  <a:lnTo>
                    <a:pt x="345" y="169"/>
                  </a:lnTo>
                  <a:lnTo>
                    <a:pt x="341" y="169"/>
                  </a:lnTo>
                  <a:lnTo>
                    <a:pt x="341" y="169"/>
                  </a:lnTo>
                  <a:lnTo>
                    <a:pt x="341" y="169"/>
                  </a:lnTo>
                  <a:lnTo>
                    <a:pt x="341" y="169"/>
                  </a:lnTo>
                  <a:lnTo>
                    <a:pt x="341" y="169"/>
                  </a:lnTo>
                  <a:lnTo>
                    <a:pt x="341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73"/>
                  </a:lnTo>
                  <a:lnTo>
                    <a:pt x="337" y="169"/>
                  </a:lnTo>
                  <a:lnTo>
                    <a:pt x="337" y="173"/>
                  </a:lnTo>
                  <a:lnTo>
                    <a:pt x="332" y="173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32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7"/>
                  </a:lnTo>
                  <a:lnTo>
                    <a:pt x="328" y="177"/>
                  </a:lnTo>
                  <a:lnTo>
                    <a:pt x="328" y="177"/>
                  </a:lnTo>
                  <a:lnTo>
                    <a:pt x="328" y="177"/>
                  </a:lnTo>
                  <a:lnTo>
                    <a:pt x="328" y="177"/>
                  </a:lnTo>
                  <a:lnTo>
                    <a:pt x="328" y="177"/>
                  </a:lnTo>
                  <a:lnTo>
                    <a:pt x="332" y="182"/>
                  </a:lnTo>
                  <a:lnTo>
                    <a:pt x="332" y="182"/>
                  </a:lnTo>
                  <a:lnTo>
                    <a:pt x="332" y="182"/>
                  </a:lnTo>
                  <a:lnTo>
                    <a:pt x="332" y="182"/>
                  </a:lnTo>
                  <a:lnTo>
                    <a:pt x="332" y="182"/>
                  </a:lnTo>
                  <a:lnTo>
                    <a:pt x="332" y="182"/>
                  </a:lnTo>
                  <a:lnTo>
                    <a:pt x="337" y="182"/>
                  </a:lnTo>
                  <a:lnTo>
                    <a:pt x="341" y="182"/>
                  </a:lnTo>
                  <a:lnTo>
                    <a:pt x="341" y="182"/>
                  </a:lnTo>
                  <a:lnTo>
                    <a:pt x="341" y="182"/>
                  </a:lnTo>
                  <a:lnTo>
                    <a:pt x="345" y="177"/>
                  </a:lnTo>
                  <a:lnTo>
                    <a:pt x="345" y="177"/>
                  </a:lnTo>
                  <a:lnTo>
                    <a:pt x="345" y="177"/>
                  </a:lnTo>
                  <a:lnTo>
                    <a:pt x="345" y="177"/>
                  </a:lnTo>
                  <a:lnTo>
                    <a:pt x="345" y="177"/>
                  </a:lnTo>
                  <a:lnTo>
                    <a:pt x="345" y="177"/>
                  </a:lnTo>
                  <a:lnTo>
                    <a:pt x="350" y="177"/>
                  </a:lnTo>
                  <a:lnTo>
                    <a:pt x="350" y="177"/>
                  </a:lnTo>
                  <a:lnTo>
                    <a:pt x="350" y="177"/>
                  </a:lnTo>
                  <a:lnTo>
                    <a:pt x="350" y="177"/>
                  </a:lnTo>
                  <a:lnTo>
                    <a:pt x="350" y="177"/>
                  </a:lnTo>
                  <a:lnTo>
                    <a:pt x="350" y="177"/>
                  </a:lnTo>
                  <a:lnTo>
                    <a:pt x="350" y="177"/>
                  </a:lnTo>
                  <a:lnTo>
                    <a:pt x="350" y="177"/>
                  </a:lnTo>
                  <a:lnTo>
                    <a:pt x="350" y="182"/>
                  </a:lnTo>
                  <a:lnTo>
                    <a:pt x="350" y="182"/>
                  </a:lnTo>
                  <a:lnTo>
                    <a:pt x="350" y="182"/>
                  </a:lnTo>
                  <a:lnTo>
                    <a:pt x="345" y="182"/>
                  </a:lnTo>
                  <a:lnTo>
                    <a:pt x="345" y="182"/>
                  </a:lnTo>
                  <a:lnTo>
                    <a:pt x="345" y="182"/>
                  </a:lnTo>
                  <a:lnTo>
                    <a:pt x="345" y="182"/>
                  </a:lnTo>
                  <a:lnTo>
                    <a:pt x="345" y="182"/>
                  </a:lnTo>
                  <a:lnTo>
                    <a:pt x="341" y="182"/>
                  </a:lnTo>
                  <a:lnTo>
                    <a:pt x="341" y="182"/>
                  </a:lnTo>
                  <a:lnTo>
                    <a:pt x="341" y="182"/>
                  </a:lnTo>
                  <a:lnTo>
                    <a:pt x="341" y="182"/>
                  </a:lnTo>
                  <a:lnTo>
                    <a:pt x="341" y="182"/>
                  </a:lnTo>
                  <a:lnTo>
                    <a:pt x="341" y="186"/>
                  </a:lnTo>
                  <a:lnTo>
                    <a:pt x="341" y="186"/>
                  </a:lnTo>
                  <a:lnTo>
                    <a:pt x="341" y="186"/>
                  </a:lnTo>
                  <a:lnTo>
                    <a:pt x="341" y="186"/>
                  </a:lnTo>
                  <a:lnTo>
                    <a:pt x="341" y="186"/>
                  </a:lnTo>
                  <a:lnTo>
                    <a:pt x="345" y="186"/>
                  </a:lnTo>
                  <a:lnTo>
                    <a:pt x="345" y="186"/>
                  </a:lnTo>
                  <a:lnTo>
                    <a:pt x="345" y="191"/>
                  </a:lnTo>
                  <a:lnTo>
                    <a:pt x="350" y="191"/>
                  </a:lnTo>
                  <a:lnTo>
                    <a:pt x="350" y="191"/>
                  </a:lnTo>
                  <a:lnTo>
                    <a:pt x="354" y="191"/>
                  </a:lnTo>
                  <a:lnTo>
                    <a:pt x="354" y="191"/>
                  </a:lnTo>
                  <a:lnTo>
                    <a:pt x="354" y="191"/>
                  </a:lnTo>
                  <a:lnTo>
                    <a:pt x="354" y="191"/>
                  </a:lnTo>
                  <a:lnTo>
                    <a:pt x="359" y="191"/>
                  </a:lnTo>
                  <a:lnTo>
                    <a:pt x="359" y="191"/>
                  </a:lnTo>
                  <a:lnTo>
                    <a:pt x="363" y="191"/>
                  </a:lnTo>
                  <a:lnTo>
                    <a:pt x="363" y="191"/>
                  </a:lnTo>
                  <a:lnTo>
                    <a:pt x="363" y="191"/>
                  </a:lnTo>
                  <a:lnTo>
                    <a:pt x="363" y="191"/>
                  </a:lnTo>
                  <a:close/>
                  <a:moveTo>
                    <a:pt x="27" y="164"/>
                  </a:moveTo>
                  <a:lnTo>
                    <a:pt x="27" y="160"/>
                  </a:lnTo>
                  <a:lnTo>
                    <a:pt x="27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3" y="151"/>
                  </a:lnTo>
                  <a:lnTo>
                    <a:pt x="13" y="151"/>
                  </a:lnTo>
                  <a:lnTo>
                    <a:pt x="18" y="151"/>
                  </a:lnTo>
                  <a:lnTo>
                    <a:pt x="18" y="151"/>
                  </a:lnTo>
                  <a:lnTo>
                    <a:pt x="18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3" y="138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9" y="133"/>
                  </a:lnTo>
                  <a:lnTo>
                    <a:pt x="9" y="138"/>
                  </a:lnTo>
                  <a:lnTo>
                    <a:pt x="9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5" y="142"/>
                  </a:lnTo>
                  <a:lnTo>
                    <a:pt x="5" y="142"/>
                  </a:lnTo>
                  <a:lnTo>
                    <a:pt x="5" y="142"/>
                  </a:lnTo>
                  <a:lnTo>
                    <a:pt x="5" y="142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13" y="151"/>
                  </a:lnTo>
                  <a:lnTo>
                    <a:pt x="13" y="155"/>
                  </a:lnTo>
                  <a:lnTo>
                    <a:pt x="13" y="155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4"/>
                  </a:lnTo>
                  <a:lnTo>
                    <a:pt x="22" y="164"/>
                  </a:lnTo>
                  <a:lnTo>
                    <a:pt x="22" y="164"/>
                  </a:lnTo>
                  <a:lnTo>
                    <a:pt x="22" y="164"/>
                  </a:lnTo>
                  <a:lnTo>
                    <a:pt x="22" y="164"/>
                  </a:lnTo>
                  <a:lnTo>
                    <a:pt x="22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close/>
                  <a:moveTo>
                    <a:pt x="297" y="124"/>
                  </a:moveTo>
                  <a:lnTo>
                    <a:pt x="297" y="124"/>
                  </a:lnTo>
                  <a:lnTo>
                    <a:pt x="297" y="120"/>
                  </a:lnTo>
                  <a:lnTo>
                    <a:pt x="297" y="120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2" y="120"/>
                  </a:lnTo>
                  <a:lnTo>
                    <a:pt x="292" y="120"/>
                  </a:lnTo>
                  <a:lnTo>
                    <a:pt x="292" y="120"/>
                  </a:lnTo>
                  <a:lnTo>
                    <a:pt x="288" y="124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88" y="124"/>
                  </a:lnTo>
                  <a:lnTo>
                    <a:pt x="288" y="124"/>
                  </a:lnTo>
                  <a:lnTo>
                    <a:pt x="288" y="124"/>
                  </a:lnTo>
                  <a:lnTo>
                    <a:pt x="288" y="124"/>
                  </a:lnTo>
                  <a:lnTo>
                    <a:pt x="288" y="124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8"/>
                  </a:lnTo>
                  <a:lnTo>
                    <a:pt x="297" y="138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2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8"/>
                  </a:lnTo>
                  <a:lnTo>
                    <a:pt x="301" y="138"/>
                  </a:lnTo>
                  <a:lnTo>
                    <a:pt x="301" y="138"/>
                  </a:lnTo>
                  <a:lnTo>
                    <a:pt x="301" y="138"/>
                  </a:lnTo>
                  <a:lnTo>
                    <a:pt x="301" y="138"/>
                  </a:lnTo>
                  <a:lnTo>
                    <a:pt x="301" y="138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29"/>
                  </a:lnTo>
                  <a:lnTo>
                    <a:pt x="301" y="129"/>
                  </a:lnTo>
                  <a:lnTo>
                    <a:pt x="301" y="129"/>
                  </a:lnTo>
                  <a:lnTo>
                    <a:pt x="301" y="129"/>
                  </a:lnTo>
                  <a:lnTo>
                    <a:pt x="301" y="129"/>
                  </a:lnTo>
                  <a:lnTo>
                    <a:pt x="301" y="129"/>
                  </a:lnTo>
                  <a:lnTo>
                    <a:pt x="301" y="129"/>
                  </a:lnTo>
                  <a:lnTo>
                    <a:pt x="301" y="129"/>
                  </a:lnTo>
                  <a:lnTo>
                    <a:pt x="306" y="129"/>
                  </a:lnTo>
                  <a:lnTo>
                    <a:pt x="306" y="129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1" y="120"/>
                  </a:lnTo>
                  <a:lnTo>
                    <a:pt x="301" y="124"/>
                  </a:lnTo>
                  <a:lnTo>
                    <a:pt x="301" y="124"/>
                  </a:lnTo>
                  <a:lnTo>
                    <a:pt x="301" y="124"/>
                  </a:lnTo>
                  <a:lnTo>
                    <a:pt x="301" y="124"/>
                  </a:lnTo>
                  <a:lnTo>
                    <a:pt x="297" y="124"/>
                  </a:lnTo>
                  <a:lnTo>
                    <a:pt x="297" y="124"/>
                  </a:lnTo>
                  <a:lnTo>
                    <a:pt x="297" y="124"/>
                  </a:lnTo>
                  <a:close/>
                  <a:moveTo>
                    <a:pt x="319" y="89"/>
                  </a:moveTo>
                  <a:lnTo>
                    <a:pt x="319" y="89"/>
                  </a:lnTo>
                  <a:lnTo>
                    <a:pt x="319" y="89"/>
                  </a:lnTo>
                  <a:lnTo>
                    <a:pt x="314" y="84"/>
                  </a:lnTo>
                  <a:lnTo>
                    <a:pt x="314" y="84"/>
                  </a:lnTo>
                  <a:lnTo>
                    <a:pt x="310" y="89"/>
                  </a:lnTo>
                  <a:lnTo>
                    <a:pt x="310" y="89"/>
                  </a:lnTo>
                  <a:lnTo>
                    <a:pt x="306" y="89"/>
                  </a:lnTo>
                  <a:lnTo>
                    <a:pt x="306" y="89"/>
                  </a:lnTo>
                  <a:lnTo>
                    <a:pt x="310" y="89"/>
                  </a:lnTo>
                  <a:lnTo>
                    <a:pt x="310" y="93"/>
                  </a:lnTo>
                  <a:lnTo>
                    <a:pt x="314" y="93"/>
                  </a:lnTo>
                  <a:lnTo>
                    <a:pt x="314" y="93"/>
                  </a:lnTo>
                  <a:lnTo>
                    <a:pt x="319" y="93"/>
                  </a:lnTo>
                  <a:lnTo>
                    <a:pt x="319" y="93"/>
                  </a:lnTo>
                  <a:lnTo>
                    <a:pt x="319" y="93"/>
                  </a:lnTo>
                  <a:lnTo>
                    <a:pt x="319" y="89"/>
                  </a:lnTo>
                  <a:lnTo>
                    <a:pt x="319" y="89"/>
                  </a:lnTo>
                  <a:close/>
                  <a:moveTo>
                    <a:pt x="275" y="71"/>
                  </a:moveTo>
                  <a:lnTo>
                    <a:pt x="270" y="71"/>
                  </a:lnTo>
                  <a:lnTo>
                    <a:pt x="270" y="71"/>
                  </a:lnTo>
                  <a:lnTo>
                    <a:pt x="270" y="71"/>
                  </a:lnTo>
                  <a:lnTo>
                    <a:pt x="270" y="71"/>
                  </a:lnTo>
                  <a:lnTo>
                    <a:pt x="270" y="71"/>
                  </a:lnTo>
                  <a:lnTo>
                    <a:pt x="270" y="71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1" y="71"/>
                  </a:lnTo>
                  <a:lnTo>
                    <a:pt x="261" y="71"/>
                  </a:lnTo>
                  <a:lnTo>
                    <a:pt x="257" y="76"/>
                  </a:lnTo>
                  <a:lnTo>
                    <a:pt x="257" y="76"/>
                  </a:lnTo>
                  <a:lnTo>
                    <a:pt x="257" y="80"/>
                  </a:lnTo>
                  <a:lnTo>
                    <a:pt x="257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6" y="80"/>
                  </a:lnTo>
                  <a:lnTo>
                    <a:pt x="266" y="80"/>
                  </a:lnTo>
                  <a:lnTo>
                    <a:pt x="266" y="84"/>
                  </a:lnTo>
                  <a:lnTo>
                    <a:pt x="266" y="84"/>
                  </a:lnTo>
                  <a:lnTo>
                    <a:pt x="266" y="80"/>
                  </a:lnTo>
                  <a:lnTo>
                    <a:pt x="266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76"/>
                  </a:lnTo>
                  <a:lnTo>
                    <a:pt x="270" y="76"/>
                  </a:lnTo>
                  <a:lnTo>
                    <a:pt x="275" y="76"/>
                  </a:lnTo>
                  <a:lnTo>
                    <a:pt x="275" y="71"/>
                  </a:lnTo>
                  <a:lnTo>
                    <a:pt x="270" y="71"/>
                  </a:lnTo>
                  <a:lnTo>
                    <a:pt x="270" y="71"/>
                  </a:lnTo>
                  <a:lnTo>
                    <a:pt x="270" y="71"/>
                  </a:lnTo>
                  <a:lnTo>
                    <a:pt x="275" y="71"/>
                  </a:lnTo>
                  <a:close/>
                  <a:moveTo>
                    <a:pt x="190" y="301"/>
                  </a:moveTo>
                  <a:lnTo>
                    <a:pt x="190" y="301"/>
                  </a:lnTo>
                  <a:lnTo>
                    <a:pt x="190" y="301"/>
                  </a:lnTo>
                  <a:lnTo>
                    <a:pt x="190" y="297"/>
                  </a:lnTo>
                  <a:lnTo>
                    <a:pt x="190" y="297"/>
                  </a:lnTo>
                  <a:lnTo>
                    <a:pt x="190" y="297"/>
                  </a:lnTo>
                  <a:lnTo>
                    <a:pt x="190" y="297"/>
                  </a:lnTo>
                  <a:lnTo>
                    <a:pt x="190" y="297"/>
                  </a:lnTo>
                  <a:lnTo>
                    <a:pt x="190" y="297"/>
                  </a:lnTo>
                  <a:lnTo>
                    <a:pt x="190" y="297"/>
                  </a:lnTo>
                  <a:lnTo>
                    <a:pt x="195" y="297"/>
                  </a:lnTo>
                  <a:lnTo>
                    <a:pt x="195" y="297"/>
                  </a:lnTo>
                  <a:lnTo>
                    <a:pt x="195" y="297"/>
                  </a:lnTo>
                  <a:lnTo>
                    <a:pt x="195" y="297"/>
                  </a:lnTo>
                  <a:lnTo>
                    <a:pt x="195" y="297"/>
                  </a:lnTo>
                  <a:lnTo>
                    <a:pt x="195" y="297"/>
                  </a:lnTo>
                  <a:lnTo>
                    <a:pt x="195" y="297"/>
                  </a:lnTo>
                  <a:lnTo>
                    <a:pt x="204" y="297"/>
                  </a:lnTo>
                  <a:lnTo>
                    <a:pt x="204" y="297"/>
                  </a:lnTo>
                  <a:lnTo>
                    <a:pt x="204" y="297"/>
                  </a:lnTo>
                  <a:lnTo>
                    <a:pt x="208" y="293"/>
                  </a:lnTo>
                  <a:lnTo>
                    <a:pt x="208" y="293"/>
                  </a:lnTo>
                  <a:lnTo>
                    <a:pt x="204" y="293"/>
                  </a:lnTo>
                  <a:lnTo>
                    <a:pt x="204" y="293"/>
                  </a:lnTo>
                  <a:lnTo>
                    <a:pt x="204" y="293"/>
                  </a:lnTo>
                  <a:lnTo>
                    <a:pt x="208" y="293"/>
                  </a:lnTo>
                  <a:lnTo>
                    <a:pt x="204" y="293"/>
                  </a:lnTo>
                  <a:lnTo>
                    <a:pt x="204" y="293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4"/>
                  </a:lnTo>
                  <a:lnTo>
                    <a:pt x="199" y="284"/>
                  </a:lnTo>
                  <a:lnTo>
                    <a:pt x="199" y="284"/>
                  </a:lnTo>
                  <a:lnTo>
                    <a:pt x="199" y="279"/>
                  </a:lnTo>
                  <a:lnTo>
                    <a:pt x="195" y="284"/>
                  </a:lnTo>
                  <a:lnTo>
                    <a:pt x="195" y="284"/>
                  </a:lnTo>
                  <a:lnTo>
                    <a:pt x="195" y="284"/>
                  </a:lnTo>
                  <a:lnTo>
                    <a:pt x="195" y="284"/>
                  </a:lnTo>
                  <a:lnTo>
                    <a:pt x="195" y="284"/>
                  </a:lnTo>
                  <a:lnTo>
                    <a:pt x="199" y="284"/>
                  </a:lnTo>
                  <a:lnTo>
                    <a:pt x="199" y="288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0" y="284"/>
                  </a:lnTo>
                  <a:lnTo>
                    <a:pt x="190" y="284"/>
                  </a:lnTo>
                  <a:lnTo>
                    <a:pt x="190" y="284"/>
                  </a:lnTo>
                  <a:lnTo>
                    <a:pt x="186" y="284"/>
                  </a:lnTo>
                  <a:lnTo>
                    <a:pt x="186" y="284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77" y="266"/>
                  </a:lnTo>
                  <a:lnTo>
                    <a:pt x="177" y="266"/>
                  </a:lnTo>
                  <a:lnTo>
                    <a:pt x="177" y="266"/>
                  </a:lnTo>
                  <a:lnTo>
                    <a:pt x="177" y="266"/>
                  </a:lnTo>
                  <a:lnTo>
                    <a:pt x="177" y="266"/>
                  </a:lnTo>
                  <a:lnTo>
                    <a:pt x="177" y="262"/>
                  </a:lnTo>
                  <a:lnTo>
                    <a:pt x="177" y="262"/>
                  </a:lnTo>
                  <a:lnTo>
                    <a:pt x="177" y="262"/>
                  </a:lnTo>
                  <a:lnTo>
                    <a:pt x="182" y="262"/>
                  </a:lnTo>
                  <a:lnTo>
                    <a:pt x="182" y="262"/>
                  </a:lnTo>
                  <a:lnTo>
                    <a:pt x="182" y="262"/>
                  </a:lnTo>
                  <a:lnTo>
                    <a:pt x="182" y="262"/>
                  </a:lnTo>
                  <a:lnTo>
                    <a:pt x="182" y="262"/>
                  </a:lnTo>
                  <a:lnTo>
                    <a:pt x="186" y="262"/>
                  </a:lnTo>
                  <a:lnTo>
                    <a:pt x="186" y="262"/>
                  </a:lnTo>
                  <a:lnTo>
                    <a:pt x="186" y="262"/>
                  </a:lnTo>
                  <a:lnTo>
                    <a:pt x="190" y="257"/>
                  </a:lnTo>
                  <a:lnTo>
                    <a:pt x="195" y="257"/>
                  </a:lnTo>
                  <a:lnTo>
                    <a:pt x="199" y="257"/>
                  </a:lnTo>
                  <a:lnTo>
                    <a:pt x="199" y="257"/>
                  </a:lnTo>
                  <a:lnTo>
                    <a:pt x="199" y="257"/>
                  </a:lnTo>
                  <a:lnTo>
                    <a:pt x="199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3"/>
                  </a:lnTo>
                  <a:lnTo>
                    <a:pt x="204" y="253"/>
                  </a:lnTo>
                  <a:lnTo>
                    <a:pt x="204" y="253"/>
                  </a:lnTo>
                  <a:lnTo>
                    <a:pt x="208" y="253"/>
                  </a:lnTo>
                  <a:lnTo>
                    <a:pt x="208" y="253"/>
                  </a:lnTo>
                  <a:lnTo>
                    <a:pt x="208" y="253"/>
                  </a:lnTo>
                  <a:lnTo>
                    <a:pt x="208" y="253"/>
                  </a:lnTo>
                  <a:lnTo>
                    <a:pt x="208" y="253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08" y="262"/>
                  </a:lnTo>
                  <a:lnTo>
                    <a:pt x="208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7" y="262"/>
                  </a:lnTo>
                  <a:lnTo>
                    <a:pt x="217" y="262"/>
                  </a:lnTo>
                  <a:lnTo>
                    <a:pt x="217" y="266"/>
                  </a:lnTo>
                  <a:lnTo>
                    <a:pt x="217" y="266"/>
                  </a:lnTo>
                  <a:lnTo>
                    <a:pt x="217" y="266"/>
                  </a:lnTo>
                  <a:lnTo>
                    <a:pt x="217" y="270"/>
                  </a:lnTo>
                  <a:lnTo>
                    <a:pt x="217" y="270"/>
                  </a:lnTo>
                  <a:lnTo>
                    <a:pt x="217" y="270"/>
                  </a:lnTo>
                  <a:lnTo>
                    <a:pt x="217" y="270"/>
                  </a:lnTo>
                  <a:lnTo>
                    <a:pt x="217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6" y="270"/>
                  </a:lnTo>
                  <a:lnTo>
                    <a:pt x="226" y="270"/>
                  </a:lnTo>
                  <a:lnTo>
                    <a:pt x="226" y="270"/>
                  </a:lnTo>
                  <a:lnTo>
                    <a:pt x="226" y="270"/>
                  </a:lnTo>
                  <a:lnTo>
                    <a:pt x="226" y="270"/>
                  </a:lnTo>
                  <a:lnTo>
                    <a:pt x="226" y="275"/>
                  </a:lnTo>
                  <a:lnTo>
                    <a:pt x="226" y="275"/>
                  </a:lnTo>
                  <a:lnTo>
                    <a:pt x="226" y="275"/>
                  </a:lnTo>
                  <a:lnTo>
                    <a:pt x="226" y="275"/>
                  </a:lnTo>
                  <a:lnTo>
                    <a:pt x="226" y="279"/>
                  </a:lnTo>
                  <a:lnTo>
                    <a:pt x="230" y="279"/>
                  </a:lnTo>
                  <a:lnTo>
                    <a:pt x="230" y="279"/>
                  </a:lnTo>
                  <a:lnTo>
                    <a:pt x="230" y="279"/>
                  </a:lnTo>
                  <a:lnTo>
                    <a:pt x="230" y="279"/>
                  </a:lnTo>
                  <a:lnTo>
                    <a:pt x="235" y="279"/>
                  </a:lnTo>
                  <a:lnTo>
                    <a:pt x="235" y="279"/>
                  </a:lnTo>
                  <a:lnTo>
                    <a:pt x="235" y="279"/>
                  </a:lnTo>
                  <a:lnTo>
                    <a:pt x="235" y="279"/>
                  </a:lnTo>
                  <a:lnTo>
                    <a:pt x="235" y="279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9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0"/>
                  </a:lnTo>
                  <a:lnTo>
                    <a:pt x="235" y="270"/>
                  </a:lnTo>
                  <a:lnTo>
                    <a:pt x="235" y="270"/>
                  </a:lnTo>
                  <a:lnTo>
                    <a:pt x="235" y="270"/>
                  </a:lnTo>
                  <a:lnTo>
                    <a:pt x="235" y="270"/>
                  </a:lnTo>
                  <a:lnTo>
                    <a:pt x="235" y="270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0" y="266"/>
                  </a:lnTo>
                  <a:lnTo>
                    <a:pt x="230" y="266"/>
                  </a:lnTo>
                  <a:lnTo>
                    <a:pt x="230" y="266"/>
                  </a:lnTo>
                  <a:lnTo>
                    <a:pt x="235" y="266"/>
                  </a:lnTo>
                  <a:lnTo>
                    <a:pt x="235" y="262"/>
                  </a:lnTo>
                  <a:lnTo>
                    <a:pt x="235" y="262"/>
                  </a:lnTo>
                  <a:lnTo>
                    <a:pt x="235" y="262"/>
                  </a:lnTo>
                  <a:lnTo>
                    <a:pt x="230" y="262"/>
                  </a:lnTo>
                  <a:lnTo>
                    <a:pt x="230" y="262"/>
                  </a:lnTo>
                  <a:lnTo>
                    <a:pt x="230" y="262"/>
                  </a:lnTo>
                  <a:lnTo>
                    <a:pt x="230" y="262"/>
                  </a:lnTo>
                  <a:lnTo>
                    <a:pt x="230" y="262"/>
                  </a:lnTo>
                  <a:lnTo>
                    <a:pt x="230" y="262"/>
                  </a:lnTo>
                  <a:lnTo>
                    <a:pt x="230" y="257"/>
                  </a:lnTo>
                  <a:lnTo>
                    <a:pt x="235" y="257"/>
                  </a:lnTo>
                  <a:lnTo>
                    <a:pt x="235" y="257"/>
                  </a:lnTo>
                  <a:lnTo>
                    <a:pt x="230" y="257"/>
                  </a:lnTo>
                  <a:lnTo>
                    <a:pt x="230" y="257"/>
                  </a:lnTo>
                  <a:lnTo>
                    <a:pt x="230" y="253"/>
                  </a:lnTo>
                  <a:lnTo>
                    <a:pt x="230" y="253"/>
                  </a:lnTo>
                  <a:lnTo>
                    <a:pt x="230" y="248"/>
                  </a:lnTo>
                  <a:lnTo>
                    <a:pt x="230" y="248"/>
                  </a:lnTo>
                  <a:lnTo>
                    <a:pt x="235" y="248"/>
                  </a:lnTo>
                  <a:lnTo>
                    <a:pt x="235" y="248"/>
                  </a:lnTo>
                  <a:lnTo>
                    <a:pt x="235" y="248"/>
                  </a:lnTo>
                  <a:lnTo>
                    <a:pt x="235" y="248"/>
                  </a:lnTo>
                  <a:lnTo>
                    <a:pt x="235" y="248"/>
                  </a:lnTo>
                  <a:lnTo>
                    <a:pt x="235" y="248"/>
                  </a:lnTo>
                  <a:lnTo>
                    <a:pt x="235" y="248"/>
                  </a:lnTo>
                  <a:lnTo>
                    <a:pt x="235" y="244"/>
                  </a:lnTo>
                  <a:lnTo>
                    <a:pt x="235" y="244"/>
                  </a:lnTo>
                  <a:lnTo>
                    <a:pt x="235" y="244"/>
                  </a:lnTo>
                  <a:lnTo>
                    <a:pt x="235" y="244"/>
                  </a:lnTo>
                  <a:lnTo>
                    <a:pt x="235" y="244"/>
                  </a:lnTo>
                  <a:lnTo>
                    <a:pt x="235" y="244"/>
                  </a:lnTo>
                  <a:lnTo>
                    <a:pt x="235" y="244"/>
                  </a:lnTo>
                  <a:lnTo>
                    <a:pt x="235" y="244"/>
                  </a:lnTo>
                  <a:lnTo>
                    <a:pt x="230" y="239"/>
                  </a:lnTo>
                  <a:lnTo>
                    <a:pt x="230" y="239"/>
                  </a:lnTo>
                  <a:lnTo>
                    <a:pt x="230" y="239"/>
                  </a:lnTo>
                  <a:lnTo>
                    <a:pt x="226" y="239"/>
                  </a:lnTo>
                  <a:lnTo>
                    <a:pt x="226" y="239"/>
                  </a:lnTo>
                  <a:lnTo>
                    <a:pt x="221" y="235"/>
                  </a:lnTo>
                  <a:lnTo>
                    <a:pt x="221" y="235"/>
                  </a:lnTo>
                  <a:lnTo>
                    <a:pt x="221" y="235"/>
                  </a:lnTo>
                  <a:lnTo>
                    <a:pt x="217" y="235"/>
                  </a:lnTo>
                  <a:lnTo>
                    <a:pt x="217" y="235"/>
                  </a:lnTo>
                  <a:lnTo>
                    <a:pt x="213" y="235"/>
                  </a:lnTo>
                  <a:lnTo>
                    <a:pt x="213" y="231"/>
                  </a:lnTo>
                  <a:lnTo>
                    <a:pt x="208" y="231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2"/>
                  </a:lnTo>
                  <a:lnTo>
                    <a:pt x="208" y="222"/>
                  </a:lnTo>
                  <a:lnTo>
                    <a:pt x="208" y="222"/>
                  </a:lnTo>
                  <a:lnTo>
                    <a:pt x="204" y="226"/>
                  </a:lnTo>
                  <a:lnTo>
                    <a:pt x="199" y="222"/>
                  </a:lnTo>
                  <a:lnTo>
                    <a:pt x="195" y="222"/>
                  </a:lnTo>
                  <a:lnTo>
                    <a:pt x="195" y="222"/>
                  </a:lnTo>
                  <a:lnTo>
                    <a:pt x="195" y="222"/>
                  </a:lnTo>
                  <a:lnTo>
                    <a:pt x="195" y="222"/>
                  </a:lnTo>
                  <a:lnTo>
                    <a:pt x="195" y="222"/>
                  </a:lnTo>
                  <a:lnTo>
                    <a:pt x="195" y="222"/>
                  </a:lnTo>
                  <a:lnTo>
                    <a:pt x="199" y="222"/>
                  </a:lnTo>
                  <a:lnTo>
                    <a:pt x="199" y="222"/>
                  </a:lnTo>
                  <a:lnTo>
                    <a:pt x="199" y="222"/>
                  </a:lnTo>
                  <a:lnTo>
                    <a:pt x="199" y="222"/>
                  </a:lnTo>
                  <a:lnTo>
                    <a:pt x="195" y="222"/>
                  </a:lnTo>
                  <a:lnTo>
                    <a:pt x="195" y="222"/>
                  </a:lnTo>
                  <a:lnTo>
                    <a:pt x="195" y="222"/>
                  </a:lnTo>
                  <a:lnTo>
                    <a:pt x="195" y="217"/>
                  </a:lnTo>
                  <a:lnTo>
                    <a:pt x="195" y="217"/>
                  </a:lnTo>
                  <a:lnTo>
                    <a:pt x="195" y="222"/>
                  </a:lnTo>
                  <a:lnTo>
                    <a:pt x="195" y="217"/>
                  </a:lnTo>
                  <a:lnTo>
                    <a:pt x="195" y="217"/>
                  </a:lnTo>
                  <a:lnTo>
                    <a:pt x="195" y="217"/>
                  </a:lnTo>
                  <a:lnTo>
                    <a:pt x="195" y="217"/>
                  </a:lnTo>
                  <a:lnTo>
                    <a:pt x="195" y="217"/>
                  </a:lnTo>
                  <a:lnTo>
                    <a:pt x="195" y="213"/>
                  </a:lnTo>
                  <a:lnTo>
                    <a:pt x="195" y="213"/>
                  </a:lnTo>
                  <a:lnTo>
                    <a:pt x="195" y="213"/>
                  </a:lnTo>
                  <a:lnTo>
                    <a:pt x="195" y="213"/>
                  </a:lnTo>
                  <a:lnTo>
                    <a:pt x="190" y="213"/>
                  </a:lnTo>
                  <a:lnTo>
                    <a:pt x="190" y="213"/>
                  </a:lnTo>
                  <a:lnTo>
                    <a:pt x="190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90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82" y="213"/>
                  </a:lnTo>
                  <a:lnTo>
                    <a:pt x="182" y="213"/>
                  </a:lnTo>
                  <a:lnTo>
                    <a:pt x="182" y="208"/>
                  </a:lnTo>
                  <a:lnTo>
                    <a:pt x="182" y="208"/>
                  </a:lnTo>
                  <a:lnTo>
                    <a:pt x="177" y="208"/>
                  </a:lnTo>
                  <a:lnTo>
                    <a:pt x="177" y="208"/>
                  </a:lnTo>
                  <a:lnTo>
                    <a:pt x="177" y="208"/>
                  </a:lnTo>
                  <a:lnTo>
                    <a:pt x="173" y="204"/>
                  </a:lnTo>
                  <a:lnTo>
                    <a:pt x="173" y="204"/>
                  </a:lnTo>
                  <a:lnTo>
                    <a:pt x="173" y="204"/>
                  </a:lnTo>
                  <a:lnTo>
                    <a:pt x="173" y="204"/>
                  </a:lnTo>
                  <a:lnTo>
                    <a:pt x="173" y="208"/>
                  </a:lnTo>
                  <a:lnTo>
                    <a:pt x="173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00"/>
                  </a:lnTo>
                  <a:lnTo>
                    <a:pt x="164" y="200"/>
                  </a:lnTo>
                  <a:lnTo>
                    <a:pt x="160" y="200"/>
                  </a:lnTo>
                  <a:lnTo>
                    <a:pt x="160" y="200"/>
                  </a:lnTo>
                  <a:lnTo>
                    <a:pt x="160" y="200"/>
                  </a:lnTo>
                  <a:lnTo>
                    <a:pt x="160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200"/>
                  </a:lnTo>
                  <a:lnTo>
                    <a:pt x="160" y="200"/>
                  </a:lnTo>
                  <a:lnTo>
                    <a:pt x="160" y="200"/>
                  </a:lnTo>
                  <a:lnTo>
                    <a:pt x="164" y="200"/>
                  </a:lnTo>
                  <a:lnTo>
                    <a:pt x="164" y="200"/>
                  </a:lnTo>
                  <a:lnTo>
                    <a:pt x="164" y="200"/>
                  </a:lnTo>
                  <a:lnTo>
                    <a:pt x="164" y="200"/>
                  </a:lnTo>
                  <a:lnTo>
                    <a:pt x="164" y="200"/>
                  </a:lnTo>
                  <a:lnTo>
                    <a:pt x="164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3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1"/>
                  </a:lnTo>
                  <a:lnTo>
                    <a:pt x="177" y="191"/>
                  </a:lnTo>
                  <a:lnTo>
                    <a:pt x="177" y="191"/>
                  </a:lnTo>
                  <a:lnTo>
                    <a:pt x="177" y="191"/>
                  </a:lnTo>
                  <a:lnTo>
                    <a:pt x="177" y="191"/>
                  </a:lnTo>
                  <a:lnTo>
                    <a:pt x="177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2" y="186"/>
                  </a:lnTo>
                  <a:lnTo>
                    <a:pt x="182" y="186"/>
                  </a:lnTo>
                  <a:lnTo>
                    <a:pt x="182" y="186"/>
                  </a:lnTo>
                  <a:lnTo>
                    <a:pt x="182" y="186"/>
                  </a:lnTo>
                  <a:lnTo>
                    <a:pt x="177" y="186"/>
                  </a:lnTo>
                  <a:lnTo>
                    <a:pt x="177" y="191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2"/>
                  </a:lnTo>
                  <a:lnTo>
                    <a:pt x="177" y="182"/>
                  </a:lnTo>
                  <a:lnTo>
                    <a:pt x="173" y="182"/>
                  </a:lnTo>
                  <a:lnTo>
                    <a:pt x="177" y="182"/>
                  </a:lnTo>
                  <a:lnTo>
                    <a:pt x="177" y="182"/>
                  </a:lnTo>
                  <a:lnTo>
                    <a:pt x="177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68" y="173"/>
                  </a:lnTo>
                  <a:lnTo>
                    <a:pt x="168" y="173"/>
                  </a:lnTo>
                  <a:lnTo>
                    <a:pt x="168" y="173"/>
                  </a:lnTo>
                  <a:lnTo>
                    <a:pt x="168" y="169"/>
                  </a:lnTo>
                  <a:lnTo>
                    <a:pt x="173" y="169"/>
                  </a:lnTo>
                  <a:lnTo>
                    <a:pt x="173" y="169"/>
                  </a:lnTo>
                  <a:lnTo>
                    <a:pt x="177" y="169"/>
                  </a:lnTo>
                  <a:lnTo>
                    <a:pt x="173" y="169"/>
                  </a:lnTo>
                  <a:lnTo>
                    <a:pt x="173" y="169"/>
                  </a:lnTo>
                  <a:lnTo>
                    <a:pt x="173" y="169"/>
                  </a:lnTo>
                  <a:lnTo>
                    <a:pt x="177" y="169"/>
                  </a:lnTo>
                  <a:lnTo>
                    <a:pt x="177" y="164"/>
                  </a:lnTo>
                  <a:lnTo>
                    <a:pt x="173" y="164"/>
                  </a:lnTo>
                  <a:lnTo>
                    <a:pt x="177" y="164"/>
                  </a:lnTo>
                  <a:lnTo>
                    <a:pt x="177" y="164"/>
                  </a:lnTo>
                  <a:lnTo>
                    <a:pt x="177" y="164"/>
                  </a:lnTo>
                  <a:lnTo>
                    <a:pt x="177" y="164"/>
                  </a:lnTo>
                  <a:lnTo>
                    <a:pt x="177" y="164"/>
                  </a:lnTo>
                  <a:lnTo>
                    <a:pt x="177" y="169"/>
                  </a:lnTo>
                  <a:lnTo>
                    <a:pt x="177" y="169"/>
                  </a:lnTo>
                  <a:lnTo>
                    <a:pt x="177" y="169"/>
                  </a:lnTo>
                  <a:lnTo>
                    <a:pt x="177" y="169"/>
                  </a:lnTo>
                  <a:lnTo>
                    <a:pt x="177" y="169"/>
                  </a:lnTo>
                  <a:lnTo>
                    <a:pt x="182" y="169"/>
                  </a:lnTo>
                  <a:lnTo>
                    <a:pt x="186" y="169"/>
                  </a:lnTo>
                  <a:lnTo>
                    <a:pt x="186" y="169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0" y="182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86" y="177"/>
                  </a:lnTo>
                  <a:lnTo>
                    <a:pt x="186" y="177"/>
                  </a:lnTo>
                  <a:lnTo>
                    <a:pt x="186" y="182"/>
                  </a:lnTo>
                  <a:lnTo>
                    <a:pt x="186" y="182"/>
                  </a:lnTo>
                  <a:lnTo>
                    <a:pt x="182" y="182"/>
                  </a:lnTo>
                  <a:lnTo>
                    <a:pt x="186" y="182"/>
                  </a:lnTo>
                  <a:lnTo>
                    <a:pt x="186" y="177"/>
                  </a:lnTo>
                  <a:lnTo>
                    <a:pt x="182" y="182"/>
                  </a:lnTo>
                  <a:lnTo>
                    <a:pt x="182" y="182"/>
                  </a:lnTo>
                  <a:lnTo>
                    <a:pt x="182" y="182"/>
                  </a:lnTo>
                  <a:lnTo>
                    <a:pt x="182" y="182"/>
                  </a:lnTo>
                  <a:lnTo>
                    <a:pt x="182" y="182"/>
                  </a:lnTo>
                  <a:lnTo>
                    <a:pt x="182" y="182"/>
                  </a:lnTo>
                  <a:lnTo>
                    <a:pt x="186" y="186"/>
                  </a:lnTo>
                  <a:lnTo>
                    <a:pt x="186" y="182"/>
                  </a:lnTo>
                  <a:lnTo>
                    <a:pt x="186" y="182"/>
                  </a:lnTo>
                  <a:lnTo>
                    <a:pt x="186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5" y="182"/>
                  </a:lnTo>
                  <a:lnTo>
                    <a:pt x="195" y="182"/>
                  </a:lnTo>
                  <a:lnTo>
                    <a:pt x="195" y="177"/>
                  </a:lnTo>
                  <a:lnTo>
                    <a:pt x="195" y="177"/>
                  </a:lnTo>
                  <a:lnTo>
                    <a:pt x="195" y="177"/>
                  </a:lnTo>
                  <a:lnTo>
                    <a:pt x="195" y="173"/>
                  </a:lnTo>
                  <a:lnTo>
                    <a:pt x="190" y="169"/>
                  </a:lnTo>
                  <a:lnTo>
                    <a:pt x="190" y="164"/>
                  </a:lnTo>
                  <a:lnTo>
                    <a:pt x="190" y="164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77" y="155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3" y="151"/>
                  </a:lnTo>
                  <a:lnTo>
                    <a:pt x="173" y="146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73" y="138"/>
                  </a:lnTo>
                  <a:lnTo>
                    <a:pt x="173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3"/>
                  </a:lnTo>
                  <a:lnTo>
                    <a:pt x="168" y="133"/>
                  </a:lnTo>
                  <a:lnTo>
                    <a:pt x="168" y="133"/>
                  </a:lnTo>
                  <a:lnTo>
                    <a:pt x="164" y="129"/>
                  </a:lnTo>
                  <a:lnTo>
                    <a:pt x="164" y="129"/>
                  </a:lnTo>
                  <a:lnTo>
                    <a:pt x="164" y="129"/>
                  </a:lnTo>
                  <a:lnTo>
                    <a:pt x="164" y="129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0" y="124"/>
                  </a:lnTo>
                  <a:lnTo>
                    <a:pt x="160" y="124"/>
                  </a:lnTo>
                  <a:lnTo>
                    <a:pt x="160" y="124"/>
                  </a:lnTo>
                  <a:lnTo>
                    <a:pt x="155" y="120"/>
                  </a:lnTo>
                  <a:lnTo>
                    <a:pt x="155" y="120"/>
                  </a:lnTo>
                  <a:lnTo>
                    <a:pt x="155" y="120"/>
                  </a:lnTo>
                  <a:lnTo>
                    <a:pt x="155" y="120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5" y="107"/>
                  </a:lnTo>
                  <a:lnTo>
                    <a:pt x="155" y="107"/>
                  </a:lnTo>
                  <a:lnTo>
                    <a:pt x="160" y="102"/>
                  </a:lnTo>
                  <a:lnTo>
                    <a:pt x="160" y="98"/>
                  </a:lnTo>
                  <a:lnTo>
                    <a:pt x="160" y="98"/>
                  </a:lnTo>
                  <a:lnTo>
                    <a:pt x="160" y="98"/>
                  </a:lnTo>
                  <a:lnTo>
                    <a:pt x="160" y="98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4"/>
                  </a:lnTo>
                  <a:lnTo>
                    <a:pt x="160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9"/>
                  </a:lnTo>
                  <a:lnTo>
                    <a:pt x="164" y="89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8" y="80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76"/>
                  </a:lnTo>
                  <a:lnTo>
                    <a:pt x="173" y="76"/>
                  </a:lnTo>
                  <a:lnTo>
                    <a:pt x="173" y="80"/>
                  </a:lnTo>
                  <a:lnTo>
                    <a:pt x="177" y="80"/>
                  </a:lnTo>
                  <a:lnTo>
                    <a:pt x="177" y="80"/>
                  </a:lnTo>
                  <a:lnTo>
                    <a:pt x="177" y="80"/>
                  </a:lnTo>
                  <a:lnTo>
                    <a:pt x="177" y="80"/>
                  </a:lnTo>
                  <a:lnTo>
                    <a:pt x="177" y="80"/>
                  </a:lnTo>
                  <a:lnTo>
                    <a:pt x="177" y="84"/>
                  </a:lnTo>
                  <a:lnTo>
                    <a:pt x="177" y="84"/>
                  </a:lnTo>
                  <a:lnTo>
                    <a:pt x="177" y="84"/>
                  </a:lnTo>
                  <a:lnTo>
                    <a:pt x="177" y="84"/>
                  </a:lnTo>
                  <a:lnTo>
                    <a:pt x="177" y="84"/>
                  </a:lnTo>
                  <a:lnTo>
                    <a:pt x="177" y="84"/>
                  </a:lnTo>
                  <a:lnTo>
                    <a:pt x="173" y="89"/>
                  </a:lnTo>
                  <a:lnTo>
                    <a:pt x="168" y="89"/>
                  </a:lnTo>
                  <a:lnTo>
                    <a:pt x="168" y="89"/>
                  </a:lnTo>
                  <a:lnTo>
                    <a:pt x="168" y="89"/>
                  </a:lnTo>
                  <a:lnTo>
                    <a:pt x="173" y="89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7" y="93"/>
                  </a:lnTo>
                  <a:lnTo>
                    <a:pt x="177" y="98"/>
                  </a:lnTo>
                  <a:lnTo>
                    <a:pt x="177" y="98"/>
                  </a:lnTo>
                  <a:lnTo>
                    <a:pt x="182" y="98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90" y="102"/>
                  </a:lnTo>
                  <a:lnTo>
                    <a:pt x="190" y="102"/>
                  </a:lnTo>
                  <a:lnTo>
                    <a:pt x="190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11"/>
                  </a:lnTo>
                  <a:lnTo>
                    <a:pt x="195" y="111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20"/>
                  </a:lnTo>
                  <a:lnTo>
                    <a:pt x="199" y="120"/>
                  </a:lnTo>
                  <a:lnTo>
                    <a:pt x="199" y="120"/>
                  </a:lnTo>
                  <a:lnTo>
                    <a:pt x="199" y="120"/>
                  </a:lnTo>
                  <a:lnTo>
                    <a:pt x="199" y="120"/>
                  </a:lnTo>
                  <a:lnTo>
                    <a:pt x="199" y="124"/>
                  </a:lnTo>
                  <a:lnTo>
                    <a:pt x="199" y="124"/>
                  </a:lnTo>
                  <a:lnTo>
                    <a:pt x="199" y="124"/>
                  </a:lnTo>
                  <a:lnTo>
                    <a:pt x="199" y="124"/>
                  </a:lnTo>
                  <a:lnTo>
                    <a:pt x="204" y="124"/>
                  </a:lnTo>
                  <a:lnTo>
                    <a:pt x="204" y="124"/>
                  </a:lnTo>
                  <a:lnTo>
                    <a:pt x="213" y="129"/>
                  </a:lnTo>
                  <a:lnTo>
                    <a:pt x="217" y="129"/>
                  </a:lnTo>
                  <a:lnTo>
                    <a:pt x="217" y="129"/>
                  </a:lnTo>
                  <a:lnTo>
                    <a:pt x="217" y="129"/>
                  </a:lnTo>
                  <a:lnTo>
                    <a:pt x="217" y="129"/>
                  </a:lnTo>
                  <a:lnTo>
                    <a:pt x="217" y="129"/>
                  </a:lnTo>
                  <a:lnTo>
                    <a:pt x="217" y="124"/>
                  </a:lnTo>
                  <a:lnTo>
                    <a:pt x="217" y="124"/>
                  </a:lnTo>
                  <a:lnTo>
                    <a:pt x="213" y="124"/>
                  </a:lnTo>
                  <a:lnTo>
                    <a:pt x="213" y="124"/>
                  </a:lnTo>
                  <a:lnTo>
                    <a:pt x="213" y="124"/>
                  </a:lnTo>
                  <a:lnTo>
                    <a:pt x="213" y="124"/>
                  </a:lnTo>
                  <a:lnTo>
                    <a:pt x="213" y="124"/>
                  </a:lnTo>
                  <a:lnTo>
                    <a:pt x="208" y="124"/>
                  </a:lnTo>
                  <a:lnTo>
                    <a:pt x="204" y="120"/>
                  </a:lnTo>
                  <a:lnTo>
                    <a:pt x="204" y="115"/>
                  </a:lnTo>
                  <a:lnTo>
                    <a:pt x="199" y="115"/>
                  </a:lnTo>
                  <a:lnTo>
                    <a:pt x="199" y="111"/>
                  </a:lnTo>
                  <a:lnTo>
                    <a:pt x="199" y="111"/>
                  </a:lnTo>
                  <a:lnTo>
                    <a:pt x="199" y="111"/>
                  </a:lnTo>
                  <a:lnTo>
                    <a:pt x="199" y="111"/>
                  </a:lnTo>
                  <a:lnTo>
                    <a:pt x="199" y="111"/>
                  </a:lnTo>
                  <a:lnTo>
                    <a:pt x="199" y="111"/>
                  </a:lnTo>
                  <a:lnTo>
                    <a:pt x="195" y="111"/>
                  </a:lnTo>
                  <a:lnTo>
                    <a:pt x="195" y="111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9" y="102"/>
                  </a:lnTo>
                  <a:lnTo>
                    <a:pt x="199" y="102"/>
                  </a:lnTo>
                  <a:lnTo>
                    <a:pt x="199" y="102"/>
                  </a:lnTo>
                  <a:lnTo>
                    <a:pt x="204" y="102"/>
                  </a:lnTo>
                  <a:lnTo>
                    <a:pt x="208" y="107"/>
                  </a:lnTo>
                  <a:lnTo>
                    <a:pt x="213" y="107"/>
                  </a:lnTo>
                  <a:lnTo>
                    <a:pt x="213" y="107"/>
                  </a:lnTo>
                  <a:lnTo>
                    <a:pt x="213" y="107"/>
                  </a:lnTo>
                  <a:lnTo>
                    <a:pt x="217" y="115"/>
                  </a:lnTo>
                  <a:lnTo>
                    <a:pt x="217" y="115"/>
                  </a:lnTo>
                  <a:lnTo>
                    <a:pt x="217" y="115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6" y="120"/>
                  </a:lnTo>
                  <a:lnTo>
                    <a:pt x="226" y="124"/>
                  </a:lnTo>
                  <a:lnTo>
                    <a:pt x="226" y="124"/>
                  </a:lnTo>
                  <a:lnTo>
                    <a:pt x="226" y="124"/>
                  </a:lnTo>
                  <a:lnTo>
                    <a:pt x="226" y="124"/>
                  </a:lnTo>
                  <a:lnTo>
                    <a:pt x="226" y="124"/>
                  </a:lnTo>
                  <a:lnTo>
                    <a:pt x="226" y="124"/>
                  </a:lnTo>
                  <a:lnTo>
                    <a:pt x="226" y="124"/>
                  </a:lnTo>
                  <a:lnTo>
                    <a:pt x="226" y="124"/>
                  </a:lnTo>
                  <a:lnTo>
                    <a:pt x="226" y="124"/>
                  </a:lnTo>
                  <a:lnTo>
                    <a:pt x="230" y="124"/>
                  </a:lnTo>
                  <a:lnTo>
                    <a:pt x="230" y="124"/>
                  </a:lnTo>
                  <a:lnTo>
                    <a:pt x="230" y="124"/>
                  </a:lnTo>
                  <a:lnTo>
                    <a:pt x="230" y="124"/>
                  </a:lnTo>
                  <a:lnTo>
                    <a:pt x="230" y="124"/>
                  </a:lnTo>
                  <a:lnTo>
                    <a:pt x="230" y="124"/>
                  </a:lnTo>
                  <a:lnTo>
                    <a:pt x="230" y="124"/>
                  </a:lnTo>
                  <a:lnTo>
                    <a:pt x="230" y="124"/>
                  </a:lnTo>
                  <a:lnTo>
                    <a:pt x="230" y="124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1"/>
                  </a:lnTo>
                  <a:lnTo>
                    <a:pt x="226" y="111"/>
                  </a:lnTo>
                  <a:lnTo>
                    <a:pt x="226" y="111"/>
                  </a:lnTo>
                  <a:lnTo>
                    <a:pt x="226" y="111"/>
                  </a:lnTo>
                  <a:lnTo>
                    <a:pt x="226" y="111"/>
                  </a:lnTo>
                  <a:lnTo>
                    <a:pt x="226" y="111"/>
                  </a:lnTo>
                  <a:lnTo>
                    <a:pt x="226" y="111"/>
                  </a:lnTo>
                  <a:lnTo>
                    <a:pt x="221" y="107"/>
                  </a:lnTo>
                  <a:lnTo>
                    <a:pt x="221" y="107"/>
                  </a:lnTo>
                  <a:lnTo>
                    <a:pt x="221" y="107"/>
                  </a:lnTo>
                  <a:lnTo>
                    <a:pt x="217" y="107"/>
                  </a:lnTo>
                  <a:lnTo>
                    <a:pt x="217" y="107"/>
                  </a:lnTo>
                  <a:lnTo>
                    <a:pt x="217" y="107"/>
                  </a:lnTo>
                  <a:lnTo>
                    <a:pt x="217" y="107"/>
                  </a:lnTo>
                  <a:lnTo>
                    <a:pt x="217" y="102"/>
                  </a:lnTo>
                  <a:lnTo>
                    <a:pt x="217" y="102"/>
                  </a:lnTo>
                  <a:lnTo>
                    <a:pt x="217" y="102"/>
                  </a:lnTo>
                  <a:lnTo>
                    <a:pt x="217" y="98"/>
                  </a:lnTo>
                  <a:lnTo>
                    <a:pt x="217" y="98"/>
                  </a:lnTo>
                  <a:lnTo>
                    <a:pt x="217" y="98"/>
                  </a:lnTo>
                  <a:lnTo>
                    <a:pt x="217" y="98"/>
                  </a:lnTo>
                  <a:lnTo>
                    <a:pt x="217" y="98"/>
                  </a:lnTo>
                  <a:lnTo>
                    <a:pt x="217" y="98"/>
                  </a:lnTo>
                  <a:lnTo>
                    <a:pt x="221" y="98"/>
                  </a:lnTo>
                  <a:lnTo>
                    <a:pt x="221" y="98"/>
                  </a:lnTo>
                  <a:lnTo>
                    <a:pt x="221" y="98"/>
                  </a:lnTo>
                  <a:lnTo>
                    <a:pt x="226" y="98"/>
                  </a:lnTo>
                  <a:lnTo>
                    <a:pt x="226" y="98"/>
                  </a:lnTo>
                  <a:lnTo>
                    <a:pt x="226" y="98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30" y="102"/>
                  </a:lnTo>
                  <a:lnTo>
                    <a:pt x="235" y="102"/>
                  </a:lnTo>
                  <a:lnTo>
                    <a:pt x="239" y="102"/>
                  </a:lnTo>
                  <a:lnTo>
                    <a:pt x="239" y="102"/>
                  </a:lnTo>
                  <a:lnTo>
                    <a:pt x="239" y="107"/>
                  </a:lnTo>
                  <a:lnTo>
                    <a:pt x="244" y="107"/>
                  </a:lnTo>
                  <a:lnTo>
                    <a:pt x="244" y="111"/>
                  </a:lnTo>
                  <a:lnTo>
                    <a:pt x="244" y="111"/>
                  </a:lnTo>
                  <a:lnTo>
                    <a:pt x="244" y="111"/>
                  </a:lnTo>
                  <a:lnTo>
                    <a:pt x="248" y="111"/>
                  </a:lnTo>
                  <a:lnTo>
                    <a:pt x="248" y="111"/>
                  </a:lnTo>
                  <a:lnTo>
                    <a:pt x="248" y="111"/>
                  </a:lnTo>
                  <a:lnTo>
                    <a:pt x="248" y="115"/>
                  </a:lnTo>
                  <a:lnTo>
                    <a:pt x="248" y="111"/>
                  </a:lnTo>
                  <a:lnTo>
                    <a:pt x="252" y="111"/>
                  </a:lnTo>
                  <a:lnTo>
                    <a:pt x="252" y="111"/>
                  </a:lnTo>
                  <a:lnTo>
                    <a:pt x="248" y="107"/>
                  </a:lnTo>
                  <a:lnTo>
                    <a:pt x="244" y="102"/>
                  </a:lnTo>
                  <a:lnTo>
                    <a:pt x="244" y="102"/>
                  </a:lnTo>
                  <a:lnTo>
                    <a:pt x="244" y="102"/>
                  </a:lnTo>
                  <a:lnTo>
                    <a:pt x="244" y="98"/>
                  </a:lnTo>
                  <a:lnTo>
                    <a:pt x="239" y="98"/>
                  </a:lnTo>
                  <a:lnTo>
                    <a:pt x="239" y="98"/>
                  </a:lnTo>
                  <a:lnTo>
                    <a:pt x="239" y="98"/>
                  </a:lnTo>
                  <a:lnTo>
                    <a:pt x="239" y="98"/>
                  </a:lnTo>
                  <a:lnTo>
                    <a:pt x="239" y="98"/>
                  </a:lnTo>
                  <a:lnTo>
                    <a:pt x="235" y="98"/>
                  </a:lnTo>
                  <a:lnTo>
                    <a:pt x="235" y="98"/>
                  </a:lnTo>
                  <a:lnTo>
                    <a:pt x="235" y="98"/>
                  </a:lnTo>
                  <a:lnTo>
                    <a:pt x="235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26" y="93"/>
                  </a:lnTo>
                  <a:lnTo>
                    <a:pt x="226" y="93"/>
                  </a:lnTo>
                  <a:lnTo>
                    <a:pt x="226" y="93"/>
                  </a:lnTo>
                  <a:lnTo>
                    <a:pt x="226" y="93"/>
                  </a:lnTo>
                  <a:lnTo>
                    <a:pt x="221" y="89"/>
                  </a:lnTo>
                  <a:lnTo>
                    <a:pt x="221" y="89"/>
                  </a:lnTo>
                  <a:lnTo>
                    <a:pt x="221" y="89"/>
                  </a:lnTo>
                  <a:lnTo>
                    <a:pt x="221" y="84"/>
                  </a:lnTo>
                  <a:lnTo>
                    <a:pt x="226" y="84"/>
                  </a:lnTo>
                  <a:lnTo>
                    <a:pt x="226" y="84"/>
                  </a:lnTo>
                  <a:lnTo>
                    <a:pt x="226" y="84"/>
                  </a:lnTo>
                  <a:lnTo>
                    <a:pt x="226" y="84"/>
                  </a:lnTo>
                  <a:lnTo>
                    <a:pt x="226" y="84"/>
                  </a:lnTo>
                  <a:lnTo>
                    <a:pt x="226" y="84"/>
                  </a:lnTo>
                  <a:lnTo>
                    <a:pt x="226" y="84"/>
                  </a:lnTo>
                  <a:lnTo>
                    <a:pt x="221" y="84"/>
                  </a:lnTo>
                  <a:lnTo>
                    <a:pt x="221" y="84"/>
                  </a:lnTo>
                  <a:lnTo>
                    <a:pt x="221" y="80"/>
                  </a:lnTo>
                  <a:lnTo>
                    <a:pt x="221" y="80"/>
                  </a:lnTo>
                  <a:lnTo>
                    <a:pt x="221" y="80"/>
                  </a:lnTo>
                  <a:lnTo>
                    <a:pt x="217" y="80"/>
                  </a:lnTo>
                  <a:lnTo>
                    <a:pt x="217" y="76"/>
                  </a:lnTo>
                  <a:lnTo>
                    <a:pt x="217" y="76"/>
                  </a:lnTo>
                  <a:lnTo>
                    <a:pt x="217" y="76"/>
                  </a:lnTo>
                  <a:lnTo>
                    <a:pt x="217" y="76"/>
                  </a:lnTo>
                  <a:lnTo>
                    <a:pt x="213" y="76"/>
                  </a:lnTo>
                  <a:lnTo>
                    <a:pt x="217" y="71"/>
                  </a:lnTo>
                  <a:lnTo>
                    <a:pt x="217" y="71"/>
                  </a:lnTo>
                  <a:lnTo>
                    <a:pt x="217" y="71"/>
                  </a:lnTo>
                  <a:lnTo>
                    <a:pt x="217" y="71"/>
                  </a:lnTo>
                  <a:lnTo>
                    <a:pt x="221" y="67"/>
                  </a:lnTo>
                  <a:lnTo>
                    <a:pt x="221" y="67"/>
                  </a:lnTo>
                  <a:lnTo>
                    <a:pt x="221" y="67"/>
                  </a:lnTo>
                  <a:lnTo>
                    <a:pt x="226" y="67"/>
                  </a:lnTo>
                  <a:lnTo>
                    <a:pt x="230" y="71"/>
                  </a:lnTo>
                  <a:lnTo>
                    <a:pt x="235" y="71"/>
                  </a:lnTo>
                  <a:lnTo>
                    <a:pt x="235" y="71"/>
                  </a:lnTo>
                  <a:lnTo>
                    <a:pt x="235" y="71"/>
                  </a:lnTo>
                  <a:lnTo>
                    <a:pt x="244" y="67"/>
                  </a:lnTo>
                  <a:lnTo>
                    <a:pt x="248" y="67"/>
                  </a:lnTo>
                  <a:lnTo>
                    <a:pt x="248" y="67"/>
                  </a:lnTo>
                  <a:lnTo>
                    <a:pt x="248" y="67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57" y="58"/>
                  </a:lnTo>
                  <a:lnTo>
                    <a:pt x="257" y="58"/>
                  </a:lnTo>
                  <a:lnTo>
                    <a:pt x="257" y="58"/>
                  </a:lnTo>
                  <a:lnTo>
                    <a:pt x="257" y="58"/>
                  </a:lnTo>
                  <a:lnTo>
                    <a:pt x="257" y="53"/>
                  </a:lnTo>
                  <a:lnTo>
                    <a:pt x="257" y="58"/>
                  </a:lnTo>
                  <a:lnTo>
                    <a:pt x="261" y="58"/>
                  </a:lnTo>
                  <a:lnTo>
                    <a:pt x="261" y="58"/>
                  </a:lnTo>
                  <a:lnTo>
                    <a:pt x="261" y="58"/>
                  </a:lnTo>
                  <a:lnTo>
                    <a:pt x="261" y="58"/>
                  </a:lnTo>
                  <a:lnTo>
                    <a:pt x="261" y="58"/>
                  </a:lnTo>
                  <a:lnTo>
                    <a:pt x="261" y="58"/>
                  </a:lnTo>
                  <a:lnTo>
                    <a:pt x="261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70" y="62"/>
                  </a:lnTo>
                  <a:lnTo>
                    <a:pt x="270" y="62"/>
                  </a:lnTo>
                  <a:lnTo>
                    <a:pt x="270" y="62"/>
                  </a:lnTo>
                  <a:lnTo>
                    <a:pt x="275" y="62"/>
                  </a:lnTo>
                  <a:lnTo>
                    <a:pt x="275" y="62"/>
                  </a:lnTo>
                  <a:lnTo>
                    <a:pt x="275" y="58"/>
                  </a:lnTo>
                  <a:lnTo>
                    <a:pt x="279" y="58"/>
                  </a:lnTo>
                  <a:lnTo>
                    <a:pt x="279" y="58"/>
                  </a:lnTo>
                  <a:lnTo>
                    <a:pt x="279" y="58"/>
                  </a:lnTo>
                  <a:lnTo>
                    <a:pt x="283" y="58"/>
                  </a:lnTo>
                  <a:lnTo>
                    <a:pt x="283" y="58"/>
                  </a:lnTo>
                  <a:lnTo>
                    <a:pt x="283" y="58"/>
                  </a:lnTo>
                  <a:lnTo>
                    <a:pt x="283" y="58"/>
                  </a:lnTo>
                  <a:lnTo>
                    <a:pt x="283" y="53"/>
                  </a:lnTo>
                  <a:lnTo>
                    <a:pt x="283" y="53"/>
                  </a:lnTo>
                  <a:lnTo>
                    <a:pt x="283" y="53"/>
                  </a:lnTo>
                  <a:lnTo>
                    <a:pt x="288" y="53"/>
                  </a:lnTo>
                  <a:lnTo>
                    <a:pt x="288" y="53"/>
                  </a:lnTo>
                  <a:lnTo>
                    <a:pt x="288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8"/>
                  </a:lnTo>
                  <a:lnTo>
                    <a:pt x="292" y="58"/>
                  </a:lnTo>
                  <a:lnTo>
                    <a:pt x="292" y="58"/>
                  </a:lnTo>
                  <a:lnTo>
                    <a:pt x="292" y="58"/>
                  </a:lnTo>
                  <a:lnTo>
                    <a:pt x="297" y="58"/>
                  </a:lnTo>
                  <a:lnTo>
                    <a:pt x="297" y="58"/>
                  </a:lnTo>
                  <a:lnTo>
                    <a:pt x="297" y="58"/>
                  </a:lnTo>
                  <a:lnTo>
                    <a:pt x="301" y="58"/>
                  </a:lnTo>
                  <a:lnTo>
                    <a:pt x="301" y="58"/>
                  </a:lnTo>
                  <a:lnTo>
                    <a:pt x="306" y="58"/>
                  </a:lnTo>
                  <a:lnTo>
                    <a:pt x="306" y="58"/>
                  </a:lnTo>
                  <a:lnTo>
                    <a:pt x="306" y="58"/>
                  </a:lnTo>
                  <a:lnTo>
                    <a:pt x="310" y="58"/>
                  </a:lnTo>
                  <a:lnTo>
                    <a:pt x="310" y="62"/>
                  </a:lnTo>
                  <a:lnTo>
                    <a:pt x="310" y="62"/>
                  </a:lnTo>
                  <a:lnTo>
                    <a:pt x="310" y="62"/>
                  </a:lnTo>
                  <a:lnTo>
                    <a:pt x="314" y="62"/>
                  </a:lnTo>
                  <a:lnTo>
                    <a:pt x="314" y="62"/>
                  </a:lnTo>
                  <a:lnTo>
                    <a:pt x="314" y="62"/>
                  </a:lnTo>
                  <a:lnTo>
                    <a:pt x="319" y="62"/>
                  </a:lnTo>
                  <a:lnTo>
                    <a:pt x="319" y="62"/>
                  </a:lnTo>
                  <a:lnTo>
                    <a:pt x="323" y="62"/>
                  </a:lnTo>
                  <a:lnTo>
                    <a:pt x="328" y="62"/>
                  </a:lnTo>
                  <a:lnTo>
                    <a:pt x="328" y="62"/>
                  </a:lnTo>
                  <a:lnTo>
                    <a:pt x="328" y="62"/>
                  </a:lnTo>
                  <a:lnTo>
                    <a:pt x="332" y="62"/>
                  </a:lnTo>
                  <a:lnTo>
                    <a:pt x="332" y="62"/>
                  </a:lnTo>
                  <a:lnTo>
                    <a:pt x="332" y="62"/>
                  </a:lnTo>
                  <a:lnTo>
                    <a:pt x="332" y="62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2"/>
                  </a:lnTo>
                  <a:lnTo>
                    <a:pt x="337" y="62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41" y="67"/>
                  </a:lnTo>
                  <a:lnTo>
                    <a:pt x="341" y="67"/>
                  </a:lnTo>
                  <a:lnTo>
                    <a:pt x="341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71"/>
                  </a:lnTo>
                  <a:lnTo>
                    <a:pt x="341" y="71"/>
                  </a:lnTo>
                  <a:lnTo>
                    <a:pt x="337" y="71"/>
                  </a:lnTo>
                  <a:lnTo>
                    <a:pt x="341" y="71"/>
                  </a:lnTo>
                  <a:lnTo>
                    <a:pt x="341" y="71"/>
                  </a:lnTo>
                  <a:lnTo>
                    <a:pt x="345" y="71"/>
                  </a:lnTo>
                  <a:lnTo>
                    <a:pt x="345" y="67"/>
                  </a:lnTo>
                  <a:lnTo>
                    <a:pt x="345" y="67"/>
                  </a:lnTo>
                  <a:lnTo>
                    <a:pt x="345" y="62"/>
                  </a:lnTo>
                  <a:lnTo>
                    <a:pt x="345" y="62"/>
                  </a:lnTo>
                  <a:lnTo>
                    <a:pt x="345" y="62"/>
                  </a:lnTo>
                  <a:lnTo>
                    <a:pt x="345" y="62"/>
                  </a:lnTo>
                  <a:lnTo>
                    <a:pt x="350" y="62"/>
                  </a:lnTo>
                  <a:lnTo>
                    <a:pt x="350" y="62"/>
                  </a:lnTo>
                  <a:lnTo>
                    <a:pt x="345" y="62"/>
                  </a:lnTo>
                  <a:lnTo>
                    <a:pt x="345" y="62"/>
                  </a:lnTo>
                  <a:lnTo>
                    <a:pt x="345" y="62"/>
                  </a:lnTo>
                  <a:lnTo>
                    <a:pt x="350" y="62"/>
                  </a:lnTo>
                  <a:lnTo>
                    <a:pt x="350" y="62"/>
                  </a:lnTo>
                  <a:lnTo>
                    <a:pt x="350" y="62"/>
                  </a:lnTo>
                  <a:lnTo>
                    <a:pt x="350" y="58"/>
                  </a:lnTo>
                  <a:lnTo>
                    <a:pt x="350" y="62"/>
                  </a:lnTo>
                  <a:lnTo>
                    <a:pt x="350" y="62"/>
                  </a:lnTo>
                  <a:lnTo>
                    <a:pt x="350" y="62"/>
                  </a:lnTo>
                  <a:lnTo>
                    <a:pt x="350" y="62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4" y="58"/>
                  </a:lnTo>
                  <a:lnTo>
                    <a:pt x="354" y="58"/>
                  </a:lnTo>
                  <a:lnTo>
                    <a:pt x="354" y="58"/>
                  </a:lnTo>
                  <a:lnTo>
                    <a:pt x="350" y="58"/>
                  </a:lnTo>
                  <a:lnTo>
                    <a:pt x="354" y="58"/>
                  </a:lnTo>
                  <a:lnTo>
                    <a:pt x="354" y="58"/>
                  </a:lnTo>
                  <a:lnTo>
                    <a:pt x="354" y="58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5"/>
                  </a:lnTo>
                  <a:lnTo>
                    <a:pt x="354" y="45"/>
                  </a:lnTo>
                  <a:lnTo>
                    <a:pt x="354" y="45"/>
                  </a:lnTo>
                  <a:lnTo>
                    <a:pt x="354" y="45"/>
                  </a:lnTo>
                  <a:lnTo>
                    <a:pt x="354" y="45"/>
                  </a:lnTo>
                  <a:lnTo>
                    <a:pt x="354" y="40"/>
                  </a:lnTo>
                  <a:lnTo>
                    <a:pt x="354" y="40"/>
                  </a:lnTo>
                  <a:lnTo>
                    <a:pt x="354" y="40"/>
                  </a:lnTo>
                  <a:lnTo>
                    <a:pt x="354" y="40"/>
                  </a:lnTo>
                  <a:lnTo>
                    <a:pt x="354" y="36"/>
                  </a:lnTo>
                  <a:lnTo>
                    <a:pt x="354" y="36"/>
                  </a:lnTo>
                  <a:lnTo>
                    <a:pt x="354" y="36"/>
                  </a:lnTo>
                  <a:lnTo>
                    <a:pt x="359" y="36"/>
                  </a:lnTo>
                  <a:lnTo>
                    <a:pt x="359" y="36"/>
                  </a:lnTo>
                  <a:lnTo>
                    <a:pt x="359" y="31"/>
                  </a:lnTo>
                  <a:lnTo>
                    <a:pt x="363" y="31"/>
                  </a:lnTo>
                  <a:lnTo>
                    <a:pt x="363" y="31"/>
                  </a:lnTo>
                  <a:lnTo>
                    <a:pt x="363" y="31"/>
                  </a:lnTo>
                  <a:lnTo>
                    <a:pt x="363" y="31"/>
                  </a:lnTo>
                  <a:lnTo>
                    <a:pt x="363" y="31"/>
                  </a:lnTo>
                  <a:lnTo>
                    <a:pt x="363" y="27"/>
                  </a:lnTo>
                  <a:lnTo>
                    <a:pt x="368" y="27"/>
                  </a:lnTo>
                  <a:lnTo>
                    <a:pt x="368" y="31"/>
                  </a:lnTo>
                  <a:lnTo>
                    <a:pt x="368" y="31"/>
                  </a:lnTo>
                  <a:lnTo>
                    <a:pt x="368" y="31"/>
                  </a:lnTo>
                  <a:lnTo>
                    <a:pt x="368" y="31"/>
                  </a:lnTo>
                  <a:lnTo>
                    <a:pt x="368" y="27"/>
                  </a:lnTo>
                  <a:lnTo>
                    <a:pt x="372" y="27"/>
                  </a:lnTo>
                  <a:lnTo>
                    <a:pt x="372" y="27"/>
                  </a:lnTo>
                  <a:lnTo>
                    <a:pt x="368" y="22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8" y="14"/>
                  </a:lnTo>
                  <a:lnTo>
                    <a:pt x="368" y="14"/>
                  </a:lnTo>
                  <a:lnTo>
                    <a:pt x="368" y="14"/>
                  </a:lnTo>
                  <a:lnTo>
                    <a:pt x="368" y="14"/>
                  </a:lnTo>
                  <a:lnTo>
                    <a:pt x="368" y="14"/>
                  </a:lnTo>
                  <a:lnTo>
                    <a:pt x="368" y="9"/>
                  </a:lnTo>
                  <a:lnTo>
                    <a:pt x="368" y="9"/>
                  </a:lnTo>
                  <a:lnTo>
                    <a:pt x="368" y="9"/>
                  </a:lnTo>
                  <a:lnTo>
                    <a:pt x="368" y="14"/>
                  </a:lnTo>
                  <a:lnTo>
                    <a:pt x="368" y="9"/>
                  </a:lnTo>
                  <a:lnTo>
                    <a:pt x="363" y="9"/>
                  </a:lnTo>
                  <a:lnTo>
                    <a:pt x="363" y="9"/>
                  </a:lnTo>
                  <a:lnTo>
                    <a:pt x="363" y="5"/>
                  </a:lnTo>
                  <a:lnTo>
                    <a:pt x="363" y="5"/>
                  </a:lnTo>
                  <a:lnTo>
                    <a:pt x="359" y="5"/>
                  </a:lnTo>
                  <a:lnTo>
                    <a:pt x="359" y="5"/>
                  </a:lnTo>
                  <a:lnTo>
                    <a:pt x="359" y="5"/>
                  </a:lnTo>
                  <a:lnTo>
                    <a:pt x="354" y="5"/>
                  </a:lnTo>
                  <a:lnTo>
                    <a:pt x="354" y="5"/>
                  </a:lnTo>
                  <a:lnTo>
                    <a:pt x="354" y="5"/>
                  </a:lnTo>
                  <a:lnTo>
                    <a:pt x="350" y="5"/>
                  </a:lnTo>
                  <a:lnTo>
                    <a:pt x="350" y="5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45" y="0"/>
                  </a:lnTo>
                  <a:lnTo>
                    <a:pt x="345" y="0"/>
                  </a:lnTo>
                  <a:lnTo>
                    <a:pt x="345" y="0"/>
                  </a:lnTo>
                  <a:lnTo>
                    <a:pt x="341" y="0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5" y="14"/>
                  </a:lnTo>
                  <a:lnTo>
                    <a:pt x="345" y="14"/>
                  </a:lnTo>
                  <a:lnTo>
                    <a:pt x="345" y="14"/>
                  </a:lnTo>
                  <a:lnTo>
                    <a:pt x="345" y="14"/>
                  </a:lnTo>
                  <a:lnTo>
                    <a:pt x="345" y="14"/>
                  </a:lnTo>
                  <a:lnTo>
                    <a:pt x="345" y="14"/>
                  </a:lnTo>
                  <a:lnTo>
                    <a:pt x="345" y="14"/>
                  </a:lnTo>
                  <a:lnTo>
                    <a:pt x="345" y="18"/>
                  </a:lnTo>
                  <a:lnTo>
                    <a:pt x="345" y="18"/>
                  </a:lnTo>
                  <a:lnTo>
                    <a:pt x="345" y="18"/>
                  </a:lnTo>
                  <a:lnTo>
                    <a:pt x="345" y="18"/>
                  </a:lnTo>
                  <a:lnTo>
                    <a:pt x="345" y="18"/>
                  </a:lnTo>
                  <a:lnTo>
                    <a:pt x="345" y="18"/>
                  </a:lnTo>
                  <a:lnTo>
                    <a:pt x="345" y="22"/>
                  </a:lnTo>
                  <a:lnTo>
                    <a:pt x="345" y="22"/>
                  </a:lnTo>
                  <a:lnTo>
                    <a:pt x="345" y="22"/>
                  </a:lnTo>
                  <a:lnTo>
                    <a:pt x="345" y="22"/>
                  </a:lnTo>
                  <a:lnTo>
                    <a:pt x="345" y="22"/>
                  </a:lnTo>
                  <a:lnTo>
                    <a:pt x="345" y="22"/>
                  </a:lnTo>
                  <a:lnTo>
                    <a:pt x="345" y="22"/>
                  </a:lnTo>
                  <a:lnTo>
                    <a:pt x="345" y="22"/>
                  </a:lnTo>
                  <a:lnTo>
                    <a:pt x="345" y="27"/>
                  </a:lnTo>
                  <a:lnTo>
                    <a:pt x="345" y="27"/>
                  </a:lnTo>
                  <a:lnTo>
                    <a:pt x="341" y="27"/>
                  </a:lnTo>
                  <a:lnTo>
                    <a:pt x="341" y="27"/>
                  </a:lnTo>
                  <a:lnTo>
                    <a:pt x="341" y="27"/>
                  </a:lnTo>
                  <a:lnTo>
                    <a:pt x="337" y="27"/>
                  </a:lnTo>
                  <a:lnTo>
                    <a:pt x="337" y="31"/>
                  </a:lnTo>
                  <a:lnTo>
                    <a:pt x="337" y="31"/>
                  </a:lnTo>
                  <a:lnTo>
                    <a:pt x="332" y="31"/>
                  </a:lnTo>
                  <a:lnTo>
                    <a:pt x="332" y="31"/>
                  </a:lnTo>
                  <a:lnTo>
                    <a:pt x="332" y="31"/>
                  </a:lnTo>
                  <a:lnTo>
                    <a:pt x="332" y="31"/>
                  </a:lnTo>
                  <a:lnTo>
                    <a:pt x="332" y="31"/>
                  </a:lnTo>
                  <a:lnTo>
                    <a:pt x="332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3" y="31"/>
                  </a:lnTo>
                  <a:lnTo>
                    <a:pt x="323" y="31"/>
                  </a:lnTo>
                  <a:lnTo>
                    <a:pt x="323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4" y="31"/>
                  </a:lnTo>
                  <a:lnTo>
                    <a:pt x="310" y="31"/>
                  </a:lnTo>
                  <a:lnTo>
                    <a:pt x="310" y="31"/>
                  </a:lnTo>
                  <a:lnTo>
                    <a:pt x="310" y="31"/>
                  </a:lnTo>
                  <a:lnTo>
                    <a:pt x="310" y="31"/>
                  </a:lnTo>
                  <a:lnTo>
                    <a:pt x="310" y="31"/>
                  </a:lnTo>
                  <a:lnTo>
                    <a:pt x="310" y="31"/>
                  </a:lnTo>
                  <a:lnTo>
                    <a:pt x="310" y="31"/>
                  </a:lnTo>
                  <a:lnTo>
                    <a:pt x="310" y="31"/>
                  </a:lnTo>
                  <a:lnTo>
                    <a:pt x="306" y="31"/>
                  </a:lnTo>
                  <a:lnTo>
                    <a:pt x="297" y="36"/>
                  </a:lnTo>
                  <a:lnTo>
                    <a:pt x="297" y="36"/>
                  </a:lnTo>
                  <a:lnTo>
                    <a:pt x="297" y="36"/>
                  </a:lnTo>
                  <a:lnTo>
                    <a:pt x="297" y="36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88" y="31"/>
                  </a:lnTo>
                  <a:lnTo>
                    <a:pt x="288" y="31"/>
                  </a:lnTo>
                  <a:lnTo>
                    <a:pt x="288" y="31"/>
                  </a:lnTo>
                  <a:lnTo>
                    <a:pt x="288" y="31"/>
                  </a:lnTo>
                  <a:lnTo>
                    <a:pt x="288" y="31"/>
                  </a:lnTo>
                  <a:lnTo>
                    <a:pt x="288" y="31"/>
                  </a:lnTo>
                  <a:lnTo>
                    <a:pt x="279" y="27"/>
                  </a:lnTo>
                  <a:lnTo>
                    <a:pt x="279" y="27"/>
                  </a:lnTo>
                  <a:lnTo>
                    <a:pt x="279" y="27"/>
                  </a:lnTo>
                  <a:lnTo>
                    <a:pt x="275" y="27"/>
                  </a:lnTo>
                  <a:lnTo>
                    <a:pt x="275" y="27"/>
                  </a:lnTo>
                  <a:lnTo>
                    <a:pt x="275" y="27"/>
                  </a:lnTo>
                  <a:lnTo>
                    <a:pt x="275" y="27"/>
                  </a:lnTo>
                  <a:lnTo>
                    <a:pt x="275" y="27"/>
                  </a:lnTo>
                  <a:lnTo>
                    <a:pt x="275" y="27"/>
                  </a:lnTo>
                  <a:lnTo>
                    <a:pt x="270" y="27"/>
                  </a:lnTo>
                  <a:lnTo>
                    <a:pt x="270" y="27"/>
                  </a:lnTo>
                  <a:lnTo>
                    <a:pt x="270" y="27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57" y="14"/>
                  </a:lnTo>
                  <a:lnTo>
                    <a:pt x="257" y="14"/>
                  </a:lnTo>
                  <a:lnTo>
                    <a:pt x="257" y="14"/>
                  </a:lnTo>
                  <a:lnTo>
                    <a:pt x="257" y="14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4"/>
                  </a:lnTo>
                  <a:lnTo>
                    <a:pt x="248" y="14"/>
                  </a:lnTo>
                  <a:lnTo>
                    <a:pt x="244" y="14"/>
                  </a:lnTo>
                  <a:lnTo>
                    <a:pt x="244" y="14"/>
                  </a:lnTo>
                  <a:lnTo>
                    <a:pt x="244" y="14"/>
                  </a:lnTo>
                  <a:lnTo>
                    <a:pt x="244" y="14"/>
                  </a:lnTo>
                  <a:lnTo>
                    <a:pt x="244" y="14"/>
                  </a:lnTo>
                  <a:lnTo>
                    <a:pt x="239" y="14"/>
                  </a:lnTo>
                  <a:lnTo>
                    <a:pt x="239" y="14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39" y="14"/>
                  </a:lnTo>
                  <a:lnTo>
                    <a:pt x="235" y="14"/>
                  </a:lnTo>
                  <a:lnTo>
                    <a:pt x="235" y="18"/>
                  </a:lnTo>
                  <a:lnTo>
                    <a:pt x="235" y="18"/>
                  </a:lnTo>
                  <a:lnTo>
                    <a:pt x="235" y="18"/>
                  </a:lnTo>
                  <a:lnTo>
                    <a:pt x="235" y="22"/>
                  </a:lnTo>
                  <a:lnTo>
                    <a:pt x="235" y="22"/>
                  </a:lnTo>
                  <a:lnTo>
                    <a:pt x="235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26" y="22"/>
                  </a:lnTo>
                  <a:lnTo>
                    <a:pt x="226" y="22"/>
                  </a:lnTo>
                  <a:lnTo>
                    <a:pt x="226" y="22"/>
                  </a:lnTo>
                  <a:lnTo>
                    <a:pt x="221" y="22"/>
                  </a:lnTo>
                  <a:lnTo>
                    <a:pt x="221" y="22"/>
                  </a:lnTo>
                  <a:lnTo>
                    <a:pt x="221" y="22"/>
                  </a:lnTo>
                  <a:lnTo>
                    <a:pt x="221" y="22"/>
                  </a:lnTo>
                  <a:lnTo>
                    <a:pt x="217" y="22"/>
                  </a:lnTo>
                  <a:lnTo>
                    <a:pt x="217" y="27"/>
                  </a:lnTo>
                  <a:lnTo>
                    <a:pt x="217" y="27"/>
                  </a:lnTo>
                  <a:lnTo>
                    <a:pt x="217" y="27"/>
                  </a:lnTo>
                  <a:lnTo>
                    <a:pt x="213" y="27"/>
                  </a:lnTo>
                  <a:lnTo>
                    <a:pt x="213" y="27"/>
                  </a:lnTo>
                  <a:lnTo>
                    <a:pt x="213" y="27"/>
                  </a:lnTo>
                  <a:lnTo>
                    <a:pt x="213" y="27"/>
                  </a:lnTo>
                  <a:lnTo>
                    <a:pt x="213" y="27"/>
                  </a:lnTo>
                  <a:lnTo>
                    <a:pt x="208" y="27"/>
                  </a:lnTo>
                  <a:lnTo>
                    <a:pt x="204" y="27"/>
                  </a:lnTo>
                  <a:lnTo>
                    <a:pt x="199" y="27"/>
                  </a:lnTo>
                  <a:lnTo>
                    <a:pt x="199" y="27"/>
                  </a:lnTo>
                  <a:lnTo>
                    <a:pt x="199" y="27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0" y="27"/>
                  </a:lnTo>
                  <a:lnTo>
                    <a:pt x="190" y="27"/>
                  </a:lnTo>
                  <a:lnTo>
                    <a:pt x="190" y="27"/>
                  </a:lnTo>
                  <a:lnTo>
                    <a:pt x="190" y="27"/>
                  </a:lnTo>
                  <a:lnTo>
                    <a:pt x="190" y="27"/>
                  </a:lnTo>
                  <a:lnTo>
                    <a:pt x="190" y="27"/>
                  </a:lnTo>
                  <a:lnTo>
                    <a:pt x="190" y="31"/>
                  </a:lnTo>
                  <a:lnTo>
                    <a:pt x="190" y="31"/>
                  </a:lnTo>
                  <a:lnTo>
                    <a:pt x="186" y="31"/>
                  </a:lnTo>
                  <a:lnTo>
                    <a:pt x="186" y="31"/>
                  </a:lnTo>
                  <a:lnTo>
                    <a:pt x="186" y="31"/>
                  </a:lnTo>
                  <a:lnTo>
                    <a:pt x="173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64" y="45"/>
                  </a:lnTo>
                  <a:lnTo>
                    <a:pt x="164" y="45"/>
                  </a:lnTo>
                  <a:lnTo>
                    <a:pt x="164" y="45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37" y="45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3" y="40"/>
                  </a:lnTo>
                  <a:lnTo>
                    <a:pt x="133" y="45"/>
                  </a:lnTo>
                  <a:lnTo>
                    <a:pt x="133" y="45"/>
                  </a:lnTo>
                  <a:lnTo>
                    <a:pt x="129" y="45"/>
                  </a:lnTo>
                  <a:lnTo>
                    <a:pt x="129" y="45"/>
                  </a:lnTo>
                  <a:lnTo>
                    <a:pt x="129" y="45"/>
                  </a:lnTo>
                  <a:lnTo>
                    <a:pt x="129" y="45"/>
                  </a:lnTo>
                  <a:lnTo>
                    <a:pt x="129" y="45"/>
                  </a:lnTo>
                  <a:lnTo>
                    <a:pt x="129" y="40"/>
                  </a:lnTo>
                  <a:lnTo>
                    <a:pt x="129" y="45"/>
                  </a:lnTo>
                  <a:lnTo>
                    <a:pt x="129" y="45"/>
                  </a:lnTo>
                  <a:lnTo>
                    <a:pt x="129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0" y="45"/>
                  </a:lnTo>
                  <a:lnTo>
                    <a:pt x="120" y="45"/>
                  </a:lnTo>
                  <a:lnTo>
                    <a:pt x="120" y="45"/>
                  </a:lnTo>
                  <a:lnTo>
                    <a:pt x="120" y="49"/>
                  </a:lnTo>
                  <a:lnTo>
                    <a:pt x="120" y="49"/>
                  </a:lnTo>
                  <a:lnTo>
                    <a:pt x="120" y="49"/>
                  </a:lnTo>
                  <a:lnTo>
                    <a:pt x="120" y="49"/>
                  </a:lnTo>
                  <a:lnTo>
                    <a:pt x="120" y="49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1" y="58"/>
                  </a:lnTo>
                  <a:lnTo>
                    <a:pt x="111" y="58"/>
                  </a:lnTo>
                  <a:lnTo>
                    <a:pt x="111" y="58"/>
                  </a:lnTo>
                  <a:lnTo>
                    <a:pt x="106" y="58"/>
                  </a:lnTo>
                  <a:lnTo>
                    <a:pt x="106" y="58"/>
                  </a:lnTo>
                  <a:lnTo>
                    <a:pt x="106" y="58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2" y="62"/>
                  </a:lnTo>
                  <a:lnTo>
                    <a:pt x="102" y="62"/>
                  </a:lnTo>
                  <a:lnTo>
                    <a:pt x="102" y="62"/>
                  </a:lnTo>
                  <a:lnTo>
                    <a:pt x="98" y="58"/>
                  </a:lnTo>
                  <a:lnTo>
                    <a:pt x="98" y="58"/>
                  </a:lnTo>
                  <a:lnTo>
                    <a:pt x="98" y="58"/>
                  </a:lnTo>
                  <a:lnTo>
                    <a:pt x="93" y="58"/>
                  </a:lnTo>
                  <a:lnTo>
                    <a:pt x="93" y="58"/>
                  </a:lnTo>
                  <a:lnTo>
                    <a:pt x="93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0" y="62"/>
                  </a:lnTo>
                  <a:lnTo>
                    <a:pt x="71" y="62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5" y="76"/>
                  </a:lnTo>
                  <a:lnTo>
                    <a:pt x="75" y="76"/>
                  </a:lnTo>
                  <a:lnTo>
                    <a:pt x="75" y="76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1" y="84"/>
                  </a:lnTo>
                  <a:lnTo>
                    <a:pt x="71" y="84"/>
                  </a:lnTo>
                  <a:lnTo>
                    <a:pt x="71" y="84"/>
                  </a:lnTo>
                  <a:lnTo>
                    <a:pt x="71" y="84"/>
                  </a:lnTo>
                  <a:lnTo>
                    <a:pt x="71" y="84"/>
                  </a:lnTo>
                  <a:lnTo>
                    <a:pt x="71" y="84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7"/>
                  </a:lnTo>
                  <a:lnTo>
                    <a:pt x="58" y="107"/>
                  </a:lnTo>
                  <a:lnTo>
                    <a:pt x="58" y="107"/>
                  </a:lnTo>
                  <a:lnTo>
                    <a:pt x="58" y="111"/>
                  </a:lnTo>
                  <a:lnTo>
                    <a:pt x="58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4" y="115"/>
                  </a:lnTo>
                  <a:lnTo>
                    <a:pt x="44" y="115"/>
                  </a:lnTo>
                  <a:lnTo>
                    <a:pt x="44" y="120"/>
                  </a:lnTo>
                  <a:lnTo>
                    <a:pt x="44" y="115"/>
                  </a:lnTo>
                  <a:lnTo>
                    <a:pt x="40" y="120"/>
                  </a:lnTo>
                  <a:lnTo>
                    <a:pt x="40" y="120"/>
                  </a:lnTo>
                  <a:lnTo>
                    <a:pt x="40" y="120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40" y="129"/>
                  </a:lnTo>
                  <a:lnTo>
                    <a:pt x="40" y="133"/>
                  </a:lnTo>
                  <a:lnTo>
                    <a:pt x="40" y="133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36" y="138"/>
                  </a:lnTo>
                  <a:lnTo>
                    <a:pt x="36" y="133"/>
                  </a:lnTo>
                  <a:lnTo>
                    <a:pt x="36" y="133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1" y="142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31" y="146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1" y="160"/>
                  </a:lnTo>
                  <a:lnTo>
                    <a:pt x="31" y="160"/>
                  </a:lnTo>
                  <a:lnTo>
                    <a:pt x="31" y="160"/>
                  </a:lnTo>
                  <a:lnTo>
                    <a:pt x="31" y="160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9"/>
                  </a:lnTo>
                  <a:lnTo>
                    <a:pt x="36" y="169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69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7"/>
                  </a:lnTo>
                  <a:lnTo>
                    <a:pt x="49" y="177"/>
                  </a:lnTo>
                  <a:lnTo>
                    <a:pt x="53" y="182"/>
                  </a:lnTo>
                  <a:lnTo>
                    <a:pt x="53" y="182"/>
                  </a:lnTo>
                  <a:lnTo>
                    <a:pt x="53" y="182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86"/>
                  </a:lnTo>
                  <a:lnTo>
                    <a:pt x="62" y="191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91"/>
                  </a:lnTo>
                  <a:lnTo>
                    <a:pt x="71" y="191"/>
                  </a:lnTo>
                  <a:lnTo>
                    <a:pt x="75" y="191"/>
                  </a:lnTo>
                  <a:lnTo>
                    <a:pt x="75" y="191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80" y="191"/>
                  </a:lnTo>
                  <a:lnTo>
                    <a:pt x="80" y="191"/>
                  </a:lnTo>
                  <a:lnTo>
                    <a:pt x="80" y="191"/>
                  </a:lnTo>
                  <a:lnTo>
                    <a:pt x="80" y="191"/>
                  </a:lnTo>
                  <a:lnTo>
                    <a:pt x="80" y="191"/>
                  </a:lnTo>
                  <a:lnTo>
                    <a:pt x="80" y="191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200"/>
                  </a:lnTo>
                  <a:lnTo>
                    <a:pt x="84" y="200"/>
                  </a:lnTo>
                  <a:lnTo>
                    <a:pt x="84" y="200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75" y="195"/>
                  </a:lnTo>
                  <a:lnTo>
                    <a:pt x="75" y="195"/>
                  </a:lnTo>
                  <a:lnTo>
                    <a:pt x="75" y="195"/>
                  </a:lnTo>
                  <a:lnTo>
                    <a:pt x="75" y="195"/>
                  </a:lnTo>
                  <a:lnTo>
                    <a:pt x="75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5"/>
                  </a:lnTo>
                  <a:lnTo>
                    <a:pt x="62" y="195"/>
                  </a:lnTo>
                  <a:lnTo>
                    <a:pt x="62" y="195"/>
                  </a:lnTo>
                  <a:lnTo>
                    <a:pt x="62" y="195"/>
                  </a:lnTo>
                  <a:lnTo>
                    <a:pt x="62" y="195"/>
                  </a:lnTo>
                  <a:lnTo>
                    <a:pt x="62" y="195"/>
                  </a:lnTo>
                  <a:lnTo>
                    <a:pt x="62" y="191"/>
                  </a:lnTo>
                  <a:lnTo>
                    <a:pt x="62" y="195"/>
                  </a:lnTo>
                  <a:lnTo>
                    <a:pt x="58" y="195"/>
                  </a:lnTo>
                  <a:lnTo>
                    <a:pt x="62" y="195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62" y="208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67" y="204"/>
                  </a:lnTo>
                  <a:lnTo>
                    <a:pt x="67" y="204"/>
                  </a:lnTo>
                  <a:lnTo>
                    <a:pt x="67" y="204"/>
                  </a:lnTo>
                  <a:lnTo>
                    <a:pt x="67" y="204"/>
                  </a:lnTo>
                  <a:lnTo>
                    <a:pt x="67" y="208"/>
                  </a:lnTo>
                  <a:lnTo>
                    <a:pt x="67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7"/>
                  </a:lnTo>
                  <a:lnTo>
                    <a:pt x="75" y="217"/>
                  </a:lnTo>
                  <a:lnTo>
                    <a:pt x="75" y="217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80" y="222"/>
                  </a:lnTo>
                  <a:lnTo>
                    <a:pt x="80" y="222"/>
                  </a:lnTo>
                  <a:lnTo>
                    <a:pt x="80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31"/>
                  </a:lnTo>
                  <a:lnTo>
                    <a:pt x="75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75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9" y="235"/>
                  </a:lnTo>
                  <a:lnTo>
                    <a:pt x="89" y="235"/>
                  </a:lnTo>
                  <a:lnTo>
                    <a:pt x="89" y="235"/>
                  </a:lnTo>
                  <a:lnTo>
                    <a:pt x="89" y="235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35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93" y="231"/>
                  </a:lnTo>
                  <a:lnTo>
                    <a:pt x="93" y="231"/>
                  </a:lnTo>
                  <a:lnTo>
                    <a:pt x="93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26"/>
                  </a:lnTo>
                  <a:lnTo>
                    <a:pt x="93" y="226"/>
                  </a:lnTo>
                  <a:lnTo>
                    <a:pt x="89" y="226"/>
                  </a:lnTo>
                  <a:lnTo>
                    <a:pt x="89" y="226"/>
                  </a:lnTo>
                  <a:lnTo>
                    <a:pt x="89" y="226"/>
                  </a:lnTo>
                  <a:lnTo>
                    <a:pt x="89" y="226"/>
                  </a:lnTo>
                  <a:lnTo>
                    <a:pt x="89" y="226"/>
                  </a:lnTo>
                  <a:lnTo>
                    <a:pt x="89" y="226"/>
                  </a:lnTo>
                  <a:lnTo>
                    <a:pt x="93" y="226"/>
                  </a:lnTo>
                  <a:lnTo>
                    <a:pt x="93" y="231"/>
                  </a:lnTo>
                  <a:lnTo>
                    <a:pt x="93" y="231"/>
                  </a:lnTo>
                  <a:lnTo>
                    <a:pt x="93" y="231"/>
                  </a:lnTo>
                  <a:lnTo>
                    <a:pt x="93" y="231"/>
                  </a:lnTo>
                  <a:lnTo>
                    <a:pt x="98" y="231"/>
                  </a:lnTo>
                  <a:lnTo>
                    <a:pt x="93" y="235"/>
                  </a:lnTo>
                  <a:lnTo>
                    <a:pt x="98" y="231"/>
                  </a:lnTo>
                  <a:lnTo>
                    <a:pt x="98" y="231"/>
                  </a:lnTo>
                  <a:lnTo>
                    <a:pt x="98" y="231"/>
                  </a:lnTo>
                  <a:lnTo>
                    <a:pt x="98" y="231"/>
                  </a:lnTo>
                  <a:lnTo>
                    <a:pt x="98" y="231"/>
                  </a:lnTo>
                  <a:lnTo>
                    <a:pt x="98" y="231"/>
                  </a:lnTo>
                  <a:lnTo>
                    <a:pt x="98" y="231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102" y="239"/>
                  </a:lnTo>
                  <a:lnTo>
                    <a:pt x="102" y="239"/>
                  </a:lnTo>
                  <a:lnTo>
                    <a:pt x="102" y="235"/>
                  </a:lnTo>
                  <a:lnTo>
                    <a:pt x="106" y="235"/>
                  </a:lnTo>
                  <a:lnTo>
                    <a:pt x="106" y="235"/>
                  </a:lnTo>
                  <a:lnTo>
                    <a:pt x="106" y="235"/>
                  </a:lnTo>
                  <a:lnTo>
                    <a:pt x="106" y="235"/>
                  </a:lnTo>
                  <a:lnTo>
                    <a:pt x="106" y="235"/>
                  </a:lnTo>
                  <a:lnTo>
                    <a:pt x="111" y="235"/>
                  </a:lnTo>
                  <a:lnTo>
                    <a:pt x="111" y="235"/>
                  </a:lnTo>
                  <a:lnTo>
                    <a:pt x="115" y="235"/>
                  </a:lnTo>
                  <a:lnTo>
                    <a:pt x="115" y="235"/>
                  </a:lnTo>
                  <a:lnTo>
                    <a:pt x="115" y="235"/>
                  </a:lnTo>
                  <a:lnTo>
                    <a:pt x="115" y="235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4" y="231"/>
                  </a:lnTo>
                  <a:lnTo>
                    <a:pt x="124" y="231"/>
                  </a:lnTo>
                  <a:lnTo>
                    <a:pt x="124" y="231"/>
                  </a:lnTo>
                  <a:lnTo>
                    <a:pt x="129" y="231"/>
                  </a:lnTo>
                  <a:lnTo>
                    <a:pt x="129" y="231"/>
                  </a:lnTo>
                  <a:lnTo>
                    <a:pt x="133" y="231"/>
                  </a:lnTo>
                  <a:lnTo>
                    <a:pt x="133" y="231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7" y="235"/>
                  </a:lnTo>
                  <a:lnTo>
                    <a:pt x="137" y="235"/>
                  </a:lnTo>
                  <a:lnTo>
                    <a:pt x="137" y="235"/>
                  </a:lnTo>
                  <a:lnTo>
                    <a:pt x="137" y="235"/>
                  </a:lnTo>
                  <a:lnTo>
                    <a:pt x="137" y="235"/>
                  </a:lnTo>
                  <a:lnTo>
                    <a:pt x="137" y="235"/>
                  </a:lnTo>
                  <a:lnTo>
                    <a:pt x="137" y="235"/>
                  </a:lnTo>
                  <a:lnTo>
                    <a:pt x="142" y="235"/>
                  </a:lnTo>
                  <a:lnTo>
                    <a:pt x="142" y="235"/>
                  </a:lnTo>
                  <a:lnTo>
                    <a:pt x="142" y="235"/>
                  </a:lnTo>
                  <a:lnTo>
                    <a:pt x="142" y="235"/>
                  </a:lnTo>
                  <a:lnTo>
                    <a:pt x="142" y="235"/>
                  </a:lnTo>
                  <a:lnTo>
                    <a:pt x="146" y="235"/>
                  </a:lnTo>
                  <a:lnTo>
                    <a:pt x="146" y="235"/>
                  </a:lnTo>
                  <a:lnTo>
                    <a:pt x="146" y="235"/>
                  </a:lnTo>
                  <a:lnTo>
                    <a:pt x="146" y="235"/>
                  </a:lnTo>
                  <a:lnTo>
                    <a:pt x="146" y="235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26"/>
                  </a:lnTo>
                  <a:lnTo>
                    <a:pt x="146" y="226"/>
                  </a:lnTo>
                  <a:lnTo>
                    <a:pt x="151" y="231"/>
                  </a:lnTo>
                  <a:lnTo>
                    <a:pt x="151" y="231"/>
                  </a:lnTo>
                  <a:lnTo>
                    <a:pt x="151" y="231"/>
                  </a:lnTo>
                  <a:lnTo>
                    <a:pt x="151" y="231"/>
                  </a:lnTo>
                  <a:lnTo>
                    <a:pt x="151" y="231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60" y="235"/>
                  </a:lnTo>
                  <a:lnTo>
                    <a:pt x="160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60" y="235"/>
                  </a:lnTo>
                  <a:lnTo>
                    <a:pt x="160" y="235"/>
                  </a:lnTo>
                  <a:lnTo>
                    <a:pt x="160" y="235"/>
                  </a:lnTo>
                  <a:lnTo>
                    <a:pt x="160" y="235"/>
                  </a:lnTo>
                  <a:lnTo>
                    <a:pt x="160" y="231"/>
                  </a:lnTo>
                  <a:lnTo>
                    <a:pt x="160" y="231"/>
                  </a:lnTo>
                  <a:lnTo>
                    <a:pt x="160" y="231"/>
                  </a:lnTo>
                  <a:lnTo>
                    <a:pt x="160" y="231"/>
                  </a:lnTo>
                  <a:lnTo>
                    <a:pt x="160" y="235"/>
                  </a:lnTo>
                  <a:lnTo>
                    <a:pt x="160" y="235"/>
                  </a:lnTo>
                  <a:lnTo>
                    <a:pt x="164" y="235"/>
                  </a:lnTo>
                  <a:lnTo>
                    <a:pt x="164" y="235"/>
                  </a:lnTo>
                  <a:lnTo>
                    <a:pt x="164" y="235"/>
                  </a:lnTo>
                  <a:lnTo>
                    <a:pt x="164" y="235"/>
                  </a:lnTo>
                  <a:lnTo>
                    <a:pt x="164" y="239"/>
                  </a:lnTo>
                  <a:lnTo>
                    <a:pt x="168" y="239"/>
                  </a:lnTo>
                  <a:lnTo>
                    <a:pt x="168" y="239"/>
                  </a:lnTo>
                  <a:lnTo>
                    <a:pt x="168" y="239"/>
                  </a:lnTo>
                  <a:lnTo>
                    <a:pt x="168" y="239"/>
                  </a:lnTo>
                  <a:lnTo>
                    <a:pt x="164" y="239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73" y="239"/>
                  </a:lnTo>
                  <a:lnTo>
                    <a:pt x="173" y="239"/>
                  </a:lnTo>
                  <a:lnTo>
                    <a:pt x="173" y="239"/>
                  </a:lnTo>
                  <a:lnTo>
                    <a:pt x="173" y="244"/>
                  </a:lnTo>
                  <a:lnTo>
                    <a:pt x="173" y="244"/>
                  </a:lnTo>
                  <a:lnTo>
                    <a:pt x="173" y="239"/>
                  </a:lnTo>
                  <a:lnTo>
                    <a:pt x="173" y="239"/>
                  </a:lnTo>
                  <a:lnTo>
                    <a:pt x="173" y="244"/>
                  </a:lnTo>
                  <a:lnTo>
                    <a:pt x="173" y="244"/>
                  </a:lnTo>
                  <a:lnTo>
                    <a:pt x="177" y="244"/>
                  </a:lnTo>
                  <a:lnTo>
                    <a:pt x="177" y="244"/>
                  </a:lnTo>
                  <a:lnTo>
                    <a:pt x="177" y="244"/>
                  </a:lnTo>
                  <a:lnTo>
                    <a:pt x="177" y="244"/>
                  </a:lnTo>
                  <a:lnTo>
                    <a:pt x="173" y="244"/>
                  </a:lnTo>
                  <a:lnTo>
                    <a:pt x="173" y="244"/>
                  </a:lnTo>
                  <a:lnTo>
                    <a:pt x="173" y="244"/>
                  </a:lnTo>
                  <a:lnTo>
                    <a:pt x="177" y="244"/>
                  </a:lnTo>
                  <a:lnTo>
                    <a:pt x="177" y="244"/>
                  </a:lnTo>
                  <a:lnTo>
                    <a:pt x="182" y="244"/>
                  </a:lnTo>
                  <a:lnTo>
                    <a:pt x="182" y="244"/>
                  </a:lnTo>
                  <a:lnTo>
                    <a:pt x="182" y="244"/>
                  </a:lnTo>
                  <a:lnTo>
                    <a:pt x="182" y="244"/>
                  </a:lnTo>
                  <a:lnTo>
                    <a:pt x="182" y="244"/>
                  </a:lnTo>
                  <a:lnTo>
                    <a:pt x="182" y="244"/>
                  </a:lnTo>
                  <a:lnTo>
                    <a:pt x="182" y="244"/>
                  </a:lnTo>
                  <a:lnTo>
                    <a:pt x="186" y="244"/>
                  </a:lnTo>
                  <a:lnTo>
                    <a:pt x="186" y="244"/>
                  </a:lnTo>
                  <a:lnTo>
                    <a:pt x="186" y="244"/>
                  </a:lnTo>
                  <a:lnTo>
                    <a:pt x="186" y="244"/>
                  </a:lnTo>
                  <a:lnTo>
                    <a:pt x="186" y="244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86" y="248"/>
                  </a:lnTo>
                  <a:lnTo>
                    <a:pt x="186" y="248"/>
                  </a:lnTo>
                  <a:lnTo>
                    <a:pt x="186" y="248"/>
                  </a:lnTo>
                  <a:lnTo>
                    <a:pt x="186" y="248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90" y="253"/>
                  </a:lnTo>
                  <a:lnTo>
                    <a:pt x="186" y="253"/>
                  </a:lnTo>
                  <a:lnTo>
                    <a:pt x="186" y="253"/>
                  </a:lnTo>
                  <a:lnTo>
                    <a:pt x="182" y="253"/>
                  </a:lnTo>
                  <a:lnTo>
                    <a:pt x="182" y="253"/>
                  </a:lnTo>
                  <a:lnTo>
                    <a:pt x="182" y="253"/>
                  </a:lnTo>
                  <a:lnTo>
                    <a:pt x="177" y="253"/>
                  </a:lnTo>
                  <a:lnTo>
                    <a:pt x="177" y="253"/>
                  </a:lnTo>
                  <a:lnTo>
                    <a:pt x="177" y="253"/>
                  </a:lnTo>
                  <a:lnTo>
                    <a:pt x="173" y="253"/>
                  </a:lnTo>
                  <a:lnTo>
                    <a:pt x="173" y="253"/>
                  </a:lnTo>
                  <a:lnTo>
                    <a:pt x="173" y="253"/>
                  </a:lnTo>
                  <a:lnTo>
                    <a:pt x="173" y="253"/>
                  </a:lnTo>
                  <a:lnTo>
                    <a:pt x="173" y="253"/>
                  </a:lnTo>
                  <a:lnTo>
                    <a:pt x="173" y="253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7" y="257"/>
                  </a:lnTo>
                  <a:lnTo>
                    <a:pt x="177" y="257"/>
                  </a:lnTo>
                  <a:lnTo>
                    <a:pt x="177" y="257"/>
                  </a:lnTo>
                  <a:lnTo>
                    <a:pt x="177" y="257"/>
                  </a:lnTo>
                  <a:lnTo>
                    <a:pt x="177" y="257"/>
                  </a:lnTo>
                  <a:lnTo>
                    <a:pt x="177" y="262"/>
                  </a:lnTo>
                  <a:lnTo>
                    <a:pt x="177" y="262"/>
                  </a:lnTo>
                  <a:lnTo>
                    <a:pt x="177" y="262"/>
                  </a:lnTo>
                  <a:lnTo>
                    <a:pt x="173" y="262"/>
                  </a:lnTo>
                  <a:lnTo>
                    <a:pt x="173" y="262"/>
                  </a:lnTo>
                  <a:lnTo>
                    <a:pt x="173" y="262"/>
                  </a:lnTo>
                  <a:lnTo>
                    <a:pt x="173" y="262"/>
                  </a:lnTo>
                  <a:lnTo>
                    <a:pt x="173" y="262"/>
                  </a:lnTo>
                  <a:lnTo>
                    <a:pt x="168" y="262"/>
                  </a:lnTo>
                  <a:lnTo>
                    <a:pt x="168" y="257"/>
                  </a:lnTo>
                  <a:lnTo>
                    <a:pt x="168" y="257"/>
                  </a:lnTo>
                  <a:lnTo>
                    <a:pt x="168" y="257"/>
                  </a:lnTo>
                  <a:lnTo>
                    <a:pt x="168" y="257"/>
                  </a:lnTo>
                  <a:lnTo>
                    <a:pt x="164" y="253"/>
                  </a:lnTo>
                  <a:lnTo>
                    <a:pt x="164" y="253"/>
                  </a:lnTo>
                  <a:lnTo>
                    <a:pt x="160" y="253"/>
                  </a:lnTo>
                  <a:lnTo>
                    <a:pt x="160" y="253"/>
                  </a:lnTo>
                  <a:lnTo>
                    <a:pt x="151" y="248"/>
                  </a:lnTo>
                  <a:lnTo>
                    <a:pt x="146" y="248"/>
                  </a:lnTo>
                  <a:lnTo>
                    <a:pt x="146" y="248"/>
                  </a:lnTo>
                  <a:lnTo>
                    <a:pt x="146" y="248"/>
                  </a:lnTo>
                  <a:lnTo>
                    <a:pt x="146" y="248"/>
                  </a:lnTo>
                  <a:lnTo>
                    <a:pt x="146" y="248"/>
                  </a:lnTo>
                  <a:lnTo>
                    <a:pt x="146" y="248"/>
                  </a:lnTo>
                  <a:lnTo>
                    <a:pt x="142" y="244"/>
                  </a:lnTo>
                  <a:lnTo>
                    <a:pt x="142" y="244"/>
                  </a:lnTo>
                  <a:lnTo>
                    <a:pt x="142" y="244"/>
                  </a:lnTo>
                  <a:lnTo>
                    <a:pt x="142" y="244"/>
                  </a:lnTo>
                  <a:lnTo>
                    <a:pt x="137" y="244"/>
                  </a:lnTo>
                  <a:lnTo>
                    <a:pt x="137" y="244"/>
                  </a:lnTo>
                  <a:lnTo>
                    <a:pt x="137" y="244"/>
                  </a:lnTo>
                  <a:lnTo>
                    <a:pt x="137" y="244"/>
                  </a:lnTo>
                  <a:lnTo>
                    <a:pt x="137" y="244"/>
                  </a:lnTo>
                  <a:lnTo>
                    <a:pt x="137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29" y="239"/>
                  </a:lnTo>
                  <a:lnTo>
                    <a:pt x="129" y="239"/>
                  </a:lnTo>
                  <a:lnTo>
                    <a:pt x="129" y="239"/>
                  </a:lnTo>
                  <a:lnTo>
                    <a:pt x="129" y="239"/>
                  </a:lnTo>
                  <a:lnTo>
                    <a:pt x="129" y="239"/>
                  </a:lnTo>
                  <a:lnTo>
                    <a:pt x="129" y="239"/>
                  </a:lnTo>
                  <a:lnTo>
                    <a:pt x="129" y="235"/>
                  </a:lnTo>
                  <a:lnTo>
                    <a:pt x="129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0" y="235"/>
                  </a:lnTo>
                  <a:lnTo>
                    <a:pt x="120" y="235"/>
                  </a:lnTo>
                  <a:lnTo>
                    <a:pt x="115" y="235"/>
                  </a:lnTo>
                  <a:lnTo>
                    <a:pt x="115" y="239"/>
                  </a:lnTo>
                  <a:lnTo>
                    <a:pt x="111" y="239"/>
                  </a:lnTo>
                  <a:lnTo>
                    <a:pt x="111" y="244"/>
                  </a:lnTo>
                  <a:lnTo>
                    <a:pt x="106" y="244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2" y="248"/>
                  </a:lnTo>
                  <a:lnTo>
                    <a:pt x="98" y="244"/>
                  </a:lnTo>
                  <a:lnTo>
                    <a:pt x="98" y="244"/>
                  </a:lnTo>
                  <a:lnTo>
                    <a:pt x="98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8"/>
                  </a:lnTo>
                  <a:lnTo>
                    <a:pt x="93" y="248"/>
                  </a:lnTo>
                  <a:lnTo>
                    <a:pt x="93" y="248"/>
                  </a:lnTo>
                  <a:lnTo>
                    <a:pt x="89" y="253"/>
                  </a:lnTo>
                  <a:lnTo>
                    <a:pt x="89" y="253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3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4" y="257"/>
                  </a:lnTo>
                  <a:lnTo>
                    <a:pt x="84" y="262"/>
                  </a:lnTo>
                  <a:lnTo>
                    <a:pt x="80" y="262"/>
                  </a:lnTo>
                  <a:lnTo>
                    <a:pt x="80" y="262"/>
                  </a:lnTo>
                  <a:lnTo>
                    <a:pt x="80" y="262"/>
                  </a:lnTo>
                  <a:lnTo>
                    <a:pt x="80" y="266"/>
                  </a:lnTo>
                  <a:lnTo>
                    <a:pt x="80" y="266"/>
                  </a:lnTo>
                  <a:lnTo>
                    <a:pt x="80" y="266"/>
                  </a:lnTo>
                  <a:lnTo>
                    <a:pt x="80" y="266"/>
                  </a:lnTo>
                  <a:lnTo>
                    <a:pt x="80" y="266"/>
                  </a:lnTo>
                  <a:lnTo>
                    <a:pt x="84" y="270"/>
                  </a:lnTo>
                  <a:lnTo>
                    <a:pt x="89" y="270"/>
                  </a:lnTo>
                  <a:lnTo>
                    <a:pt x="89" y="270"/>
                  </a:lnTo>
                  <a:lnTo>
                    <a:pt x="89" y="270"/>
                  </a:lnTo>
                  <a:lnTo>
                    <a:pt x="89" y="275"/>
                  </a:lnTo>
                  <a:lnTo>
                    <a:pt x="89" y="275"/>
                  </a:lnTo>
                  <a:lnTo>
                    <a:pt x="89" y="279"/>
                  </a:lnTo>
                  <a:lnTo>
                    <a:pt x="89" y="279"/>
                  </a:lnTo>
                  <a:lnTo>
                    <a:pt x="89" y="279"/>
                  </a:lnTo>
                  <a:lnTo>
                    <a:pt x="89" y="279"/>
                  </a:lnTo>
                  <a:lnTo>
                    <a:pt x="89" y="279"/>
                  </a:lnTo>
                  <a:lnTo>
                    <a:pt x="89" y="279"/>
                  </a:lnTo>
                  <a:lnTo>
                    <a:pt x="89" y="279"/>
                  </a:lnTo>
                  <a:lnTo>
                    <a:pt x="89" y="279"/>
                  </a:lnTo>
                  <a:lnTo>
                    <a:pt x="93" y="279"/>
                  </a:lnTo>
                  <a:lnTo>
                    <a:pt x="93" y="279"/>
                  </a:lnTo>
                  <a:lnTo>
                    <a:pt x="93" y="279"/>
                  </a:lnTo>
                  <a:lnTo>
                    <a:pt x="98" y="284"/>
                  </a:lnTo>
                  <a:lnTo>
                    <a:pt x="98" y="284"/>
                  </a:lnTo>
                  <a:lnTo>
                    <a:pt x="98" y="284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106" y="293"/>
                  </a:lnTo>
                  <a:lnTo>
                    <a:pt x="106" y="297"/>
                  </a:lnTo>
                  <a:lnTo>
                    <a:pt x="111" y="297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1" y="306"/>
                  </a:lnTo>
                  <a:lnTo>
                    <a:pt x="106" y="306"/>
                  </a:lnTo>
                  <a:lnTo>
                    <a:pt x="102" y="310"/>
                  </a:lnTo>
                  <a:lnTo>
                    <a:pt x="102" y="310"/>
                  </a:lnTo>
                  <a:lnTo>
                    <a:pt x="102" y="315"/>
                  </a:lnTo>
                  <a:lnTo>
                    <a:pt x="102" y="315"/>
                  </a:lnTo>
                  <a:lnTo>
                    <a:pt x="102" y="319"/>
                  </a:lnTo>
                  <a:lnTo>
                    <a:pt x="106" y="319"/>
                  </a:lnTo>
                  <a:lnTo>
                    <a:pt x="106" y="324"/>
                  </a:lnTo>
                  <a:lnTo>
                    <a:pt x="106" y="324"/>
                  </a:lnTo>
                  <a:lnTo>
                    <a:pt x="106" y="328"/>
                  </a:lnTo>
                  <a:lnTo>
                    <a:pt x="106" y="324"/>
                  </a:lnTo>
                  <a:lnTo>
                    <a:pt x="106" y="324"/>
                  </a:lnTo>
                  <a:lnTo>
                    <a:pt x="111" y="324"/>
                  </a:lnTo>
                  <a:lnTo>
                    <a:pt x="111" y="324"/>
                  </a:lnTo>
                  <a:lnTo>
                    <a:pt x="106" y="328"/>
                  </a:lnTo>
                  <a:lnTo>
                    <a:pt x="106" y="328"/>
                  </a:lnTo>
                  <a:lnTo>
                    <a:pt x="111" y="324"/>
                  </a:lnTo>
                  <a:lnTo>
                    <a:pt x="111" y="328"/>
                  </a:lnTo>
                  <a:lnTo>
                    <a:pt x="111" y="328"/>
                  </a:lnTo>
                  <a:lnTo>
                    <a:pt x="111" y="328"/>
                  </a:lnTo>
                  <a:lnTo>
                    <a:pt x="111" y="328"/>
                  </a:lnTo>
                  <a:lnTo>
                    <a:pt x="111" y="328"/>
                  </a:lnTo>
                  <a:lnTo>
                    <a:pt x="111" y="332"/>
                  </a:lnTo>
                  <a:lnTo>
                    <a:pt x="111" y="332"/>
                  </a:lnTo>
                  <a:lnTo>
                    <a:pt x="111" y="332"/>
                  </a:lnTo>
                  <a:lnTo>
                    <a:pt x="111" y="332"/>
                  </a:lnTo>
                  <a:lnTo>
                    <a:pt x="111" y="332"/>
                  </a:lnTo>
                  <a:lnTo>
                    <a:pt x="111" y="332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5" y="337"/>
                  </a:lnTo>
                  <a:lnTo>
                    <a:pt x="115" y="337"/>
                  </a:lnTo>
                  <a:lnTo>
                    <a:pt x="115" y="337"/>
                  </a:lnTo>
                  <a:lnTo>
                    <a:pt x="115" y="337"/>
                  </a:lnTo>
                  <a:lnTo>
                    <a:pt x="120" y="341"/>
                  </a:lnTo>
                  <a:lnTo>
                    <a:pt x="120" y="341"/>
                  </a:lnTo>
                  <a:lnTo>
                    <a:pt x="120" y="341"/>
                  </a:lnTo>
                  <a:lnTo>
                    <a:pt x="120" y="341"/>
                  </a:lnTo>
                  <a:lnTo>
                    <a:pt x="120" y="341"/>
                  </a:lnTo>
                  <a:lnTo>
                    <a:pt x="120" y="341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0" y="337"/>
                  </a:lnTo>
                  <a:lnTo>
                    <a:pt x="124" y="332"/>
                  </a:lnTo>
                  <a:lnTo>
                    <a:pt x="124" y="332"/>
                  </a:lnTo>
                  <a:lnTo>
                    <a:pt x="120" y="332"/>
                  </a:lnTo>
                  <a:lnTo>
                    <a:pt x="120" y="332"/>
                  </a:lnTo>
                  <a:lnTo>
                    <a:pt x="120" y="332"/>
                  </a:lnTo>
                  <a:lnTo>
                    <a:pt x="120" y="332"/>
                  </a:lnTo>
                  <a:lnTo>
                    <a:pt x="124" y="324"/>
                  </a:lnTo>
                  <a:lnTo>
                    <a:pt x="124" y="324"/>
                  </a:lnTo>
                  <a:lnTo>
                    <a:pt x="124" y="324"/>
                  </a:lnTo>
                  <a:lnTo>
                    <a:pt x="124" y="324"/>
                  </a:lnTo>
                  <a:lnTo>
                    <a:pt x="129" y="324"/>
                  </a:lnTo>
                  <a:lnTo>
                    <a:pt x="129" y="319"/>
                  </a:lnTo>
                  <a:lnTo>
                    <a:pt x="129" y="319"/>
                  </a:lnTo>
                  <a:lnTo>
                    <a:pt x="133" y="324"/>
                  </a:lnTo>
                  <a:lnTo>
                    <a:pt x="133" y="324"/>
                  </a:lnTo>
                  <a:lnTo>
                    <a:pt x="133" y="324"/>
                  </a:lnTo>
                  <a:lnTo>
                    <a:pt x="133" y="324"/>
                  </a:lnTo>
                  <a:lnTo>
                    <a:pt x="133" y="328"/>
                  </a:lnTo>
                  <a:lnTo>
                    <a:pt x="133" y="328"/>
                  </a:lnTo>
                  <a:lnTo>
                    <a:pt x="133" y="328"/>
                  </a:lnTo>
                  <a:lnTo>
                    <a:pt x="133" y="328"/>
                  </a:lnTo>
                  <a:lnTo>
                    <a:pt x="133" y="328"/>
                  </a:lnTo>
                  <a:lnTo>
                    <a:pt x="133" y="328"/>
                  </a:lnTo>
                  <a:lnTo>
                    <a:pt x="133" y="328"/>
                  </a:lnTo>
                  <a:lnTo>
                    <a:pt x="133" y="332"/>
                  </a:lnTo>
                  <a:lnTo>
                    <a:pt x="137" y="328"/>
                  </a:lnTo>
                  <a:lnTo>
                    <a:pt x="137" y="328"/>
                  </a:lnTo>
                  <a:lnTo>
                    <a:pt x="142" y="337"/>
                  </a:lnTo>
                  <a:lnTo>
                    <a:pt x="142" y="337"/>
                  </a:lnTo>
                  <a:lnTo>
                    <a:pt x="142" y="337"/>
                  </a:lnTo>
                  <a:lnTo>
                    <a:pt x="142" y="341"/>
                  </a:lnTo>
                  <a:lnTo>
                    <a:pt x="142" y="341"/>
                  </a:lnTo>
                  <a:lnTo>
                    <a:pt x="146" y="341"/>
                  </a:lnTo>
                  <a:lnTo>
                    <a:pt x="146" y="341"/>
                  </a:lnTo>
                  <a:lnTo>
                    <a:pt x="146" y="346"/>
                  </a:lnTo>
                  <a:lnTo>
                    <a:pt x="146" y="346"/>
                  </a:lnTo>
                  <a:lnTo>
                    <a:pt x="146" y="346"/>
                  </a:lnTo>
                  <a:lnTo>
                    <a:pt x="146" y="346"/>
                  </a:lnTo>
                  <a:lnTo>
                    <a:pt x="146" y="346"/>
                  </a:lnTo>
                  <a:lnTo>
                    <a:pt x="146" y="346"/>
                  </a:lnTo>
                  <a:lnTo>
                    <a:pt x="146" y="350"/>
                  </a:lnTo>
                  <a:lnTo>
                    <a:pt x="146" y="350"/>
                  </a:lnTo>
                  <a:lnTo>
                    <a:pt x="146" y="350"/>
                  </a:lnTo>
                  <a:lnTo>
                    <a:pt x="146" y="350"/>
                  </a:lnTo>
                  <a:lnTo>
                    <a:pt x="146" y="350"/>
                  </a:lnTo>
                  <a:lnTo>
                    <a:pt x="146" y="350"/>
                  </a:lnTo>
                  <a:lnTo>
                    <a:pt x="146" y="355"/>
                  </a:lnTo>
                  <a:lnTo>
                    <a:pt x="146" y="355"/>
                  </a:lnTo>
                  <a:lnTo>
                    <a:pt x="146" y="355"/>
                  </a:lnTo>
                  <a:lnTo>
                    <a:pt x="146" y="355"/>
                  </a:lnTo>
                  <a:lnTo>
                    <a:pt x="146" y="355"/>
                  </a:lnTo>
                  <a:lnTo>
                    <a:pt x="146" y="355"/>
                  </a:lnTo>
                  <a:lnTo>
                    <a:pt x="146" y="355"/>
                  </a:lnTo>
                  <a:lnTo>
                    <a:pt x="146" y="359"/>
                  </a:lnTo>
                  <a:lnTo>
                    <a:pt x="146" y="359"/>
                  </a:lnTo>
                  <a:lnTo>
                    <a:pt x="146" y="359"/>
                  </a:lnTo>
                  <a:lnTo>
                    <a:pt x="146" y="359"/>
                  </a:lnTo>
                  <a:lnTo>
                    <a:pt x="146" y="359"/>
                  </a:lnTo>
                  <a:lnTo>
                    <a:pt x="146" y="359"/>
                  </a:lnTo>
                  <a:lnTo>
                    <a:pt x="151" y="359"/>
                  </a:lnTo>
                  <a:lnTo>
                    <a:pt x="151" y="359"/>
                  </a:lnTo>
                  <a:lnTo>
                    <a:pt x="151" y="359"/>
                  </a:lnTo>
                  <a:lnTo>
                    <a:pt x="151" y="363"/>
                  </a:lnTo>
                  <a:lnTo>
                    <a:pt x="151" y="363"/>
                  </a:lnTo>
                  <a:lnTo>
                    <a:pt x="151" y="363"/>
                  </a:lnTo>
                  <a:lnTo>
                    <a:pt x="151" y="363"/>
                  </a:lnTo>
                  <a:lnTo>
                    <a:pt x="151" y="363"/>
                  </a:lnTo>
                  <a:lnTo>
                    <a:pt x="151" y="363"/>
                  </a:lnTo>
                  <a:lnTo>
                    <a:pt x="151" y="363"/>
                  </a:lnTo>
                  <a:lnTo>
                    <a:pt x="151" y="363"/>
                  </a:lnTo>
                  <a:lnTo>
                    <a:pt x="151" y="363"/>
                  </a:lnTo>
                  <a:lnTo>
                    <a:pt x="151" y="359"/>
                  </a:lnTo>
                  <a:lnTo>
                    <a:pt x="151" y="359"/>
                  </a:lnTo>
                  <a:lnTo>
                    <a:pt x="151" y="359"/>
                  </a:lnTo>
                  <a:lnTo>
                    <a:pt x="151" y="359"/>
                  </a:lnTo>
                  <a:lnTo>
                    <a:pt x="151" y="359"/>
                  </a:lnTo>
                  <a:lnTo>
                    <a:pt x="151" y="355"/>
                  </a:lnTo>
                  <a:lnTo>
                    <a:pt x="151" y="355"/>
                  </a:lnTo>
                  <a:lnTo>
                    <a:pt x="151" y="355"/>
                  </a:lnTo>
                  <a:lnTo>
                    <a:pt x="151" y="350"/>
                  </a:lnTo>
                  <a:lnTo>
                    <a:pt x="151" y="350"/>
                  </a:lnTo>
                  <a:lnTo>
                    <a:pt x="151" y="350"/>
                  </a:lnTo>
                  <a:lnTo>
                    <a:pt x="151" y="350"/>
                  </a:lnTo>
                  <a:lnTo>
                    <a:pt x="155" y="350"/>
                  </a:lnTo>
                  <a:lnTo>
                    <a:pt x="155" y="346"/>
                  </a:lnTo>
                  <a:lnTo>
                    <a:pt x="151" y="346"/>
                  </a:lnTo>
                  <a:lnTo>
                    <a:pt x="151" y="346"/>
                  </a:lnTo>
                  <a:lnTo>
                    <a:pt x="151" y="346"/>
                  </a:lnTo>
                  <a:lnTo>
                    <a:pt x="151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1"/>
                  </a:lnTo>
                  <a:lnTo>
                    <a:pt x="155" y="341"/>
                  </a:lnTo>
                  <a:lnTo>
                    <a:pt x="155" y="341"/>
                  </a:lnTo>
                  <a:lnTo>
                    <a:pt x="155" y="337"/>
                  </a:lnTo>
                  <a:lnTo>
                    <a:pt x="160" y="337"/>
                  </a:lnTo>
                  <a:lnTo>
                    <a:pt x="160" y="337"/>
                  </a:lnTo>
                  <a:lnTo>
                    <a:pt x="164" y="337"/>
                  </a:lnTo>
                  <a:lnTo>
                    <a:pt x="164" y="337"/>
                  </a:lnTo>
                  <a:lnTo>
                    <a:pt x="168" y="337"/>
                  </a:lnTo>
                  <a:lnTo>
                    <a:pt x="168" y="337"/>
                  </a:lnTo>
                  <a:lnTo>
                    <a:pt x="168" y="341"/>
                  </a:lnTo>
                  <a:lnTo>
                    <a:pt x="168" y="341"/>
                  </a:lnTo>
                  <a:lnTo>
                    <a:pt x="168" y="341"/>
                  </a:lnTo>
                  <a:lnTo>
                    <a:pt x="168" y="346"/>
                  </a:lnTo>
                  <a:lnTo>
                    <a:pt x="168" y="346"/>
                  </a:lnTo>
                  <a:lnTo>
                    <a:pt x="168" y="346"/>
                  </a:lnTo>
                  <a:lnTo>
                    <a:pt x="168" y="346"/>
                  </a:lnTo>
                  <a:lnTo>
                    <a:pt x="168" y="346"/>
                  </a:lnTo>
                  <a:lnTo>
                    <a:pt x="168" y="346"/>
                  </a:lnTo>
                  <a:lnTo>
                    <a:pt x="173" y="346"/>
                  </a:lnTo>
                  <a:lnTo>
                    <a:pt x="173" y="346"/>
                  </a:lnTo>
                  <a:lnTo>
                    <a:pt x="173" y="346"/>
                  </a:lnTo>
                  <a:lnTo>
                    <a:pt x="173" y="350"/>
                  </a:lnTo>
                  <a:lnTo>
                    <a:pt x="173" y="350"/>
                  </a:lnTo>
                  <a:lnTo>
                    <a:pt x="173" y="350"/>
                  </a:lnTo>
                  <a:lnTo>
                    <a:pt x="177" y="355"/>
                  </a:lnTo>
                  <a:lnTo>
                    <a:pt x="177" y="355"/>
                  </a:lnTo>
                  <a:lnTo>
                    <a:pt x="177" y="355"/>
                  </a:lnTo>
                  <a:lnTo>
                    <a:pt x="177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9"/>
                  </a:lnTo>
                  <a:lnTo>
                    <a:pt x="182" y="359"/>
                  </a:lnTo>
                  <a:lnTo>
                    <a:pt x="182" y="359"/>
                  </a:lnTo>
                  <a:lnTo>
                    <a:pt x="182" y="359"/>
                  </a:lnTo>
                  <a:lnTo>
                    <a:pt x="182" y="359"/>
                  </a:lnTo>
                  <a:lnTo>
                    <a:pt x="186" y="359"/>
                  </a:lnTo>
                  <a:lnTo>
                    <a:pt x="186" y="359"/>
                  </a:lnTo>
                  <a:lnTo>
                    <a:pt x="186" y="359"/>
                  </a:lnTo>
                  <a:lnTo>
                    <a:pt x="190" y="359"/>
                  </a:lnTo>
                  <a:lnTo>
                    <a:pt x="190" y="359"/>
                  </a:lnTo>
                  <a:lnTo>
                    <a:pt x="186" y="359"/>
                  </a:lnTo>
                  <a:lnTo>
                    <a:pt x="186" y="359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46"/>
                  </a:lnTo>
                  <a:lnTo>
                    <a:pt x="182" y="346"/>
                  </a:lnTo>
                  <a:lnTo>
                    <a:pt x="182" y="346"/>
                  </a:lnTo>
                  <a:lnTo>
                    <a:pt x="182" y="346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37"/>
                  </a:lnTo>
                  <a:lnTo>
                    <a:pt x="186" y="337"/>
                  </a:lnTo>
                  <a:lnTo>
                    <a:pt x="186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2"/>
                  </a:lnTo>
                  <a:lnTo>
                    <a:pt x="182" y="332"/>
                  </a:lnTo>
                  <a:lnTo>
                    <a:pt x="182" y="332"/>
                  </a:lnTo>
                  <a:lnTo>
                    <a:pt x="182" y="332"/>
                  </a:lnTo>
                  <a:lnTo>
                    <a:pt x="182" y="332"/>
                  </a:lnTo>
                  <a:lnTo>
                    <a:pt x="177" y="328"/>
                  </a:lnTo>
                  <a:lnTo>
                    <a:pt x="177" y="328"/>
                  </a:lnTo>
                  <a:lnTo>
                    <a:pt x="177" y="328"/>
                  </a:lnTo>
                  <a:lnTo>
                    <a:pt x="177" y="328"/>
                  </a:lnTo>
                  <a:lnTo>
                    <a:pt x="177" y="328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19"/>
                  </a:lnTo>
                  <a:lnTo>
                    <a:pt x="177" y="319"/>
                  </a:lnTo>
                  <a:lnTo>
                    <a:pt x="177" y="319"/>
                  </a:lnTo>
                  <a:lnTo>
                    <a:pt x="177" y="319"/>
                  </a:lnTo>
                  <a:lnTo>
                    <a:pt x="177" y="319"/>
                  </a:lnTo>
                  <a:lnTo>
                    <a:pt x="177" y="319"/>
                  </a:lnTo>
                  <a:lnTo>
                    <a:pt x="177" y="319"/>
                  </a:lnTo>
                  <a:lnTo>
                    <a:pt x="177" y="315"/>
                  </a:lnTo>
                  <a:lnTo>
                    <a:pt x="177" y="315"/>
                  </a:lnTo>
                  <a:lnTo>
                    <a:pt x="177" y="315"/>
                  </a:lnTo>
                  <a:lnTo>
                    <a:pt x="177" y="315"/>
                  </a:lnTo>
                  <a:lnTo>
                    <a:pt x="177" y="315"/>
                  </a:lnTo>
                  <a:lnTo>
                    <a:pt x="177" y="315"/>
                  </a:lnTo>
                  <a:lnTo>
                    <a:pt x="177" y="315"/>
                  </a:lnTo>
                  <a:lnTo>
                    <a:pt x="177" y="315"/>
                  </a:lnTo>
                  <a:lnTo>
                    <a:pt x="177" y="315"/>
                  </a:lnTo>
                  <a:lnTo>
                    <a:pt x="173" y="315"/>
                  </a:lnTo>
                  <a:lnTo>
                    <a:pt x="173" y="315"/>
                  </a:lnTo>
                  <a:lnTo>
                    <a:pt x="173" y="315"/>
                  </a:lnTo>
                  <a:lnTo>
                    <a:pt x="173" y="315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06"/>
                  </a:lnTo>
                  <a:lnTo>
                    <a:pt x="168" y="306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4"/>
                  </a:lnTo>
                  <a:lnTo>
                    <a:pt x="164" y="284"/>
                  </a:lnTo>
                  <a:lnTo>
                    <a:pt x="168" y="284"/>
                  </a:lnTo>
                  <a:lnTo>
                    <a:pt x="168" y="284"/>
                  </a:lnTo>
                  <a:lnTo>
                    <a:pt x="168" y="284"/>
                  </a:lnTo>
                  <a:lnTo>
                    <a:pt x="168" y="284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93"/>
                  </a:lnTo>
                  <a:lnTo>
                    <a:pt x="177" y="293"/>
                  </a:lnTo>
                  <a:lnTo>
                    <a:pt x="177" y="293"/>
                  </a:lnTo>
                  <a:lnTo>
                    <a:pt x="177" y="293"/>
                  </a:lnTo>
                  <a:lnTo>
                    <a:pt x="182" y="293"/>
                  </a:lnTo>
                  <a:lnTo>
                    <a:pt x="182" y="293"/>
                  </a:lnTo>
                  <a:lnTo>
                    <a:pt x="182" y="293"/>
                  </a:lnTo>
                  <a:lnTo>
                    <a:pt x="182" y="293"/>
                  </a:lnTo>
                  <a:lnTo>
                    <a:pt x="182" y="293"/>
                  </a:lnTo>
                  <a:lnTo>
                    <a:pt x="186" y="293"/>
                  </a:lnTo>
                  <a:lnTo>
                    <a:pt x="186" y="293"/>
                  </a:lnTo>
                  <a:lnTo>
                    <a:pt x="186" y="293"/>
                  </a:lnTo>
                  <a:lnTo>
                    <a:pt x="186" y="293"/>
                  </a:lnTo>
                  <a:lnTo>
                    <a:pt x="186" y="293"/>
                  </a:lnTo>
                  <a:lnTo>
                    <a:pt x="186" y="297"/>
                  </a:lnTo>
                  <a:lnTo>
                    <a:pt x="186" y="297"/>
                  </a:lnTo>
                  <a:lnTo>
                    <a:pt x="186" y="297"/>
                  </a:lnTo>
                  <a:lnTo>
                    <a:pt x="186" y="297"/>
                  </a:lnTo>
                  <a:lnTo>
                    <a:pt x="186" y="297"/>
                  </a:lnTo>
                  <a:lnTo>
                    <a:pt x="186" y="297"/>
                  </a:lnTo>
                  <a:lnTo>
                    <a:pt x="186" y="297"/>
                  </a:lnTo>
                  <a:lnTo>
                    <a:pt x="182" y="297"/>
                  </a:lnTo>
                  <a:lnTo>
                    <a:pt x="182" y="297"/>
                  </a:lnTo>
                  <a:lnTo>
                    <a:pt x="182" y="297"/>
                  </a:lnTo>
                  <a:lnTo>
                    <a:pt x="182" y="297"/>
                  </a:lnTo>
                  <a:lnTo>
                    <a:pt x="182" y="297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90" y="301"/>
                  </a:lnTo>
                  <a:lnTo>
                    <a:pt x="190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90" y="301"/>
                  </a:lnTo>
                  <a:lnTo>
                    <a:pt x="190" y="301"/>
                  </a:lnTo>
                  <a:lnTo>
                    <a:pt x="190" y="301"/>
                  </a:lnTo>
                  <a:lnTo>
                    <a:pt x="195" y="301"/>
                  </a:lnTo>
                  <a:lnTo>
                    <a:pt x="190" y="301"/>
                  </a:lnTo>
                  <a:close/>
                </a:path>
              </a:pathLst>
            </a:custGeom>
            <a:solidFill>
              <a:srgbClr val="D8DA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07" name="Freeform 39"/>
            <p:cNvSpPr>
              <a:spLocks noEditPoints="1"/>
            </p:cNvSpPr>
            <p:nvPr/>
          </p:nvSpPr>
          <p:spPr bwMode="auto">
            <a:xfrm>
              <a:off x="4132263" y="5616576"/>
              <a:ext cx="723900" cy="723900"/>
            </a:xfrm>
            <a:custGeom>
              <a:avLst/>
              <a:gdLst>
                <a:gd name="T0" fmla="*/ 310 w 456"/>
                <a:gd name="T1" fmla="*/ 434 h 456"/>
                <a:gd name="T2" fmla="*/ 235 w 456"/>
                <a:gd name="T3" fmla="*/ 417 h 456"/>
                <a:gd name="T4" fmla="*/ 204 w 456"/>
                <a:gd name="T5" fmla="*/ 434 h 456"/>
                <a:gd name="T6" fmla="*/ 292 w 456"/>
                <a:gd name="T7" fmla="*/ 456 h 456"/>
                <a:gd name="T8" fmla="*/ 438 w 456"/>
                <a:gd name="T9" fmla="*/ 390 h 456"/>
                <a:gd name="T10" fmla="*/ 434 w 456"/>
                <a:gd name="T11" fmla="*/ 355 h 456"/>
                <a:gd name="T12" fmla="*/ 111 w 456"/>
                <a:gd name="T13" fmla="*/ 337 h 456"/>
                <a:gd name="T14" fmla="*/ 266 w 456"/>
                <a:gd name="T15" fmla="*/ 319 h 456"/>
                <a:gd name="T16" fmla="*/ 328 w 456"/>
                <a:gd name="T17" fmla="*/ 315 h 456"/>
                <a:gd name="T18" fmla="*/ 381 w 456"/>
                <a:gd name="T19" fmla="*/ 315 h 456"/>
                <a:gd name="T20" fmla="*/ 257 w 456"/>
                <a:gd name="T21" fmla="*/ 315 h 456"/>
                <a:gd name="T22" fmla="*/ 252 w 456"/>
                <a:gd name="T23" fmla="*/ 297 h 456"/>
                <a:gd name="T24" fmla="*/ 204 w 456"/>
                <a:gd name="T25" fmla="*/ 288 h 456"/>
                <a:gd name="T26" fmla="*/ 350 w 456"/>
                <a:gd name="T27" fmla="*/ 284 h 456"/>
                <a:gd name="T28" fmla="*/ 385 w 456"/>
                <a:gd name="T29" fmla="*/ 270 h 456"/>
                <a:gd name="T30" fmla="*/ 71 w 456"/>
                <a:gd name="T31" fmla="*/ 275 h 456"/>
                <a:gd name="T32" fmla="*/ 204 w 456"/>
                <a:gd name="T33" fmla="*/ 257 h 456"/>
                <a:gd name="T34" fmla="*/ 49 w 456"/>
                <a:gd name="T35" fmla="*/ 235 h 456"/>
                <a:gd name="T36" fmla="*/ 53 w 456"/>
                <a:gd name="T37" fmla="*/ 226 h 456"/>
                <a:gd name="T38" fmla="*/ 332 w 456"/>
                <a:gd name="T39" fmla="*/ 244 h 456"/>
                <a:gd name="T40" fmla="*/ 62 w 456"/>
                <a:gd name="T41" fmla="*/ 213 h 456"/>
                <a:gd name="T42" fmla="*/ 261 w 456"/>
                <a:gd name="T43" fmla="*/ 200 h 456"/>
                <a:gd name="T44" fmla="*/ 261 w 456"/>
                <a:gd name="T45" fmla="*/ 253 h 456"/>
                <a:gd name="T46" fmla="*/ 199 w 456"/>
                <a:gd name="T47" fmla="*/ 195 h 456"/>
                <a:gd name="T48" fmla="*/ 208 w 456"/>
                <a:gd name="T49" fmla="*/ 217 h 456"/>
                <a:gd name="T50" fmla="*/ 204 w 456"/>
                <a:gd name="T51" fmla="*/ 177 h 456"/>
                <a:gd name="T52" fmla="*/ 368 w 456"/>
                <a:gd name="T53" fmla="*/ 191 h 456"/>
                <a:gd name="T54" fmla="*/ 345 w 456"/>
                <a:gd name="T55" fmla="*/ 177 h 456"/>
                <a:gd name="T56" fmla="*/ 13 w 456"/>
                <a:gd name="T57" fmla="*/ 133 h 456"/>
                <a:gd name="T58" fmla="*/ 288 w 456"/>
                <a:gd name="T59" fmla="*/ 129 h 456"/>
                <a:gd name="T60" fmla="*/ 306 w 456"/>
                <a:gd name="T61" fmla="*/ 120 h 456"/>
                <a:gd name="T62" fmla="*/ 270 w 456"/>
                <a:gd name="T63" fmla="*/ 71 h 456"/>
                <a:gd name="T64" fmla="*/ 186 w 456"/>
                <a:gd name="T65" fmla="*/ 270 h 456"/>
                <a:gd name="T66" fmla="*/ 226 w 456"/>
                <a:gd name="T67" fmla="*/ 270 h 456"/>
                <a:gd name="T68" fmla="*/ 230 w 456"/>
                <a:gd name="T69" fmla="*/ 239 h 456"/>
                <a:gd name="T70" fmla="*/ 164 w 456"/>
                <a:gd name="T71" fmla="*/ 204 h 456"/>
                <a:gd name="T72" fmla="*/ 177 w 456"/>
                <a:gd name="T73" fmla="*/ 182 h 456"/>
                <a:gd name="T74" fmla="*/ 190 w 456"/>
                <a:gd name="T75" fmla="*/ 182 h 456"/>
                <a:gd name="T76" fmla="*/ 164 w 456"/>
                <a:gd name="T77" fmla="*/ 89 h 456"/>
                <a:gd name="T78" fmla="*/ 217 w 456"/>
                <a:gd name="T79" fmla="*/ 129 h 456"/>
                <a:gd name="T80" fmla="*/ 230 w 456"/>
                <a:gd name="T81" fmla="*/ 111 h 456"/>
                <a:gd name="T82" fmla="*/ 226 w 456"/>
                <a:gd name="T83" fmla="*/ 84 h 456"/>
                <a:gd name="T84" fmla="*/ 292 w 456"/>
                <a:gd name="T85" fmla="*/ 53 h 456"/>
                <a:gd name="T86" fmla="*/ 350 w 456"/>
                <a:gd name="T87" fmla="*/ 58 h 456"/>
                <a:gd name="T88" fmla="*/ 341 w 456"/>
                <a:gd name="T89" fmla="*/ 0 h 456"/>
                <a:gd name="T90" fmla="*/ 288 w 456"/>
                <a:gd name="T91" fmla="*/ 31 h 456"/>
                <a:gd name="T92" fmla="*/ 226 w 456"/>
                <a:gd name="T93" fmla="*/ 22 h 456"/>
                <a:gd name="T94" fmla="*/ 137 w 456"/>
                <a:gd name="T95" fmla="*/ 40 h 456"/>
                <a:gd name="T96" fmla="*/ 71 w 456"/>
                <a:gd name="T97" fmla="*/ 84 h 456"/>
                <a:gd name="T98" fmla="*/ 36 w 456"/>
                <a:gd name="T99" fmla="*/ 142 h 456"/>
                <a:gd name="T100" fmla="*/ 36 w 456"/>
                <a:gd name="T101" fmla="*/ 169 h 456"/>
                <a:gd name="T102" fmla="*/ 67 w 456"/>
                <a:gd name="T103" fmla="*/ 186 h 456"/>
                <a:gd name="T104" fmla="*/ 67 w 456"/>
                <a:gd name="T105" fmla="*/ 195 h 456"/>
                <a:gd name="T106" fmla="*/ 80 w 456"/>
                <a:gd name="T107" fmla="*/ 226 h 456"/>
                <a:gd name="T108" fmla="*/ 93 w 456"/>
                <a:gd name="T109" fmla="*/ 231 h 456"/>
                <a:gd name="T110" fmla="*/ 146 w 456"/>
                <a:gd name="T111" fmla="*/ 235 h 456"/>
                <a:gd name="T112" fmla="*/ 182 w 456"/>
                <a:gd name="T113" fmla="*/ 244 h 456"/>
                <a:gd name="T114" fmla="*/ 133 w 456"/>
                <a:gd name="T115" fmla="*/ 239 h 456"/>
                <a:gd name="T116" fmla="*/ 89 w 456"/>
                <a:gd name="T117" fmla="*/ 279 h 456"/>
                <a:gd name="T118" fmla="*/ 133 w 456"/>
                <a:gd name="T119" fmla="*/ 324 h 456"/>
                <a:gd name="T120" fmla="*/ 155 w 456"/>
                <a:gd name="T121" fmla="*/ 341 h 456"/>
                <a:gd name="T122" fmla="*/ 182 w 456"/>
                <a:gd name="T123" fmla="*/ 337 h 456"/>
                <a:gd name="T124" fmla="*/ 164 w 456"/>
                <a:gd name="T125" fmla="*/ 284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6" h="456">
                  <a:moveTo>
                    <a:pt x="354" y="434"/>
                  </a:moveTo>
                  <a:lnTo>
                    <a:pt x="354" y="434"/>
                  </a:lnTo>
                  <a:lnTo>
                    <a:pt x="354" y="434"/>
                  </a:lnTo>
                  <a:lnTo>
                    <a:pt x="350" y="434"/>
                  </a:lnTo>
                  <a:lnTo>
                    <a:pt x="350" y="434"/>
                  </a:lnTo>
                  <a:lnTo>
                    <a:pt x="354" y="434"/>
                  </a:lnTo>
                  <a:lnTo>
                    <a:pt x="354" y="434"/>
                  </a:lnTo>
                  <a:lnTo>
                    <a:pt x="354" y="434"/>
                  </a:lnTo>
                  <a:lnTo>
                    <a:pt x="350" y="434"/>
                  </a:lnTo>
                  <a:lnTo>
                    <a:pt x="350" y="434"/>
                  </a:lnTo>
                  <a:lnTo>
                    <a:pt x="350" y="434"/>
                  </a:lnTo>
                  <a:lnTo>
                    <a:pt x="350" y="434"/>
                  </a:lnTo>
                  <a:lnTo>
                    <a:pt x="350" y="439"/>
                  </a:lnTo>
                  <a:lnTo>
                    <a:pt x="345" y="439"/>
                  </a:lnTo>
                  <a:lnTo>
                    <a:pt x="345" y="439"/>
                  </a:lnTo>
                  <a:lnTo>
                    <a:pt x="345" y="439"/>
                  </a:lnTo>
                  <a:lnTo>
                    <a:pt x="345" y="439"/>
                  </a:lnTo>
                  <a:lnTo>
                    <a:pt x="345" y="439"/>
                  </a:lnTo>
                  <a:lnTo>
                    <a:pt x="345" y="439"/>
                  </a:lnTo>
                  <a:lnTo>
                    <a:pt x="345" y="439"/>
                  </a:lnTo>
                  <a:lnTo>
                    <a:pt x="341" y="439"/>
                  </a:lnTo>
                  <a:lnTo>
                    <a:pt x="341" y="439"/>
                  </a:lnTo>
                  <a:lnTo>
                    <a:pt x="341" y="439"/>
                  </a:lnTo>
                  <a:lnTo>
                    <a:pt x="341" y="439"/>
                  </a:lnTo>
                  <a:lnTo>
                    <a:pt x="341" y="439"/>
                  </a:lnTo>
                  <a:lnTo>
                    <a:pt x="341" y="439"/>
                  </a:lnTo>
                  <a:lnTo>
                    <a:pt x="341" y="439"/>
                  </a:lnTo>
                  <a:lnTo>
                    <a:pt x="337" y="439"/>
                  </a:lnTo>
                  <a:lnTo>
                    <a:pt x="337" y="439"/>
                  </a:lnTo>
                  <a:lnTo>
                    <a:pt x="337" y="439"/>
                  </a:lnTo>
                  <a:lnTo>
                    <a:pt x="337" y="439"/>
                  </a:lnTo>
                  <a:lnTo>
                    <a:pt x="337" y="439"/>
                  </a:lnTo>
                  <a:lnTo>
                    <a:pt x="337" y="439"/>
                  </a:lnTo>
                  <a:lnTo>
                    <a:pt x="332" y="443"/>
                  </a:lnTo>
                  <a:lnTo>
                    <a:pt x="332" y="443"/>
                  </a:lnTo>
                  <a:lnTo>
                    <a:pt x="332" y="443"/>
                  </a:lnTo>
                  <a:lnTo>
                    <a:pt x="332" y="443"/>
                  </a:lnTo>
                  <a:lnTo>
                    <a:pt x="332" y="443"/>
                  </a:lnTo>
                  <a:lnTo>
                    <a:pt x="328" y="443"/>
                  </a:lnTo>
                  <a:lnTo>
                    <a:pt x="328" y="443"/>
                  </a:lnTo>
                  <a:lnTo>
                    <a:pt x="328" y="443"/>
                  </a:lnTo>
                  <a:lnTo>
                    <a:pt x="328" y="443"/>
                  </a:lnTo>
                  <a:lnTo>
                    <a:pt x="328" y="448"/>
                  </a:lnTo>
                  <a:lnTo>
                    <a:pt x="328" y="448"/>
                  </a:lnTo>
                  <a:lnTo>
                    <a:pt x="328" y="448"/>
                  </a:lnTo>
                  <a:lnTo>
                    <a:pt x="323" y="448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3" y="443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9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4"/>
                  </a:lnTo>
                  <a:lnTo>
                    <a:pt x="323" y="430"/>
                  </a:lnTo>
                  <a:lnTo>
                    <a:pt x="319" y="430"/>
                  </a:lnTo>
                  <a:lnTo>
                    <a:pt x="319" y="430"/>
                  </a:lnTo>
                  <a:lnTo>
                    <a:pt x="319" y="430"/>
                  </a:lnTo>
                  <a:lnTo>
                    <a:pt x="319" y="430"/>
                  </a:lnTo>
                  <a:lnTo>
                    <a:pt x="319" y="430"/>
                  </a:lnTo>
                  <a:lnTo>
                    <a:pt x="310" y="434"/>
                  </a:lnTo>
                  <a:lnTo>
                    <a:pt x="306" y="434"/>
                  </a:lnTo>
                  <a:lnTo>
                    <a:pt x="306" y="434"/>
                  </a:lnTo>
                  <a:lnTo>
                    <a:pt x="306" y="434"/>
                  </a:lnTo>
                  <a:lnTo>
                    <a:pt x="306" y="434"/>
                  </a:lnTo>
                  <a:lnTo>
                    <a:pt x="306" y="430"/>
                  </a:lnTo>
                  <a:lnTo>
                    <a:pt x="301" y="430"/>
                  </a:lnTo>
                  <a:lnTo>
                    <a:pt x="301" y="430"/>
                  </a:lnTo>
                  <a:lnTo>
                    <a:pt x="301" y="430"/>
                  </a:lnTo>
                  <a:lnTo>
                    <a:pt x="301" y="430"/>
                  </a:lnTo>
                  <a:lnTo>
                    <a:pt x="301" y="430"/>
                  </a:lnTo>
                  <a:lnTo>
                    <a:pt x="297" y="430"/>
                  </a:lnTo>
                  <a:lnTo>
                    <a:pt x="297" y="430"/>
                  </a:lnTo>
                  <a:lnTo>
                    <a:pt x="297" y="430"/>
                  </a:lnTo>
                  <a:lnTo>
                    <a:pt x="297" y="430"/>
                  </a:lnTo>
                  <a:lnTo>
                    <a:pt x="292" y="430"/>
                  </a:lnTo>
                  <a:lnTo>
                    <a:pt x="292" y="430"/>
                  </a:lnTo>
                  <a:lnTo>
                    <a:pt x="292" y="430"/>
                  </a:lnTo>
                  <a:lnTo>
                    <a:pt x="292" y="430"/>
                  </a:lnTo>
                  <a:lnTo>
                    <a:pt x="288" y="430"/>
                  </a:lnTo>
                  <a:lnTo>
                    <a:pt x="288" y="430"/>
                  </a:lnTo>
                  <a:lnTo>
                    <a:pt x="288" y="430"/>
                  </a:lnTo>
                  <a:lnTo>
                    <a:pt x="288" y="430"/>
                  </a:lnTo>
                  <a:lnTo>
                    <a:pt x="288" y="430"/>
                  </a:lnTo>
                  <a:lnTo>
                    <a:pt x="288" y="430"/>
                  </a:lnTo>
                  <a:lnTo>
                    <a:pt x="288" y="430"/>
                  </a:lnTo>
                  <a:lnTo>
                    <a:pt x="288" y="425"/>
                  </a:lnTo>
                  <a:lnTo>
                    <a:pt x="288" y="425"/>
                  </a:lnTo>
                  <a:lnTo>
                    <a:pt x="283" y="425"/>
                  </a:lnTo>
                  <a:lnTo>
                    <a:pt x="283" y="425"/>
                  </a:lnTo>
                  <a:lnTo>
                    <a:pt x="283" y="425"/>
                  </a:lnTo>
                  <a:lnTo>
                    <a:pt x="283" y="425"/>
                  </a:lnTo>
                  <a:lnTo>
                    <a:pt x="283" y="425"/>
                  </a:lnTo>
                  <a:lnTo>
                    <a:pt x="283" y="425"/>
                  </a:lnTo>
                  <a:lnTo>
                    <a:pt x="283" y="425"/>
                  </a:lnTo>
                  <a:lnTo>
                    <a:pt x="279" y="425"/>
                  </a:lnTo>
                  <a:lnTo>
                    <a:pt x="275" y="425"/>
                  </a:lnTo>
                  <a:lnTo>
                    <a:pt x="275" y="425"/>
                  </a:lnTo>
                  <a:lnTo>
                    <a:pt x="275" y="425"/>
                  </a:lnTo>
                  <a:lnTo>
                    <a:pt x="275" y="425"/>
                  </a:lnTo>
                  <a:lnTo>
                    <a:pt x="270" y="425"/>
                  </a:lnTo>
                  <a:lnTo>
                    <a:pt x="266" y="425"/>
                  </a:lnTo>
                  <a:lnTo>
                    <a:pt x="266" y="425"/>
                  </a:lnTo>
                  <a:lnTo>
                    <a:pt x="266" y="425"/>
                  </a:lnTo>
                  <a:lnTo>
                    <a:pt x="261" y="430"/>
                  </a:lnTo>
                  <a:lnTo>
                    <a:pt x="261" y="430"/>
                  </a:lnTo>
                  <a:lnTo>
                    <a:pt x="257" y="430"/>
                  </a:lnTo>
                  <a:lnTo>
                    <a:pt x="257" y="430"/>
                  </a:lnTo>
                  <a:lnTo>
                    <a:pt x="252" y="430"/>
                  </a:lnTo>
                  <a:lnTo>
                    <a:pt x="248" y="430"/>
                  </a:lnTo>
                  <a:lnTo>
                    <a:pt x="248" y="430"/>
                  </a:lnTo>
                  <a:lnTo>
                    <a:pt x="248" y="430"/>
                  </a:lnTo>
                  <a:lnTo>
                    <a:pt x="244" y="430"/>
                  </a:lnTo>
                  <a:lnTo>
                    <a:pt x="244" y="430"/>
                  </a:lnTo>
                  <a:lnTo>
                    <a:pt x="244" y="430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4" y="421"/>
                  </a:lnTo>
                  <a:lnTo>
                    <a:pt x="244" y="421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39" y="425"/>
                  </a:lnTo>
                  <a:lnTo>
                    <a:pt x="239" y="425"/>
                  </a:lnTo>
                  <a:lnTo>
                    <a:pt x="239" y="421"/>
                  </a:lnTo>
                  <a:lnTo>
                    <a:pt x="235" y="421"/>
                  </a:lnTo>
                  <a:lnTo>
                    <a:pt x="235" y="421"/>
                  </a:lnTo>
                  <a:lnTo>
                    <a:pt x="235" y="421"/>
                  </a:lnTo>
                  <a:lnTo>
                    <a:pt x="235" y="421"/>
                  </a:lnTo>
                  <a:lnTo>
                    <a:pt x="235" y="421"/>
                  </a:lnTo>
                  <a:lnTo>
                    <a:pt x="235" y="421"/>
                  </a:lnTo>
                  <a:lnTo>
                    <a:pt x="239" y="421"/>
                  </a:lnTo>
                  <a:lnTo>
                    <a:pt x="239" y="421"/>
                  </a:lnTo>
                  <a:lnTo>
                    <a:pt x="239" y="421"/>
                  </a:lnTo>
                  <a:lnTo>
                    <a:pt x="239" y="421"/>
                  </a:lnTo>
                  <a:lnTo>
                    <a:pt x="239" y="421"/>
                  </a:lnTo>
                  <a:lnTo>
                    <a:pt x="239" y="421"/>
                  </a:lnTo>
                  <a:lnTo>
                    <a:pt x="244" y="421"/>
                  </a:lnTo>
                  <a:lnTo>
                    <a:pt x="244" y="417"/>
                  </a:lnTo>
                  <a:lnTo>
                    <a:pt x="239" y="417"/>
                  </a:lnTo>
                  <a:lnTo>
                    <a:pt x="239" y="417"/>
                  </a:lnTo>
                  <a:lnTo>
                    <a:pt x="239" y="417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5" y="417"/>
                  </a:lnTo>
                  <a:lnTo>
                    <a:pt x="235" y="421"/>
                  </a:lnTo>
                  <a:lnTo>
                    <a:pt x="235" y="421"/>
                  </a:lnTo>
                  <a:lnTo>
                    <a:pt x="235" y="421"/>
                  </a:lnTo>
                  <a:lnTo>
                    <a:pt x="230" y="421"/>
                  </a:lnTo>
                  <a:lnTo>
                    <a:pt x="230" y="421"/>
                  </a:lnTo>
                  <a:lnTo>
                    <a:pt x="226" y="421"/>
                  </a:lnTo>
                  <a:lnTo>
                    <a:pt x="226" y="421"/>
                  </a:lnTo>
                  <a:lnTo>
                    <a:pt x="226" y="421"/>
                  </a:lnTo>
                  <a:lnTo>
                    <a:pt x="221" y="421"/>
                  </a:lnTo>
                  <a:lnTo>
                    <a:pt x="221" y="417"/>
                  </a:lnTo>
                  <a:lnTo>
                    <a:pt x="221" y="417"/>
                  </a:lnTo>
                  <a:lnTo>
                    <a:pt x="221" y="417"/>
                  </a:lnTo>
                  <a:lnTo>
                    <a:pt x="221" y="412"/>
                  </a:lnTo>
                  <a:lnTo>
                    <a:pt x="217" y="412"/>
                  </a:lnTo>
                  <a:lnTo>
                    <a:pt x="217" y="412"/>
                  </a:lnTo>
                  <a:lnTo>
                    <a:pt x="221" y="412"/>
                  </a:lnTo>
                  <a:lnTo>
                    <a:pt x="221" y="412"/>
                  </a:lnTo>
                  <a:lnTo>
                    <a:pt x="217" y="408"/>
                  </a:lnTo>
                  <a:lnTo>
                    <a:pt x="217" y="408"/>
                  </a:lnTo>
                  <a:lnTo>
                    <a:pt x="217" y="408"/>
                  </a:lnTo>
                  <a:lnTo>
                    <a:pt x="217" y="408"/>
                  </a:lnTo>
                  <a:lnTo>
                    <a:pt x="217" y="412"/>
                  </a:lnTo>
                  <a:lnTo>
                    <a:pt x="217" y="412"/>
                  </a:lnTo>
                  <a:lnTo>
                    <a:pt x="217" y="412"/>
                  </a:lnTo>
                  <a:lnTo>
                    <a:pt x="217" y="412"/>
                  </a:lnTo>
                  <a:lnTo>
                    <a:pt x="217" y="412"/>
                  </a:lnTo>
                  <a:lnTo>
                    <a:pt x="217" y="417"/>
                  </a:lnTo>
                  <a:lnTo>
                    <a:pt x="217" y="417"/>
                  </a:lnTo>
                  <a:lnTo>
                    <a:pt x="217" y="417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7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13" y="421"/>
                  </a:lnTo>
                  <a:lnTo>
                    <a:pt x="208" y="417"/>
                  </a:lnTo>
                  <a:lnTo>
                    <a:pt x="208" y="417"/>
                  </a:lnTo>
                  <a:lnTo>
                    <a:pt x="208" y="412"/>
                  </a:lnTo>
                  <a:lnTo>
                    <a:pt x="208" y="417"/>
                  </a:lnTo>
                  <a:lnTo>
                    <a:pt x="208" y="417"/>
                  </a:lnTo>
                  <a:lnTo>
                    <a:pt x="208" y="417"/>
                  </a:lnTo>
                  <a:lnTo>
                    <a:pt x="208" y="417"/>
                  </a:lnTo>
                  <a:lnTo>
                    <a:pt x="208" y="421"/>
                  </a:lnTo>
                  <a:lnTo>
                    <a:pt x="208" y="421"/>
                  </a:lnTo>
                  <a:lnTo>
                    <a:pt x="208" y="421"/>
                  </a:lnTo>
                  <a:lnTo>
                    <a:pt x="208" y="421"/>
                  </a:lnTo>
                  <a:lnTo>
                    <a:pt x="208" y="421"/>
                  </a:lnTo>
                  <a:lnTo>
                    <a:pt x="208" y="421"/>
                  </a:lnTo>
                  <a:lnTo>
                    <a:pt x="208" y="421"/>
                  </a:lnTo>
                  <a:lnTo>
                    <a:pt x="208" y="421"/>
                  </a:lnTo>
                  <a:lnTo>
                    <a:pt x="208" y="421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30"/>
                  </a:lnTo>
                  <a:lnTo>
                    <a:pt x="208" y="430"/>
                  </a:lnTo>
                  <a:lnTo>
                    <a:pt x="208" y="430"/>
                  </a:lnTo>
                  <a:lnTo>
                    <a:pt x="208" y="430"/>
                  </a:lnTo>
                  <a:lnTo>
                    <a:pt x="208" y="430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4" y="434"/>
                  </a:lnTo>
                  <a:lnTo>
                    <a:pt x="204" y="434"/>
                  </a:lnTo>
                  <a:lnTo>
                    <a:pt x="204" y="434"/>
                  </a:lnTo>
                  <a:lnTo>
                    <a:pt x="204" y="434"/>
                  </a:lnTo>
                  <a:lnTo>
                    <a:pt x="208" y="434"/>
                  </a:lnTo>
                  <a:lnTo>
                    <a:pt x="204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4"/>
                  </a:lnTo>
                  <a:lnTo>
                    <a:pt x="208" y="439"/>
                  </a:lnTo>
                  <a:lnTo>
                    <a:pt x="208" y="439"/>
                  </a:lnTo>
                  <a:lnTo>
                    <a:pt x="208" y="439"/>
                  </a:lnTo>
                  <a:lnTo>
                    <a:pt x="208" y="439"/>
                  </a:lnTo>
                  <a:lnTo>
                    <a:pt x="213" y="439"/>
                  </a:lnTo>
                  <a:lnTo>
                    <a:pt x="213" y="439"/>
                  </a:lnTo>
                  <a:lnTo>
                    <a:pt x="213" y="439"/>
                  </a:lnTo>
                  <a:lnTo>
                    <a:pt x="217" y="439"/>
                  </a:lnTo>
                  <a:lnTo>
                    <a:pt x="221" y="439"/>
                  </a:lnTo>
                  <a:lnTo>
                    <a:pt x="221" y="439"/>
                  </a:lnTo>
                  <a:lnTo>
                    <a:pt x="221" y="439"/>
                  </a:lnTo>
                  <a:lnTo>
                    <a:pt x="221" y="439"/>
                  </a:lnTo>
                  <a:lnTo>
                    <a:pt x="221" y="439"/>
                  </a:lnTo>
                  <a:lnTo>
                    <a:pt x="221" y="439"/>
                  </a:lnTo>
                  <a:lnTo>
                    <a:pt x="221" y="439"/>
                  </a:lnTo>
                  <a:lnTo>
                    <a:pt x="226" y="439"/>
                  </a:lnTo>
                  <a:lnTo>
                    <a:pt x="230" y="439"/>
                  </a:lnTo>
                  <a:lnTo>
                    <a:pt x="230" y="439"/>
                  </a:lnTo>
                  <a:lnTo>
                    <a:pt x="235" y="439"/>
                  </a:lnTo>
                  <a:lnTo>
                    <a:pt x="235" y="443"/>
                  </a:lnTo>
                  <a:lnTo>
                    <a:pt x="235" y="439"/>
                  </a:lnTo>
                  <a:lnTo>
                    <a:pt x="235" y="439"/>
                  </a:lnTo>
                  <a:lnTo>
                    <a:pt x="235" y="439"/>
                  </a:lnTo>
                  <a:lnTo>
                    <a:pt x="235" y="439"/>
                  </a:lnTo>
                  <a:lnTo>
                    <a:pt x="235" y="439"/>
                  </a:lnTo>
                  <a:lnTo>
                    <a:pt x="239" y="439"/>
                  </a:lnTo>
                  <a:lnTo>
                    <a:pt x="239" y="439"/>
                  </a:lnTo>
                  <a:lnTo>
                    <a:pt x="239" y="439"/>
                  </a:lnTo>
                  <a:lnTo>
                    <a:pt x="239" y="439"/>
                  </a:lnTo>
                  <a:lnTo>
                    <a:pt x="244" y="439"/>
                  </a:lnTo>
                  <a:lnTo>
                    <a:pt x="244" y="439"/>
                  </a:lnTo>
                  <a:lnTo>
                    <a:pt x="244" y="439"/>
                  </a:lnTo>
                  <a:lnTo>
                    <a:pt x="244" y="439"/>
                  </a:lnTo>
                  <a:lnTo>
                    <a:pt x="244" y="443"/>
                  </a:lnTo>
                  <a:lnTo>
                    <a:pt x="248" y="443"/>
                  </a:lnTo>
                  <a:lnTo>
                    <a:pt x="252" y="443"/>
                  </a:lnTo>
                  <a:lnTo>
                    <a:pt x="252" y="443"/>
                  </a:lnTo>
                  <a:lnTo>
                    <a:pt x="252" y="443"/>
                  </a:lnTo>
                  <a:lnTo>
                    <a:pt x="257" y="443"/>
                  </a:lnTo>
                  <a:lnTo>
                    <a:pt x="257" y="443"/>
                  </a:lnTo>
                  <a:lnTo>
                    <a:pt x="257" y="443"/>
                  </a:lnTo>
                  <a:lnTo>
                    <a:pt x="257" y="443"/>
                  </a:lnTo>
                  <a:lnTo>
                    <a:pt x="257" y="443"/>
                  </a:lnTo>
                  <a:lnTo>
                    <a:pt x="261" y="448"/>
                  </a:lnTo>
                  <a:lnTo>
                    <a:pt x="261" y="448"/>
                  </a:lnTo>
                  <a:lnTo>
                    <a:pt x="261" y="448"/>
                  </a:lnTo>
                  <a:lnTo>
                    <a:pt x="261" y="448"/>
                  </a:lnTo>
                  <a:lnTo>
                    <a:pt x="261" y="448"/>
                  </a:lnTo>
                  <a:lnTo>
                    <a:pt x="266" y="448"/>
                  </a:lnTo>
                  <a:lnTo>
                    <a:pt x="270" y="448"/>
                  </a:lnTo>
                  <a:lnTo>
                    <a:pt x="270" y="448"/>
                  </a:lnTo>
                  <a:lnTo>
                    <a:pt x="270" y="448"/>
                  </a:lnTo>
                  <a:lnTo>
                    <a:pt x="270" y="448"/>
                  </a:lnTo>
                  <a:lnTo>
                    <a:pt x="270" y="448"/>
                  </a:lnTo>
                  <a:lnTo>
                    <a:pt x="270" y="448"/>
                  </a:lnTo>
                  <a:lnTo>
                    <a:pt x="270" y="448"/>
                  </a:lnTo>
                  <a:lnTo>
                    <a:pt x="270" y="452"/>
                  </a:lnTo>
                  <a:lnTo>
                    <a:pt x="270" y="452"/>
                  </a:lnTo>
                  <a:lnTo>
                    <a:pt x="270" y="452"/>
                  </a:lnTo>
                  <a:lnTo>
                    <a:pt x="270" y="452"/>
                  </a:lnTo>
                  <a:lnTo>
                    <a:pt x="270" y="452"/>
                  </a:lnTo>
                  <a:lnTo>
                    <a:pt x="270" y="456"/>
                  </a:lnTo>
                  <a:lnTo>
                    <a:pt x="270" y="456"/>
                  </a:lnTo>
                  <a:lnTo>
                    <a:pt x="270" y="456"/>
                  </a:lnTo>
                  <a:lnTo>
                    <a:pt x="270" y="456"/>
                  </a:lnTo>
                  <a:lnTo>
                    <a:pt x="275" y="456"/>
                  </a:lnTo>
                  <a:lnTo>
                    <a:pt x="283" y="456"/>
                  </a:lnTo>
                  <a:lnTo>
                    <a:pt x="283" y="456"/>
                  </a:lnTo>
                  <a:lnTo>
                    <a:pt x="283" y="456"/>
                  </a:lnTo>
                  <a:lnTo>
                    <a:pt x="288" y="456"/>
                  </a:lnTo>
                  <a:lnTo>
                    <a:pt x="288" y="456"/>
                  </a:lnTo>
                  <a:lnTo>
                    <a:pt x="288" y="456"/>
                  </a:lnTo>
                  <a:lnTo>
                    <a:pt x="288" y="456"/>
                  </a:lnTo>
                  <a:lnTo>
                    <a:pt x="288" y="456"/>
                  </a:lnTo>
                  <a:lnTo>
                    <a:pt x="288" y="456"/>
                  </a:lnTo>
                  <a:lnTo>
                    <a:pt x="288" y="456"/>
                  </a:lnTo>
                  <a:lnTo>
                    <a:pt x="288" y="456"/>
                  </a:lnTo>
                  <a:lnTo>
                    <a:pt x="292" y="456"/>
                  </a:lnTo>
                  <a:lnTo>
                    <a:pt x="292" y="456"/>
                  </a:lnTo>
                  <a:lnTo>
                    <a:pt x="292" y="456"/>
                  </a:lnTo>
                  <a:lnTo>
                    <a:pt x="297" y="456"/>
                  </a:lnTo>
                  <a:lnTo>
                    <a:pt x="297" y="456"/>
                  </a:lnTo>
                  <a:lnTo>
                    <a:pt x="297" y="456"/>
                  </a:lnTo>
                  <a:lnTo>
                    <a:pt x="301" y="456"/>
                  </a:lnTo>
                  <a:lnTo>
                    <a:pt x="301" y="452"/>
                  </a:lnTo>
                  <a:lnTo>
                    <a:pt x="301" y="452"/>
                  </a:lnTo>
                  <a:lnTo>
                    <a:pt x="301" y="452"/>
                  </a:lnTo>
                  <a:lnTo>
                    <a:pt x="306" y="452"/>
                  </a:lnTo>
                  <a:lnTo>
                    <a:pt x="310" y="456"/>
                  </a:lnTo>
                  <a:lnTo>
                    <a:pt x="310" y="452"/>
                  </a:lnTo>
                  <a:lnTo>
                    <a:pt x="310" y="452"/>
                  </a:lnTo>
                  <a:lnTo>
                    <a:pt x="314" y="452"/>
                  </a:lnTo>
                  <a:lnTo>
                    <a:pt x="319" y="452"/>
                  </a:lnTo>
                  <a:lnTo>
                    <a:pt x="328" y="452"/>
                  </a:lnTo>
                  <a:lnTo>
                    <a:pt x="332" y="452"/>
                  </a:lnTo>
                  <a:lnTo>
                    <a:pt x="332" y="452"/>
                  </a:lnTo>
                  <a:lnTo>
                    <a:pt x="332" y="452"/>
                  </a:lnTo>
                  <a:lnTo>
                    <a:pt x="337" y="452"/>
                  </a:lnTo>
                  <a:lnTo>
                    <a:pt x="337" y="452"/>
                  </a:lnTo>
                  <a:lnTo>
                    <a:pt x="337" y="452"/>
                  </a:lnTo>
                  <a:lnTo>
                    <a:pt x="337" y="452"/>
                  </a:lnTo>
                  <a:lnTo>
                    <a:pt x="337" y="452"/>
                  </a:lnTo>
                  <a:lnTo>
                    <a:pt x="337" y="452"/>
                  </a:lnTo>
                  <a:lnTo>
                    <a:pt x="337" y="452"/>
                  </a:lnTo>
                  <a:lnTo>
                    <a:pt x="341" y="452"/>
                  </a:lnTo>
                  <a:lnTo>
                    <a:pt x="341" y="452"/>
                  </a:lnTo>
                  <a:lnTo>
                    <a:pt x="341" y="452"/>
                  </a:lnTo>
                  <a:lnTo>
                    <a:pt x="341" y="452"/>
                  </a:lnTo>
                  <a:lnTo>
                    <a:pt x="341" y="452"/>
                  </a:lnTo>
                  <a:lnTo>
                    <a:pt x="345" y="452"/>
                  </a:lnTo>
                  <a:lnTo>
                    <a:pt x="345" y="452"/>
                  </a:lnTo>
                  <a:lnTo>
                    <a:pt x="345" y="452"/>
                  </a:lnTo>
                  <a:lnTo>
                    <a:pt x="350" y="452"/>
                  </a:lnTo>
                  <a:lnTo>
                    <a:pt x="350" y="452"/>
                  </a:lnTo>
                  <a:lnTo>
                    <a:pt x="350" y="452"/>
                  </a:lnTo>
                  <a:lnTo>
                    <a:pt x="350" y="452"/>
                  </a:lnTo>
                  <a:lnTo>
                    <a:pt x="350" y="448"/>
                  </a:lnTo>
                  <a:lnTo>
                    <a:pt x="350" y="448"/>
                  </a:lnTo>
                  <a:lnTo>
                    <a:pt x="350" y="448"/>
                  </a:lnTo>
                  <a:lnTo>
                    <a:pt x="350" y="448"/>
                  </a:lnTo>
                  <a:lnTo>
                    <a:pt x="350" y="448"/>
                  </a:lnTo>
                  <a:lnTo>
                    <a:pt x="350" y="443"/>
                  </a:lnTo>
                  <a:lnTo>
                    <a:pt x="350" y="443"/>
                  </a:lnTo>
                  <a:lnTo>
                    <a:pt x="350" y="443"/>
                  </a:lnTo>
                  <a:lnTo>
                    <a:pt x="354" y="443"/>
                  </a:lnTo>
                  <a:lnTo>
                    <a:pt x="354" y="439"/>
                  </a:lnTo>
                  <a:lnTo>
                    <a:pt x="354" y="443"/>
                  </a:lnTo>
                  <a:lnTo>
                    <a:pt x="350" y="439"/>
                  </a:lnTo>
                  <a:lnTo>
                    <a:pt x="350" y="439"/>
                  </a:lnTo>
                  <a:lnTo>
                    <a:pt x="350" y="434"/>
                  </a:lnTo>
                  <a:lnTo>
                    <a:pt x="354" y="434"/>
                  </a:lnTo>
                  <a:moveTo>
                    <a:pt x="195" y="394"/>
                  </a:moveTo>
                  <a:lnTo>
                    <a:pt x="195" y="394"/>
                  </a:lnTo>
                  <a:lnTo>
                    <a:pt x="195" y="394"/>
                  </a:lnTo>
                  <a:lnTo>
                    <a:pt x="195" y="394"/>
                  </a:lnTo>
                  <a:lnTo>
                    <a:pt x="195" y="394"/>
                  </a:lnTo>
                  <a:lnTo>
                    <a:pt x="195" y="394"/>
                  </a:lnTo>
                  <a:lnTo>
                    <a:pt x="190" y="394"/>
                  </a:lnTo>
                  <a:lnTo>
                    <a:pt x="195" y="394"/>
                  </a:lnTo>
                  <a:lnTo>
                    <a:pt x="195" y="399"/>
                  </a:lnTo>
                  <a:lnTo>
                    <a:pt x="195" y="399"/>
                  </a:lnTo>
                  <a:lnTo>
                    <a:pt x="195" y="399"/>
                  </a:lnTo>
                  <a:lnTo>
                    <a:pt x="195" y="399"/>
                  </a:lnTo>
                  <a:lnTo>
                    <a:pt x="195" y="399"/>
                  </a:lnTo>
                  <a:lnTo>
                    <a:pt x="195" y="399"/>
                  </a:lnTo>
                  <a:lnTo>
                    <a:pt x="195" y="394"/>
                  </a:lnTo>
                  <a:moveTo>
                    <a:pt x="425" y="381"/>
                  </a:moveTo>
                  <a:lnTo>
                    <a:pt x="425" y="381"/>
                  </a:lnTo>
                  <a:lnTo>
                    <a:pt x="425" y="381"/>
                  </a:lnTo>
                  <a:lnTo>
                    <a:pt x="425" y="381"/>
                  </a:lnTo>
                  <a:lnTo>
                    <a:pt x="430" y="381"/>
                  </a:lnTo>
                  <a:lnTo>
                    <a:pt x="430" y="381"/>
                  </a:lnTo>
                  <a:lnTo>
                    <a:pt x="430" y="381"/>
                  </a:lnTo>
                  <a:lnTo>
                    <a:pt x="430" y="386"/>
                  </a:lnTo>
                  <a:lnTo>
                    <a:pt x="430" y="386"/>
                  </a:lnTo>
                  <a:lnTo>
                    <a:pt x="430" y="390"/>
                  </a:lnTo>
                  <a:lnTo>
                    <a:pt x="425" y="390"/>
                  </a:lnTo>
                  <a:lnTo>
                    <a:pt x="430" y="394"/>
                  </a:lnTo>
                  <a:lnTo>
                    <a:pt x="430" y="394"/>
                  </a:lnTo>
                  <a:lnTo>
                    <a:pt x="430" y="394"/>
                  </a:lnTo>
                  <a:lnTo>
                    <a:pt x="430" y="394"/>
                  </a:lnTo>
                  <a:lnTo>
                    <a:pt x="434" y="394"/>
                  </a:lnTo>
                  <a:lnTo>
                    <a:pt x="434" y="394"/>
                  </a:lnTo>
                  <a:lnTo>
                    <a:pt x="438" y="390"/>
                  </a:lnTo>
                  <a:lnTo>
                    <a:pt x="438" y="386"/>
                  </a:lnTo>
                  <a:lnTo>
                    <a:pt x="438" y="386"/>
                  </a:lnTo>
                  <a:lnTo>
                    <a:pt x="443" y="386"/>
                  </a:lnTo>
                  <a:lnTo>
                    <a:pt x="443" y="386"/>
                  </a:lnTo>
                  <a:lnTo>
                    <a:pt x="443" y="386"/>
                  </a:lnTo>
                  <a:lnTo>
                    <a:pt x="447" y="386"/>
                  </a:lnTo>
                  <a:lnTo>
                    <a:pt x="447" y="386"/>
                  </a:lnTo>
                  <a:lnTo>
                    <a:pt x="447" y="386"/>
                  </a:lnTo>
                  <a:lnTo>
                    <a:pt x="447" y="386"/>
                  </a:lnTo>
                  <a:lnTo>
                    <a:pt x="447" y="381"/>
                  </a:lnTo>
                  <a:lnTo>
                    <a:pt x="447" y="381"/>
                  </a:lnTo>
                  <a:lnTo>
                    <a:pt x="447" y="381"/>
                  </a:lnTo>
                  <a:lnTo>
                    <a:pt x="447" y="381"/>
                  </a:lnTo>
                  <a:lnTo>
                    <a:pt x="447" y="381"/>
                  </a:lnTo>
                  <a:lnTo>
                    <a:pt x="447" y="381"/>
                  </a:lnTo>
                  <a:lnTo>
                    <a:pt x="447" y="381"/>
                  </a:lnTo>
                  <a:lnTo>
                    <a:pt x="447" y="377"/>
                  </a:lnTo>
                  <a:lnTo>
                    <a:pt x="447" y="377"/>
                  </a:lnTo>
                  <a:lnTo>
                    <a:pt x="447" y="377"/>
                  </a:lnTo>
                  <a:lnTo>
                    <a:pt x="447" y="377"/>
                  </a:lnTo>
                  <a:lnTo>
                    <a:pt x="447" y="377"/>
                  </a:lnTo>
                  <a:lnTo>
                    <a:pt x="447" y="377"/>
                  </a:lnTo>
                  <a:lnTo>
                    <a:pt x="447" y="377"/>
                  </a:lnTo>
                  <a:lnTo>
                    <a:pt x="447" y="377"/>
                  </a:lnTo>
                  <a:lnTo>
                    <a:pt x="447" y="377"/>
                  </a:lnTo>
                  <a:lnTo>
                    <a:pt x="452" y="372"/>
                  </a:lnTo>
                  <a:lnTo>
                    <a:pt x="452" y="372"/>
                  </a:lnTo>
                  <a:lnTo>
                    <a:pt x="452" y="372"/>
                  </a:lnTo>
                  <a:lnTo>
                    <a:pt x="452" y="372"/>
                  </a:lnTo>
                  <a:lnTo>
                    <a:pt x="452" y="372"/>
                  </a:lnTo>
                  <a:lnTo>
                    <a:pt x="452" y="368"/>
                  </a:lnTo>
                  <a:lnTo>
                    <a:pt x="452" y="368"/>
                  </a:lnTo>
                  <a:lnTo>
                    <a:pt x="452" y="368"/>
                  </a:lnTo>
                  <a:lnTo>
                    <a:pt x="452" y="363"/>
                  </a:lnTo>
                  <a:lnTo>
                    <a:pt x="452" y="363"/>
                  </a:lnTo>
                  <a:lnTo>
                    <a:pt x="456" y="363"/>
                  </a:lnTo>
                  <a:lnTo>
                    <a:pt x="452" y="363"/>
                  </a:lnTo>
                  <a:lnTo>
                    <a:pt x="456" y="359"/>
                  </a:lnTo>
                  <a:lnTo>
                    <a:pt x="456" y="359"/>
                  </a:lnTo>
                  <a:lnTo>
                    <a:pt x="456" y="359"/>
                  </a:lnTo>
                  <a:lnTo>
                    <a:pt x="452" y="359"/>
                  </a:lnTo>
                  <a:lnTo>
                    <a:pt x="452" y="359"/>
                  </a:lnTo>
                  <a:lnTo>
                    <a:pt x="452" y="359"/>
                  </a:lnTo>
                  <a:lnTo>
                    <a:pt x="447" y="359"/>
                  </a:lnTo>
                  <a:lnTo>
                    <a:pt x="447" y="363"/>
                  </a:lnTo>
                  <a:lnTo>
                    <a:pt x="447" y="363"/>
                  </a:lnTo>
                  <a:lnTo>
                    <a:pt x="438" y="363"/>
                  </a:lnTo>
                  <a:lnTo>
                    <a:pt x="438" y="368"/>
                  </a:lnTo>
                  <a:lnTo>
                    <a:pt x="434" y="368"/>
                  </a:lnTo>
                  <a:lnTo>
                    <a:pt x="434" y="368"/>
                  </a:lnTo>
                  <a:lnTo>
                    <a:pt x="434" y="368"/>
                  </a:lnTo>
                  <a:lnTo>
                    <a:pt x="434" y="372"/>
                  </a:lnTo>
                  <a:lnTo>
                    <a:pt x="434" y="372"/>
                  </a:lnTo>
                  <a:lnTo>
                    <a:pt x="430" y="372"/>
                  </a:lnTo>
                  <a:lnTo>
                    <a:pt x="430" y="372"/>
                  </a:lnTo>
                  <a:lnTo>
                    <a:pt x="430" y="372"/>
                  </a:lnTo>
                  <a:lnTo>
                    <a:pt x="430" y="372"/>
                  </a:lnTo>
                  <a:lnTo>
                    <a:pt x="430" y="372"/>
                  </a:lnTo>
                  <a:lnTo>
                    <a:pt x="430" y="372"/>
                  </a:lnTo>
                  <a:lnTo>
                    <a:pt x="430" y="377"/>
                  </a:lnTo>
                  <a:lnTo>
                    <a:pt x="430" y="377"/>
                  </a:lnTo>
                  <a:lnTo>
                    <a:pt x="430" y="377"/>
                  </a:lnTo>
                  <a:lnTo>
                    <a:pt x="430" y="377"/>
                  </a:lnTo>
                  <a:lnTo>
                    <a:pt x="430" y="377"/>
                  </a:lnTo>
                  <a:lnTo>
                    <a:pt x="430" y="377"/>
                  </a:lnTo>
                  <a:moveTo>
                    <a:pt x="399" y="350"/>
                  </a:moveTo>
                  <a:lnTo>
                    <a:pt x="399" y="350"/>
                  </a:lnTo>
                  <a:lnTo>
                    <a:pt x="394" y="350"/>
                  </a:lnTo>
                  <a:lnTo>
                    <a:pt x="394" y="350"/>
                  </a:lnTo>
                  <a:lnTo>
                    <a:pt x="399" y="350"/>
                  </a:lnTo>
                  <a:lnTo>
                    <a:pt x="399" y="350"/>
                  </a:lnTo>
                  <a:lnTo>
                    <a:pt x="399" y="350"/>
                  </a:lnTo>
                  <a:lnTo>
                    <a:pt x="399" y="350"/>
                  </a:lnTo>
                  <a:lnTo>
                    <a:pt x="399" y="350"/>
                  </a:lnTo>
                  <a:lnTo>
                    <a:pt x="399" y="350"/>
                  </a:lnTo>
                  <a:lnTo>
                    <a:pt x="399" y="350"/>
                  </a:lnTo>
                  <a:lnTo>
                    <a:pt x="399" y="350"/>
                  </a:lnTo>
                  <a:moveTo>
                    <a:pt x="430" y="350"/>
                  </a:moveTo>
                  <a:lnTo>
                    <a:pt x="430" y="350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5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50"/>
                  </a:lnTo>
                  <a:lnTo>
                    <a:pt x="434" y="346"/>
                  </a:lnTo>
                  <a:lnTo>
                    <a:pt x="434" y="346"/>
                  </a:lnTo>
                  <a:lnTo>
                    <a:pt x="434" y="346"/>
                  </a:lnTo>
                  <a:lnTo>
                    <a:pt x="434" y="346"/>
                  </a:lnTo>
                  <a:lnTo>
                    <a:pt x="434" y="346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moveTo>
                    <a:pt x="115" y="341"/>
                  </a:moveTo>
                  <a:lnTo>
                    <a:pt x="111" y="341"/>
                  </a:lnTo>
                  <a:lnTo>
                    <a:pt x="111" y="341"/>
                  </a:lnTo>
                  <a:lnTo>
                    <a:pt x="111" y="341"/>
                  </a:lnTo>
                  <a:lnTo>
                    <a:pt x="115" y="341"/>
                  </a:lnTo>
                  <a:lnTo>
                    <a:pt x="115" y="341"/>
                  </a:lnTo>
                  <a:lnTo>
                    <a:pt x="115" y="341"/>
                  </a:lnTo>
                  <a:lnTo>
                    <a:pt x="115" y="341"/>
                  </a:lnTo>
                  <a:lnTo>
                    <a:pt x="115" y="341"/>
                  </a:lnTo>
                  <a:lnTo>
                    <a:pt x="115" y="341"/>
                  </a:lnTo>
                  <a:lnTo>
                    <a:pt x="115" y="341"/>
                  </a:lnTo>
                  <a:lnTo>
                    <a:pt x="115" y="341"/>
                  </a:lnTo>
                  <a:lnTo>
                    <a:pt x="115" y="341"/>
                  </a:lnTo>
                  <a:moveTo>
                    <a:pt x="297" y="341"/>
                  </a:moveTo>
                  <a:lnTo>
                    <a:pt x="297" y="341"/>
                  </a:lnTo>
                  <a:lnTo>
                    <a:pt x="297" y="341"/>
                  </a:lnTo>
                  <a:lnTo>
                    <a:pt x="301" y="346"/>
                  </a:lnTo>
                  <a:lnTo>
                    <a:pt x="306" y="346"/>
                  </a:lnTo>
                  <a:lnTo>
                    <a:pt x="306" y="346"/>
                  </a:lnTo>
                  <a:lnTo>
                    <a:pt x="306" y="346"/>
                  </a:lnTo>
                  <a:lnTo>
                    <a:pt x="306" y="341"/>
                  </a:lnTo>
                  <a:lnTo>
                    <a:pt x="306" y="341"/>
                  </a:lnTo>
                  <a:lnTo>
                    <a:pt x="306" y="341"/>
                  </a:lnTo>
                  <a:lnTo>
                    <a:pt x="306" y="341"/>
                  </a:lnTo>
                  <a:lnTo>
                    <a:pt x="306" y="341"/>
                  </a:lnTo>
                  <a:lnTo>
                    <a:pt x="306" y="341"/>
                  </a:lnTo>
                  <a:lnTo>
                    <a:pt x="301" y="341"/>
                  </a:lnTo>
                  <a:lnTo>
                    <a:pt x="301" y="341"/>
                  </a:lnTo>
                  <a:lnTo>
                    <a:pt x="301" y="341"/>
                  </a:lnTo>
                  <a:lnTo>
                    <a:pt x="301" y="337"/>
                  </a:lnTo>
                  <a:lnTo>
                    <a:pt x="301" y="337"/>
                  </a:lnTo>
                  <a:lnTo>
                    <a:pt x="297" y="337"/>
                  </a:lnTo>
                  <a:lnTo>
                    <a:pt x="297" y="337"/>
                  </a:lnTo>
                  <a:lnTo>
                    <a:pt x="297" y="341"/>
                  </a:lnTo>
                  <a:lnTo>
                    <a:pt x="297" y="341"/>
                  </a:lnTo>
                  <a:lnTo>
                    <a:pt x="297" y="341"/>
                  </a:lnTo>
                  <a:lnTo>
                    <a:pt x="297" y="341"/>
                  </a:lnTo>
                  <a:lnTo>
                    <a:pt x="297" y="341"/>
                  </a:lnTo>
                  <a:lnTo>
                    <a:pt x="297" y="341"/>
                  </a:lnTo>
                  <a:lnTo>
                    <a:pt x="297" y="341"/>
                  </a:lnTo>
                  <a:moveTo>
                    <a:pt x="111" y="337"/>
                  </a:move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41"/>
                  </a:lnTo>
                  <a:lnTo>
                    <a:pt x="111" y="341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moveTo>
                    <a:pt x="394" y="341"/>
                  </a:moveTo>
                  <a:lnTo>
                    <a:pt x="394" y="341"/>
                  </a:lnTo>
                  <a:lnTo>
                    <a:pt x="399" y="337"/>
                  </a:lnTo>
                  <a:lnTo>
                    <a:pt x="399" y="337"/>
                  </a:lnTo>
                  <a:lnTo>
                    <a:pt x="407" y="332"/>
                  </a:lnTo>
                  <a:lnTo>
                    <a:pt x="407" y="332"/>
                  </a:lnTo>
                  <a:lnTo>
                    <a:pt x="407" y="332"/>
                  </a:lnTo>
                  <a:lnTo>
                    <a:pt x="403" y="332"/>
                  </a:lnTo>
                  <a:lnTo>
                    <a:pt x="403" y="328"/>
                  </a:lnTo>
                  <a:lnTo>
                    <a:pt x="403" y="328"/>
                  </a:lnTo>
                  <a:lnTo>
                    <a:pt x="399" y="332"/>
                  </a:lnTo>
                  <a:lnTo>
                    <a:pt x="394" y="332"/>
                  </a:lnTo>
                  <a:lnTo>
                    <a:pt x="394" y="332"/>
                  </a:lnTo>
                  <a:lnTo>
                    <a:pt x="390" y="337"/>
                  </a:lnTo>
                  <a:lnTo>
                    <a:pt x="390" y="337"/>
                  </a:lnTo>
                  <a:lnTo>
                    <a:pt x="390" y="337"/>
                  </a:lnTo>
                  <a:lnTo>
                    <a:pt x="390" y="337"/>
                  </a:lnTo>
                  <a:lnTo>
                    <a:pt x="385" y="337"/>
                  </a:lnTo>
                  <a:lnTo>
                    <a:pt x="385" y="337"/>
                  </a:lnTo>
                  <a:lnTo>
                    <a:pt x="385" y="337"/>
                  </a:lnTo>
                  <a:lnTo>
                    <a:pt x="385" y="337"/>
                  </a:lnTo>
                  <a:lnTo>
                    <a:pt x="385" y="341"/>
                  </a:lnTo>
                  <a:lnTo>
                    <a:pt x="385" y="337"/>
                  </a:lnTo>
                  <a:lnTo>
                    <a:pt x="385" y="341"/>
                  </a:lnTo>
                  <a:lnTo>
                    <a:pt x="385" y="341"/>
                  </a:lnTo>
                  <a:lnTo>
                    <a:pt x="385" y="341"/>
                  </a:lnTo>
                  <a:lnTo>
                    <a:pt x="385" y="346"/>
                  </a:lnTo>
                  <a:lnTo>
                    <a:pt x="385" y="346"/>
                  </a:lnTo>
                  <a:lnTo>
                    <a:pt x="390" y="346"/>
                  </a:lnTo>
                  <a:lnTo>
                    <a:pt x="385" y="346"/>
                  </a:lnTo>
                  <a:lnTo>
                    <a:pt x="385" y="341"/>
                  </a:lnTo>
                  <a:lnTo>
                    <a:pt x="390" y="341"/>
                  </a:lnTo>
                  <a:lnTo>
                    <a:pt x="390" y="341"/>
                  </a:lnTo>
                  <a:lnTo>
                    <a:pt x="390" y="341"/>
                  </a:lnTo>
                  <a:lnTo>
                    <a:pt x="390" y="341"/>
                  </a:lnTo>
                  <a:lnTo>
                    <a:pt x="390" y="337"/>
                  </a:lnTo>
                  <a:lnTo>
                    <a:pt x="394" y="337"/>
                  </a:lnTo>
                  <a:lnTo>
                    <a:pt x="394" y="341"/>
                  </a:lnTo>
                  <a:lnTo>
                    <a:pt x="394" y="341"/>
                  </a:lnTo>
                  <a:moveTo>
                    <a:pt x="288" y="324"/>
                  </a:moveTo>
                  <a:lnTo>
                    <a:pt x="288" y="328"/>
                  </a:lnTo>
                  <a:lnTo>
                    <a:pt x="288" y="328"/>
                  </a:lnTo>
                  <a:lnTo>
                    <a:pt x="288" y="328"/>
                  </a:lnTo>
                  <a:lnTo>
                    <a:pt x="288" y="324"/>
                  </a:lnTo>
                  <a:lnTo>
                    <a:pt x="288" y="324"/>
                  </a:lnTo>
                  <a:lnTo>
                    <a:pt x="288" y="324"/>
                  </a:lnTo>
                  <a:lnTo>
                    <a:pt x="288" y="319"/>
                  </a:lnTo>
                  <a:lnTo>
                    <a:pt x="288" y="319"/>
                  </a:lnTo>
                  <a:lnTo>
                    <a:pt x="288" y="319"/>
                  </a:lnTo>
                  <a:lnTo>
                    <a:pt x="283" y="324"/>
                  </a:lnTo>
                  <a:lnTo>
                    <a:pt x="283" y="324"/>
                  </a:lnTo>
                  <a:lnTo>
                    <a:pt x="283" y="324"/>
                  </a:lnTo>
                  <a:lnTo>
                    <a:pt x="288" y="324"/>
                  </a:lnTo>
                  <a:moveTo>
                    <a:pt x="266" y="324"/>
                  </a:moveTo>
                  <a:lnTo>
                    <a:pt x="266" y="328"/>
                  </a:lnTo>
                  <a:lnTo>
                    <a:pt x="266" y="328"/>
                  </a:lnTo>
                  <a:lnTo>
                    <a:pt x="270" y="328"/>
                  </a:lnTo>
                  <a:lnTo>
                    <a:pt x="270" y="328"/>
                  </a:lnTo>
                  <a:lnTo>
                    <a:pt x="270" y="328"/>
                  </a:lnTo>
                  <a:lnTo>
                    <a:pt x="270" y="328"/>
                  </a:lnTo>
                  <a:lnTo>
                    <a:pt x="270" y="328"/>
                  </a:lnTo>
                  <a:lnTo>
                    <a:pt x="270" y="328"/>
                  </a:lnTo>
                  <a:lnTo>
                    <a:pt x="270" y="324"/>
                  </a:lnTo>
                  <a:lnTo>
                    <a:pt x="270" y="324"/>
                  </a:lnTo>
                  <a:lnTo>
                    <a:pt x="270" y="319"/>
                  </a:lnTo>
                  <a:lnTo>
                    <a:pt x="266" y="319"/>
                  </a:lnTo>
                  <a:lnTo>
                    <a:pt x="266" y="324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6" y="319"/>
                  </a:lnTo>
                  <a:lnTo>
                    <a:pt x="266" y="324"/>
                  </a:lnTo>
                  <a:lnTo>
                    <a:pt x="266" y="324"/>
                  </a:lnTo>
                  <a:lnTo>
                    <a:pt x="266" y="324"/>
                  </a:lnTo>
                  <a:lnTo>
                    <a:pt x="266" y="324"/>
                  </a:lnTo>
                  <a:lnTo>
                    <a:pt x="266" y="324"/>
                  </a:lnTo>
                  <a:lnTo>
                    <a:pt x="266" y="324"/>
                  </a:lnTo>
                  <a:moveTo>
                    <a:pt x="385" y="328"/>
                  </a:moveTo>
                  <a:lnTo>
                    <a:pt x="385" y="328"/>
                  </a:lnTo>
                  <a:lnTo>
                    <a:pt x="385" y="328"/>
                  </a:lnTo>
                  <a:lnTo>
                    <a:pt x="385" y="328"/>
                  </a:lnTo>
                  <a:lnTo>
                    <a:pt x="385" y="328"/>
                  </a:lnTo>
                  <a:lnTo>
                    <a:pt x="385" y="328"/>
                  </a:lnTo>
                  <a:lnTo>
                    <a:pt x="385" y="328"/>
                  </a:lnTo>
                  <a:lnTo>
                    <a:pt x="385" y="328"/>
                  </a:lnTo>
                  <a:lnTo>
                    <a:pt x="385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8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90" y="319"/>
                  </a:lnTo>
                  <a:lnTo>
                    <a:pt x="390" y="319"/>
                  </a:lnTo>
                  <a:lnTo>
                    <a:pt x="390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19"/>
                  </a:lnTo>
                  <a:lnTo>
                    <a:pt x="385" y="324"/>
                  </a:lnTo>
                  <a:lnTo>
                    <a:pt x="385" y="324"/>
                  </a:lnTo>
                  <a:lnTo>
                    <a:pt x="385" y="324"/>
                  </a:lnTo>
                  <a:lnTo>
                    <a:pt x="385" y="324"/>
                  </a:lnTo>
                  <a:lnTo>
                    <a:pt x="385" y="324"/>
                  </a:lnTo>
                  <a:lnTo>
                    <a:pt x="385" y="324"/>
                  </a:lnTo>
                  <a:lnTo>
                    <a:pt x="385" y="324"/>
                  </a:lnTo>
                  <a:lnTo>
                    <a:pt x="385" y="324"/>
                  </a:lnTo>
                  <a:lnTo>
                    <a:pt x="385" y="328"/>
                  </a:lnTo>
                  <a:lnTo>
                    <a:pt x="385" y="328"/>
                  </a:lnTo>
                  <a:moveTo>
                    <a:pt x="328" y="315"/>
                  </a:moveTo>
                  <a:lnTo>
                    <a:pt x="328" y="315"/>
                  </a:lnTo>
                  <a:lnTo>
                    <a:pt x="328" y="315"/>
                  </a:lnTo>
                  <a:lnTo>
                    <a:pt x="323" y="315"/>
                  </a:lnTo>
                  <a:lnTo>
                    <a:pt x="328" y="319"/>
                  </a:lnTo>
                  <a:lnTo>
                    <a:pt x="328" y="319"/>
                  </a:lnTo>
                  <a:lnTo>
                    <a:pt x="328" y="319"/>
                  </a:lnTo>
                  <a:lnTo>
                    <a:pt x="328" y="315"/>
                  </a:lnTo>
                  <a:lnTo>
                    <a:pt x="328" y="315"/>
                  </a:lnTo>
                  <a:lnTo>
                    <a:pt x="328" y="319"/>
                  </a:lnTo>
                  <a:lnTo>
                    <a:pt x="328" y="319"/>
                  </a:lnTo>
                  <a:lnTo>
                    <a:pt x="328" y="315"/>
                  </a:lnTo>
                  <a:lnTo>
                    <a:pt x="328" y="315"/>
                  </a:lnTo>
                  <a:lnTo>
                    <a:pt x="328" y="315"/>
                  </a:lnTo>
                  <a:lnTo>
                    <a:pt x="328" y="315"/>
                  </a:lnTo>
                  <a:lnTo>
                    <a:pt x="328" y="315"/>
                  </a:lnTo>
                  <a:lnTo>
                    <a:pt x="328" y="315"/>
                  </a:lnTo>
                  <a:moveTo>
                    <a:pt x="292" y="324"/>
                  </a:moveTo>
                  <a:lnTo>
                    <a:pt x="297" y="324"/>
                  </a:lnTo>
                  <a:lnTo>
                    <a:pt x="297" y="324"/>
                  </a:lnTo>
                  <a:lnTo>
                    <a:pt x="297" y="324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9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301" y="315"/>
                  </a:lnTo>
                  <a:lnTo>
                    <a:pt x="301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7" y="315"/>
                  </a:lnTo>
                  <a:lnTo>
                    <a:pt x="292" y="315"/>
                  </a:lnTo>
                  <a:lnTo>
                    <a:pt x="292" y="315"/>
                  </a:lnTo>
                  <a:lnTo>
                    <a:pt x="292" y="319"/>
                  </a:lnTo>
                  <a:lnTo>
                    <a:pt x="292" y="319"/>
                  </a:lnTo>
                  <a:lnTo>
                    <a:pt x="292" y="319"/>
                  </a:lnTo>
                  <a:lnTo>
                    <a:pt x="292" y="319"/>
                  </a:lnTo>
                  <a:lnTo>
                    <a:pt x="292" y="319"/>
                  </a:lnTo>
                  <a:lnTo>
                    <a:pt x="288" y="319"/>
                  </a:lnTo>
                  <a:lnTo>
                    <a:pt x="288" y="324"/>
                  </a:lnTo>
                  <a:lnTo>
                    <a:pt x="288" y="324"/>
                  </a:lnTo>
                  <a:lnTo>
                    <a:pt x="288" y="324"/>
                  </a:lnTo>
                  <a:lnTo>
                    <a:pt x="292" y="324"/>
                  </a:lnTo>
                  <a:lnTo>
                    <a:pt x="292" y="324"/>
                  </a:lnTo>
                  <a:lnTo>
                    <a:pt x="292" y="324"/>
                  </a:lnTo>
                  <a:lnTo>
                    <a:pt x="292" y="324"/>
                  </a:lnTo>
                  <a:lnTo>
                    <a:pt x="292" y="324"/>
                  </a:lnTo>
                  <a:moveTo>
                    <a:pt x="381" y="315"/>
                  </a:moveTo>
                  <a:lnTo>
                    <a:pt x="381" y="315"/>
                  </a:lnTo>
                  <a:lnTo>
                    <a:pt x="381" y="319"/>
                  </a:lnTo>
                  <a:lnTo>
                    <a:pt x="381" y="319"/>
                  </a:lnTo>
                  <a:lnTo>
                    <a:pt x="381" y="319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5" y="315"/>
                  </a:lnTo>
                  <a:lnTo>
                    <a:pt x="385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81" y="310"/>
                  </a:lnTo>
                  <a:lnTo>
                    <a:pt x="376" y="310"/>
                  </a:lnTo>
                  <a:lnTo>
                    <a:pt x="376" y="310"/>
                  </a:lnTo>
                  <a:lnTo>
                    <a:pt x="376" y="310"/>
                  </a:lnTo>
                  <a:lnTo>
                    <a:pt x="376" y="310"/>
                  </a:lnTo>
                  <a:lnTo>
                    <a:pt x="376" y="315"/>
                  </a:lnTo>
                  <a:lnTo>
                    <a:pt x="376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lnTo>
                    <a:pt x="381" y="315"/>
                  </a:lnTo>
                  <a:moveTo>
                    <a:pt x="310" y="328"/>
                  </a:moveTo>
                  <a:lnTo>
                    <a:pt x="310" y="324"/>
                  </a:lnTo>
                  <a:lnTo>
                    <a:pt x="314" y="324"/>
                  </a:lnTo>
                  <a:lnTo>
                    <a:pt x="314" y="324"/>
                  </a:lnTo>
                  <a:lnTo>
                    <a:pt x="314" y="324"/>
                  </a:lnTo>
                  <a:lnTo>
                    <a:pt x="314" y="319"/>
                  </a:lnTo>
                  <a:lnTo>
                    <a:pt x="314" y="319"/>
                  </a:lnTo>
                  <a:lnTo>
                    <a:pt x="314" y="315"/>
                  </a:lnTo>
                  <a:lnTo>
                    <a:pt x="314" y="315"/>
                  </a:lnTo>
                  <a:lnTo>
                    <a:pt x="314" y="315"/>
                  </a:lnTo>
                  <a:lnTo>
                    <a:pt x="314" y="310"/>
                  </a:lnTo>
                  <a:lnTo>
                    <a:pt x="314" y="310"/>
                  </a:lnTo>
                  <a:lnTo>
                    <a:pt x="310" y="310"/>
                  </a:lnTo>
                  <a:lnTo>
                    <a:pt x="310" y="310"/>
                  </a:lnTo>
                  <a:lnTo>
                    <a:pt x="310" y="310"/>
                  </a:lnTo>
                  <a:lnTo>
                    <a:pt x="310" y="310"/>
                  </a:lnTo>
                  <a:lnTo>
                    <a:pt x="310" y="310"/>
                  </a:lnTo>
                  <a:lnTo>
                    <a:pt x="310" y="310"/>
                  </a:lnTo>
                  <a:lnTo>
                    <a:pt x="310" y="315"/>
                  </a:lnTo>
                  <a:lnTo>
                    <a:pt x="306" y="315"/>
                  </a:lnTo>
                  <a:lnTo>
                    <a:pt x="301" y="319"/>
                  </a:lnTo>
                  <a:lnTo>
                    <a:pt x="301" y="319"/>
                  </a:lnTo>
                  <a:lnTo>
                    <a:pt x="301" y="319"/>
                  </a:lnTo>
                  <a:lnTo>
                    <a:pt x="301" y="319"/>
                  </a:lnTo>
                  <a:lnTo>
                    <a:pt x="301" y="319"/>
                  </a:lnTo>
                  <a:lnTo>
                    <a:pt x="301" y="319"/>
                  </a:lnTo>
                  <a:lnTo>
                    <a:pt x="301" y="319"/>
                  </a:lnTo>
                  <a:lnTo>
                    <a:pt x="301" y="319"/>
                  </a:lnTo>
                  <a:lnTo>
                    <a:pt x="301" y="319"/>
                  </a:lnTo>
                  <a:lnTo>
                    <a:pt x="306" y="319"/>
                  </a:lnTo>
                  <a:lnTo>
                    <a:pt x="306" y="319"/>
                  </a:lnTo>
                  <a:lnTo>
                    <a:pt x="306" y="324"/>
                  </a:lnTo>
                  <a:lnTo>
                    <a:pt x="306" y="324"/>
                  </a:lnTo>
                  <a:lnTo>
                    <a:pt x="306" y="324"/>
                  </a:lnTo>
                  <a:lnTo>
                    <a:pt x="306" y="324"/>
                  </a:lnTo>
                  <a:lnTo>
                    <a:pt x="306" y="324"/>
                  </a:lnTo>
                  <a:lnTo>
                    <a:pt x="306" y="324"/>
                  </a:lnTo>
                  <a:lnTo>
                    <a:pt x="306" y="324"/>
                  </a:lnTo>
                  <a:lnTo>
                    <a:pt x="306" y="324"/>
                  </a:lnTo>
                  <a:lnTo>
                    <a:pt x="306" y="324"/>
                  </a:lnTo>
                  <a:lnTo>
                    <a:pt x="306" y="328"/>
                  </a:lnTo>
                  <a:lnTo>
                    <a:pt x="306" y="328"/>
                  </a:lnTo>
                  <a:lnTo>
                    <a:pt x="306" y="328"/>
                  </a:lnTo>
                  <a:lnTo>
                    <a:pt x="306" y="328"/>
                  </a:lnTo>
                  <a:lnTo>
                    <a:pt x="306" y="328"/>
                  </a:lnTo>
                  <a:lnTo>
                    <a:pt x="306" y="328"/>
                  </a:lnTo>
                  <a:lnTo>
                    <a:pt x="310" y="328"/>
                  </a:lnTo>
                  <a:lnTo>
                    <a:pt x="310" y="328"/>
                  </a:lnTo>
                  <a:lnTo>
                    <a:pt x="310" y="328"/>
                  </a:lnTo>
                  <a:lnTo>
                    <a:pt x="310" y="328"/>
                  </a:lnTo>
                  <a:moveTo>
                    <a:pt x="257" y="315"/>
                  </a:moveTo>
                  <a:lnTo>
                    <a:pt x="261" y="315"/>
                  </a:lnTo>
                  <a:lnTo>
                    <a:pt x="261" y="310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7" y="310"/>
                  </a:lnTo>
                  <a:lnTo>
                    <a:pt x="252" y="310"/>
                  </a:lnTo>
                  <a:lnTo>
                    <a:pt x="252" y="310"/>
                  </a:lnTo>
                  <a:lnTo>
                    <a:pt x="252" y="310"/>
                  </a:lnTo>
                  <a:lnTo>
                    <a:pt x="252" y="310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2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lnTo>
                    <a:pt x="257" y="315"/>
                  </a:lnTo>
                  <a:moveTo>
                    <a:pt x="186" y="306"/>
                  </a:move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2" y="306"/>
                  </a:lnTo>
                  <a:lnTo>
                    <a:pt x="182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6"/>
                  </a:lnTo>
                  <a:moveTo>
                    <a:pt x="204" y="301"/>
                  </a:moveTo>
                  <a:lnTo>
                    <a:pt x="208" y="301"/>
                  </a:lnTo>
                  <a:lnTo>
                    <a:pt x="208" y="301"/>
                  </a:lnTo>
                  <a:lnTo>
                    <a:pt x="208" y="297"/>
                  </a:lnTo>
                  <a:lnTo>
                    <a:pt x="208" y="297"/>
                  </a:lnTo>
                  <a:lnTo>
                    <a:pt x="208" y="301"/>
                  </a:lnTo>
                  <a:lnTo>
                    <a:pt x="204" y="301"/>
                  </a:lnTo>
                  <a:lnTo>
                    <a:pt x="204" y="301"/>
                  </a:lnTo>
                  <a:lnTo>
                    <a:pt x="199" y="301"/>
                  </a:lnTo>
                  <a:lnTo>
                    <a:pt x="199" y="301"/>
                  </a:lnTo>
                  <a:lnTo>
                    <a:pt x="199" y="301"/>
                  </a:lnTo>
                  <a:lnTo>
                    <a:pt x="204" y="301"/>
                  </a:lnTo>
                  <a:lnTo>
                    <a:pt x="204" y="301"/>
                  </a:lnTo>
                  <a:lnTo>
                    <a:pt x="204" y="301"/>
                  </a:lnTo>
                  <a:lnTo>
                    <a:pt x="204" y="301"/>
                  </a:lnTo>
                  <a:lnTo>
                    <a:pt x="204" y="301"/>
                  </a:lnTo>
                  <a:lnTo>
                    <a:pt x="204" y="301"/>
                  </a:lnTo>
                  <a:moveTo>
                    <a:pt x="252" y="301"/>
                  </a:moveTo>
                  <a:lnTo>
                    <a:pt x="252" y="301"/>
                  </a:lnTo>
                  <a:lnTo>
                    <a:pt x="252" y="301"/>
                  </a:lnTo>
                  <a:lnTo>
                    <a:pt x="252" y="301"/>
                  </a:lnTo>
                  <a:lnTo>
                    <a:pt x="252" y="301"/>
                  </a:lnTo>
                  <a:lnTo>
                    <a:pt x="252" y="301"/>
                  </a:lnTo>
                  <a:lnTo>
                    <a:pt x="252" y="301"/>
                  </a:lnTo>
                  <a:lnTo>
                    <a:pt x="252" y="301"/>
                  </a:lnTo>
                  <a:lnTo>
                    <a:pt x="257" y="297"/>
                  </a:lnTo>
                  <a:lnTo>
                    <a:pt x="257" y="297"/>
                  </a:lnTo>
                  <a:lnTo>
                    <a:pt x="257" y="297"/>
                  </a:lnTo>
                  <a:lnTo>
                    <a:pt x="257" y="297"/>
                  </a:lnTo>
                  <a:lnTo>
                    <a:pt x="257" y="297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2" y="301"/>
                  </a:lnTo>
                  <a:moveTo>
                    <a:pt x="306" y="297"/>
                  </a:moveTo>
                  <a:lnTo>
                    <a:pt x="306" y="297"/>
                  </a:lnTo>
                  <a:lnTo>
                    <a:pt x="306" y="297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10" y="293"/>
                  </a:lnTo>
                  <a:lnTo>
                    <a:pt x="310" y="293"/>
                  </a:lnTo>
                  <a:lnTo>
                    <a:pt x="310" y="293"/>
                  </a:lnTo>
                  <a:lnTo>
                    <a:pt x="310" y="293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06" y="293"/>
                  </a:lnTo>
                  <a:lnTo>
                    <a:pt x="301" y="288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3"/>
                  </a:lnTo>
                  <a:lnTo>
                    <a:pt x="301" y="297"/>
                  </a:lnTo>
                  <a:lnTo>
                    <a:pt x="301" y="297"/>
                  </a:lnTo>
                  <a:lnTo>
                    <a:pt x="301" y="297"/>
                  </a:lnTo>
                  <a:lnTo>
                    <a:pt x="301" y="297"/>
                  </a:lnTo>
                  <a:lnTo>
                    <a:pt x="301" y="297"/>
                  </a:lnTo>
                  <a:lnTo>
                    <a:pt x="306" y="297"/>
                  </a:lnTo>
                  <a:moveTo>
                    <a:pt x="283" y="297"/>
                  </a:moveTo>
                  <a:lnTo>
                    <a:pt x="283" y="297"/>
                  </a:lnTo>
                  <a:lnTo>
                    <a:pt x="283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3"/>
                  </a:lnTo>
                  <a:lnTo>
                    <a:pt x="279" y="293"/>
                  </a:lnTo>
                  <a:lnTo>
                    <a:pt x="283" y="293"/>
                  </a:lnTo>
                  <a:lnTo>
                    <a:pt x="283" y="293"/>
                  </a:lnTo>
                  <a:lnTo>
                    <a:pt x="283" y="293"/>
                  </a:lnTo>
                  <a:lnTo>
                    <a:pt x="279" y="293"/>
                  </a:lnTo>
                  <a:lnTo>
                    <a:pt x="279" y="293"/>
                  </a:lnTo>
                  <a:lnTo>
                    <a:pt x="279" y="288"/>
                  </a:lnTo>
                  <a:lnTo>
                    <a:pt x="279" y="288"/>
                  </a:lnTo>
                  <a:lnTo>
                    <a:pt x="279" y="288"/>
                  </a:lnTo>
                  <a:lnTo>
                    <a:pt x="279" y="288"/>
                  </a:lnTo>
                  <a:lnTo>
                    <a:pt x="279" y="293"/>
                  </a:lnTo>
                  <a:lnTo>
                    <a:pt x="279" y="293"/>
                  </a:lnTo>
                  <a:lnTo>
                    <a:pt x="279" y="293"/>
                  </a:lnTo>
                  <a:lnTo>
                    <a:pt x="279" y="293"/>
                  </a:lnTo>
                  <a:lnTo>
                    <a:pt x="275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5" y="297"/>
                  </a:lnTo>
                  <a:lnTo>
                    <a:pt x="275" y="297"/>
                  </a:lnTo>
                  <a:lnTo>
                    <a:pt x="275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297"/>
                  </a:lnTo>
                  <a:lnTo>
                    <a:pt x="279" y="301"/>
                  </a:lnTo>
                  <a:lnTo>
                    <a:pt x="279" y="297"/>
                  </a:lnTo>
                  <a:lnTo>
                    <a:pt x="283" y="297"/>
                  </a:lnTo>
                  <a:lnTo>
                    <a:pt x="283" y="297"/>
                  </a:lnTo>
                  <a:lnTo>
                    <a:pt x="283" y="297"/>
                  </a:lnTo>
                  <a:moveTo>
                    <a:pt x="204" y="288"/>
                  </a:moveTo>
                  <a:lnTo>
                    <a:pt x="204" y="288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204" y="288"/>
                  </a:lnTo>
                  <a:moveTo>
                    <a:pt x="283" y="279"/>
                  </a:moveTo>
                  <a:lnTo>
                    <a:pt x="283" y="279"/>
                  </a:lnTo>
                  <a:lnTo>
                    <a:pt x="283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8"/>
                  </a:lnTo>
                  <a:lnTo>
                    <a:pt x="292" y="288"/>
                  </a:lnTo>
                  <a:lnTo>
                    <a:pt x="292" y="288"/>
                  </a:lnTo>
                  <a:lnTo>
                    <a:pt x="292" y="288"/>
                  </a:lnTo>
                  <a:lnTo>
                    <a:pt x="297" y="288"/>
                  </a:lnTo>
                  <a:lnTo>
                    <a:pt x="297" y="288"/>
                  </a:lnTo>
                  <a:lnTo>
                    <a:pt x="297" y="288"/>
                  </a:lnTo>
                  <a:lnTo>
                    <a:pt x="297" y="284"/>
                  </a:lnTo>
                  <a:lnTo>
                    <a:pt x="297" y="284"/>
                  </a:lnTo>
                  <a:lnTo>
                    <a:pt x="297" y="284"/>
                  </a:lnTo>
                  <a:lnTo>
                    <a:pt x="297" y="284"/>
                  </a:lnTo>
                  <a:lnTo>
                    <a:pt x="297" y="284"/>
                  </a:lnTo>
                  <a:lnTo>
                    <a:pt x="297" y="284"/>
                  </a:lnTo>
                  <a:lnTo>
                    <a:pt x="297" y="284"/>
                  </a:lnTo>
                  <a:lnTo>
                    <a:pt x="292" y="279"/>
                  </a:lnTo>
                  <a:lnTo>
                    <a:pt x="292" y="279"/>
                  </a:lnTo>
                  <a:lnTo>
                    <a:pt x="292" y="284"/>
                  </a:lnTo>
                  <a:lnTo>
                    <a:pt x="292" y="279"/>
                  </a:lnTo>
                  <a:lnTo>
                    <a:pt x="292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8" y="279"/>
                  </a:lnTo>
                  <a:lnTo>
                    <a:pt x="283" y="279"/>
                  </a:lnTo>
                  <a:lnTo>
                    <a:pt x="283" y="279"/>
                  </a:lnTo>
                  <a:lnTo>
                    <a:pt x="283" y="279"/>
                  </a:lnTo>
                  <a:lnTo>
                    <a:pt x="283" y="279"/>
                  </a:lnTo>
                  <a:lnTo>
                    <a:pt x="283" y="279"/>
                  </a:lnTo>
                  <a:moveTo>
                    <a:pt x="244" y="288"/>
                  </a:moveTo>
                  <a:lnTo>
                    <a:pt x="248" y="288"/>
                  </a:lnTo>
                  <a:lnTo>
                    <a:pt x="248" y="288"/>
                  </a:lnTo>
                  <a:lnTo>
                    <a:pt x="248" y="284"/>
                  </a:lnTo>
                  <a:lnTo>
                    <a:pt x="252" y="284"/>
                  </a:lnTo>
                  <a:lnTo>
                    <a:pt x="252" y="284"/>
                  </a:lnTo>
                  <a:lnTo>
                    <a:pt x="252" y="279"/>
                  </a:lnTo>
                  <a:lnTo>
                    <a:pt x="252" y="279"/>
                  </a:lnTo>
                  <a:lnTo>
                    <a:pt x="252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8" y="279"/>
                  </a:lnTo>
                  <a:lnTo>
                    <a:pt x="244" y="284"/>
                  </a:lnTo>
                  <a:lnTo>
                    <a:pt x="244" y="284"/>
                  </a:lnTo>
                  <a:lnTo>
                    <a:pt x="244" y="284"/>
                  </a:lnTo>
                  <a:lnTo>
                    <a:pt x="244" y="288"/>
                  </a:lnTo>
                  <a:lnTo>
                    <a:pt x="244" y="288"/>
                  </a:lnTo>
                  <a:moveTo>
                    <a:pt x="341" y="288"/>
                  </a:moveTo>
                  <a:lnTo>
                    <a:pt x="341" y="288"/>
                  </a:lnTo>
                  <a:lnTo>
                    <a:pt x="341" y="288"/>
                  </a:lnTo>
                  <a:lnTo>
                    <a:pt x="350" y="288"/>
                  </a:lnTo>
                  <a:lnTo>
                    <a:pt x="350" y="284"/>
                  </a:lnTo>
                  <a:lnTo>
                    <a:pt x="354" y="284"/>
                  </a:lnTo>
                  <a:lnTo>
                    <a:pt x="354" y="279"/>
                  </a:lnTo>
                  <a:lnTo>
                    <a:pt x="354" y="279"/>
                  </a:lnTo>
                  <a:lnTo>
                    <a:pt x="354" y="279"/>
                  </a:lnTo>
                  <a:lnTo>
                    <a:pt x="350" y="279"/>
                  </a:lnTo>
                  <a:lnTo>
                    <a:pt x="350" y="279"/>
                  </a:lnTo>
                  <a:lnTo>
                    <a:pt x="350" y="279"/>
                  </a:lnTo>
                  <a:lnTo>
                    <a:pt x="345" y="284"/>
                  </a:lnTo>
                  <a:lnTo>
                    <a:pt x="345" y="279"/>
                  </a:lnTo>
                  <a:lnTo>
                    <a:pt x="345" y="284"/>
                  </a:lnTo>
                  <a:lnTo>
                    <a:pt x="341" y="279"/>
                  </a:lnTo>
                  <a:lnTo>
                    <a:pt x="341" y="279"/>
                  </a:lnTo>
                  <a:lnTo>
                    <a:pt x="341" y="284"/>
                  </a:lnTo>
                  <a:lnTo>
                    <a:pt x="337" y="284"/>
                  </a:lnTo>
                  <a:lnTo>
                    <a:pt x="337" y="284"/>
                  </a:lnTo>
                  <a:lnTo>
                    <a:pt x="337" y="284"/>
                  </a:lnTo>
                  <a:lnTo>
                    <a:pt x="337" y="284"/>
                  </a:lnTo>
                  <a:lnTo>
                    <a:pt x="337" y="288"/>
                  </a:lnTo>
                  <a:lnTo>
                    <a:pt x="337" y="288"/>
                  </a:lnTo>
                  <a:lnTo>
                    <a:pt x="337" y="288"/>
                  </a:lnTo>
                  <a:lnTo>
                    <a:pt x="337" y="288"/>
                  </a:lnTo>
                  <a:lnTo>
                    <a:pt x="337" y="288"/>
                  </a:lnTo>
                  <a:lnTo>
                    <a:pt x="337" y="288"/>
                  </a:lnTo>
                  <a:lnTo>
                    <a:pt x="341" y="288"/>
                  </a:lnTo>
                  <a:lnTo>
                    <a:pt x="341" y="288"/>
                  </a:lnTo>
                  <a:lnTo>
                    <a:pt x="341" y="288"/>
                  </a:lnTo>
                  <a:lnTo>
                    <a:pt x="341" y="288"/>
                  </a:lnTo>
                  <a:lnTo>
                    <a:pt x="341" y="288"/>
                  </a:lnTo>
                  <a:moveTo>
                    <a:pt x="208" y="270"/>
                  </a:moveTo>
                  <a:lnTo>
                    <a:pt x="208" y="270"/>
                  </a:lnTo>
                  <a:lnTo>
                    <a:pt x="199" y="270"/>
                  </a:lnTo>
                  <a:lnTo>
                    <a:pt x="199" y="275"/>
                  </a:lnTo>
                  <a:lnTo>
                    <a:pt x="199" y="275"/>
                  </a:lnTo>
                  <a:lnTo>
                    <a:pt x="199" y="275"/>
                  </a:lnTo>
                  <a:lnTo>
                    <a:pt x="204" y="275"/>
                  </a:lnTo>
                  <a:lnTo>
                    <a:pt x="204" y="275"/>
                  </a:lnTo>
                  <a:lnTo>
                    <a:pt x="204" y="275"/>
                  </a:lnTo>
                  <a:lnTo>
                    <a:pt x="204" y="275"/>
                  </a:lnTo>
                  <a:lnTo>
                    <a:pt x="204" y="279"/>
                  </a:lnTo>
                  <a:lnTo>
                    <a:pt x="204" y="279"/>
                  </a:lnTo>
                  <a:lnTo>
                    <a:pt x="204" y="279"/>
                  </a:lnTo>
                  <a:lnTo>
                    <a:pt x="204" y="279"/>
                  </a:lnTo>
                  <a:lnTo>
                    <a:pt x="204" y="279"/>
                  </a:lnTo>
                  <a:lnTo>
                    <a:pt x="204" y="279"/>
                  </a:lnTo>
                  <a:lnTo>
                    <a:pt x="204" y="279"/>
                  </a:lnTo>
                  <a:lnTo>
                    <a:pt x="208" y="279"/>
                  </a:lnTo>
                  <a:lnTo>
                    <a:pt x="208" y="275"/>
                  </a:lnTo>
                  <a:lnTo>
                    <a:pt x="208" y="275"/>
                  </a:lnTo>
                  <a:lnTo>
                    <a:pt x="208" y="275"/>
                  </a:lnTo>
                  <a:lnTo>
                    <a:pt x="208" y="275"/>
                  </a:lnTo>
                  <a:lnTo>
                    <a:pt x="208" y="275"/>
                  </a:lnTo>
                  <a:lnTo>
                    <a:pt x="208" y="275"/>
                  </a:lnTo>
                  <a:lnTo>
                    <a:pt x="208" y="270"/>
                  </a:lnTo>
                  <a:moveTo>
                    <a:pt x="376" y="279"/>
                  </a:moveTo>
                  <a:lnTo>
                    <a:pt x="376" y="279"/>
                  </a:lnTo>
                  <a:lnTo>
                    <a:pt x="376" y="279"/>
                  </a:lnTo>
                  <a:lnTo>
                    <a:pt x="376" y="279"/>
                  </a:lnTo>
                  <a:lnTo>
                    <a:pt x="381" y="279"/>
                  </a:lnTo>
                  <a:lnTo>
                    <a:pt x="381" y="279"/>
                  </a:lnTo>
                  <a:lnTo>
                    <a:pt x="381" y="279"/>
                  </a:lnTo>
                  <a:lnTo>
                    <a:pt x="381" y="279"/>
                  </a:lnTo>
                  <a:lnTo>
                    <a:pt x="381" y="279"/>
                  </a:lnTo>
                  <a:lnTo>
                    <a:pt x="385" y="279"/>
                  </a:lnTo>
                  <a:lnTo>
                    <a:pt x="385" y="279"/>
                  </a:lnTo>
                  <a:lnTo>
                    <a:pt x="385" y="279"/>
                  </a:lnTo>
                  <a:lnTo>
                    <a:pt x="390" y="275"/>
                  </a:lnTo>
                  <a:lnTo>
                    <a:pt x="390" y="275"/>
                  </a:lnTo>
                  <a:lnTo>
                    <a:pt x="394" y="275"/>
                  </a:lnTo>
                  <a:lnTo>
                    <a:pt x="394" y="275"/>
                  </a:lnTo>
                  <a:lnTo>
                    <a:pt x="394" y="275"/>
                  </a:lnTo>
                  <a:lnTo>
                    <a:pt x="394" y="275"/>
                  </a:lnTo>
                  <a:lnTo>
                    <a:pt x="390" y="275"/>
                  </a:lnTo>
                  <a:lnTo>
                    <a:pt x="390" y="275"/>
                  </a:lnTo>
                  <a:lnTo>
                    <a:pt x="390" y="275"/>
                  </a:lnTo>
                  <a:lnTo>
                    <a:pt x="390" y="275"/>
                  </a:lnTo>
                  <a:lnTo>
                    <a:pt x="390" y="275"/>
                  </a:lnTo>
                  <a:lnTo>
                    <a:pt x="390" y="275"/>
                  </a:lnTo>
                  <a:lnTo>
                    <a:pt x="394" y="270"/>
                  </a:lnTo>
                  <a:lnTo>
                    <a:pt x="390" y="270"/>
                  </a:lnTo>
                  <a:lnTo>
                    <a:pt x="390" y="270"/>
                  </a:lnTo>
                  <a:lnTo>
                    <a:pt x="390" y="270"/>
                  </a:lnTo>
                  <a:lnTo>
                    <a:pt x="390" y="270"/>
                  </a:lnTo>
                  <a:lnTo>
                    <a:pt x="390" y="270"/>
                  </a:lnTo>
                  <a:lnTo>
                    <a:pt x="385" y="270"/>
                  </a:lnTo>
                  <a:lnTo>
                    <a:pt x="385" y="270"/>
                  </a:lnTo>
                  <a:lnTo>
                    <a:pt x="385" y="270"/>
                  </a:lnTo>
                  <a:lnTo>
                    <a:pt x="385" y="275"/>
                  </a:lnTo>
                  <a:lnTo>
                    <a:pt x="390" y="275"/>
                  </a:lnTo>
                  <a:lnTo>
                    <a:pt x="385" y="275"/>
                  </a:lnTo>
                  <a:lnTo>
                    <a:pt x="385" y="275"/>
                  </a:lnTo>
                  <a:lnTo>
                    <a:pt x="385" y="270"/>
                  </a:lnTo>
                  <a:lnTo>
                    <a:pt x="381" y="270"/>
                  </a:lnTo>
                  <a:lnTo>
                    <a:pt x="381" y="270"/>
                  </a:lnTo>
                  <a:lnTo>
                    <a:pt x="381" y="270"/>
                  </a:lnTo>
                  <a:lnTo>
                    <a:pt x="381" y="270"/>
                  </a:lnTo>
                  <a:lnTo>
                    <a:pt x="376" y="270"/>
                  </a:lnTo>
                  <a:lnTo>
                    <a:pt x="372" y="270"/>
                  </a:lnTo>
                  <a:lnTo>
                    <a:pt x="372" y="270"/>
                  </a:lnTo>
                  <a:lnTo>
                    <a:pt x="372" y="270"/>
                  </a:lnTo>
                  <a:lnTo>
                    <a:pt x="368" y="275"/>
                  </a:lnTo>
                  <a:lnTo>
                    <a:pt x="368" y="275"/>
                  </a:lnTo>
                  <a:lnTo>
                    <a:pt x="368" y="275"/>
                  </a:lnTo>
                  <a:lnTo>
                    <a:pt x="368" y="275"/>
                  </a:lnTo>
                  <a:lnTo>
                    <a:pt x="368" y="275"/>
                  </a:lnTo>
                  <a:lnTo>
                    <a:pt x="368" y="275"/>
                  </a:lnTo>
                  <a:lnTo>
                    <a:pt x="368" y="275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72" y="279"/>
                  </a:lnTo>
                  <a:lnTo>
                    <a:pt x="372" y="275"/>
                  </a:lnTo>
                  <a:lnTo>
                    <a:pt x="372" y="275"/>
                  </a:lnTo>
                  <a:lnTo>
                    <a:pt x="372" y="275"/>
                  </a:lnTo>
                  <a:lnTo>
                    <a:pt x="372" y="275"/>
                  </a:lnTo>
                  <a:lnTo>
                    <a:pt x="376" y="275"/>
                  </a:lnTo>
                  <a:lnTo>
                    <a:pt x="376" y="275"/>
                  </a:lnTo>
                  <a:lnTo>
                    <a:pt x="376" y="279"/>
                  </a:lnTo>
                  <a:lnTo>
                    <a:pt x="376" y="279"/>
                  </a:lnTo>
                  <a:lnTo>
                    <a:pt x="376" y="279"/>
                  </a:lnTo>
                  <a:lnTo>
                    <a:pt x="376" y="279"/>
                  </a:lnTo>
                  <a:moveTo>
                    <a:pt x="67" y="275"/>
                  </a:moveTo>
                  <a:lnTo>
                    <a:pt x="67" y="270"/>
                  </a:lnTo>
                  <a:lnTo>
                    <a:pt x="67" y="270"/>
                  </a:lnTo>
                  <a:lnTo>
                    <a:pt x="67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58" y="266"/>
                  </a:lnTo>
                  <a:lnTo>
                    <a:pt x="58" y="266"/>
                  </a:lnTo>
                  <a:lnTo>
                    <a:pt x="58" y="266"/>
                  </a:lnTo>
                  <a:lnTo>
                    <a:pt x="58" y="262"/>
                  </a:lnTo>
                  <a:lnTo>
                    <a:pt x="58" y="262"/>
                  </a:lnTo>
                  <a:lnTo>
                    <a:pt x="58" y="262"/>
                  </a:lnTo>
                  <a:lnTo>
                    <a:pt x="58" y="262"/>
                  </a:lnTo>
                  <a:lnTo>
                    <a:pt x="58" y="262"/>
                  </a:lnTo>
                  <a:lnTo>
                    <a:pt x="58" y="262"/>
                  </a:lnTo>
                  <a:lnTo>
                    <a:pt x="53" y="262"/>
                  </a:lnTo>
                  <a:lnTo>
                    <a:pt x="53" y="266"/>
                  </a:lnTo>
                  <a:lnTo>
                    <a:pt x="53" y="266"/>
                  </a:lnTo>
                  <a:lnTo>
                    <a:pt x="53" y="266"/>
                  </a:lnTo>
                  <a:lnTo>
                    <a:pt x="53" y="270"/>
                  </a:lnTo>
                  <a:lnTo>
                    <a:pt x="53" y="270"/>
                  </a:lnTo>
                  <a:lnTo>
                    <a:pt x="53" y="270"/>
                  </a:lnTo>
                  <a:lnTo>
                    <a:pt x="58" y="270"/>
                  </a:lnTo>
                  <a:lnTo>
                    <a:pt x="58" y="275"/>
                  </a:lnTo>
                  <a:lnTo>
                    <a:pt x="58" y="275"/>
                  </a:lnTo>
                  <a:lnTo>
                    <a:pt x="58" y="275"/>
                  </a:lnTo>
                  <a:lnTo>
                    <a:pt x="62" y="279"/>
                  </a:lnTo>
                  <a:lnTo>
                    <a:pt x="62" y="279"/>
                  </a:lnTo>
                  <a:lnTo>
                    <a:pt x="62" y="279"/>
                  </a:lnTo>
                  <a:lnTo>
                    <a:pt x="62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71" y="275"/>
                  </a:lnTo>
                  <a:lnTo>
                    <a:pt x="71" y="275"/>
                  </a:lnTo>
                  <a:lnTo>
                    <a:pt x="71" y="279"/>
                  </a:lnTo>
                  <a:lnTo>
                    <a:pt x="71" y="275"/>
                  </a:lnTo>
                  <a:lnTo>
                    <a:pt x="67" y="275"/>
                  </a:lnTo>
                  <a:moveTo>
                    <a:pt x="283" y="275"/>
                  </a:moveTo>
                  <a:lnTo>
                    <a:pt x="283" y="275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83" y="270"/>
                  </a:lnTo>
                  <a:lnTo>
                    <a:pt x="279" y="266"/>
                  </a:lnTo>
                  <a:lnTo>
                    <a:pt x="283" y="266"/>
                  </a:lnTo>
                  <a:lnTo>
                    <a:pt x="283" y="266"/>
                  </a:lnTo>
                  <a:lnTo>
                    <a:pt x="283" y="262"/>
                  </a:lnTo>
                  <a:lnTo>
                    <a:pt x="279" y="262"/>
                  </a:lnTo>
                  <a:lnTo>
                    <a:pt x="275" y="262"/>
                  </a:lnTo>
                  <a:lnTo>
                    <a:pt x="275" y="262"/>
                  </a:lnTo>
                  <a:lnTo>
                    <a:pt x="275" y="262"/>
                  </a:lnTo>
                  <a:lnTo>
                    <a:pt x="275" y="262"/>
                  </a:lnTo>
                  <a:lnTo>
                    <a:pt x="275" y="262"/>
                  </a:lnTo>
                  <a:lnTo>
                    <a:pt x="275" y="262"/>
                  </a:lnTo>
                  <a:lnTo>
                    <a:pt x="275" y="262"/>
                  </a:lnTo>
                  <a:lnTo>
                    <a:pt x="275" y="257"/>
                  </a:lnTo>
                  <a:lnTo>
                    <a:pt x="275" y="257"/>
                  </a:lnTo>
                  <a:lnTo>
                    <a:pt x="275" y="257"/>
                  </a:lnTo>
                  <a:lnTo>
                    <a:pt x="275" y="257"/>
                  </a:lnTo>
                  <a:lnTo>
                    <a:pt x="275" y="257"/>
                  </a:lnTo>
                  <a:lnTo>
                    <a:pt x="275" y="257"/>
                  </a:lnTo>
                  <a:lnTo>
                    <a:pt x="270" y="257"/>
                  </a:lnTo>
                  <a:lnTo>
                    <a:pt x="270" y="257"/>
                  </a:lnTo>
                  <a:lnTo>
                    <a:pt x="270" y="257"/>
                  </a:lnTo>
                  <a:lnTo>
                    <a:pt x="266" y="262"/>
                  </a:lnTo>
                  <a:lnTo>
                    <a:pt x="266" y="262"/>
                  </a:lnTo>
                  <a:lnTo>
                    <a:pt x="266" y="262"/>
                  </a:lnTo>
                  <a:lnTo>
                    <a:pt x="266" y="262"/>
                  </a:lnTo>
                  <a:lnTo>
                    <a:pt x="266" y="262"/>
                  </a:lnTo>
                  <a:lnTo>
                    <a:pt x="266" y="262"/>
                  </a:lnTo>
                  <a:lnTo>
                    <a:pt x="266" y="262"/>
                  </a:lnTo>
                  <a:lnTo>
                    <a:pt x="270" y="262"/>
                  </a:lnTo>
                  <a:lnTo>
                    <a:pt x="270" y="266"/>
                  </a:lnTo>
                  <a:lnTo>
                    <a:pt x="270" y="266"/>
                  </a:lnTo>
                  <a:lnTo>
                    <a:pt x="270" y="266"/>
                  </a:lnTo>
                  <a:lnTo>
                    <a:pt x="270" y="266"/>
                  </a:lnTo>
                  <a:lnTo>
                    <a:pt x="270" y="266"/>
                  </a:lnTo>
                  <a:lnTo>
                    <a:pt x="270" y="266"/>
                  </a:lnTo>
                  <a:lnTo>
                    <a:pt x="270" y="266"/>
                  </a:lnTo>
                  <a:lnTo>
                    <a:pt x="270" y="266"/>
                  </a:lnTo>
                  <a:lnTo>
                    <a:pt x="275" y="266"/>
                  </a:lnTo>
                  <a:lnTo>
                    <a:pt x="275" y="270"/>
                  </a:lnTo>
                  <a:lnTo>
                    <a:pt x="275" y="270"/>
                  </a:lnTo>
                  <a:lnTo>
                    <a:pt x="275" y="270"/>
                  </a:lnTo>
                  <a:lnTo>
                    <a:pt x="275" y="270"/>
                  </a:lnTo>
                  <a:lnTo>
                    <a:pt x="275" y="270"/>
                  </a:lnTo>
                  <a:lnTo>
                    <a:pt x="275" y="270"/>
                  </a:lnTo>
                  <a:lnTo>
                    <a:pt x="279" y="270"/>
                  </a:lnTo>
                  <a:lnTo>
                    <a:pt x="279" y="270"/>
                  </a:lnTo>
                  <a:lnTo>
                    <a:pt x="279" y="275"/>
                  </a:lnTo>
                  <a:lnTo>
                    <a:pt x="279" y="275"/>
                  </a:lnTo>
                  <a:lnTo>
                    <a:pt x="279" y="275"/>
                  </a:lnTo>
                  <a:lnTo>
                    <a:pt x="279" y="279"/>
                  </a:lnTo>
                  <a:lnTo>
                    <a:pt x="283" y="279"/>
                  </a:lnTo>
                  <a:lnTo>
                    <a:pt x="283" y="279"/>
                  </a:lnTo>
                  <a:lnTo>
                    <a:pt x="283" y="275"/>
                  </a:lnTo>
                  <a:lnTo>
                    <a:pt x="283" y="275"/>
                  </a:lnTo>
                  <a:lnTo>
                    <a:pt x="283" y="275"/>
                  </a:lnTo>
                  <a:lnTo>
                    <a:pt x="283" y="275"/>
                  </a:lnTo>
                  <a:moveTo>
                    <a:pt x="208" y="262"/>
                  </a:moveTo>
                  <a:lnTo>
                    <a:pt x="208" y="262"/>
                  </a:lnTo>
                  <a:lnTo>
                    <a:pt x="208" y="262"/>
                  </a:lnTo>
                  <a:lnTo>
                    <a:pt x="208" y="262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199" y="257"/>
                  </a:lnTo>
                  <a:lnTo>
                    <a:pt x="199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199" y="262"/>
                  </a:lnTo>
                  <a:lnTo>
                    <a:pt x="199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204" y="262"/>
                  </a:lnTo>
                  <a:lnTo>
                    <a:pt x="199" y="262"/>
                  </a:lnTo>
                  <a:lnTo>
                    <a:pt x="199" y="262"/>
                  </a:lnTo>
                  <a:lnTo>
                    <a:pt x="199" y="262"/>
                  </a:lnTo>
                  <a:lnTo>
                    <a:pt x="199" y="262"/>
                  </a:lnTo>
                  <a:lnTo>
                    <a:pt x="199" y="262"/>
                  </a:lnTo>
                  <a:lnTo>
                    <a:pt x="199" y="266"/>
                  </a:lnTo>
                  <a:lnTo>
                    <a:pt x="199" y="266"/>
                  </a:lnTo>
                  <a:lnTo>
                    <a:pt x="204" y="266"/>
                  </a:lnTo>
                  <a:lnTo>
                    <a:pt x="204" y="266"/>
                  </a:lnTo>
                  <a:lnTo>
                    <a:pt x="204" y="266"/>
                  </a:lnTo>
                  <a:lnTo>
                    <a:pt x="204" y="266"/>
                  </a:lnTo>
                  <a:lnTo>
                    <a:pt x="204" y="262"/>
                  </a:lnTo>
                  <a:lnTo>
                    <a:pt x="204" y="266"/>
                  </a:lnTo>
                  <a:lnTo>
                    <a:pt x="204" y="266"/>
                  </a:lnTo>
                  <a:lnTo>
                    <a:pt x="204" y="262"/>
                  </a:lnTo>
                  <a:lnTo>
                    <a:pt x="208" y="262"/>
                  </a:lnTo>
                  <a:lnTo>
                    <a:pt x="208" y="262"/>
                  </a:lnTo>
                  <a:lnTo>
                    <a:pt x="208" y="262"/>
                  </a:lnTo>
                  <a:lnTo>
                    <a:pt x="208" y="262"/>
                  </a:lnTo>
                  <a:moveTo>
                    <a:pt x="58" y="253"/>
                  </a:moveTo>
                  <a:lnTo>
                    <a:pt x="58" y="253"/>
                  </a:lnTo>
                  <a:lnTo>
                    <a:pt x="58" y="253"/>
                  </a:lnTo>
                  <a:lnTo>
                    <a:pt x="58" y="253"/>
                  </a:lnTo>
                  <a:lnTo>
                    <a:pt x="58" y="253"/>
                  </a:lnTo>
                  <a:lnTo>
                    <a:pt x="58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53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44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49" y="226"/>
                  </a:lnTo>
                  <a:lnTo>
                    <a:pt x="49" y="226"/>
                  </a:lnTo>
                  <a:lnTo>
                    <a:pt x="49" y="226"/>
                  </a:lnTo>
                  <a:lnTo>
                    <a:pt x="49" y="226"/>
                  </a:lnTo>
                  <a:lnTo>
                    <a:pt x="49" y="226"/>
                  </a:lnTo>
                  <a:lnTo>
                    <a:pt x="49" y="226"/>
                  </a:lnTo>
                  <a:lnTo>
                    <a:pt x="49" y="231"/>
                  </a:lnTo>
                  <a:lnTo>
                    <a:pt x="49" y="231"/>
                  </a:lnTo>
                  <a:lnTo>
                    <a:pt x="49" y="231"/>
                  </a:lnTo>
                  <a:lnTo>
                    <a:pt x="49" y="231"/>
                  </a:lnTo>
                  <a:lnTo>
                    <a:pt x="49" y="231"/>
                  </a:lnTo>
                  <a:lnTo>
                    <a:pt x="49" y="235"/>
                  </a:lnTo>
                  <a:lnTo>
                    <a:pt x="49" y="235"/>
                  </a:lnTo>
                  <a:lnTo>
                    <a:pt x="49" y="235"/>
                  </a:lnTo>
                  <a:lnTo>
                    <a:pt x="44" y="235"/>
                  </a:lnTo>
                  <a:lnTo>
                    <a:pt x="44" y="235"/>
                  </a:lnTo>
                  <a:lnTo>
                    <a:pt x="44" y="235"/>
                  </a:lnTo>
                  <a:lnTo>
                    <a:pt x="44" y="235"/>
                  </a:lnTo>
                  <a:lnTo>
                    <a:pt x="44" y="235"/>
                  </a:lnTo>
                  <a:lnTo>
                    <a:pt x="44" y="235"/>
                  </a:lnTo>
                  <a:lnTo>
                    <a:pt x="44" y="235"/>
                  </a:lnTo>
                  <a:lnTo>
                    <a:pt x="44" y="235"/>
                  </a:lnTo>
                  <a:lnTo>
                    <a:pt x="44" y="235"/>
                  </a:lnTo>
                  <a:lnTo>
                    <a:pt x="40" y="235"/>
                  </a:lnTo>
                  <a:lnTo>
                    <a:pt x="40" y="235"/>
                  </a:lnTo>
                  <a:lnTo>
                    <a:pt x="40" y="235"/>
                  </a:lnTo>
                  <a:lnTo>
                    <a:pt x="40" y="235"/>
                  </a:lnTo>
                  <a:lnTo>
                    <a:pt x="40" y="235"/>
                  </a:lnTo>
                  <a:lnTo>
                    <a:pt x="40" y="235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39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40" y="244"/>
                  </a:lnTo>
                  <a:lnTo>
                    <a:pt x="44" y="244"/>
                  </a:lnTo>
                  <a:lnTo>
                    <a:pt x="44" y="244"/>
                  </a:lnTo>
                  <a:lnTo>
                    <a:pt x="44" y="244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44"/>
                  </a:lnTo>
                  <a:lnTo>
                    <a:pt x="44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4" y="244"/>
                  </a:lnTo>
                  <a:lnTo>
                    <a:pt x="44" y="244"/>
                  </a:lnTo>
                  <a:lnTo>
                    <a:pt x="44" y="244"/>
                  </a:lnTo>
                  <a:lnTo>
                    <a:pt x="44" y="244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9" y="248"/>
                  </a:lnTo>
                  <a:lnTo>
                    <a:pt x="49" y="248"/>
                  </a:lnTo>
                  <a:lnTo>
                    <a:pt x="49" y="253"/>
                  </a:lnTo>
                  <a:lnTo>
                    <a:pt x="49" y="248"/>
                  </a:lnTo>
                  <a:lnTo>
                    <a:pt x="53" y="248"/>
                  </a:lnTo>
                  <a:lnTo>
                    <a:pt x="53" y="248"/>
                  </a:lnTo>
                  <a:lnTo>
                    <a:pt x="58" y="253"/>
                  </a:lnTo>
                  <a:moveTo>
                    <a:pt x="58" y="231"/>
                  </a:move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26"/>
                  </a:lnTo>
                  <a:lnTo>
                    <a:pt x="58" y="226"/>
                  </a:lnTo>
                  <a:lnTo>
                    <a:pt x="58" y="226"/>
                  </a:lnTo>
                  <a:lnTo>
                    <a:pt x="58" y="226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8" y="226"/>
                  </a:lnTo>
                  <a:lnTo>
                    <a:pt x="58" y="222"/>
                  </a:lnTo>
                  <a:lnTo>
                    <a:pt x="53" y="222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3" y="226"/>
                  </a:lnTo>
                  <a:lnTo>
                    <a:pt x="53" y="231"/>
                  </a:lnTo>
                  <a:lnTo>
                    <a:pt x="53" y="231"/>
                  </a:lnTo>
                  <a:lnTo>
                    <a:pt x="53" y="231"/>
                  </a:lnTo>
                  <a:lnTo>
                    <a:pt x="58" y="235"/>
                  </a:lnTo>
                  <a:lnTo>
                    <a:pt x="58" y="235"/>
                  </a:lnTo>
                  <a:lnTo>
                    <a:pt x="58" y="235"/>
                  </a:lnTo>
                  <a:lnTo>
                    <a:pt x="58" y="235"/>
                  </a:lnTo>
                  <a:lnTo>
                    <a:pt x="58" y="235"/>
                  </a:lnTo>
                  <a:lnTo>
                    <a:pt x="58" y="235"/>
                  </a:lnTo>
                  <a:lnTo>
                    <a:pt x="62" y="235"/>
                  </a:lnTo>
                  <a:lnTo>
                    <a:pt x="62" y="235"/>
                  </a:lnTo>
                  <a:lnTo>
                    <a:pt x="58" y="235"/>
                  </a:lnTo>
                  <a:lnTo>
                    <a:pt x="58" y="235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62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moveTo>
                    <a:pt x="67" y="222"/>
                  </a:moveTo>
                  <a:lnTo>
                    <a:pt x="67" y="222"/>
                  </a:lnTo>
                  <a:lnTo>
                    <a:pt x="67" y="222"/>
                  </a:lnTo>
                  <a:lnTo>
                    <a:pt x="67" y="217"/>
                  </a:lnTo>
                  <a:lnTo>
                    <a:pt x="71" y="217"/>
                  </a:lnTo>
                  <a:lnTo>
                    <a:pt x="71" y="217"/>
                  </a:lnTo>
                  <a:lnTo>
                    <a:pt x="67" y="222"/>
                  </a:lnTo>
                  <a:lnTo>
                    <a:pt x="67" y="222"/>
                  </a:lnTo>
                  <a:moveTo>
                    <a:pt x="341" y="222"/>
                  </a:moveTo>
                  <a:lnTo>
                    <a:pt x="341" y="222"/>
                  </a:lnTo>
                  <a:lnTo>
                    <a:pt x="341" y="222"/>
                  </a:lnTo>
                  <a:lnTo>
                    <a:pt x="341" y="222"/>
                  </a:lnTo>
                  <a:lnTo>
                    <a:pt x="341" y="217"/>
                  </a:lnTo>
                  <a:lnTo>
                    <a:pt x="341" y="217"/>
                  </a:lnTo>
                  <a:lnTo>
                    <a:pt x="337" y="217"/>
                  </a:lnTo>
                  <a:lnTo>
                    <a:pt x="337" y="217"/>
                  </a:lnTo>
                  <a:lnTo>
                    <a:pt x="328" y="217"/>
                  </a:lnTo>
                  <a:lnTo>
                    <a:pt x="328" y="217"/>
                  </a:lnTo>
                  <a:lnTo>
                    <a:pt x="328" y="222"/>
                  </a:lnTo>
                  <a:lnTo>
                    <a:pt x="328" y="222"/>
                  </a:lnTo>
                  <a:lnTo>
                    <a:pt x="328" y="222"/>
                  </a:lnTo>
                  <a:lnTo>
                    <a:pt x="328" y="222"/>
                  </a:lnTo>
                  <a:lnTo>
                    <a:pt x="328" y="226"/>
                  </a:lnTo>
                  <a:lnTo>
                    <a:pt x="332" y="226"/>
                  </a:lnTo>
                  <a:lnTo>
                    <a:pt x="332" y="226"/>
                  </a:lnTo>
                  <a:lnTo>
                    <a:pt x="332" y="226"/>
                  </a:lnTo>
                  <a:lnTo>
                    <a:pt x="332" y="226"/>
                  </a:lnTo>
                  <a:lnTo>
                    <a:pt x="332" y="226"/>
                  </a:lnTo>
                  <a:lnTo>
                    <a:pt x="332" y="226"/>
                  </a:lnTo>
                  <a:lnTo>
                    <a:pt x="332" y="231"/>
                  </a:lnTo>
                  <a:lnTo>
                    <a:pt x="332" y="231"/>
                  </a:lnTo>
                  <a:lnTo>
                    <a:pt x="332" y="231"/>
                  </a:lnTo>
                  <a:lnTo>
                    <a:pt x="332" y="231"/>
                  </a:lnTo>
                  <a:lnTo>
                    <a:pt x="337" y="231"/>
                  </a:lnTo>
                  <a:lnTo>
                    <a:pt x="337" y="231"/>
                  </a:lnTo>
                  <a:lnTo>
                    <a:pt x="337" y="231"/>
                  </a:lnTo>
                  <a:lnTo>
                    <a:pt x="337" y="231"/>
                  </a:lnTo>
                  <a:lnTo>
                    <a:pt x="337" y="231"/>
                  </a:lnTo>
                  <a:lnTo>
                    <a:pt x="337" y="231"/>
                  </a:lnTo>
                  <a:lnTo>
                    <a:pt x="337" y="231"/>
                  </a:lnTo>
                  <a:lnTo>
                    <a:pt x="337" y="231"/>
                  </a:lnTo>
                  <a:lnTo>
                    <a:pt x="337" y="235"/>
                  </a:lnTo>
                  <a:lnTo>
                    <a:pt x="337" y="235"/>
                  </a:lnTo>
                  <a:lnTo>
                    <a:pt x="337" y="235"/>
                  </a:lnTo>
                  <a:lnTo>
                    <a:pt x="337" y="235"/>
                  </a:lnTo>
                  <a:lnTo>
                    <a:pt x="337" y="235"/>
                  </a:lnTo>
                  <a:lnTo>
                    <a:pt x="337" y="235"/>
                  </a:lnTo>
                  <a:lnTo>
                    <a:pt x="332" y="235"/>
                  </a:lnTo>
                  <a:lnTo>
                    <a:pt x="332" y="235"/>
                  </a:lnTo>
                  <a:lnTo>
                    <a:pt x="332" y="239"/>
                  </a:lnTo>
                  <a:lnTo>
                    <a:pt x="332" y="239"/>
                  </a:lnTo>
                  <a:lnTo>
                    <a:pt x="332" y="239"/>
                  </a:lnTo>
                  <a:lnTo>
                    <a:pt x="332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32" y="239"/>
                  </a:lnTo>
                  <a:lnTo>
                    <a:pt x="332" y="239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2" y="244"/>
                  </a:lnTo>
                  <a:lnTo>
                    <a:pt x="337" y="244"/>
                  </a:lnTo>
                  <a:lnTo>
                    <a:pt x="337" y="248"/>
                  </a:lnTo>
                  <a:lnTo>
                    <a:pt x="337" y="248"/>
                  </a:lnTo>
                  <a:lnTo>
                    <a:pt x="337" y="248"/>
                  </a:lnTo>
                  <a:lnTo>
                    <a:pt x="337" y="248"/>
                  </a:lnTo>
                  <a:lnTo>
                    <a:pt x="337" y="244"/>
                  </a:lnTo>
                  <a:lnTo>
                    <a:pt x="337" y="244"/>
                  </a:lnTo>
                  <a:lnTo>
                    <a:pt x="337" y="244"/>
                  </a:lnTo>
                  <a:lnTo>
                    <a:pt x="341" y="244"/>
                  </a:lnTo>
                  <a:lnTo>
                    <a:pt x="341" y="244"/>
                  </a:lnTo>
                  <a:lnTo>
                    <a:pt x="341" y="239"/>
                  </a:lnTo>
                  <a:lnTo>
                    <a:pt x="341" y="239"/>
                  </a:lnTo>
                  <a:lnTo>
                    <a:pt x="341" y="239"/>
                  </a:lnTo>
                  <a:lnTo>
                    <a:pt x="345" y="235"/>
                  </a:lnTo>
                  <a:lnTo>
                    <a:pt x="345" y="235"/>
                  </a:lnTo>
                  <a:lnTo>
                    <a:pt x="345" y="235"/>
                  </a:lnTo>
                  <a:lnTo>
                    <a:pt x="345" y="231"/>
                  </a:lnTo>
                  <a:lnTo>
                    <a:pt x="345" y="231"/>
                  </a:lnTo>
                  <a:lnTo>
                    <a:pt x="345" y="226"/>
                  </a:lnTo>
                  <a:lnTo>
                    <a:pt x="345" y="226"/>
                  </a:lnTo>
                  <a:lnTo>
                    <a:pt x="345" y="226"/>
                  </a:lnTo>
                  <a:lnTo>
                    <a:pt x="345" y="226"/>
                  </a:lnTo>
                  <a:lnTo>
                    <a:pt x="345" y="226"/>
                  </a:lnTo>
                  <a:lnTo>
                    <a:pt x="345" y="226"/>
                  </a:lnTo>
                  <a:lnTo>
                    <a:pt x="345" y="226"/>
                  </a:lnTo>
                  <a:lnTo>
                    <a:pt x="341" y="226"/>
                  </a:lnTo>
                  <a:lnTo>
                    <a:pt x="345" y="226"/>
                  </a:lnTo>
                  <a:lnTo>
                    <a:pt x="345" y="222"/>
                  </a:lnTo>
                  <a:lnTo>
                    <a:pt x="345" y="222"/>
                  </a:lnTo>
                  <a:lnTo>
                    <a:pt x="345" y="222"/>
                  </a:lnTo>
                  <a:lnTo>
                    <a:pt x="345" y="222"/>
                  </a:lnTo>
                  <a:lnTo>
                    <a:pt x="345" y="217"/>
                  </a:lnTo>
                  <a:lnTo>
                    <a:pt x="345" y="217"/>
                  </a:lnTo>
                  <a:lnTo>
                    <a:pt x="341" y="222"/>
                  </a:lnTo>
                  <a:lnTo>
                    <a:pt x="341" y="222"/>
                  </a:lnTo>
                  <a:lnTo>
                    <a:pt x="341" y="222"/>
                  </a:lnTo>
                  <a:lnTo>
                    <a:pt x="341" y="222"/>
                  </a:lnTo>
                  <a:lnTo>
                    <a:pt x="341" y="222"/>
                  </a:lnTo>
                  <a:lnTo>
                    <a:pt x="341" y="222"/>
                  </a:lnTo>
                  <a:moveTo>
                    <a:pt x="71" y="213"/>
                  </a:moveTo>
                  <a:lnTo>
                    <a:pt x="71" y="213"/>
                  </a:lnTo>
                  <a:lnTo>
                    <a:pt x="71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71" y="217"/>
                  </a:lnTo>
                  <a:lnTo>
                    <a:pt x="71" y="217"/>
                  </a:lnTo>
                  <a:lnTo>
                    <a:pt x="71" y="213"/>
                  </a:lnTo>
                  <a:moveTo>
                    <a:pt x="62" y="213"/>
                  </a:move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17"/>
                  </a:lnTo>
                  <a:lnTo>
                    <a:pt x="62" y="217"/>
                  </a:lnTo>
                  <a:lnTo>
                    <a:pt x="62" y="217"/>
                  </a:lnTo>
                  <a:lnTo>
                    <a:pt x="62" y="217"/>
                  </a:lnTo>
                  <a:lnTo>
                    <a:pt x="62" y="217"/>
                  </a:lnTo>
                  <a:lnTo>
                    <a:pt x="62" y="217"/>
                  </a:lnTo>
                  <a:lnTo>
                    <a:pt x="62" y="217"/>
                  </a:lnTo>
                  <a:lnTo>
                    <a:pt x="62" y="217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2" y="213"/>
                  </a:lnTo>
                  <a:moveTo>
                    <a:pt x="58" y="204"/>
                  </a:moveTo>
                  <a:lnTo>
                    <a:pt x="58" y="204"/>
                  </a:lnTo>
                  <a:lnTo>
                    <a:pt x="58" y="204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3" y="200"/>
                  </a:lnTo>
                  <a:lnTo>
                    <a:pt x="53" y="200"/>
                  </a:lnTo>
                  <a:lnTo>
                    <a:pt x="53" y="204"/>
                  </a:lnTo>
                  <a:lnTo>
                    <a:pt x="53" y="204"/>
                  </a:lnTo>
                  <a:lnTo>
                    <a:pt x="53" y="204"/>
                  </a:lnTo>
                  <a:lnTo>
                    <a:pt x="53" y="204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13"/>
                  </a:lnTo>
                  <a:lnTo>
                    <a:pt x="49" y="217"/>
                  </a:lnTo>
                  <a:lnTo>
                    <a:pt x="49" y="217"/>
                  </a:lnTo>
                  <a:lnTo>
                    <a:pt x="49" y="217"/>
                  </a:lnTo>
                  <a:lnTo>
                    <a:pt x="49" y="217"/>
                  </a:lnTo>
                  <a:lnTo>
                    <a:pt x="49" y="217"/>
                  </a:lnTo>
                  <a:lnTo>
                    <a:pt x="49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8" y="217"/>
                  </a:lnTo>
                  <a:lnTo>
                    <a:pt x="58" y="217"/>
                  </a:lnTo>
                  <a:lnTo>
                    <a:pt x="58" y="217"/>
                  </a:lnTo>
                  <a:lnTo>
                    <a:pt x="58" y="217"/>
                  </a:lnTo>
                  <a:lnTo>
                    <a:pt x="58" y="217"/>
                  </a:lnTo>
                  <a:lnTo>
                    <a:pt x="58" y="217"/>
                  </a:lnTo>
                  <a:lnTo>
                    <a:pt x="58" y="217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17"/>
                  </a:lnTo>
                  <a:lnTo>
                    <a:pt x="58" y="217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58" y="204"/>
                  </a:lnTo>
                  <a:moveTo>
                    <a:pt x="257" y="195"/>
                  </a:moveTo>
                  <a:lnTo>
                    <a:pt x="252" y="195"/>
                  </a:lnTo>
                  <a:lnTo>
                    <a:pt x="252" y="195"/>
                  </a:lnTo>
                  <a:lnTo>
                    <a:pt x="252" y="200"/>
                  </a:lnTo>
                  <a:lnTo>
                    <a:pt x="252" y="200"/>
                  </a:lnTo>
                  <a:lnTo>
                    <a:pt x="252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57" y="200"/>
                  </a:lnTo>
                  <a:lnTo>
                    <a:pt x="261" y="200"/>
                  </a:lnTo>
                  <a:lnTo>
                    <a:pt x="261" y="200"/>
                  </a:lnTo>
                  <a:lnTo>
                    <a:pt x="261" y="200"/>
                  </a:lnTo>
                  <a:lnTo>
                    <a:pt x="261" y="200"/>
                  </a:lnTo>
                  <a:lnTo>
                    <a:pt x="261" y="200"/>
                  </a:lnTo>
                  <a:lnTo>
                    <a:pt x="261" y="204"/>
                  </a:lnTo>
                  <a:lnTo>
                    <a:pt x="257" y="204"/>
                  </a:lnTo>
                  <a:lnTo>
                    <a:pt x="261" y="204"/>
                  </a:lnTo>
                  <a:lnTo>
                    <a:pt x="261" y="204"/>
                  </a:lnTo>
                  <a:lnTo>
                    <a:pt x="261" y="204"/>
                  </a:lnTo>
                  <a:lnTo>
                    <a:pt x="261" y="204"/>
                  </a:lnTo>
                  <a:lnTo>
                    <a:pt x="261" y="204"/>
                  </a:lnTo>
                  <a:lnTo>
                    <a:pt x="261" y="204"/>
                  </a:lnTo>
                  <a:lnTo>
                    <a:pt x="261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4"/>
                  </a:lnTo>
                  <a:lnTo>
                    <a:pt x="266" y="200"/>
                  </a:lnTo>
                  <a:lnTo>
                    <a:pt x="261" y="200"/>
                  </a:lnTo>
                  <a:lnTo>
                    <a:pt x="261" y="200"/>
                  </a:lnTo>
                  <a:lnTo>
                    <a:pt x="261" y="200"/>
                  </a:lnTo>
                  <a:lnTo>
                    <a:pt x="261" y="200"/>
                  </a:lnTo>
                  <a:lnTo>
                    <a:pt x="261" y="195"/>
                  </a:lnTo>
                  <a:lnTo>
                    <a:pt x="261" y="195"/>
                  </a:lnTo>
                  <a:lnTo>
                    <a:pt x="261" y="195"/>
                  </a:lnTo>
                  <a:lnTo>
                    <a:pt x="261" y="195"/>
                  </a:lnTo>
                  <a:lnTo>
                    <a:pt x="257" y="191"/>
                  </a:lnTo>
                  <a:lnTo>
                    <a:pt x="257" y="191"/>
                  </a:lnTo>
                  <a:lnTo>
                    <a:pt x="257" y="191"/>
                  </a:lnTo>
                  <a:lnTo>
                    <a:pt x="257" y="195"/>
                  </a:lnTo>
                  <a:lnTo>
                    <a:pt x="257" y="195"/>
                  </a:lnTo>
                  <a:lnTo>
                    <a:pt x="257" y="195"/>
                  </a:lnTo>
                  <a:lnTo>
                    <a:pt x="257" y="195"/>
                  </a:lnTo>
                  <a:lnTo>
                    <a:pt x="257" y="195"/>
                  </a:lnTo>
                  <a:moveTo>
                    <a:pt x="244" y="253"/>
                  </a:moveTo>
                  <a:lnTo>
                    <a:pt x="244" y="253"/>
                  </a:lnTo>
                  <a:lnTo>
                    <a:pt x="244" y="253"/>
                  </a:lnTo>
                  <a:lnTo>
                    <a:pt x="244" y="253"/>
                  </a:lnTo>
                  <a:lnTo>
                    <a:pt x="244" y="253"/>
                  </a:lnTo>
                  <a:lnTo>
                    <a:pt x="244" y="253"/>
                  </a:lnTo>
                  <a:lnTo>
                    <a:pt x="244" y="253"/>
                  </a:lnTo>
                  <a:lnTo>
                    <a:pt x="244" y="253"/>
                  </a:lnTo>
                  <a:lnTo>
                    <a:pt x="244" y="253"/>
                  </a:lnTo>
                  <a:lnTo>
                    <a:pt x="248" y="253"/>
                  </a:lnTo>
                  <a:lnTo>
                    <a:pt x="248" y="253"/>
                  </a:lnTo>
                  <a:lnTo>
                    <a:pt x="248" y="253"/>
                  </a:lnTo>
                  <a:lnTo>
                    <a:pt x="248" y="253"/>
                  </a:lnTo>
                  <a:lnTo>
                    <a:pt x="248" y="253"/>
                  </a:lnTo>
                  <a:lnTo>
                    <a:pt x="248" y="253"/>
                  </a:lnTo>
                  <a:lnTo>
                    <a:pt x="248" y="257"/>
                  </a:lnTo>
                  <a:lnTo>
                    <a:pt x="248" y="257"/>
                  </a:lnTo>
                  <a:lnTo>
                    <a:pt x="248" y="257"/>
                  </a:lnTo>
                  <a:lnTo>
                    <a:pt x="248" y="257"/>
                  </a:lnTo>
                  <a:lnTo>
                    <a:pt x="248" y="257"/>
                  </a:lnTo>
                  <a:lnTo>
                    <a:pt x="248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7" y="257"/>
                  </a:lnTo>
                  <a:lnTo>
                    <a:pt x="257" y="257"/>
                  </a:lnTo>
                  <a:lnTo>
                    <a:pt x="257" y="262"/>
                  </a:lnTo>
                  <a:lnTo>
                    <a:pt x="257" y="262"/>
                  </a:lnTo>
                  <a:lnTo>
                    <a:pt x="257" y="262"/>
                  </a:lnTo>
                  <a:lnTo>
                    <a:pt x="257" y="257"/>
                  </a:lnTo>
                  <a:lnTo>
                    <a:pt x="261" y="257"/>
                  </a:lnTo>
                  <a:lnTo>
                    <a:pt x="261" y="257"/>
                  </a:lnTo>
                  <a:lnTo>
                    <a:pt x="261" y="257"/>
                  </a:lnTo>
                  <a:lnTo>
                    <a:pt x="261" y="253"/>
                  </a:lnTo>
                  <a:lnTo>
                    <a:pt x="261" y="253"/>
                  </a:lnTo>
                  <a:lnTo>
                    <a:pt x="261" y="253"/>
                  </a:lnTo>
                  <a:lnTo>
                    <a:pt x="261" y="248"/>
                  </a:lnTo>
                  <a:lnTo>
                    <a:pt x="261" y="248"/>
                  </a:lnTo>
                  <a:lnTo>
                    <a:pt x="257" y="248"/>
                  </a:lnTo>
                  <a:lnTo>
                    <a:pt x="257" y="248"/>
                  </a:lnTo>
                  <a:lnTo>
                    <a:pt x="257" y="248"/>
                  </a:lnTo>
                  <a:lnTo>
                    <a:pt x="252" y="248"/>
                  </a:lnTo>
                  <a:lnTo>
                    <a:pt x="252" y="248"/>
                  </a:lnTo>
                  <a:lnTo>
                    <a:pt x="252" y="248"/>
                  </a:lnTo>
                  <a:lnTo>
                    <a:pt x="248" y="248"/>
                  </a:lnTo>
                  <a:lnTo>
                    <a:pt x="248" y="248"/>
                  </a:lnTo>
                  <a:lnTo>
                    <a:pt x="248" y="244"/>
                  </a:lnTo>
                  <a:lnTo>
                    <a:pt x="248" y="244"/>
                  </a:lnTo>
                  <a:lnTo>
                    <a:pt x="248" y="244"/>
                  </a:lnTo>
                  <a:lnTo>
                    <a:pt x="248" y="244"/>
                  </a:lnTo>
                  <a:lnTo>
                    <a:pt x="244" y="244"/>
                  </a:lnTo>
                  <a:lnTo>
                    <a:pt x="244" y="244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9"/>
                  </a:lnTo>
                  <a:lnTo>
                    <a:pt x="244" y="235"/>
                  </a:lnTo>
                  <a:lnTo>
                    <a:pt x="244" y="235"/>
                  </a:lnTo>
                  <a:lnTo>
                    <a:pt x="244" y="235"/>
                  </a:lnTo>
                  <a:lnTo>
                    <a:pt x="244" y="235"/>
                  </a:lnTo>
                  <a:lnTo>
                    <a:pt x="244" y="231"/>
                  </a:lnTo>
                  <a:lnTo>
                    <a:pt x="244" y="231"/>
                  </a:lnTo>
                  <a:lnTo>
                    <a:pt x="239" y="231"/>
                  </a:lnTo>
                  <a:lnTo>
                    <a:pt x="239" y="231"/>
                  </a:lnTo>
                  <a:lnTo>
                    <a:pt x="244" y="231"/>
                  </a:lnTo>
                  <a:lnTo>
                    <a:pt x="244" y="231"/>
                  </a:lnTo>
                  <a:lnTo>
                    <a:pt x="239" y="226"/>
                  </a:lnTo>
                  <a:lnTo>
                    <a:pt x="239" y="226"/>
                  </a:lnTo>
                  <a:lnTo>
                    <a:pt x="244" y="222"/>
                  </a:lnTo>
                  <a:lnTo>
                    <a:pt x="244" y="222"/>
                  </a:lnTo>
                  <a:lnTo>
                    <a:pt x="244" y="222"/>
                  </a:lnTo>
                  <a:lnTo>
                    <a:pt x="239" y="217"/>
                  </a:lnTo>
                  <a:lnTo>
                    <a:pt x="239" y="217"/>
                  </a:lnTo>
                  <a:lnTo>
                    <a:pt x="239" y="217"/>
                  </a:lnTo>
                  <a:lnTo>
                    <a:pt x="239" y="213"/>
                  </a:lnTo>
                  <a:lnTo>
                    <a:pt x="239" y="213"/>
                  </a:lnTo>
                  <a:lnTo>
                    <a:pt x="239" y="213"/>
                  </a:lnTo>
                  <a:lnTo>
                    <a:pt x="239" y="213"/>
                  </a:lnTo>
                  <a:lnTo>
                    <a:pt x="239" y="213"/>
                  </a:lnTo>
                  <a:lnTo>
                    <a:pt x="235" y="213"/>
                  </a:lnTo>
                  <a:lnTo>
                    <a:pt x="235" y="213"/>
                  </a:lnTo>
                  <a:lnTo>
                    <a:pt x="230" y="213"/>
                  </a:lnTo>
                  <a:lnTo>
                    <a:pt x="230" y="213"/>
                  </a:lnTo>
                  <a:lnTo>
                    <a:pt x="230" y="213"/>
                  </a:lnTo>
                  <a:lnTo>
                    <a:pt x="230" y="213"/>
                  </a:lnTo>
                  <a:lnTo>
                    <a:pt x="230" y="213"/>
                  </a:lnTo>
                  <a:lnTo>
                    <a:pt x="226" y="213"/>
                  </a:lnTo>
                  <a:lnTo>
                    <a:pt x="226" y="213"/>
                  </a:lnTo>
                  <a:lnTo>
                    <a:pt x="221" y="213"/>
                  </a:lnTo>
                  <a:lnTo>
                    <a:pt x="221" y="213"/>
                  </a:lnTo>
                  <a:lnTo>
                    <a:pt x="217" y="208"/>
                  </a:lnTo>
                  <a:lnTo>
                    <a:pt x="217" y="208"/>
                  </a:lnTo>
                  <a:lnTo>
                    <a:pt x="217" y="208"/>
                  </a:lnTo>
                  <a:lnTo>
                    <a:pt x="217" y="208"/>
                  </a:lnTo>
                  <a:lnTo>
                    <a:pt x="217" y="204"/>
                  </a:lnTo>
                  <a:lnTo>
                    <a:pt x="217" y="204"/>
                  </a:lnTo>
                  <a:lnTo>
                    <a:pt x="213" y="208"/>
                  </a:lnTo>
                  <a:lnTo>
                    <a:pt x="213" y="208"/>
                  </a:lnTo>
                  <a:lnTo>
                    <a:pt x="213" y="208"/>
                  </a:lnTo>
                  <a:lnTo>
                    <a:pt x="213" y="204"/>
                  </a:lnTo>
                  <a:lnTo>
                    <a:pt x="213" y="204"/>
                  </a:lnTo>
                  <a:lnTo>
                    <a:pt x="208" y="204"/>
                  </a:lnTo>
                  <a:lnTo>
                    <a:pt x="208" y="204"/>
                  </a:lnTo>
                  <a:lnTo>
                    <a:pt x="208" y="204"/>
                  </a:lnTo>
                  <a:lnTo>
                    <a:pt x="208" y="204"/>
                  </a:lnTo>
                  <a:lnTo>
                    <a:pt x="208" y="204"/>
                  </a:lnTo>
                  <a:lnTo>
                    <a:pt x="208" y="204"/>
                  </a:lnTo>
                  <a:lnTo>
                    <a:pt x="208" y="204"/>
                  </a:lnTo>
                  <a:lnTo>
                    <a:pt x="204" y="204"/>
                  </a:lnTo>
                  <a:lnTo>
                    <a:pt x="204" y="200"/>
                  </a:lnTo>
                  <a:lnTo>
                    <a:pt x="204" y="200"/>
                  </a:lnTo>
                  <a:lnTo>
                    <a:pt x="204" y="200"/>
                  </a:lnTo>
                  <a:lnTo>
                    <a:pt x="204" y="200"/>
                  </a:lnTo>
                  <a:lnTo>
                    <a:pt x="204" y="195"/>
                  </a:lnTo>
                  <a:lnTo>
                    <a:pt x="199" y="195"/>
                  </a:lnTo>
                  <a:lnTo>
                    <a:pt x="199" y="195"/>
                  </a:lnTo>
                  <a:lnTo>
                    <a:pt x="199" y="195"/>
                  </a:lnTo>
                  <a:lnTo>
                    <a:pt x="199" y="191"/>
                  </a:lnTo>
                  <a:lnTo>
                    <a:pt x="199" y="191"/>
                  </a:lnTo>
                  <a:lnTo>
                    <a:pt x="199" y="191"/>
                  </a:lnTo>
                  <a:lnTo>
                    <a:pt x="199" y="191"/>
                  </a:lnTo>
                  <a:lnTo>
                    <a:pt x="195" y="191"/>
                  </a:lnTo>
                  <a:lnTo>
                    <a:pt x="195" y="191"/>
                  </a:lnTo>
                  <a:lnTo>
                    <a:pt x="195" y="191"/>
                  </a:lnTo>
                  <a:lnTo>
                    <a:pt x="195" y="186"/>
                  </a:lnTo>
                  <a:lnTo>
                    <a:pt x="195" y="186"/>
                  </a:lnTo>
                  <a:lnTo>
                    <a:pt x="195" y="186"/>
                  </a:lnTo>
                  <a:lnTo>
                    <a:pt x="190" y="186"/>
                  </a:lnTo>
                  <a:lnTo>
                    <a:pt x="190" y="191"/>
                  </a:lnTo>
                  <a:lnTo>
                    <a:pt x="190" y="191"/>
                  </a:lnTo>
                  <a:lnTo>
                    <a:pt x="186" y="191"/>
                  </a:lnTo>
                  <a:lnTo>
                    <a:pt x="186" y="191"/>
                  </a:lnTo>
                  <a:lnTo>
                    <a:pt x="186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3" y="200"/>
                  </a:lnTo>
                  <a:lnTo>
                    <a:pt x="173" y="200"/>
                  </a:lnTo>
                  <a:lnTo>
                    <a:pt x="173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4"/>
                  </a:lnTo>
                  <a:lnTo>
                    <a:pt x="173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186" y="200"/>
                  </a:lnTo>
                  <a:lnTo>
                    <a:pt x="186" y="200"/>
                  </a:lnTo>
                  <a:lnTo>
                    <a:pt x="186" y="200"/>
                  </a:lnTo>
                  <a:lnTo>
                    <a:pt x="186" y="200"/>
                  </a:lnTo>
                  <a:lnTo>
                    <a:pt x="190" y="200"/>
                  </a:lnTo>
                  <a:lnTo>
                    <a:pt x="195" y="204"/>
                  </a:lnTo>
                  <a:lnTo>
                    <a:pt x="195" y="204"/>
                  </a:lnTo>
                  <a:lnTo>
                    <a:pt x="195" y="208"/>
                  </a:lnTo>
                  <a:lnTo>
                    <a:pt x="195" y="208"/>
                  </a:lnTo>
                  <a:lnTo>
                    <a:pt x="195" y="208"/>
                  </a:lnTo>
                  <a:lnTo>
                    <a:pt x="195" y="208"/>
                  </a:lnTo>
                  <a:lnTo>
                    <a:pt x="199" y="208"/>
                  </a:lnTo>
                  <a:lnTo>
                    <a:pt x="199" y="208"/>
                  </a:lnTo>
                  <a:lnTo>
                    <a:pt x="199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3"/>
                  </a:lnTo>
                  <a:lnTo>
                    <a:pt x="204" y="217"/>
                  </a:lnTo>
                  <a:lnTo>
                    <a:pt x="204" y="217"/>
                  </a:lnTo>
                  <a:lnTo>
                    <a:pt x="204" y="217"/>
                  </a:lnTo>
                  <a:lnTo>
                    <a:pt x="204" y="217"/>
                  </a:lnTo>
                  <a:lnTo>
                    <a:pt x="208" y="217"/>
                  </a:lnTo>
                  <a:lnTo>
                    <a:pt x="208" y="217"/>
                  </a:lnTo>
                  <a:lnTo>
                    <a:pt x="208" y="217"/>
                  </a:lnTo>
                  <a:lnTo>
                    <a:pt x="213" y="222"/>
                  </a:lnTo>
                  <a:lnTo>
                    <a:pt x="213" y="222"/>
                  </a:lnTo>
                  <a:lnTo>
                    <a:pt x="213" y="222"/>
                  </a:lnTo>
                  <a:lnTo>
                    <a:pt x="213" y="222"/>
                  </a:lnTo>
                  <a:lnTo>
                    <a:pt x="213" y="222"/>
                  </a:lnTo>
                  <a:lnTo>
                    <a:pt x="213" y="222"/>
                  </a:lnTo>
                  <a:lnTo>
                    <a:pt x="213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13" y="226"/>
                  </a:lnTo>
                  <a:lnTo>
                    <a:pt x="213" y="226"/>
                  </a:lnTo>
                  <a:lnTo>
                    <a:pt x="213" y="231"/>
                  </a:lnTo>
                  <a:lnTo>
                    <a:pt x="213" y="231"/>
                  </a:lnTo>
                  <a:lnTo>
                    <a:pt x="213" y="231"/>
                  </a:lnTo>
                  <a:lnTo>
                    <a:pt x="217" y="231"/>
                  </a:lnTo>
                  <a:lnTo>
                    <a:pt x="217" y="231"/>
                  </a:lnTo>
                  <a:lnTo>
                    <a:pt x="221" y="231"/>
                  </a:lnTo>
                  <a:lnTo>
                    <a:pt x="221" y="231"/>
                  </a:lnTo>
                  <a:lnTo>
                    <a:pt x="221" y="231"/>
                  </a:lnTo>
                  <a:lnTo>
                    <a:pt x="221" y="231"/>
                  </a:lnTo>
                  <a:lnTo>
                    <a:pt x="221" y="231"/>
                  </a:lnTo>
                  <a:lnTo>
                    <a:pt x="226" y="231"/>
                  </a:lnTo>
                  <a:lnTo>
                    <a:pt x="226" y="231"/>
                  </a:lnTo>
                  <a:lnTo>
                    <a:pt x="230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1"/>
                  </a:lnTo>
                  <a:lnTo>
                    <a:pt x="235" y="235"/>
                  </a:lnTo>
                  <a:lnTo>
                    <a:pt x="235" y="235"/>
                  </a:lnTo>
                  <a:lnTo>
                    <a:pt x="235" y="235"/>
                  </a:lnTo>
                  <a:lnTo>
                    <a:pt x="235" y="235"/>
                  </a:lnTo>
                  <a:lnTo>
                    <a:pt x="230" y="235"/>
                  </a:lnTo>
                  <a:lnTo>
                    <a:pt x="235" y="235"/>
                  </a:lnTo>
                  <a:lnTo>
                    <a:pt x="235" y="235"/>
                  </a:lnTo>
                  <a:lnTo>
                    <a:pt x="235" y="235"/>
                  </a:lnTo>
                  <a:lnTo>
                    <a:pt x="239" y="235"/>
                  </a:lnTo>
                  <a:lnTo>
                    <a:pt x="235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5" y="239"/>
                  </a:lnTo>
                  <a:lnTo>
                    <a:pt x="235" y="239"/>
                  </a:lnTo>
                  <a:lnTo>
                    <a:pt x="235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44"/>
                  </a:lnTo>
                  <a:lnTo>
                    <a:pt x="239" y="244"/>
                  </a:lnTo>
                  <a:lnTo>
                    <a:pt x="239" y="244"/>
                  </a:lnTo>
                  <a:lnTo>
                    <a:pt x="239" y="244"/>
                  </a:lnTo>
                  <a:lnTo>
                    <a:pt x="239" y="244"/>
                  </a:lnTo>
                  <a:lnTo>
                    <a:pt x="239" y="244"/>
                  </a:lnTo>
                  <a:lnTo>
                    <a:pt x="239" y="244"/>
                  </a:lnTo>
                  <a:lnTo>
                    <a:pt x="244" y="244"/>
                  </a:lnTo>
                  <a:lnTo>
                    <a:pt x="244" y="248"/>
                  </a:lnTo>
                  <a:lnTo>
                    <a:pt x="244" y="248"/>
                  </a:lnTo>
                  <a:lnTo>
                    <a:pt x="239" y="248"/>
                  </a:lnTo>
                  <a:lnTo>
                    <a:pt x="239" y="248"/>
                  </a:lnTo>
                  <a:lnTo>
                    <a:pt x="239" y="248"/>
                  </a:lnTo>
                  <a:lnTo>
                    <a:pt x="244" y="248"/>
                  </a:lnTo>
                  <a:lnTo>
                    <a:pt x="244" y="248"/>
                  </a:lnTo>
                  <a:lnTo>
                    <a:pt x="244" y="253"/>
                  </a:lnTo>
                  <a:lnTo>
                    <a:pt x="244" y="253"/>
                  </a:lnTo>
                  <a:moveTo>
                    <a:pt x="199" y="182"/>
                  </a:moveTo>
                  <a:lnTo>
                    <a:pt x="199" y="182"/>
                  </a:lnTo>
                  <a:lnTo>
                    <a:pt x="204" y="182"/>
                  </a:lnTo>
                  <a:lnTo>
                    <a:pt x="204" y="182"/>
                  </a:lnTo>
                  <a:lnTo>
                    <a:pt x="204" y="182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199" y="182"/>
                  </a:lnTo>
                  <a:lnTo>
                    <a:pt x="199" y="182"/>
                  </a:lnTo>
                  <a:lnTo>
                    <a:pt x="199" y="182"/>
                  </a:lnTo>
                  <a:lnTo>
                    <a:pt x="199" y="182"/>
                  </a:lnTo>
                  <a:moveTo>
                    <a:pt x="217" y="177"/>
                  </a:moveTo>
                  <a:lnTo>
                    <a:pt x="213" y="177"/>
                  </a:lnTo>
                  <a:lnTo>
                    <a:pt x="213" y="177"/>
                  </a:lnTo>
                  <a:lnTo>
                    <a:pt x="213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13" y="177"/>
                  </a:lnTo>
                  <a:lnTo>
                    <a:pt x="213" y="177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86"/>
                  </a:lnTo>
                  <a:lnTo>
                    <a:pt x="217" y="186"/>
                  </a:lnTo>
                  <a:lnTo>
                    <a:pt x="217" y="186"/>
                  </a:lnTo>
                  <a:lnTo>
                    <a:pt x="217" y="186"/>
                  </a:lnTo>
                  <a:lnTo>
                    <a:pt x="217" y="182"/>
                  </a:lnTo>
                  <a:lnTo>
                    <a:pt x="221" y="182"/>
                  </a:lnTo>
                  <a:lnTo>
                    <a:pt x="221" y="182"/>
                  </a:lnTo>
                  <a:lnTo>
                    <a:pt x="217" y="182"/>
                  </a:lnTo>
                  <a:lnTo>
                    <a:pt x="217" y="182"/>
                  </a:lnTo>
                  <a:lnTo>
                    <a:pt x="217" y="182"/>
                  </a:lnTo>
                  <a:lnTo>
                    <a:pt x="217" y="182"/>
                  </a:lnTo>
                  <a:lnTo>
                    <a:pt x="217" y="177"/>
                  </a:lnTo>
                  <a:moveTo>
                    <a:pt x="31" y="177"/>
                  </a:moveTo>
                  <a:lnTo>
                    <a:pt x="27" y="173"/>
                  </a:lnTo>
                  <a:lnTo>
                    <a:pt x="27" y="173"/>
                  </a:lnTo>
                  <a:lnTo>
                    <a:pt x="27" y="173"/>
                  </a:lnTo>
                  <a:lnTo>
                    <a:pt x="27" y="173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31" y="177"/>
                  </a:lnTo>
                  <a:lnTo>
                    <a:pt x="31" y="177"/>
                  </a:lnTo>
                  <a:moveTo>
                    <a:pt x="363" y="191"/>
                  </a:moveTo>
                  <a:lnTo>
                    <a:pt x="363" y="191"/>
                  </a:lnTo>
                  <a:lnTo>
                    <a:pt x="363" y="191"/>
                  </a:lnTo>
                  <a:lnTo>
                    <a:pt x="363" y="191"/>
                  </a:lnTo>
                  <a:lnTo>
                    <a:pt x="363" y="191"/>
                  </a:lnTo>
                  <a:lnTo>
                    <a:pt x="363" y="191"/>
                  </a:lnTo>
                  <a:lnTo>
                    <a:pt x="363" y="186"/>
                  </a:lnTo>
                  <a:lnTo>
                    <a:pt x="359" y="186"/>
                  </a:lnTo>
                  <a:lnTo>
                    <a:pt x="359" y="182"/>
                  </a:lnTo>
                  <a:lnTo>
                    <a:pt x="359" y="182"/>
                  </a:lnTo>
                  <a:lnTo>
                    <a:pt x="363" y="182"/>
                  </a:lnTo>
                  <a:lnTo>
                    <a:pt x="363" y="182"/>
                  </a:lnTo>
                  <a:lnTo>
                    <a:pt x="363" y="182"/>
                  </a:lnTo>
                  <a:lnTo>
                    <a:pt x="363" y="182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86"/>
                  </a:lnTo>
                  <a:lnTo>
                    <a:pt x="363" y="191"/>
                  </a:lnTo>
                  <a:lnTo>
                    <a:pt x="368" y="191"/>
                  </a:lnTo>
                  <a:lnTo>
                    <a:pt x="368" y="191"/>
                  </a:lnTo>
                  <a:lnTo>
                    <a:pt x="368" y="191"/>
                  </a:lnTo>
                  <a:lnTo>
                    <a:pt x="368" y="191"/>
                  </a:lnTo>
                  <a:lnTo>
                    <a:pt x="368" y="186"/>
                  </a:lnTo>
                  <a:lnTo>
                    <a:pt x="368" y="186"/>
                  </a:lnTo>
                  <a:lnTo>
                    <a:pt x="368" y="186"/>
                  </a:lnTo>
                  <a:lnTo>
                    <a:pt x="368" y="186"/>
                  </a:lnTo>
                  <a:lnTo>
                    <a:pt x="368" y="182"/>
                  </a:lnTo>
                  <a:lnTo>
                    <a:pt x="368" y="182"/>
                  </a:lnTo>
                  <a:lnTo>
                    <a:pt x="368" y="182"/>
                  </a:lnTo>
                  <a:lnTo>
                    <a:pt x="368" y="182"/>
                  </a:lnTo>
                  <a:lnTo>
                    <a:pt x="363" y="182"/>
                  </a:lnTo>
                  <a:lnTo>
                    <a:pt x="363" y="182"/>
                  </a:lnTo>
                  <a:lnTo>
                    <a:pt x="363" y="182"/>
                  </a:lnTo>
                  <a:lnTo>
                    <a:pt x="363" y="182"/>
                  </a:lnTo>
                  <a:lnTo>
                    <a:pt x="363" y="177"/>
                  </a:lnTo>
                  <a:lnTo>
                    <a:pt x="363" y="177"/>
                  </a:lnTo>
                  <a:lnTo>
                    <a:pt x="363" y="177"/>
                  </a:lnTo>
                  <a:lnTo>
                    <a:pt x="363" y="177"/>
                  </a:lnTo>
                  <a:lnTo>
                    <a:pt x="363" y="173"/>
                  </a:lnTo>
                  <a:lnTo>
                    <a:pt x="363" y="173"/>
                  </a:lnTo>
                  <a:lnTo>
                    <a:pt x="359" y="173"/>
                  </a:lnTo>
                  <a:lnTo>
                    <a:pt x="359" y="173"/>
                  </a:lnTo>
                  <a:lnTo>
                    <a:pt x="359" y="173"/>
                  </a:lnTo>
                  <a:lnTo>
                    <a:pt x="354" y="173"/>
                  </a:lnTo>
                  <a:lnTo>
                    <a:pt x="359" y="169"/>
                  </a:lnTo>
                  <a:lnTo>
                    <a:pt x="359" y="169"/>
                  </a:lnTo>
                  <a:lnTo>
                    <a:pt x="359" y="169"/>
                  </a:lnTo>
                  <a:lnTo>
                    <a:pt x="354" y="169"/>
                  </a:lnTo>
                  <a:lnTo>
                    <a:pt x="354" y="164"/>
                  </a:lnTo>
                  <a:lnTo>
                    <a:pt x="354" y="164"/>
                  </a:lnTo>
                  <a:lnTo>
                    <a:pt x="354" y="164"/>
                  </a:lnTo>
                  <a:lnTo>
                    <a:pt x="345" y="164"/>
                  </a:lnTo>
                  <a:lnTo>
                    <a:pt x="345" y="164"/>
                  </a:lnTo>
                  <a:lnTo>
                    <a:pt x="345" y="169"/>
                  </a:lnTo>
                  <a:lnTo>
                    <a:pt x="345" y="169"/>
                  </a:lnTo>
                  <a:lnTo>
                    <a:pt x="345" y="169"/>
                  </a:lnTo>
                  <a:lnTo>
                    <a:pt x="341" y="169"/>
                  </a:lnTo>
                  <a:lnTo>
                    <a:pt x="341" y="169"/>
                  </a:lnTo>
                  <a:lnTo>
                    <a:pt x="341" y="169"/>
                  </a:lnTo>
                  <a:lnTo>
                    <a:pt x="341" y="169"/>
                  </a:lnTo>
                  <a:lnTo>
                    <a:pt x="341" y="169"/>
                  </a:lnTo>
                  <a:lnTo>
                    <a:pt x="341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73"/>
                  </a:lnTo>
                  <a:lnTo>
                    <a:pt x="337" y="169"/>
                  </a:lnTo>
                  <a:lnTo>
                    <a:pt x="337" y="173"/>
                  </a:lnTo>
                  <a:lnTo>
                    <a:pt x="332" y="173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32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3"/>
                  </a:lnTo>
                  <a:lnTo>
                    <a:pt x="328" y="177"/>
                  </a:lnTo>
                  <a:lnTo>
                    <a:pt x="328" y="177"/>
                  </a:lnTo>
                  <a:lnTo>
                    <a:pt x="328" y="177"/>
                  </a:lnTo>
                  <a:lnTo>
                    <a:pt x="328" y="177"/>
                  </a:lnTo>
                  <a:lnTo>
                    <a:pt x="328" y="177"/>
                  </a:lnTo>
                  <a:lnTo>
                    <a:pt x="328" y="177"/>
                  </a:lnTo>
                  <a:lnTo>
                    <a:pt x="332" y="182"/>
                  </a:lnTo>
                  <a:lnTo>
                    <a:pt x="332" y="182"/>
                  </a:lnTo>
                  <a:lnTo>
                    <a:pt x="332" y="182"/>
                  </a:lnTo>
                  <a:lnTo>
                    <a:pt x="332" y="182"/>
                  </a:lnTo>
                  <a:lnTo>
                    <a:pt x="332" y="182"/>
                  </a:lnTo>
                  <a:lnTo>
                    <a:pt x="332" y="182"/>
                  </a:lnTo>
                  <a:lnTo>
                    <a:pt x="337" y="182"/>
                  </a:lnTo>
                  <a:lnTo>
                    <a:pt x="341" y="182"/>
                  </a:lnTo>
                  <a:lnTo>
                    <a:pt x="341" y="182"/>
                  </a:lnTo>
                  <a:lnTo>
                    <a:pt x="341" y="182"/>
                  </a:lnTo>
                  <a:lnTo>
                    <a:pt x="345" y="177"/>
                  </a:lnTo>
                  <a:lnTo>
                    <a:pt x="345" y="177"/>
                  </a:lnTo>
                  <a:lnTo>
                    <a:pt x="345" y="177"/>
                  </a:lnTo>
                  <a:lnTo>
                    <a:pt x="345" y="177"/>
                  </a:lnTo>
                  <a:lnTo>
                    <a:pt x="345" y="177"/>
                  </a:lnTo>
                  <a:lnTo>
                    <a:pt x="345" y="177"/>
                  </a:lnTo>
                  <a:lnTo>
                    <a:pt x="350" y="177"/>
                  </a:lnTo>
                  <a:lnTo>
                    <a:pt x="350" y="177"/>
                  </a:lnTo>
                  <a:lnTo>
                    <a:pt x="350" y="177"/>
                  </a:lnTo>
                  <a:lnTo>
                    <a:pt x="350" y="177"/>
                  </a:lnTo>
                  <a:lnTo>
                    <a:pt x="350" y="177"/>
                  </a:lnTo>
                  <a:lnTo>
                    <a:pt x="350" y="177"/>
                  </a:lnTo>
                  <a:lnTo>
                    <a:pt x="350" y="177"/>
                  </a:lnTo>
                  <a:lnTo>
                    <a:pt x="350" y="177"/>
                  </a:lnTo>
                  <a:lnTo>
                    <a:pt x="350" y="182"/>
                  </a:lnTo>
                  <a:lnTo>
                    <a:pt x="350" y="182"/>
                  </a:lnTo>
                  <a:lnTo>
                    <a:pt x="350" y="182"/>
                  </a:lnTo>
                  <a:lnTo>
                    <a:pt x="345" y="182"/>
                  </a:lnTo>
                  <a:lnTo>
                    <a:pt x="345" y="182"/>
                  </a:lnTo>
                  <a:lnTo>
                    <a:pt x="345" y="182"/>
                  </a:lnTo>
                  <a:lnTo>
                    <a:pt x="345" y="182"/>
                  </a:lnTo>
                  <a:lnTo>
                    <a:pt x="345" y="182"/>
                  </a:lnTo>
                  <a:lnTo>
                    <a:pt x="341" y="182"/>
                  </a:lnTo>
                  <a:lnTo>
                    <a:pt x="341" y="182"/>
                  </a:lnTo>
                  <a:lnTo>
                    <a:pt x="341" y="182"/>
                  </a:lnTo>
                  <a:lnTo>
                    <a:pt x="341" y="182"/>
                  </a:lnTo>
                  <a:lnTo>
                    <a:pt x="341" y="182"/>
                  </a:lnTo>
                  <a:lnTo>
                    <a:pt x="341" y="186"/>
                  </a:lnTo>
                  <a:lnTo>
                    <a:pt x="341" y="186"/>
                  </a:lnTo>
                  <a:lnTo>
                    <a:pt x="341" y="186"/>
                  </a:lnTo>
                  <a:lnTo>
                    <a:pt x="341" y="186"/>
                  </a:lnTo>
                  <a:lnTo>
                    <a:pt x="341" y="186"/>
                  </a:lnTo>
                  <a:lnTo>
                    <a:pt x="345" y="186"/>
                  </a:lnTo>
                  <a:lnTo>
                    <a:pt x="345" y="186"/>
                  </a:lnTo>
                  <a:lnTo>
                    <a:pt x="345" y="191"/>
                  </a:lnTo>
                  <a:lnTo>
                    <a:pt x="350" y="191"/>
                  </a:lnTo>
                  <a:lnTo>
                    <a:pt x="350" y="191"/>
                  </a:lnTo>
                  <a:lnTo>
                    <a:pt x="354" y="191"/>
                  </a:lnTo>
                  <a:lnTo>
                    <a:pt x="354" y="191"/>
                  </a:lnTo>
                  <a:lnTo>
                    <a:pt x="354" y="191"/>
                  </a:lnTo>
                  <a:lnTo>
                    <a:pt x="354" y="191"/>
                  </a:lnTo>
                  <a:lnTo>
                    <a:pt x="359" y="191"/>
                  </a:lnTo>
                  <a:lnTo>
                    <a:pt x="359" y="191"/>
                  </a:lnTo>
                  <a:lnTo>
                    <a:pt x="363" y="191"/>
                  </a:lnTo>
                  <a:lnTo>
                    <a:pt x="363" y="191"/>
                  </a:lnTo>
                  <a:lnTo>
                    <a:pt x="363" y="191"/>
                  </a:lnTo>
                  <a:lnTo>
                    <a:pt x="363" y="191"/>
                  </a:lnTo>
                  <a:moveTo>
                    <a:pt x="27" y="164"/>
                  </a:moveTo>
                  <a:lnTo>
                    <a:pt x="27" y="160"/>
                  </a:lnTo>
                  <a:lnTo>
                    <a:pt x="27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3" y="151"/>
                  </a:lnTo>
                  <a:lnTo>
                    <a:pt x="13" y="151"/>
                  </a:lnTo>
                  <a:lnTo>
                    <a:pt x="18" y="151"/>
                  </a:lnTo>
                  <a:lnTo>
                    <a:pt x="18" y="151"/>
                  </a:lnTo>
                  <a:lnTo>
                    <a:pt x="18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3" y="138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9" y="133"/>
                  </a:lnTo>
                  <a:lnTo>
                    <a:pt x="9" y="138"/>
                  </a:lnTo>
                  <a:lnTo>
                    <a:pt x="9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5" y="142"/>
                  </a:lnTo>
                  <a:lnTo>
                    <a:pt x="5" y="142"/>
                  </a:lnTo>
                  <a:lnTo>
                    <a:pt x="5" y="142"/>
                  </a:lnTo>
                  <a:lnTo>
                    <a:pt x="5" y="142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13" y="151"/>
                  </a:lnTo>
                  <a:lnTo>
                    <a:pt x="13" y="155"/>
                  </a:lnTo>
                  <a:lnTo>
                    <a:pt x="13" y="155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4"/>
                  </a:lnTo>
                  <a:lnTo>
                    <a:pt x="22" y="164"/>
                  </a:lnTo>
                  <a:lnTo>
                    <a:pt x="22" y="164"/>
                  </a:lnTo>
                  <a:lnTo>
                    <a:pt x="22" y="164"/>
                  </a:lnTo>
                  <a:lnTo>
                    <a:pt x="22" y="164"/>
                  </a:lnTo>
                  <a:lnTo>
                    <a:pt x="22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4"/>
                  </a:lnTo>
                  <a:moveTo>
                    <a:pt x="297" y="124"/>
                  </a:moveTo>
                  <a:lnTo>
                    <a:pt x="297" y="124"/>
                  </a:lnTo>
                  <a:lnTo>
                    <a:pt x="297" y="120"/>
                  </a:lnTo>
                  <a:lnTo>
                    <a:pt x="297" y="120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2" y="120"/>
                  </a:lnTo>
                  <a:lnTo>
                    <a:pt x="292" y="120"/>
                  </a:lnTo>
                  <a:lnTo>
                    <a:pt x="292" y="120"/>
                  </a:lnTo>
                  <a:lnTo>
                    <a:pt x="288" y="124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88" y="124"/>
                  </a:lnTo>
                  <a:lnTo>
                    <a:pt x="288" y="124"/>
                  </a:lnTo>
                  <a:lnTo>
                    <a:pt x="288" y="124"/>
                  </a:lnTo>
                  <a:lnTo>
                    <a:pt x="288" y="124"/>
                  </a:lnTo>
                  <a:lnTo>
                    <a:pt x="288" y="124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29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8"/>
                  </a:lnTo>
                  <a:lnTo>
                    <a:pt x="297" y="138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2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8"/>
                  </a:lnTo>
                  <a:lnTo>
                    <a:pt x="301" y="138"/>
                  </a:lnTo>
                  <a:lnTo>
                    <a:pt x="301" y="138"/>
                  </a:lnTo>
                  <a:lnTo>
                    <a:pt x="301" y="138"/>
                  </a:lnTo>
                  <a:lnTo>
                    <a:pt x="301" y="138"/>
                  </a:lnTo>
                  <a:lnTo>
                    <a:pt x="301" y="138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29"/>
                  </a:lnTo>
                  <a:lnTo>
                    <a:pt x="301" y="129"/>
                  </a:lnTo>
                  <a:lnTo>
                    <a:pt x="301" y="129"/>
                  </a:lnTo>
                  <a:lnTo>
                    <a:pt x="301" y="129"/>
                  </a:lnTo>
                  <a:lnTo>
                    <a:pt x="301" y="129"/>
                  </a:lnTo>
                  <a:lnTo>
                    <a:pt x="301" y="129"/>
                  </a:lnTo>
                  <a:lnTo>
                    <a:pt x="301" y="129"/>
                  </a:lnTo>
                  <a:lnTo>
                    <a:pt x="301" y="129"/>
                  </a:lnTo>
                  <a:lnTo>
                    <a:pt x="306" y="129"/>
                  </a:lnTo>
                  <a:lnTo>
                    <a:pt x="306" y="129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1" y="120"/>
                  </a:lnTo>
                  <a:lnTo>
                    <a:pt x="301" y="124"/>
                  </a:lnTo>
                  <a:lnTo>
                    <a:pt x="301" y="124"/>
                  </a:lnTo>
                  <a:lnTo>
                    <a:pt x="301" y="124"/>
                  </a:lnTo>
                  <a:lnTo>
                    <a:pt x="301" y="124"/>
                  </a:lnTo>
                  <a:lnTo>
                    <a:pt x="297" y="124"/>
                  </a:lnTo>
                  <a:lnTo>
                    <a:pt x="297" y="124"/>
                  </a:lnTo>
                  <a:lnTo>
                    <a:pt x="297" y="124"/>
                  </a:lnTo>
                  <a:moveTo>
                    <a:pt x="319" y="89"/>
                  </a:moveTo>
                  <a:lnTo>
                    <a:pt x="319" y="89"/>
                  </a:lnTo>
                  <a:lnTo>
                    <a:pt x="319" y="89"/>
                  </a:lnTo>
                  <a:lnTo>
                    <a:pt x="314" y="84"/>
                  </a:lnTo>
                  <a:lnTo>
                    <a:pt x="314" y="84"/>
                  </a:lnTo>
                  <a:lnTo>
                    <a:pt x="310" y="89"/>
                  </a:lnTo>
                  <a:lnTo>
                    <a:pt x="310" y="89"/>
                  </a:lnTo>
                  <a:lnTo>
                    <a:pt x="306" y="89"/>
                  </a:lnTo>
                  <a:lnTo>
                    <a:pt x="306" y="89"/>
                  </a:lnTo>
                  <a:lnTo>
                    <a:pt x="310" y="89"/>
                  </a:lnTo>
                  <a:lnTo>
                    <a:pt x="310" y="93"/>
                  </a:lnTo>
                  <a:lnTo>
                    <a:pt x="314" y="93"/>
                  </a:lnTo>
                  <a:lnTo>
                    <a:pt x="314" y="93"/>
                  </a:lnTo>
                  <a:lnTo>
                    <a:pt x="319" y="93"/>
                  </a:lnTo>
                  <a:lnTo>
                    <a:pt x="319" y="93"/>
                  </a:lnTo>
                  <a:lnTo>
                    <a:pt x="319" y="93"/>
                  </a:lnTo>
                  <a:lnTo>
                    <a:pt x="319" y="89"/>
                  </a:lnTo>
                  <a:lnTo>
                    <a:pt x="319" y="89"/>
                  </a:lnTo>
                  <a:moveTo>
                    <a:pt x="275" y="71"/>
                  </a:moveTo>
                  <a:lnTo>
                    <a:pt x="270" y="71"/>
                  </a:lnTo>
                  <a:lnTo>
                    <a:pt x="270" y="71"/>
                  </a:lnTo>
                  <a:lnTo>
                    <a:pt x="270" y="71"/>
                  </a:lnTo>
                  <a:lnTo>
                    <a:pt x="270" y="71"/>
                  </a:lnTo>
                  <a:lnTo>
                    <a:pt x="270" y="71"/>
                  </a:lnTo>
                  <a:lnTo>
                    <a:pt x="270" y="71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1" y="71"/>
                  </a:lnTo>
                  <a:lnTo>
                    <a:pt x="261" y="71"/>
                  </a:lnTo>
                  <a:lnTo>
                    <a:pt x="257" y="76"/>
                  </a:lnTo>
                  <a:lnTo>
                    <a:pt x="257" y="76"/>
                  </a:lnTo>
                  <a:lnTo>
                    <a:pt x="257" y="80"/>
                  </a:lnTo>
                  <a:lnTo>
                    <a:pt x="257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1" y="80"/>
                  </a:lnTo>
                  <a:lnTo>
                    <a:pt x="266" y="80"/>
                  </a:lnTo>
                  <a:lnTo>
                    <a:pt x="266" y="80"/>
                  </a:lnTo>
                  <a:lnTo>
                    <a:pt x="266" y="84"/>
                  </a:lnTo>
                  <a:lnTo>
                    <a:pt x="266" y="84"/>
                  </a:lnTo>
                  <a:lnTo>
                    <a:pt x="266" y="80"/>
                  </a:lnTo>
                  <a:lnTo>
                    <a:pt x="266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76"/>
                  </a:lnTo>
                  <a:lnTo>
                    <a:pt x="270" y="76"/>
                  </a:lnTo>
                  <a:lnTo>
                    <a:pt x="275" y="76"/>
                  </a:lnTo>
                  <a:lnTo>
                    <a:pt x="275" y="71"/>
                  </a:lnTo>
                  <a:lnTo>
                    <a:pt x="270" y="71"/>
                  </a:lnTo>
                  <a:lnTo>
                    <a:pt x="270" y="71"/>
                  </a:lnTo>
                  <a:lnTo>
                    <a:pt x="270" y="71"/>
                  </a:lnTo>
                  <a:lnTo>
                    <a:pt x="275" y="71"/>
                  </a:lnTo>
                  <a:moveTo>
                    <a:pt x="190" y="301"/>
                  </a:moveTo>
                  <a:lnTo>
                    <a:pt x="190" y="301"/>
                  </a:lnTo>
                  <a:lnTo>
                    <a:pt x="190" y="301"/>
                  </a:lnTo>
                  <a:lnTo>
                    <a:pt x="190" y="297"/>
                  </a:lnTo>
                  <a:lnTo>
                    <a:pt x="190" y="297"/>
                  </a:lnTo>
                  <a:lnTo>
                    <a:pt x="190" y="297"/>
                  </a:lnTo>
                  <a:lnTo>
                    <a:pt x="190" y="297"/>
                  </a:lnTo>
                  <a:lnTo>
                    <a:pt x="190" y="297"/>
                  </a:lnTo>
                  <a:lnTo>
                    <a:pt x="190" y="297"/>
                  </a:lnTo>
                  <a:lnTo>
                    <a:pt x="190" y="297"/>
                  </a:lnTo>
                  <a:lnTo>
                    <a:pt x="195" y="297"/>
                  </a:lnTo>
                  <a:lnTo>
                    <a:pt x="195" y="297"/>
                  </a:lnTo>
                  <a:lnTo>
                    <a:pt x="195" y="297"/>
                  </a:lnTo>
                  <a:lnTo>
                    <a:pt x="195" y="297"/>
                  </a:lnTo>
                  <a:lnTo>
                    <a:pt x="195" y="297"/>
                  </a:lnTo>
                  <a:lnTo>
                    <a:pt x="195" y="297"/>
                  </a:lnTo>
                  <a:lnTo>
                    <a:pt x="195" y="297"/>
                  </a:lnTo>
                  <a:lnTo>
                    <a:pt x="204" y="297"/>
                  </a:lnTo>
                  <a:lnTo>
                    <a:pt x="204" y="297"/>
                  </a:lnTo>
                  <a:lnTo>
                    <a:pt x="204" y="297"/>
                  </a:lnTo>
                  <a:lnTo>
                    <a:pt x="208" y="293"/>
                  </a:lnTo>
                  <a:lnTo>
                    <a:pt x="208" y="293"/>
                  </a:lnTo>
                  <a:lnTo>
                    <a:pt x="204" y="293"/>
                  </a:lnTo>
                  <a:lnTo>
                    <a:pt x="204" y="293"/>
                  </a:lnTo>
                  <a:lnTo>
                    <a:pt x="204" y="293"/>
                  </a:lnTo>
                  <a:lnTo>
                    <a:pt x="208" y="293"/>
                  </a:lnTo>
                  <a:lnTo>
                    <a:pt x="204" y="293"/>
                  </a:lnTo>
                  <a:lnTo>
                    <a:pt x="204" y="293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4"/>
                  </a:lnTo>
                  <a:lnTo>
                    <a:pt x="199" y="284"/>
                  </a:lnTo>
                  <a:lnTo>
                    <a:pt x="199" y="284"/>
                  </a:lnTo>
                  <a:lnTo>
                    <a:pt x="199" y="279"/>
                  </a:lnTo>
                  <a:lnTo>
                    <a:pt x="195" y="284"/>
                  </a:lnTo>
                  <a:lnTo>
                    <a:pt x="195" y="284"/>
                  </a:lnTo>
                  <a:lnTo>
                    <a:pt x="195" y="284"/>
                  </a:lnTo>
                  <a:lnTo>
                    <a:pt x="195" y="284"/>
                  </a:lnTo>
                  <a:lnTo>
                    <a:pt x="195" y="284"/>
                  </a:lnTo>
                  <a:lnTo>
                    <a:pt x="199" y="284"/>
                  </a:lnTo>
                  <a:lnTo>
                    <a:pt x="199" y="288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0" y="284"/>
                  </a:lnTo>
                  <a:lnTo>
                    <a:pt x="190" y="284"/>
                  </a:lnTo>
                  <a:lnTo>
                    <a:pt x="190" y="284"/>
                  </a:lnTo>
                  <a:lnTo>
                    <a:pt x="186" y="284"/>
                  </a:lnTo>
                  <a:lnTo>
                    <a:pt x="186" y="284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77" y="266"/>
                  </a:lnTo>
                  <a:lnTo>
                    <a:pt x="177" y="266"/>
                  </a:lnTo>
                  <a:lnTo>
                    <a:pt x="177" y="266"/>
                  </a:lnTo>
                  <a:lnTo>
                    <a:pt x="177" y="266"/>
                  </a:lnTo>
                  <a:lnTo>
                    <a:pt x="177" y="266"/>
                  </a:lnTo>
                  <a:lnTo>
                    <a:pt x="177" y="262"/>
                  </a:lnTo>
                  <a:lnTo>
                    <a:pt x="177" y="262"/>
                  </a:lnTo>
                  <a:lnTo>
                    <a:pt x="177" y="262"/>
                  </a:lnTo>
                  <a:lnTo>
                    <a:pt x="182" y="262"/>
                  </a:lnTo>
                  <a:lnTo>
                    <a:pt x="182" y="262"/>
                  </a:lnTo>
                  <a:lnTo>
                    <a:pt x="182" y="262"/>
                  </a:lnTo>
                  <a:lnTo>
                    <a:pt x="182" y="262"/>
                  </a:lnTo>
                  <a:lnTo>
                    <a:pt x="182" y="262"/>
                  </a:lnTo>
                  <a:lnTo>
                    <a:pt x="186" y="262"/>
                  </a:lnTo>
                  <a:lnTo>
                    <a:pt x="186" y="262"/>
                  </a:lnTo>
                  <a:lnTo>
                    <a:pt x="186" y="262"/>
                  </a:lnTo>
                  <a:lnTo>
                    <a:pt x="190" y="257"/>
                  </a:lnTo>
                  <a:lnTo>
                    <a:pt x="195" y="257"/>
                  </a:lnTo>
                  <a:lnTo>
                    <a:pt x="199" y="257"/>
                  </a:lnTo>
                  <a:lnTo>
                    <a:pt x="199" y="257"/>
                  </a:lnTo>
                  <a:lnTo>
                    <a:pt x="199" y="257"/>
                  </a:lnTo>
                  <a:lnTo>
                    <a:pt x="199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3"/>
                  </a:lnTo>
                  <a:lnTo>
                    <a:pt x="204" y="253"/>
                  </a:lnTo>
                  <a:lnTo>
                    <a:pt x="204" y="253"/>
                  </a:lnTo>
                  <a:lnTo>
                    <a:pt x="208" y="253"/>
                  </a:lnTo>
                  <a:lnTo>
                    <a:pt x="208" y="253"/>
                  </a:lnTo>
                  <a:lnTo>
                    <a:pt x="208" y="253"/>
                  </a:lnTo>
                  <a:lnTo>
                    <a:pt x="208" y="253"/>
                  </a:lnTo>
                  <a:lnTo>
                    <a:pt x="208" y="253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08" y="257"/>
                  </a:lnTo>
                  <a:lnTo>
                    <a:pt x="208" y="262"/>
                  </a:lnTo>
                  <a:lnTo>
                    <a:pt x="208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7" y="262"/>
                  </a:lnTo>
                  <a:lnTo>
                    <a:pt x="217" y="262"/>
                  </a:lnTo>
                  <a:lnTo>
                    <a:pt x="217" y="266"/>
                  </a:lnTo>
                  <a:lnTo>
                    <a:pt x="217" y="266"/>
                  </a:lnTo>
                  <a:lnTo>
                    <a:pt x="217" y="266"/>
                  </a:lnTo>
                  <a:lnTo>
                    <a:pt x="217" y="270"/>
                  </a:lnTo>
                  <a:lnTo>
                    <a:pt x="217" y="270"/>
                  </a:lnTo>
                  <a:lnTo>
                    <a:pt x="217" y="270"/>
                  </a:lnTo>
                  <a:lnTo>
                    <a:pt x="217" y="270"/>
                  </a:lnTo>
                  <a:lnTo>
                    <a:pt x="217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6" y="270"/>
                  </a:lnTo>
                  <a:lnTo>
                    <a:pt x="226" y="270"/>
                  </a:lnTo>
                  <a:lnTo>
                    <a:pt x="226" y="270"/>
                  </a:lnTo>
                  <a:lnTo>
                    <a:pt x="226" y="270"/>
                  </a:lnTo>
                  <a:lnTo>
                    <a:pt x="226" y="270"/>
                  </a:lnTo>
                  <a:lnTo>
                    <a:pt x="226" y="275"/>
                  </a:lnTo>
                  <a:lnTo>
                    <a:pt x="226" y="275"/>
                  </a:lnTo>
                  <a:lnTo>
                    <a:pt x="226" y="275"/>
                  </a:lnTo>
                  <a:lnTo>
                    <a:pt x="226" y="275"/>
                  </a:lnTo>
                  <a:lnTo>
                    <a:pt x="226" y="279"/>
                  </a:lnTo>
                  <a:lnTo>
                    <a:pt x="230" y="279"/>
                  </a:lnTo>
                  <a:lnTo>
                    <a:pt x="230" y="279"/>
                  </a:lnTo>
                  <a:lnTo>
                    <a:pt x="230" y="279"/>
                  </a:lnTo>
                  <a:lnTo>
                    <a:pt x="230" y="279"/>
                  </a:lnTo>
                  <a:lnTo>
                    <a:pt x="235" y="279"/>
                  </a:lnTo>
                  <a:lnTo>
                    <a:pt x="235" y="279"/>
                  </a:lnTo>
                  <a:lnTo>
                    <a:pt x="235" y="279"/>
                  </a:lnTo>
                  <a:lnTo>
                    <a:pt x="235" y="279"/>
                  </a:lnTo>
                  <a:lnTo>
                    <a:pt x="235" y="279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9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5"/>
                  </a:lnTo>
                  <a:lnTo>
                    <a:pt x="235" y="270"/>
                  </a:lnTo>
                  <a:lnTo>
                    <a:pt x="235" y="270"/>
                  </a:lnTo>
                  <a:lnTo>
                    <a:pt x="235" y="270"/>
                  </a:lnTo>
                  <a:lnTo>
                    <a:pt x="235" y="270"/>
                  </a:lnTo>
                  <a:lnTo>
                    <a:pt x="235" y="270"/>
                  </a:lnTo>
                  <a:lnTo>
                    <a:pt x="235" y="270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5" y="266"/>
                  </a:lnTo>
                  <a:lnTo>
                    <a:pt x="230" y="266"/>
                  </a:lnTo>
                  <a:lnTo>
                    <a:pt x="230" y="266"/>
                  </a:lnTo>
                  <a:lnTo>
                    <a:pt x="230" y="266"/>
                  </a:lnTo>
                  <a:lnTo>
                    <a:pt x="235" y="266"/>
                  </a:lnTo>
                  <a:lnTo>
                    <a:pt x="235" y="262"/>
                  </a:lnTo>
                  <a:lnTo>
                    <a:pt x="235" y="262"/>
                  </a:lnTo>
                  <a:lnTo>
                    <a:pt x="235" y="262"/>
                  </a:lnTo>
                  <a:lnTo>
                    <a:pt x="230" y="262"/>
                  </a:lnTo>
                  <a:lnTo>
                    <a:pt x="230" y="262"/>
                  </a:lnTo>
                  <a:lnTo>
                    <a:pt x="230" y="262"/>
                  </a:lnTo>
                  <a:lnTo>
                    <a:pt x="230" y="262"/>
                  </a:lnTo>
                  <a:lnTo>
                    <a:pt x="230" y="262"/>
                  </a:lnTo>
                  <a:lnTo>
                    <a:pt x="230" y="262"/>
                  </a:lnTo>
                  <a:lnTo>
                    <a:pt x="230" y="257"/>
                  </a:lnTo>
                  <a:lnTo>
                    <a:pt x="235" y="257"/>
                  </a:lnTo>
                  <a:lnTo>
                    <a:pt x="235" y="257"/>
                  </a:lnTo>
                  <a:lnTo>
                    <a:pt x="230" y="257"/>
                  </a:lnTo>
                  <a:lnTo>
                    <a:pt x="230" y="257"/>
                  </a:lnTo>
                  <a:lnTo>
                    <a:pt x="230" y="253"/>
                  </a:lnTo>
                  <a:lnTo>
                    <a:pt x="230" y="253"/>
                  </a:lnTo>
                  <a:lnTo>
                    <a:pt x="230" y="248"/>
                  </a:lnTo>
                  <a:lnTo>
                    <a:pt x="230" y="248"/>
                  </a:lnTo>
                  <a:lnTo>
                    <a:pt x="235" y="248"/>
                  </a:lnTo>
                  <a:lnTo>
                    <a:pt x="235" y="248"/>
                  </a:lnTo>
                  <a:lnTo>
                    <a:pt x="235" y="248"/>
                  </a:lnTo>
                  <a:lnTo>
                    <a:pt x="235" y="248"/>
                  </a:lnTo>
                  <a:lnTo>
                    <a:pt x="235" y="248"/>
                  </a:lnTo>
                  <a:lnTo>
                    <a:pt x="235" y="248"/>
                  </a:lnTo>
                  <a:lnTo>
                    <a:pt x="235" y="248"/>
                  </a:lnTo>
                  <a:lnTo>
                    <a:pt x="235" y="244"/>
                  </a:lnTo>
                  <a:lnTo>
                    <a:pt x="235" y="244"/>
                  </a:lnTo>
                  <a:lnTo>
                    <a:pt x="235" y="244"/>
                  </a:lnTo>
                  <a:lnTo>
                    <a:pt x="235" y="244"/>
                  </a:lnTo>
                  <a:lnTo>
                    <a:pt x="235" y="244"/>
                  </a:lnTo>
                  <a:lnTo>
                    <a:pt x="235" y="244"/>
                  </a:lnTo>
                  <a:lnTo>
                    <a:pt x="235" y="244"/>
                  </a:lnTo>
                  <a:lnTo>
                    <a:pt x="235" y="244"/>
                  </a:lnTo>
                  <a:lnTo>
                    <a:pt x="230" y="239"/>
                  </a:lnTo>
                  <a:lnTo>
                    <a:pt x="230" y="239"/>
                  </a:lnTo>
                  <a:lnTo>
                    <a:pt x="230" y="239"/>
                  </a:lnTo>
                  <a:lnTo>
                    <a:pt x="226" y="239"/>
                  </a:lnTo>
                  <a:lnTo>
                    <a:pt x="226" y="239"/>
                  </a:lnTo>
                  <a:lnTo>
                    <a:pt x="221" y="235"/>
                  </a:lnTo>
                  <a:lnTo>
                    <a:pt x="221" y="235"/>
                  </a:lnTo>
                  <a:lnTo>
                    <a:pt x="221" y="235"/>
                  </a:lnTo>
                  <a:lnTo>
                    <a:pt x="217" y="235"/>
                  </a:lnTo>
                  <a:lnTo>
                    <a:pt x="217" y="235"/>
                  </a:lnTo>
                  <a:lnTo>
                    <a:pt x="213" y="235"/>
                  </a:lnTo>
                  <a:lnTo>
                    <a:pt x="213" y="231"/>
                  </a:lnTo>
                  <a:lnTo>
                    <a:pt x="208" y="231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6"/>
                  </a:lnTo>
                  <a:lnTo>
                    <a:pt x="208" y="222"/>
                  </a:lnTo>
                  <a:lnTo>
                    <a:pt x="208" y="222"/>
                  </a:lnTo>
                  <a:lnTo>
                    <a:pt x="208" y="222"/>
                  </a:lnTo>
                  <a:lnTo>
                    <a:pt x="204" y="226"/>
                  </a:lnTo>
                  <a:lnTo>
                    <a:pt x="199" y="222"/>
                  </a:lnTo>
                  <a:lnTo>
                    <a:pt x="195" y="222"/>
                  </a:lnTo>
                  <a:lnTo>
                    <a:pt x="195" y="222"/>
                  </a:lnTo>
                  <a:lnTo>
                    <a:pt x="195" y="222"/>
                  </a:lnTo>
                  <a:lnTo>
                    <a:pt x="195" y="222"/>
                  </a:lnTo>
                  <a:lnTo>
                    <a:pt x="195" y="222"/>
                  </a:lnTo>
                  <a:lnTo>
                    <a:pt x="195" y="222"/>
                  </a:lnTo>
                  <a:lnTo>
                    <a:pt x="199" y="222"/>
                  </a:lnTo>
                  <a:lnTo>
                    <a:pt x="199" y="222"/>
                  </a:lnTo>
                  <a:lnTo>
                    <a:pt x="199" y="222"/>
                  </a:lnTo>
                  <a:lnTo>
                    <a:pt x="199" y="222"/>
                  </a:lnTo>
                  <a:lnTo>
                    <a:pt x="195" y="222"/>
                  </a:lnTo>
                  <a:lnTo>
                    <a:pt x="195" y="222"/>
                  </a:lnTo>
                  <a:lnTo>
                    <a:pt x="195" y="222"/>
                  </a:lnTo>
                  <a:lnTo>
                    <a:pt x="195" y="217"/>
                  </a:lnTo>
                  <a:lnTo>
                    <a:pt x="195" y="217"/>
                  </a:lnTo>
                  <a:lnTo>
                    <a:pt x="195" y="222"/>
                  </a:lnTo>
                  <a:lnTo>
                    <a:pt x="195" y="217"/>
                  </a:lnTo>
                  <a:lnTo>
                    <a:pt x="195" y="217"/>
                  </a:lnTo>
                  <a:lnTo>
                    <a:pt x="195" y="217"/>
                  </a:lnTo>
                  <a:lnTo>
                    <a:pt x="195" y="217"/>
                  </a:lnTo>
                  <a:lnTo>
                    <a:pt x="195" y="217"/>
                  </a:lnTo>
                  <a:lnTo>
                    <a:pt x="195" y="213"/>
                  </a:lnTo>
                  <a:lnTo>
                    <a:pt x="195" y="213"/>
                  </a:lnTo>
                  <a:lnTo>
                    <a:pt x="195" y="213"/>
                  </a:lnTo>
                  <a:lnTo>
                    <a:pt x="195" y="213"/>
                  </a:lnTo>
                  <a:lnTo>
                    <a:pt x="190" y="213"/>
                  </a:lnTo>
                  <a:lnTo>
                    <a:pt x="190" y="213"/>
                  </a:lnTo>
                  <a:lnTo>
                    <a:pt x="190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90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82" y="213"/>
                  </a:lnTo>
                  <a:lnTo>
                    <a:pt x="182" y="213"/>
                  </a:lnTo>
                  <a:lnTo>
                    <a:pt x="182" y="208"/>
                  </a:lnTo>
                  <a:lnTo>
                    <a:pt x="182" y="208"/>
                  </a:lnTo>
                  <a:lnTo>
                    <a:pt x="177" y="208"/>
                  </a:lnTo>
                  <a:lnTo>
                    <a:pt x="177" y="208"/>
                  </a:lnTo>
                  <a:lnTo>
                    <a:pt x="177" y="208"/>
                  </a:lnTo>
                  <a:lnTo>
                    <a:pt x="173" y="204"/>
                  </a:lnTo>
                  <a:lnTo>
                    <a:pt x="173" y="204"/>
                  </a:lnTo>
                  <a:lnTo>
                    <a:pt x="173" y="204"/>
                  </a:lnTo>
                  <a:lnTo>
                    <a:pt x="173" y="204"/>
                  </a:lnTo>
                  <a:lnTo>
                    <a:pt x="173" y="208"/>
                  </a:lnTo>
                  <a:lnTo>
                    <a:pt x="173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00"/>
                  </a:lnTo>
                  <a:lnTo>
                    <a:pt x="164" y="200"/>
                  </a:lnTo>
                  <a:lnTo>
                    <a:pt x="160" y="200"/>
                  </a:lnTo>
                  <a:lnTo>
                    <a:pt x="160" y="200"/>
                  </a:lnTo>
                  <a:lnTo>
                    <a:pt x="160" y="200"/>
                  </a:lnTo>
                  <a:lnTo>
                    <a:pt x="160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200"/>
                  </a:lnTo>
                  <a:lnTo>
                    <a:pt x="160" y="200"/>
                  </a:lnTo>
                  <a:lnTo>
                    <a:pt x="160" y="200"/>
                  </a:lnTo>
                  <a:lnTo>
                    <a:pt x="164" y="200"/>
                  </a:lnTo>
                  <a:lnTo>
                    <a:pt x="164" y="200"/>
                  </a:lnTo>
                  <a:lnTo>
                    <a:pt x="164" y="200"/>
                  </a:lnTo>
                  <a:lnTo>
                    <a:pt x="164" y="200"/>
                  </a:lnTo>
                  <a:lnTo>
                    <a:pt x="164" y="200"/>
                  </a:lnTo>
                  <a:lnTo>
                    <a:pt x="164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3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1"/>
                  </a:lnTo>
                  <a:lnTo>
                    <a:pt x="177" y="191"/>
                  </a:lnTo>
                  <a:lnTo>
                    <a:pt x="177" y="191"/>
                  </a:lnTo>
                  <a:lnTo>
                    <a:pt x="177" y="191"/>
                  </a:lnTo>
                  <a:lnTo>
                    <a:pt x="177" y="191"/>
                  </a:lnTo>
                  <a:lnTo>
                    <a:pt x="177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2" y="186"/>
                  </a:lnTo>
                  <a:lnTo>
                    <a:pt x="182" y="186"/>
                  </a:lnTo>
                  <a:lnTo>
                    <a:pt x="182" y="186"/>
                  </a:lnTo>
                  <a:lnTo>
                    <a:pt x="182" y="186"/>
                  </a:lnTo>
                  <a:lnTo>
                    <a:pt x="177" y="186"/>
                  </a:lnTo>
                  <a:lnTo>
                    <a:pt x="177" y="191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2"/>
                  </a:lnTo>
                  <a:lnTo>
                    <a:pt x="177" y="182"/>
                  </a:lnTo>
                  <a:lnTo>
                    <a:pt x="173" y="182"/>
                  </a:lnTo>
                  <a:lnTo>
                    <a:pt x="177" y="182"/>
                  </a:lnTo>
                  <a:lnTo>
                    <a:pt x="177" y="182"/>
                  </a:lnTo>
                  <a:lnTo>
                    <a:pt x="177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68" y="173"/>
                  </a:lnTo>
                  <a:lnTo>
                    <a:pt x="168" y="173"/>
                  </a:lnTo>
                  <a:lnTo>
                    <a:pt x="168" y="173"/>
                  </a:lnTo>
                  <a:lnTo>
                    <a:pt x="168" y="169"/>
                  </a:lnTo>
                  <a:lnTo>
                    <a:pt x="173" y="169"/>
                  </a:lnTo>
                  <a:lnTo>
                    <a:pt x="173" y="169"/>
                  </a:lnTo>
                  <a:lnTo>
                    <a:pt x="177" y="169"/>
                  </a:lnTo>
                  <a:lnTo>
                    <a:pt x="173" y="169"/>
                  </a:lnTo>
                  <a:lnTo>
                    <a:pt x="173" y="169"/>
                  </a:lnTo>
                  <a:lnTo>
                    <a:pt x="173" y="169"/>
                  </a:lnTo>
                  <a:lnTo>
                    <a:pt x="177" y="169"/>
                  </a:lnTo>
                  <a:lnTo>
                    <a:pt x="177" y="164"/>
                  </a:lnTo>
                  <a:lnTo>
                    <a:pt x="173" y="164"/>
                  </a:lnTo>
                  <a:lnTo>
                    <a:pt x="177" y="164"/>
                  </a:lnTo>
                  <a:lnTo>
                    <a:pt x="177" y="164"/>
                  </a:lnTo>
                  <a:lnTo>
                    <a:pt x="177" y="164"/>
                  </a:lnTo>
                  <a:lnTo>
                    <a:pt x="177" y="164"/>
                  </a:lnTo>
                  <a:lnTo>
                    <a:pt x="177" y="164"/>
                  </a:lnTo>
                  <a:lnTo>
                    <a:pt x="177" y="169"/>
                  </a:lnTo>
                  <a:lnTo>
                    <a:pt x="177" y="169"/>
                  </a:lnTo>
                  <a:lnTo>
                    <a:pt x="177" y="169"/>
                  </a:lnTo>
                  <a:lnTo>
                    <a:pt x="177" y="169"/>
                  </a:lnTo>
                  <a:lnTo>
                    <a:pt x="177" y="169"/>
                  </a:lnTo>
                  <a:lnTo>
                    <a:pt x="182" y="169"/>
                  </a:lnTo>
                  <a:lnTo>
                    <a:pt x="186" y="169"/>
                  </a:lnTo>
                  <a:lnTo>
                    <a:pt x="186" y="169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0" y="182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86" y="177"/>
                  </a:lnTo>
                  <a:lnTo>
                    <a:pt x="186" y="177"/>
                  </a:lnTo>
                  <a:lnTo>
                    <a:pt x="186" y="182"/>
                  </a:lnTo>
                  <a:lnTo>
                    <a:pt x="186" y="182"/>
                  </a:lnTo>
                  <a:lnTo>
                    <a:pt x="182" y="182"/>
                  </a:lnTo>
                  <a:lnTo>
                    <a:pt x="186" y="182"/>
                  </a:lnTo>
                  <a:lnTo>
                    <a:pt x="186" y="177"/>
                  </a:lnTo>
                  <a:lnTo>
                    <a:pt x="182" y="182"/>
                  </a:lnTo>
                  <a:lnTo>
                    <a:pt x="182" y="182"/>
                  </a:lnTo>
                  <a:lnTo>
                    <a:pt x="182" y="182"/>
                  </a:lnTo>
                  <a:lnTo>
                    <a:pt x="182" y="182"/>
                  </a:lnTo>
                  <a:lnTo>
                    <a:pt x="182" y="182"/>
                  </a:lnTo>
                  <a:lnTo>
                    <a:pt x="182" y="182"/>
                  </a:lnTo>
                  <a:lnTo>
                    <a:pt x="186" y="186"/>
                  </a:lnTo>
                  <a:lnTo>
                    <a:pt x="186" y="182"/>
                  </a:lnTo>
                  <a:lnTo>
                    <a:pt x="186" y="182"/>
                  </a:lnTo>
                  <a:lnTo>
                    <a:pt x="186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5" y="182"/>
                  </a:lnTo>
                  <a:lnTo>
                    <a:pt x="195" y="182"/>
                  </a:lnTo>
                  <a:lnTo>
                    <a:pt x="195" y="177"/>
                  </a:lnTo>
                  <a:lnTo>
                    <a:pt x="195" y="177"/>
                  </a:lnTo>
                  <a:lnTo>
                    <a:pt x="195" y="177"/>
                  </a:lnTo>
                  <a:lnTo>
                    <a:pt x="195" y="173"/>
                  </a:lnTo>
                  <a:lnTo>
                    <a:pt x="190" y="169"/>
                  </a:lnTo>
                  <a:lnTo>
                    <a:pt x="190" y="164"/>
                  </a:lnTo>
                  <a:lnTo>
                    <a:pt x="190" y="164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77" y="155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3" y="151"/>
                  </a:lnTo>
                  <a:lnTo>
                    <a:pt x="173" y="146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73" y="138"/>
                  </a:lnTo>
                  <a:lnTo>
                    <a:pt x="173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3"/>
                  </a:lnTo>
                  <a:lnTo>
                    <a:pt x="168" y="133"/>
                  </a:lnTo>
                  <a:lnTo>
                    <a:pt x="168" y="133"/>
                  </a:lnTo>
                  <a:lnTo>
                    <a:pt x="164" y="129"/>
                  </a:lnTo>
                  <a:lnTo>
                    <a:pt x="164" y="129"/>
                  </a:lnTo>
                  <a:lnTo>
                    <a:pt x="164" y="129"/>
                  </a:lnTo>
                  <a:lnTo>
                    <a:pt x="164" y="129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0" y="124"/>
                  </a:lnTo>
                  <a:lnTo>
                    <a:pt x="160" y="124"/>
                  </a:lnTo>
                  <a:lnTo>
                    <a:pt x="160" y="124"/>
                  </a:lnTo>
                  <a:lnTo>
                    <a:pt x="155" y="120"/>
                  </a:lnTo>
                  <a:lnTo>
                    <a:pt x="155" y="120"/>
                  </a:lnTo>
                  <a:lnTo>
                    <a:pt x="155" y="120"/>
                  </a:lnTo>
                  <a:lnTo>
                    <a:pt x="155" y="120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5" y="107"/>
                  </a:lnTo>
                  <a:lnTo>
                    <a:pt x="155" y="107"/>
                  </a:lnTo>
                  <a:lnTo>
                    <a:pt x="160" y="102"/>
                  </a:lnTo>
                  <a:lnTo>
                    <a:pt x="160" y="98"/>
                  </a:lnTo>
                  <a:lnTo>
                    <a:pt x="160" y="98"/>
                  </a:lnTo>
                  <a:lnTo>
                    <a:pt x="160" y="98"/>
                  </a:lnTo>
                  <a:lnTo>
                    <a:pt x="160" y="98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9"/>
                  </a:lnTo>
                  <a:lnTo>
                    <a:pt x="160" y="84"/>
                  </a:lnTo>
                  <a:lnTo>
                    <a:pt x="160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9"/>
                  </a:lnTo>
                  <a:lnTo>
                    <a:pt x="164" y="89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8" y="80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76"/>
                  </a:lnTo>
                  <a:lnTo>
                    <a:pt x="173" y="76"/>
                  </a:lnTo>
                  <a:lnTo>
                    <a:pt x="173" y="80"/>
                  </a:lnTo>
                  <a:lnTo>
                    <a:pt x="177" y="80"/>
                  </a:lnTo>
                  <a:lnTo>
                    <a:pt x="177" y="80"/>
                  </a:lnTo>
                  <a:lnTo>
                    <a:pt x="177" y="80"/>
                  </a:lnTo>
                  <a:lnTo>
                    <a:pt x="177" y="80"/>
                  </a:lnTo>
                  <a:lnTo>
                    <a:pt x="177" y="80"/>
                  </a:lnTo>
                  <a:lnTo>
                    <a:pt x="177" y="84"/>
                  </a:lnTo>
                  <a:lnTo>
                    <a:pt x="177" y="84"/>
                  </a:lnTo>
                  <a:lnTo>
                    <a:pt x="177" y="84"/>
                  </a:lnTo>
                  <a:lnTo>
                    <a:pt x="177" y="84"/>
                  </a:lnTo>
                  <a:lnTo>
                    <a:pt x="177" y="84"/>
                  </a:lnTo>
                  <a:lnTo>
                    <a:pt x="177" y="84"/>
                  </a:lnTo>
                  <a:lnTo>
                    <a:pt x="173" y="89"/>
                  </a:lnTo>
                  <a:lnTo>
                    <a:pt x="168" y="89"/>
                  </a:lnTo>
                  <a:lnTo>
                    <a:pt x="168" y="89"/>
                  </a:lnTo>
                  <a:lnTo>
                    <a:pt x="168" y="89"/>
                  </a:lnTo>
                  <a:lnTo>
                    <a:pt x="173" y="89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7" y="93"/>
                  </a:lnTo>
                  <a:lnTo>
                    <a:pt x="177" y="98"/>
                  </a:lnTo>
                  <a:lnTo>
                    <a:pt x="177" y="98"/>
                  </a:lnTo>
                  <a:lnTo>
                    <a:pt x="182" y="98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90" y="102"/>
                  </a:lnTo>
                  <a:lnTo>
                    <a:pt x="190" y="102"/>
                  </a:lnTo>
                  <a:lnTo>
                    <a:pt x="190" y="107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11"/>
                  </a:lnTo>
                  <a:lnTo>
                    <a:pt x="195" y="111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20"/>
                  </a:lnTo>
                  <a:lnTo>
                    <a:pt x="199" y="120"/>
                  </a:lnTo>
                  <a:lnTo>
                    <a:pt x="199" y="120"/>
                  </a:lnTo>
                  <a:lnTo>
                    <a:pt x="199" y="120"/>
                  </a:lnTo>
                  <a:lnTo>
                    <a:pt x="199" y="120"/>
                  </a:lnTo>
                  <a:lnTo>
                    <a:pt x="199" y="124"/>
                  </a:lnTo>
                  <a:lnTo>
                    <a:pt x="199" y="124"/>
                  </a:lnTo>
                  <a:lnTo>
                    <a:pt x="199" y="124"/>
                  </a:lnTo>
                  <a:lnTo>
                    <a:pt x="199" y="124"/>
                  </a:lnTo>
                  <a:lnTo>
                    <a:pt x="204" y="124"/>
                  </a:lnTo>
                  <a:lnTo>
                    <a:pt x="204" y="124"/>
                  </a:lnTo>
                  <a:lnTo>
                    <a:pt x="213" y="129"/>
                  </a:lnTo>
                  <a:lnTo>
                    <a:pt x="217" y="129"/>
                  </a:lnTo>
                  <a:lnTo>
                    <a:pt x="217" y="129"/>
                  </a:lnTo>
                  <a:lnTo>
                    <a:pt x="217" y="129"/>
                  </a:lnTo>
                  <a:lnTo>
                    <a:pt x="217" y="129"/>
                  </a:lnTo>
                  <a:lnTo>
                    <a:pt x="217" y="129"/>
                  </a:lnTo>
                  <a:lnTo>
                    <a:pt x="217" y="124"/>
                  </a:lnTo>
                  <a:lnTo>
                    <a:pt x="217" y="124"/>
                  </a:lnTo>
                  <a:lnTo>
                    <a:pt x="213" y="124"/>
                  </a:lnTo>
                  <a:lnTo>
                    <a:pt x="213" y="124"/>
                  </a:lnTo>
                  <a:lnTo>
                    <a:pt x="213" y="124"/>
                  </a:lnTo>
                  <a:lnTo>
                    <a:pt x="213" y="124"/>
                  </a:lnTo>
                  <a:lnTo>
                    <a:pt x="213" y="124"/>
                  </a:lnTo>
                  <a:lnTo>
                    <a:pt x="208" y="124"/>
                  </a:lnTo>
                  <a:lnTo>
                    <a:pt x="204" y="120"/>
                  </a:lnTo>
                  <a:lnTo>
                    <a:pt x="204" y="115"/>
                  </a:lnTo>
                  <a:lnTo>
                    <a:pt x="199" y="115"/>
                  </a:lnTo>
                  <a:lnTo>
                    <a:pt x="199" y="111"/>
                  </a:lnTo>
                  <a:lnTo>
                    <a:pt x="199" y="111"/>
                  </a:lnTo>
                  <a:lnTo>
                    <a:pt x="199" y="111"/>
                  </a:lnTo>
                  <a:lnTo>
                    <a:pt x="199" y="111"/>
                  </a:lnTo>
                  <a:lnTo>
                    <a:pt x="199" y="111"/>
                  </a:lnTo>
                  <a:lnTo>
                    <a:pt x="199" y="111"/>
                  </a:lnTo>
                  <a:lnTo>
                    <a:pt x="195" y="111"/>
                  </a:lnTo>
                  <a:lnTo>
                    <a:pt x="195" y="111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9" y="102"/>
                  </a:lnTo>
                  <a:lnTo>
                    <a:pt x="199" y="102"/>
                  </a:lnTo>
                  <a:lnTo>
                    <a:pt x="199" y="102"/>
                  </a:lnTo>
                  <a:lnTo>
                    <a:pt x="204" y="102"/>
                  </a:lnTo>
                  <a:lnTo>
                    <a:pt x="208" y="107"/>
                  </a:lnTo>
                  <a:lnTo>
                    <a:pt x="213" y="107"/>
                  </a:lnTo>
                  <a:lnTo>
                    <a:pt x="213" y="107"/>
                  </a:lnTo>
                  <a:lnTo>
                    <a:pt x="213" y="107"/>
                  </a:lnTo>
                  <a:lnTo>
                    <a:pt x="217" y="115"/>
                  </a:lnTo>
                  <a:lnTo>
                    <a:pt x="217" y="115"/>
                  </a:lnTo>
                  <a:lnTo>
                    <a:pt x="217" y="115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26" y="120"/>
                  </a:lnTo>
                  <a:lnTo>
                    <a:pt x="226" y="124"/>
                  </a:lnTo>
                  <a:lnTo>
                    <a:pt x="226" y="124"/>
                  </a:lnTo>
                  <a:lnTo>
                    <a:pt x="226" y="124"/>
                  </a:lnTo>
                  <a:lnTo>
                    <a:pt x="226" y="124"/>
                  </a:lnTo>
                  <a:lnTo>
                    <a:pt x="226" y="124"/>
                  </a:lnTo>
                  <a:lnTo>
                    <a:pt x="226" y="124"/>
                  </a:lnTo>
                  <a:lnTo>
                    <a:pt x="226" y="124"/>
                  </a:lnTo>
                  <a:lnTo>
                    <a:pt x="226" y="124"/>
                  </a:lnTo>
                  <a:lnTo>
                    <a:pt x="226" y="124"/>
                  </a:lnTo>
                  <a:lnTo>
                    <a:pt x="230" y="124"/>
                  </a:lnTo>
                  <a:lnTo>
                    <a:pt x="230" y="124"/>
                  </a:lnTo>
                  <a:lnTo>
                    <a:pt x="230" y="124"/>
                  </a:lnTo>
                  <a:lnTo>
                    <a:pt x="230" y="124"/>
                  </a:lnTo>
                  <a:lnTo>
                    <a:pt x="230" y="124"/>
                  </a:lnTo>
                  <a:lnTo>
                    <a:pt x="230" y="124"/>
                  </a:lnTo>
                  <a:lnTo>
                    <a:pt x="230" y="124"/>
                  </a:lnTo>
                  <a:lnTo>
                    <a:pt x="230" y="124"/>
                  </a:lnTo>
                  <a:lnTo>
                    <a:pt x="230" y="124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1"/>
                  </a:lnTo>
                  <a:lnTo>
                    <a:pt x="226" y="111"/>
                  </a:lnTo>
                  <a:lnTo>
                    <a:pt x="226" y="111"/>
                  </a:lnTo>
                  <a:lnTo>
                    <a:pt x="226" y="111"/>
                  </a:lnTo>
                  <a:lnTo>
                    <a:pt x="226" y="111"/>
                  </a:lnTo>
                  <a:lnTo>
                    <a:pt x="226" y="111"/>
                  </a:lnTo>
                  <a:lnTo>
                    <a:pt x="226" y="111"/>
                  </a:lnTo>
                  <a:lnTo>
                    <a:pt x="221" y="107"/>
                  </a:lnTo>
                  <a:lnTo>
                    <a:pt x="221" y="107"/>
                  </a:lnTo>
                  <a:lnTo>
                    <a:pt x="221" y="107"/>
                  </a:lnTo>
                  <a:lnTo>
                    <a:pt x="217" y="107"/>
                  </a:lnTo>
                  <a:lnTo>
                    <a:pt x="217" y="107"/>
                  </a:lnTo>
                  <a:lnTo>
                    <a:pt x="217" y="107"/>
                  </a:lnTo>
                  <a:lnTo>
                    <a:pt x="217" y="107"/>
                  </a:lnTo>
                  <a:lnTo>
                    <a:pt x="217" y="102"/>
                  </a:lnTo>
                  <a:lnTo>
                    <a:pt x="217" y="102"/>
                  </a:lnTo>
                  <a:lnTo>
                    <a:pt x="217" y="102"/>
                  </a:lnTo>
                  <a:lnTo>
                    <a:pt x="217" y="98"/>
                  </a:lnTo>
                  <a:lnTo>
                    <a:pt x="217" y="98"/>
                  </a:lnTo>
                  <a:lnTo>
                    <a:pt x="217" y="98"/>
                  </a:lnTo>
                  <a:lnTo>
                    <a:pt x="217" y="98"/>
                  </a:lnTo>
                  <a:lnTo>
                    <a:pt x="217" y="98"/>
                  </a:lnTo>
                  <a:lnTo>
                    <a:pt x="217" y="98"/>
                  </a:lnTo>
                  <a:lnTo>
                    <a:pt x="221" y="98"/>
                  </a:lnTo>
                  <a:lnTo>
                    <a:pt x="221" y="98"/>
                  </a:lnTo>
                  <a:lnTo>
                    <a:pt x="221" y="98"/>
                  </a:lnTo>
                  <a:lnTo>
                    <a:pt x="226" y="98"/>
                  </a:lnTo>
                  <a:lnTo>
                    <a:pt x="226" y="98"/>
                  </a:lnTo>
                  <a:lnTo>
                    <a:pt x="226" y="98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30" y="102"/>
                  </a:lnTo>
                  <a:lnTo>
                    <a:pt x="235" y="102"/>
                  </a:lnTo>
                  <a:lnTo>
                    <a:pt x="239" y="102"/>
                  </a:lnTo>
                  <a:lnTo>
                    <a:pt x="239" y="102"/>
                  </a:lnTo>
                  <a:lnTo>
                    <a:pt x="239" y="107"/>
                  </a:lnTo>
                  <a:lnTo>
                    <a:pt x="244" y="107"/>
                  </a:lnTo>
                  <a:lnTo>
                    <a:pt x="244" y="111"/>
                  </a:lnTo>
                  <a:lnTo>
                    <a:pt x="244" y="111"/>
                  </a:lnTo>
                  <a:lnTo>
                    <a:pt x="244" y="111"/>
                  </a:lnTo>
                  <a:lnTo>
                    <a:pt x="248" y="111"/>
                  </a:lnTo>
                  <a:lnTo>
                    <a:pt x="248" y="111"/>
                  </a:lnTo>
                  <a:lnTo>
                    <a:pt x="248" y="111"/>
                  </a:lnTo>
                  <a:lnTo>
                    <a:pt x="248" y="115"/>
                  </a:lnTo>
                  <a:lnTo>
                    <a:pt x="248" y="111"/>
                  </a:lnTo>
                  <a:lnTo>
                    <a:pt x="252" y="111"/>
                  </a:lnTo>
                  <a:lnTo>
                    <a:pt x="252" y="111"/>
                  </a:lnTo>
                  <a:lnTo>
                    <a:pt x="248" y="107"/>
                  </a:lnTo>
                  <a:lnTo>
                    <a:pt x="244" y="102"/>
                  </a:lnTo>
                  <a:lnTo>
                    <a:pt x="244" y="102"/>
                  </a:lnTo>
                  <a:lnTo>
                    <a:pt x="244" y="102"/>
                  </a:lnTo>
                  <a:lnTo>
                    <a:pt x="244" y="98"/>
                  </a:lnTo>
                  <a:lnTo>
                    <a:pt x="239" y="98"/>
                  </a:lnTo>
                  <a:lnTo>
                    <a:pt x="239" y="98"/>
                  </a:lnTo>
                  <a:lnTo>
                    <a:pt x="239" y="98"/>
                  </a:lnTo>
                  <a:lnTo>
                    <a:pt x="239" y="98"/>
                  </a:lnTo>
                  <a:lnTo>
                    <a:pt x="239" y="98"/>
                  </a:lnTo>
                  <a:lnTo>
                    <a:pt x="235" y="98"/>
                  </a:lnTo>
                  <a:lnTo>
                    <a:pt x="235" y="98"/>
                  </a:lnTo>
                  <a:lnTo>
                    <a:pt x="235" y="98"/>
                  </a:lnTo>
                  <a:lnTo>
                    <a:pt x="235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3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26" y="93"/>
                  </a:lnTo>
                  <a:lnTo>
                    <a:pt x="226" y="93"/>
                  </a:lnTo>
                  <a:lnTo>
                    <a:pt x="226" y="93"/>
                  </a:lnTo>
                  <a:lnTo>
                    <a:pt x="226" y="93"/>
                  </a:lnTo>
                  <a:lnTo>
                    <a:pt x="221" y="89"/>
                  </a:lnTo>
                  <a:lnTo>
                    <a:pt x="221" y="89"/>
                  </a:lnTo>
                  <a:lnTo>
                    <a:pt x="221" y="89"/>
                  </a:lnTo>
                  <a:lnTo>
                    <a:pt x="221" y="84"/>
                  </a:lnTo>
                  <a:lnTo>
                    <a:pt x="226" y="84"/>
                  </a:lnTo>
                  <a:lnTo>
                    <a:pt x="226" y="84"/>
                  </a:lnTo>
                  <a:lnTo>
                    <a:pt x="226" y="84"/>
                  </a:lnTo>
                  <a:lnTo>
                    <a:pt x="226" y="84"/>
                  </a:lnTo>
                  <a:lnTo>
                    <a:pt x="226" y="84"/>
                  </a:lnTo>
                  <a:lnTo>
                    <a:pt x="226" y="84"/>
                  </a:lnTo>
                  <a:lnTo>
                    <a:pt x="226" y="84"/>
                  </a:lnTo>
                  <a:lnTo>
                    <a:pt x="221" y="84"/>
                  </a:lnTo>
                  <a:lnTo>
                    <a:pt x="221" y="84"/>
                  </a:lnTo>
                  <a:lnTo>
                    <a:pt x="221" y="80"/>
                  </a:lnTo>
                  <a:lnTo>
                    <a:pt x="221" y="80"/>
                  </a:lnTo>
                  <a:lnTo>
                    <a:pt x="221" y="80"/>
                  </a:lnTo>
                  <a:lnTo>
                    <a:pt x="217" y="80"/>
                  </a:lnTo>
                  <a:lnTo>
                    <a:pt x="217" y="76"/>
                  </a:lnTo>
                  <a:lnTo>
                    <a:pt x="217" y="76"/>
                  </a:lnTo>
                  <a:lnTo>
                    <a:pt x="217" y="76"/>
                  </a:lnTo>
                  <a:lnTo>
                    <a:pt x="217" y="76"/>
                  </a:lnTo>
                  <a:lnTo>
                    <a:pt x="213" y="76"/>
                  </a:lnTo>
                  <a:lnTo>
                    <a:pt x="217" y="71"/>
                  </a:lnTo>
                  <a:lnTo>
                    <a:pt x="217" y="71"/>
                  </a:lnTo>
                  <a:lnTo>
                    <a:pt x="217" y="71"/>
                  </a:lnTo>
                  <a:lnTo>
                    <a:pt x="217" y="71"/>
                  </a:lnTo>
                  <a:lnTo>
                    <a:pt x="221" y="67"/>
                  </a:lnTo>
                  <a:lnTo>
                    <a:pt x="221" y="67"/>
                  </a:lnTo>
                  <a:lnTo>
                    <a:pt x="221" y="67"/>
                  </a:lnTo>
                  <a:lnTo>
                    <a:pt x="226" y="67"/>
                  </a:lnTo>
                  <a:lnTo>
                    <a:pt x="230" y="71"/>
                  </a:lnTo>
                  <a:lnTo>
                    <a:pt x="235" y="71"/>
                  </a:lnTo>
                  <a:lnTo>
                    <a:pt x="235" y="71"/>
                  </a:lnTo>
                  <a:lnTo>
                    <a:pt x="235" y="71"/>
                  </a:lnTo>
                  <a:lnTo>
                    <a:pt x="244" y="67"/>
                  </a:lnTo>
                  <a:lnTo>
                    <a:pt x="248" y="67"/>
                  </a:lnTo>
                  <a:lnTo>
                    <a:pt x="248" y="67"/>
                  </a:lnTo>
                  <a:lnTo>
                    <a:pt x="248" y="67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57" y="58"/>
                  </a:lnTo>
                  <a:lnTo>
                    <a:pt x="257" y="58"/>
                  </a:lnTo>
                  <a:lnTo>
                    <a:pt x="257" y="58"/>
                  </a:lnTo>
                  <a:lnTo>
                    <a:pt x="257" y="58"/>
                  </a:lnTo>
                  <a:lnTo>
                    <a:pt x="257" y="53"/>
                  </a:lnTo>
                  <a:lnTo>
                    <a:pt x="257" y="58"/>
                  </a:lnTo>
                  <a:lnTo>
                    <a:pt x="261" y="58"/>
                  </a:lnTo>
                  <a:lnTo>
                    <a:pt x="261" y="58"/>
                  </a:lnTo>
                  <a:lnTo>
                    <a:pt x="261" y="58"/>
                  </a:lnTo>
                  <a:lnTo>
                    <a:pt x="261" y="58"/>
                  </a:lnTo>
                  <a:lnTo>
                    <a:pt x="261" y="58"/>
                  </a:lnTo>
                  <a:lnTo>
                    <a:pt x="261" y="58"/>
                  </a:lnTo>
                  <a:lnTo>
                    <a:pt x="261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66" y="62"/>
                  </a:lnTo>
                  <a:lnTo>
                    <a:pt x="270" y="62"/>
                  </a:lnTo>
                  <a:lnTo>
                    <a:pt x="270" y="62"/>
                  </a:lnTo>
                  <a:lnTo>
                    <a:pt x="270" y="62"/>
                  </a:lnTo>
                  <a:lnTo>
                    <a:pt x="275" y="62"/>
                  </a:lnTo>
                  <a:lnTo>
                    <a:pt x="275" y="62"/>
                  </a:lnTo>
                  <a:lnTo>
                    <a:pt x="275" y="58"/>
                  </a:lnTo>
                  <a:lnTo>
                    <a:pt x="279" y="58"/>
                  </a:lnTo>
                  <a:lnTo>
                    <a:pt x="279" y="58"/>
                  </a:lnTo>
                  <a:lnTo>
                    <a:pt x="279" y="58"/>
                  </a:lnTo>
                  <a:lnTo>
                    <a:pt x="283" y="58"/>
                  </a:lnTo>
                  <a:lnTo>
                    <a:pt x="283" y="58"/>
                  </a:lnTo>
                  <a:lnTo>
                    <a:pt x="283" y="58"/>
                  </a:lnTo>
                  <a:lnTo>
                    <a:pt x="283" y="58"/>
                  </a:lnTo>
                  <a:lnTo>
                    <a:pt x="283" y="53"/>
                  </a:lnTo>
                  <a:lnTo>
                    <a:pt x="283" y="53"/>
                  </a:lnTo>
                  <a:lnTo>
                    <a:pt x="283" y="53"/>
                  </a:lnTo>
                  <a:lnTo>
                    <a:pt x="288" y="53"/>
                  </a:lnTo>
                  <a:lnTo>
                    <a:pt x="288" y="53"/>
                  </a:lnTo>
                  <a:lnTo>
                    <a:pt x="288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8"/>
                  </a:lnTo>
                  <a:lnTo>
                    <a:pt x="292" y="58"/>
                  </a:lnTo>
                  <a:lnTo>
                    <a:pt x="292" y="58"/>
                  </a:lnTo>
                  <a:lnTo>
                    <a:pt x="292" y="58"/>
                  </a:lnTo>
                  <a:lnTo>
                    <a:pt x="297" y="58"/>
                  </a:lnTo>
                  <a:lnTo>
                    <a:pt x="297" y="58"/>
                  </a:lnTo>
                  <a:lnTo>
                    <a:pt x="297" y="58"/>
                  </a:lnTo>
                  <a:lnTo>
                    <a:pt x="301" y="58"/>
                  </a:lnTo>
                  <a:lnTo>
                    <a:pt x="301" y="58"/>
                  </a:lnTo>
                  <a:lnTo>
                    <a:pt x="306" y="58"/>
                  </a:lnTo>
                  <a:lnTo>
                    <a:pt x="306" y="58"/>
                  </a:lnTo>
                  <a:lnTo>
                    <a:pt x="306" y="58"/>
                  </a:lnTo>
                  <a:lnTo>
                    <a:pt x="310" y="58"/>
                  </a:lnTo>
                  <a:lnTo>
                    <a:pt x="310" y="62"/>
                  </a:lnTo>
                  <a:lnTo>
                    <a:pt x="310" y="62"/>
                  </a:lnTo>
                  <a:lnTo>
                    <a:pt x="310" y="62"/>
                  </a:lnTo>
                  <a:lnTo>
                    <a:pt x="314" y="62"/>
                  </a:lnTo>
                  <a:lnTo>
                    <a:pt x="314" y="62"/>
                  </a:lnTo>
                  <a:lnTo>
                    <a:pt x="314" y="62"/>
                  </a:lnTo>
                  <a:lnTo>
                    <a:pt x="319" y="62"/>
                  </a:lnTo>
                  <a:lnTo>
                    <a:pt x="319" y="62"/>
                  </a:lnTo>
                  <a:lnTo>
                    <a:pt x="323" y="62"/>
                  </a:lnTo>
                  <a:lnTo>
                    <a:pt x="328" y="62"/>
                  </a:lnTo>
                  <a:lnTo>
                    <a:pt x="328" y="62"/>
                  </a:lnTo>
                  <a:lnTo>
                    <a:pt x="328" y="62"/>
                  </a:lnTo>
                  <a:lnTo>
                    <a:pt x="332" y="62"/>
                  </a:lnTo>
                  <a:lnTo>
                    <a:pt x="332" y="62"/>
                  </a:lnTo>
                  <a:lnTo>
                    <a:pt x="332" y="62"/>
                  </a:lnTo>
                  <a:lnTo>
                    <a:pt x="332" y="62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2"/>
                  </a:lnTo>
                  <a:lnTo>
                    <a:pt x="337" y="62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41" y="67"/>
                  </a:lnTo>
                  <a:lnTo>
                    <a:pt x="341" y="67"/>
                  </a:lnTo>
                  <a:lnTo>
                    <a:pt x="341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7" y="71"/>
                  </a:lnTo>
                  <a:lnTo>
                    <a:pt x="341" y="71"/>
                  </a:lnTo>
                  <a:lnTo>
                    <a:pt x="337" y="71"/>
                  </a:lnTo>
                  <a:lnTo>
                    <a:pt x="341" y="71"/>
                  </a:lnTo>
                  <a:lnTo>
                    <a:pt x="341" y="71"/>
                  </a:lnTo>
                  <a:lnTo>
                    <a:pt x="345" y="71"/>
                  </a:lnTo>
                  <a:lnTo>
                    <a:pt x="345" y="67"/>
                  </a:lnTo>
                  <a:lnTo>
                    <a:pt x="345" y="67"/>
                  </a:lnTo>
                  <a:lnTo>
                    <a:pt x="345" y="62"/>
                  </a:lnTo>
                  <a:lnTo>
                    <a:pt x="345" y="62"/>
                  </a:lnTo>
                  <a:lnTo>
                    <a:pt x="345" y="62"/>
                  </a:lnTo>
                  <a:lnTo>
                    <a:pt x="345" y="62"/>
                  </a:lnTo>
                  <a:lnTo>
                    <a:pt x="350" y="62"/>
                  </a:lnTo>
                  <a:lnTo>
                    <a:pt x="350" y="62"/>
                  </a:lnTo>
                  <a:lnTo>
                    <a:pt x="345" y="62"/>
                  </a:lnTo>
                  <a:lnTo>
                    <a:pt x="345" y="62"/>
                  </a:lnTo>
                  <a:lnTo>
                    <a:pt x="345" y="62"/>
                  </a:lnTo>
                  <a:lnTo>
                    <a:pt x="350" y="62"/>
                  </a:lnTo>
                  <a:lnTo>
                    <a:pt x="350" y="62"/>
                  </a:lnTo>
                  <a:lnTo>
                    <a:pt x="350" y="62"/>
                  </a:lnTo>
                  <a:lnTo>
                    <a:pt x="350" y="58"/>
                  </a:lnTo>
                  <a:lnTo>
                    <a:pt x="350" y="62"/>
                  </a:lnTo>
                  <a:lnTo>
                    <a:pt x="350" y="62"/>
                  </a:lnTo>
                  <a:lnTo>
                    <a:pt x="350" y="62"/>
                  </a:lnTo>
                  <a:lnTo>
                    <a:pt x="350" y="62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4" y="58"/>
                  </a:lnTo>
                  <a:lnTo>
                    <a:pt x="354" y="58"/>
                  </a:lnTo>
                  <a:lnTo>
                    <a:pt x="354" y="58"/>
                  </a:lnTo>
                  <a:lnTo>
                    <a:pt x="350" y="58"/>
                  </a:lnTo>
                  <a:lnTo>
                    <a:pt x="354" y="58"/>
                  </a:lnTo>
                  <a:lnTo>
                    <a:pt x="354" y="58"/>
                  </a:lnTo>
                  <a:lnTo>
                    <a:pt x="354" y="58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53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5"/>
                  </a:lnTo>
                  <a:lnTo>
                    <a:pt x="354" y="45"/>
                  </a:lnTo>
                  <a:lnTo>
                    <a:pt x="354" y="45"/>
                  </a:lnTo>
                  <a:lnTo>
                    <a:pt x="354" y="45"/>
                  </a:lnTo>
                  <a:lnTo>
                    <a:pt x="354" y="45"/>
                  </a:lnTo>
                  <a:lnTo>
                    <a:pt x="354" y="40"/>
                  </a:lnTo>
                  <a:lnTo>
                    <a:pt x="354" y="40"/>
                  </a:lnTo>
                  <a:lnTo>
                    <a:pt x="354" y="40"/>
                  </a:lnTo>
                  <a:lnTo>
                    <a:pt x="354" y="40"/>
                  </a:lnTo>
                  <a:lnTo>
                    <a:pt x="354" y="36"/>
                  </a:lnTo>
                  <a:lnTo>
                    <a:pt x="354" y="36"/>
                  </a:lnTo>
                  <a:lnTo>
                    <a:pt x="354" y="36"/>
                  </a:lnTo>
                  <a:lnTo>
                    <a:pt x="359" y="36"/>
                  </a:lnTo>
                  <a:lnTo>
                    <a:pt x="359" y="36"/>
                  </a:lnTo>
                  <a:lnTo>
                    <a:pt x="359" y="31"/>
                  </a:lnTo>
                  <a:lnTo>
                    <a:pt x="363" y="31"/>
                  </a:lnTo>
                  <a:lnTo>
                    <a:pt x="363" y="31"/>
                  </a:lnTo>
                  <a:lnTo>
                    <a:pt x="363" y="31"/>
                  </a:lnTo>
                  <a:lnTo>
                    <a:pt x="363" y="31"/>
                  </a:lnTo>
                  <a:lnTo>
                    <a:pt x="363" y="31"/>
                  </a:lnTo>
                  <a:lnTo>
                    <a:pt x="363" y="27"/>
                  </a:lnTo>
                  <a:lnTo>
                    <a:pt x="368" y="27"/>
                  </a:lnTo>
                  <a:lnTo>
                    <a:pt x="368" y="31"/>
                  </a:lnTo>
                  <a:lnTo>
                    <a:pt x="368" y="31"/>
                  </a:lnTo>
                  <a:lnTo>
                    <a:pt x="368" y="31"/>
                  </a:lnTo>
                  <a:lnTo>
                    <a:pt x="368" y="31"/>
                  </a:lnTo>
                  <a:lnTo>
                    <a:pt x="368" y="27"/>
                  </a:lnTo>
                  <a:lnTo>
                    <a:pt x="372" y="27"/>
                  </a:lnTo>
                  <a:lnTo>
                    <a:pt x="372" y="27"/>
                  </a:lnTo>
                  <a:lnTo>
                    <a:pt x="368" y="22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8" y="14"/>
                  </a:lnTo>
                  <a:lnTo>
                    <a:pt x="368" y="14"/>
                  </a:lnTo>
                  <a:lnTo>
                    <a:pt x="368" y="14"/>
                  </a:lnTo>
                  <a:lnTo>
                    <a:pt x="368" y="14"/>
                  </a:lnTo>
                  <a:lnTo>
                    <a:pt x="368" y="14"/>
                  </a:lnTo>
                  <a:lnTo>
                    <a:pt x="368" y="9"/>
                  </a:lnTo>
                  <a:lnTo>
                    <a:pt x="368" y="9"/>
                  </a:lnTo>
                  <a:lnTo>
                    <a:pt x="368" y="9"/>
                  </a:lnTo>
                  <a:lnTo>
                    <a:pt x="368" y="14"/>
                  </a:lnTo>
                  <a:lnTo>
                    <a:pt x="368" y="9"/>
                  </a:lnTo>
                  <a:lnTo>
                    <a:pt x="363" y="9"/>
                  </a:lnTo>
                  <a:lnTo>
                    <a:pt x="363" y="9"/>
                  </a:lnTo>
                  <a:lnTo>
                    <a:pt x="363" y="5"/>
                  </a:lnTo>
                  <a:lnTo>
                    <a:pt x="363" y="5"/>
                  </a:lnTo>
                  <a:lnTo>
                    <a:pt x="359" y="5"/>
                  </a:lnTo>
                  <a:lnTo>
                    <a:pt x="359" y="5"/>
                  </a:lnTo>
                  <a:lnTo>
                    <a:pt x="359" y="5"/>
                  </a:lnTo>
                  <a:lnTo>
                    <a:pt x="354" y="5"/>
                  </a:lnTo>
                  <a:lnTo>
                    <a:pt x="354" y="5"/>
                  </a:lnTo>
                  <a:lnTo>
                    <a:pt x="354" y="5"/>
                  </a:lnTo>
                  <a:lnTo>
                    <a:pt x="350" y="5"/>
                  </a:lnTo>
                  <a:lnTo>
                    <a:pt x="350" y="5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45" y="0"/>
                  </a:lnTo>
                  <a:lnTo>
                    <a:pt x="345" y="0"/>
                  </a:lnTo>
                  <a:lnTo>
                    <a:pt x="345" y="0"/>
                  </a:lnTo>
                  <a:lnTo>
                    <a:pt x="341" y="0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5" y="14"/>
                  </a:lnTo>
                  <a:lnTo>
                    <a:pt x="345" y="14"/>
                  </a:lnTo>
                  <a:lnTo>
                    <a:pt x="345" y="14"/>
                  </a:lnTo>
                  <a:lnTo>
                    <a:pt x="345" y="14"/>
                  </a:lnTo>
                  <a:lnTo>
                    <a:pt x="345" y="14"/>
                  </a:lnTo>
                  <a:lnTo>
                    <a:pt x="345" y="14"/>
                  </a:lnTo>
                  <a:lnTo>
                    <a:pt x="345" y="14"/>
                  </a:lnTo>
                  <a:lnTo>
                    <a:pt x="345" y="18"/>
                  </a:lnTo>
                  <a:lnTo>
                    <a:pt x="345" y="18"/>
                  </a:lnTo>
                  <a:lnTo>
                    <a:pt x="345" y="18"/>
                  </a:lnTo>
                  <a:lnTo>
                    <a:pt x="345" y="18"/>
                  </a:lnTo>
                  <a:lnTo>
                    <a:pt x="345" y="18"/>
                  </a:lnTo>
                  <a:lnTo>
                    <a:pt x="345" y="18"/>
                  </a:lnTo>
                  <a:lnTo>
                    <a:pt x="345" y="22"/>
                  </a:lnTo>
                  <a:lnTo>
                    <a:pt x="345" y="22"/>
                  </a:lnTo>
                  <a:lnTo>
                    <a:pt x="345" y="22"/>
                  </a:lnTo>
                  <a:lnTo>
                    <a:pt x="345" y="22"/>
                  </a:lnTo>
                  <a:lnTo>
                    <a:pt x="345" y="22"/>
                  </a:lnTo>
                  <a:lnTo>
                    <a:pt x="345" y="22"/>
                  </a:lnTo>
                  <a:lnTo>
                    <a:pt x="345" y="22"/>
                  </a:lnTo>
                  <a:lnTo>
                    <a:pt x="345" y="22"/>
                  </a:lnTo>
                  <a:lnTo>
                    <a:pt x="345" y="27"/>
                  </a:lnTo>
                  <a:lnTo>
                    <a:pt x="345" y="27"/>
                  </a:lnTo>
                  <a:lnTo>
                    <a:pt x="341" y="27"/>
                  </a:lnTo>
                  <a:lnTo>
                    <a:pt x="341" y="27"/>
                  </a:lnTo>
                  <a:lnTo>
                    <a:pt x="341" y="27"/>
                  </a:lnTo>
                  <a:lnTo>
                    <a:pt x="337" y="27"/>
                  </a:lnTo>
                  <a:lnTo>
                    <a:pt x="337" y="31"/>
                  </a:lnTo>
                  <a:lnTo>
                    <a:pt x="337" y="31"/>
                  </a:lnTo>
                  <a:lnTo>
                    <a:pt x="332" y="31"/>
                  </a:lnTo>
                  <a:lnTo>
                    <a:pt x="332" y="31"/>
                  </a:lnTo>
                  <a:lnTo>
                    <a:pt x="332" y="31"/>
                  </a:lnTo>
                  <a:lnTo>
                    <a:pt x="332" y="31"/>
                  </a:lnTo>
                  <a:lnTo>
                    <a:pt x="332" y="31"/>
                  </a:lnTo>
                  <a:lnTo>
                    <a:pt x="332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3" y="31"/>
                  </a:lnTo>
                  <a:lnTo>
                    <a:pt x="323" y="31"/>
                  </a:lnTo>
                  <a:lnTo>
                    <a:pt x="323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9" y="31"/>
                  </a:lnTo>
                  <a:lnTo>
                    <a:pt x="314" y="31"/>
                  </a:lnTo>
                  <a:lnTo>
                    <a:pt x="310" y="31"/>
                  </a:lnTo>
                  <a:lnTo>
                    <a:pt x="310" y="31"/>
                  </a:lnTo>
                  <a:lnTo>
                    <a:pt x="310" y="31"/>
                  </a:lnTo>
                  <a:lnTo>
                    <a:pt x="310" y="31"/>
                  </a:lnTo>
                  <a:lnTo>
                    <a:pt x="310" y="31"/>
                  </a:lnTo>
                  <a:lnTo>
                    <a:pt x="310" y="31"/>
                  </a:lnTo>
                  <a:lnTo>
                    <a:pt x="310" y="31"/>
                  </a:lnTo>
                  <a:lnTo>
                    <a:pt x="310" y="31"/>
                  </a:lnTo>
                  <a:lnTo>
                    <a:pt x="306" y="31"/>
                  </a:lnTo>
                  <a:lnTo>
                    <a:pt x="297" y="36"/>
                  </a:lnTo>
                  <a:lnTo>
                    <a:pt x="297" y="36"/>
                  </a:lnTo>
                  <a:lnTo>
                    <a:pt x="297" y="36"/>
                  </a:lnTo>
                  <a:lnTo>
                    <a:pt x="297" y="36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88" y="31"/>
                  </a:lnTo>
                  <a:lnTo>
                    <a:pt x="288" y="31"/>
                  </a:lnTo>
                  <a:lnTo>
                    <a:pt x="288" y="31"/>
                  </a:lnTo>
                  <a:lnTo>
                    <a:pt x="288" y="31"/>
                  </a:lnTo>
                  <a:lnTo>
                    <a:pt x="288" y="31"/>
                  </a:lnTo>
                  <a:lnTo>
                    <a:pt x="288" y="31"/>
                  </a:lnTo>
                  <a:lnTo>
                    <a:pt x="279" y="27"/>
                  </a:lnTo>
                  <a:lnTo>
                    <a:pt x="279" y="27"/>
                  </a:lnTo>
                  <a:lnTo>
                    <a:pt x="279" y="27"/>
                  </a:lnTo>
                  <a:lnTo>
                    <a:pt x="275" y="27"/>
                  </a:lnTo>
                  <a:lnTo>
                    <a:pt x="275" y="27"/>
                  </a:lnTo>
                  <a:lnTo>
                    <a:pt x="275" y="27"/>
                  </a:lnTo>
                  <a:lnTo>
                    <a:pt x="275" y="27"/>
                  </a:lnTo>
                  <a:lnTo>
                    <a:pt x="275" y="27"/>
                  </a:lnTo>
                  <a:lnTo>
                    <a:pt x="275" y="27"/>
                  </a:lnTo>
                  <a:lnTo>
                    <a:pt x="270" y="27"/>
                  </a:lnTo>
                  <a:lnTo>
                    <a:pt x="270" y="27"/>
                  </a:lnTo>
                  <a:lnTo>
                    <a:pt x="270" y="27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6" y="22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57" y="14"/>
                  </a:lnTo>
                  <a:lnTo>
                    <a:pt x="257" y="14"/>
                  </a:lnTo>
                  <a:lnTo>
                    <a:pt x="257" y="14"/>
                  </a:lnTo>
                  <a:lnTo>
                    <a:pt x="257" y="14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4"/>
                  </a:lnTo>
                  <a:lnTo>
                    <a:pt x="248" y="14"/>
                  </a:lnTo>
                  <a:lnTo>
                    <a:pt x="244" y="14"/>
                  </a:lnTo>
                  <a:lnTo>
                    <a:pt x="244" y="14"/>
                  </a:lnTo>
                  <a:lnTo>
                    <a:pt x="244" y="14"/>
                  </a:lnTo>
                  <a:lnTo>
                    <a:pt x="244" y="14"/>
                  </a:lnTo>
                  <a:lnTo>
                    <a:pt x="244" y="14"/>
                  </a:lnTo>
                  <a:lnTo>
                    <a:pt x="239" y="14"/>
                  </a:lnTo>
                  <a:lnTo>
                    <a:pt x="239" y="14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39" y="14"/>
                  </a:lnTo>
                  <a:lnTo>
                    <a:pt x="235" y="14"/>
                  </a:lnTo>
                  <a:lnTo>
                    <a:pt x="235" y="18"/>
                  </a:lnTo>
                  <a:lnTo>
                    <a:pt x="235" y="18"/>
                  </a:lnTo>
                  <a:lnTo>
                    <a:pt x="235" y="18"/>
                  </a:lnTo>
                  <a:lnTo>
                    <a:pt x="235" y="22"/>
                  </a:lnTo>
                  <a:lnTo>
                    <a:pt x="235" y="22"/>
                  </a:lnTo>
                  <a:lnTo>
                    <a:pt x="235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26" y="22"/>
                  </a:lnTo>
                  <a:lnTo>
                    <a:pt x="226" y="22"/>
                  </a:lnTo>
                  <a:lnTo>
                    <a:pt x="226" y="22"/>
                  </a:lnTo>
                  <a:lnTo>
                    <a:pt x="221" y="22"/>
                  </a:lnTo>
                  <a:lnTo>
                    <a:pt x="221" y="22"/>
                  </a:lnTo>
                  <a:lnTo>
                    <a:pt x="221" y="22"/>
                  </a:lnTo>
                  <a:lnTo>
                    <a:pt x="221" y="22"/>
                  </a:lnTo>
                  <a:lnTo>
                    <a:pt x="217" y="22"/>
                  </a:lnTo>
                  <a:lnTo>
                    <a:pt x="217" y="27"/>
                  </a:lnTo>
                  <a:lnTo>
                    <a:pt x="217" y="27"/>
                  </a:lnTo>
                  <a:lnTo>
                    <a:pt x="217" y="27"/>
                  </a:lnTo>
                  <a:lnTo>
                    <a:pt x="213" y="27"/>
                  </a:lnTo>
                  <a:lnTo>
                    <a:pt x="213" y="27"/>
                  </a:lnTo>
                  <a:lnTo>
                    <a:pt x="213" y="27"/>
                  </a:lnTo>
                  <a:lnTo>
                    <a:pt x="213" y="27"/>
                  </a:lnTo>
                  <a:lnTo>
                    <a:pt x="213" y="27"/>
                  </a:lnTo>
                  <a:lnTo>
                    <a:pt x="208" y="27"/>
                  </a:lnTo>
                  <a:lnTo>
                    <a:pt x="204" y="27"/>
                  </a:lnTo>
                  <a:lnTo>
                    <a:pt x="199" y="27"/>
                  </a:lnTo>
                  <a:lnTo>
                    <a:pt x="199" y="27"/>
                  </a:lnTo>
                  <a:lnTo>
                    <a:pt x="199" y="27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0" y="27"/>
                  </a:lnTo>
                  <a:lnTo>
                    <a:pt x="190" y="27"/>
                  </a:lnTo>
                  <a:lnTo>
                    <a:pt x="190" y="27"/>
                  </a:lnTo>
                  <a:lnTo>
                    <a:pt x="190" y="27"/>
                  </a:lnTo>
                  <a:lnTo>
                    <a:pt x="190" y="27"/>
                  </a:lnTo>
                  <a:lnTo>
                    <a:pt x="190" y="27"/>
                  </a:lnTo>
                  <a:lnTo>
                    <a:pt x="190" y="31"/>
                  </a:lnTo>
                  <a:lnTo>
                    <a:pt x="190" y="31"/>
                  </a:lnTo>
                  <a:lnTo>
                    <a:pt x="186" y="31"/>
                  </a:lnTo>
                  <a:lnTo>
                    <a:pt x="186" y="31"/>
                  </a:lnTo>
                  <a:lnTo>
                    <a:pt x="186" y="31"/>
                  </a:lnTo>
                  <a:lnTo>
                    <a:pt x="173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64" y="45"/>
                  </a:lnTo>
                  <a:lnTo>
                    <a:pt x="164" y="45"/>
                  </a:lnTo>
                  <a:lnTo>
                    <a:pt x="164" y="45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37" y="45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3" y="40"/>
                  </a:lnTo>
                  <a:lnTo>
                    <a:pt x="133" y="45"/>
                  </a:lnTo>
                  <a:lnTo>
                    <a:pt x="133" y="45"/>
                  </a:lnTo>
                  <a:lnTo>
                    <a:pt x="129" y="45"/>
                  </a:lnTo>
                  <a:lnTo>
                    <a:pt x="129" y="45"/>
                  </a:lnTo>
                  <a:lnTo>
                    <a:pt x="129" y="45"/>
                  </a:lnTo>
                  <a:lnTo>
                    <a:pt x="129" y="45"/>
                  </a:lnTo>
                  <a:lnTo>
                    <a:pt x="129" y="45"/>
                  </a:lnTo>
                  <a:lnTo>
                    <a:pt x="129" y="40"/>
                  </a:lnTo>
                  <a:lnTo>
                    <a:pt x="129" y="45"/>
                  </a:lnTo>
                  <a:lnTo>
                    <a:pt x="129" y="45"/>
                  </a:lnTo>
                  <a:lnTo>
                    <a:pt x="129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0" y="45"/>
                  </a:lnTo>
                  <a:lnTo>
                    <a:pt x="120" y="45"/>
                  </a:lnTo>
                  <a:lnTo>
                    <a:pt x="120" y="45"/>
                  </a:lnTo>
                  <a:lnTo>
                    <a:pt x="120" y="49"/>
                  </a:lnTo>
                  <a:lnTo>
                    <a:pt x="120" y="49"/>
                  </a:lnTo>
                  <a:lnTo>
                    <a:pt x="120" y="49"/>
                  </a:lnTo>
                  <a:lnTo>
                    <a:pt x="120" y="49"/>
                  </a:lnTo>
                  <a:lnTo>
                    <a:pt x="120" y="49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1" y="58"/>
                  </a:lnTo>
                  <a:lnTo>
                    <a:pt x="111" y="58"/>
                  </a:lnTo>
                  <a:lnTo>
                    <a:pt x="111" y="58"/>
                  </a:lnTo>
                  <a:lnTo>
                    <a:pt x="106" y="58"/>
                  </a:lnTo>
                  <a:lnTo>
                    <a:pt x="106" y="58"/>
                  </a:lnTo>
                  <a:lnTo>
                    <a:pt x="106" y="58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2" y="62"/>
                  </a:lnTo>
                  <a:lnTo>
                    <a:pt x="102" y="62"/>
                  </a:lnTo>
                  <a:lnTo>
                    <a:pt x="102" y="62"/>
                  </a:lnTo>
                  <a:lnTo>
                    <a:pt x="98" y="58"/>
                  </a:lnTo>
                  <a:lnTo>
                    <a:pt x="98" y="58"/>
                  </a:lnTo>
                  <a:lnTo>
                    <a:pt x="98" y="58"/>
                  </a:lnTo>
                  <a:lnTo>
                    <a:pt x="93" y="58"/>
                  </a:lnTo>
                  <a:lnTo>
                    <a:pt x="93" y="58"/>
                  </a:lnTo>
                  <a:lnTo>
                    <a:pt x="93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0" y="62"/>
                  </a:lnTo>
                  <a:lnTo>
                    <a:pt x="71" y="62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5" y="76"/>
                  </a:lnTo>
                  <a:lnTo>
                    <a:pt x="75" y="76"/>
                  </a:lnTo>
                  <a:lnTo>
                    <a:pt x="75" y="76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1" y="84"/>
                  </a:lnTo>
                  <a:lnTo>
                    <a:pt x="71" y="84"/>
                  </a:lnTo>
                  <a:lnTo>
                    <a:pt x="71" y="84"/>
                  </a:lnTo>
                  <a:lnTo>
                    <a:pt x="71" y="84"/>
                  </a:lnTo>
                  <a:lnTo>
                    <a:pt x="71" y="84"/>
                  </a:lnTo>
                  <a:lnTo>
                    <a:pt x="71" y="84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7"/>
                  </a:lnTo>
                  <a:lnTo>
                    <a:pt x="58" y="107"/>
                  </a:lnTo>
                  <a:lnTo>
                    <a:pt x="58" y="107"/>
                  </a:lnTo>
                  <a:lnTo>
                    <a:pt x="58" y="111"/>
                  </a:lnTo>
                  <a:lnTo>
                    <a:pt x="58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4" y="115"/>
                  </a:lnTo>
                  <a:lnTo>
                    <a:pt x="44" y="115"/>
                  </a:lnTo>
                  <a:lnTo>
                    <a:pt x="44" y="120"/>
                  </a:lnTo>
                  <a:lnTo>
                    <a:pt x="44" y="115"/>
                  </a:lnTo>
                  <a:lnTo>
                    <a:pt x="40" y="120"/>
                  </a:lnTo>
                  <a:lnTo>
                    <a:pt x="40" y="120"/>
                  </a:lnTo>
                  <a:lnTo>
                    <a:pt x="40" y="120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40" y="129"/>
                  </a:lnTo>
                  <a:lnTo>
                    <a:pt x="40" y="133"/>
                  </a:lnTo>
                  <a:lnTo>
                    <a:pt x="40" y="133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36" y="138"/>
                  </a:lnTo>
                  <a:lnTo>
                    <a:pt x="36" y="133"/>
                  </a:lnTo>
                  <a:lnTo>
                    <a:pt x="36" y="133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1" y="142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31" y="146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1" y="160"/>
                  </a:lnTo>
                  <a:lnTo>
                    <a:pt x="31" y="160"/>
                  </a:lnTo>
                  <a:lnTo>
                    <a:pt x="31" y="160"/>
                  </a:lnTo>
                  <a:lnTo>
                    <a:pt x="31" y="160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9"/>
                  </a:lnTo>
                  <a:lnTo>
                    <a:pt x="36" y="169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69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4" y="177"/>
                  </a:lnTo>
                  <a:lnTo>
                    <a:pt x="49" y="177"/>
                  </a:lnTo>
                  <a:lnTo>
                    <a:pt x="53" y="182"/>
                  </a:lnTo>
                  <a:lnTo>
                    <a:pt x="53" y="182"/>
                  </a:lnTo>
                  <a:lnTo>
                    <a:pt x="53" y="182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62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86"/>
                  </a:lnTo>
                  <a:lnTo>
                    <a:pt x="62" y="191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2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86"/>
                  </a:lnTo>
                  <a:lnTo>
                    <a:pt x="71" y="191"/>
                  </a:lnTo>
                  <a:lnTo>
                    <a:pt x="71" y="191"/>
                  </a:lnTo>
                  <a:lnTo>
                    <a:pt x="75" y="191"/>
                  </a:lnTo>
                  <a:lnTo>
                    <a:pt x="75" y="191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80" y="191"/>
                  </a:lnTo>
                  <a:lnTo>
                    <a:pt x="80" y="191"/>
                  </a:lnTo>
                  <a:lnTo>
                    <a:pt x="80" y="191"/>
                  </a:lnTo>
                  <a:lnTo>
                    <a:pt x="80" y="191"/>
                  </a:lnTo>
                  <a:lnTo>
                    <a:pt x="80" y="191"/>
                  </a:lnTo>
                  <a:lnTo>
                    <a:pt x="80" y="191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200"/>
                  </a:lnTo>
                  <a:lnTo>
                    <a:pt x="84" y="200"/>
                  </a:lnTo>
                  <a:lnTo>
                    <a:pt x="84" y="200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75" y="195"/>
                  </a:lnTo>
                  <a:lnTo>
                    <a:pt x="75" y="195"/>
                  </a:lnTo>
                  <a:lnTo>
                    <a:pt x="75" y="195"/>
                  </a:lnTo>
                  <a:lnTo>
                    <a:pt x="75" y="195"/>
                  </a:lnTo>
                  <a:lnTo>
                    <a:pt x="75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5"/>
                  </a:lnTo>
                  <a:lnTo>
                    <a:pt x="62" y="195"/>
                  </a:lnTo>
                  <a:lnTo>
                    <a:pt x="62" y="195"/>
                  </a:lnTo>
                  <a:lnTo>
                    <a:pt x="62" y="195"/>
                  </a:lnTo>
                  <a:lnTo>
                    <a:pt x="62" y="195"/>
                  </a:lnTo>
                  <a:lnTo>
                    <a:pt x="62" y="195"/>
                  </a:lnTo>
                  <a:lnTo>
                    <a:pt x="62" y="191"/>
                  </a:lnTo>
                  <a:lnTo>
                    <a:pt x="62" y="195"/>
                  </a:lnTo>
                  <a:lnTo>
                    <a:pt x="58" y="195"/>
                  </a:lnTo>
                  <a:lnTo>
                    <a:pt x="62" y="195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62" y="208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67" y="204"/>
                  </a:lnTo>
                  <a:lnTo>
                    <a:pt x="67" y="204"/>
                  </a:lnTo>
                  <a:lnTo>
                    <a:pt x="67" y="204"/>
                  </a:lnTo>
                  <a:lnTo>
                    <a:pt x="67" y="204"/>
                  </a:lnTo>
                  <a:lnTo>
                    <a:pt x="67" y="208"/>
                  </a:lnTo>
                  <a:lnTo>
                    <a:pt x="67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7"/>
                  </a:lnTo>
                  <a:lnTo>
                    <a:pt x="75" y="217"/>
                  </a:lnTo>
                  <a:lnTo>
                    <a:pt x="75" y="217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80" y="222"/>
                  </a:lnTo>
                  <a:lnTo>
                    <a:pt x="80" y="222"/>
                  </a:lnTo>
                  <a:lnTo>
                    <a:pt x="80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31"/>
                  </a:lnTo>
                  <a:lnTo>
                    <a:pt x="75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75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9" y="235"/>
                  </a:lnTo>
                  <a:lnTo>
                    <a:pt x="89" y="235"/>
                  </a:lnTo>
                  <a:lnTo>
                    <a:pt x="89" y="235"/>
                  </a:lnTo>
                  <a:lnTo>
                    <a:pt x="89" y="235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35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93" y="231"/>
                  </a:lnTo>
                  <a:lnTo>
                    <a:pt x="93" y="231"/>
                  </a:lnTo>
                  <a:lnTo>
                    <a:pt x="93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89" y="226"/>
                  </a:lnTo>
                  <a:lnTo>
                    <a:pt x="93" y="226"/>
                  </a:lnTo>
                  <a:lnTo>
                    <a:pt x="89" y="226"/>
                  </a:lnTo>
                  <a:lnTo>
                    <a:pt x="89" y="226"/>
                  </a:lnTo>
                  <a:lnTo>
                    <a:pt x="89" y="226"/>
                  </a:lnTo>
                  <a:lnTo>
                    <a:pt x="89" y="226"/>
                  </a:lnTo>
                  <a:lnTo>
                    <a:pt x="89" y="226"/>
                  </a:lnTo>
                  <a:lnTo>
                    <a:pt x="89" y="226"/>
                  </a:lnTo>
                  <a:lnTo>
                    <a:pt x="93" y="226"/>
                  </a:lnTo>
                  <a:lnTo>
                    <a:pt x="93" y="231"/>
                  </a:lnTo>
                  <a:lnTo>
                    <a:pt x="93" y="231"/>
                  </a:lnTo>
                  <a:lnTo>
                    <a:pt x="93" y="231"/>
                  </a:lnTo>
                  <a:lnTo>
                    <a:pt x="93" y="231"/>
                  </a:lnTo>
                  <a:lnTo>
                    <a:pt x="98" y="231"/>
                  </a:lnTo>
                  <a:lnTo>
                    <a:pt x="93" y="235"/>
                  </a:lnTo>
                  <a:lnTo>
                    <a:pt x="98" y="231"/>
                  </a:lnTo>
                  <a:lnTo>
                    <a:pt x="98" y="231"/>
                  </a:lnTo>
                  <a:lnTo>
                    <a:pt x="98" y="231"/>
                  </a:lnTo>
                  <a:lnTo>
                    <a:pt x="98" y="231"/>
                  </a:lnTo>
                  <a:lnTo>
                    <a:pt x="98" y="231"/>
                  </a:lnTo>
                  <a:lnTo>
                    <a:pt x="98" y="231"/>
                  </a:lnTo>
                  <a:lnTo>
                    <a:pt x="98" y="231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102" y="239"/>
                  </a:lnTo>
                  <a:lnTo>
                    <a:pt x="102" y="239"/>
                  </a:lnTo>
                  <a:lnTo>
                    <a:pt x="102" y="235"/>
                  </a:lnTo>
                  <a:lnTo>
                    <a:pt x="106" y="235"/>
                  </a:lnTo>
                  <a:lnTo>
                    <a:pt x="106" y="235"/>
                  </a:lnTo>
                  <a:lnTo>
                    <a:pt x="106" y="235"/>
                  </a:lnTo>
                  <a:lnTo>
                    <a:pt x="106" y="235"/>
                  </a:lnTo>
                  <a:lnTo>
                    <a:pt x="106" y="235"/>
                  </a:lnTo>
                  <a:lnTo>
                    <a:pt x="111" y="235"/>
                  </a:lnTo>
                  <a:lnTo>
                    <a:pt x="111" y="235"/>
                  </a:lnTo>
                  <a:lnTo>
                    <a:pt x="115" y="235"/>
                  </a:lnTo>
                  <a:lnTo>
                    <a:pt x="115" y="235"/>
                  </a:lnTo>
                  <a:lnTo>
                    <a:pt x="115" y="235"/>
                  </a:lnTo>
                  <a:lnTo>
                    <a:pt x="115" y="235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15" y="231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0" y="231"/>
                  </a:lnTo>
                  <a:lnTo>
                    <a:pt x="124" y="231"/>
                  </a:lnTo>
                  <a:lnTo>
                    <a:pt x="124" y="231"/>
                  </a:lnTo>
                  <a:lnTo>
                    <a:pt x="124" y="231"/>
                  </a:lnTo>
                  <a:lnTo>
                    <a:pt x="129" y="231"/>
                  </a:lnTo>
                  <a:lnTo>
                    <a:pt x="129" y="231"/>
                  </a:lnTo>
                  <a:lnTo>
                    <a:pt x="133" y="231"/>
                  </a:lnTo>
                  <a:lnTo>
                    <a:pt x="133" y="231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7" y="235"/>
                  </a:lnTo>
                  <a:lnTo>
                    <a:pt x="137" y="235"/>
                  </a:lnTo>
                  <a:lnTo>
                    <a:pt x="137" y="235"/>
                  </a:lnTo>
                  <a:lnTo>
                    <a:pt x="137" y="235"/>
                  </a:lnTo>
                  <a:lnTo>
                    <a:pt x="137" y="235"/>
                  </a:lnTo>
                  <a:lnTo>
                    <a:pt x="137" y="235"/>
                  </a:lnTo>
                  <a:lnTo>
                    <a:pt x="137" y="235"/>
                  </a:lnTo>
                  <a:lnTo>
                    <a:pt x="142" y="235"/>
                  </a:lnTo>
                  <a:lnTo>
                    <a:pt x="142" y="235"/>
                  </a:lnTo>
                  <a:lnTo>
                    <a:pt x="142" y="235"/>
                  </a:lnTo>
                  <a:lnTo>
                    <a:pt x="142" y="235"/>
                  </a:lnTo>
                  <a:lnTo>
                    <a:pt x="142" y="235"/>
                  </a:lnTo>
                  <a:lnTo>
                    <a:pt x="146" y="235"/>
                  </a:lnTo>
                  <a:lnTo>
                    <a:pt x="146" y="235"/>
                  </a:lnTo>
                  <a:lnTo>
                    <a:pt x="146" y="235"/>
                  </a:lnTo>
                  <a:lnTo>
                    <a:pt x="146" y="235"/>
                  </a:lnTo>
                  <a:lnTo>
                    <a:pt x="146" y="235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31"/>
                  </a:lnTo>
                  <a:lnTo>
                    <a:pt x="146" y="226"/>
                  </a:lnTo>
                  <a:lnTo>
                    <a:pt x="146" y="226"/>
                  </a:lnTo>
                  <a:lnTo>
                    <a:pt x="151" y="231"/>
                  </a:lnTo>
                  <a:lnTo>
                    <a:pt x="151" y="231"/>
                  </a:lnTo>
                  <a:lnTo>
                    <a:pt x="151" y="231"/>
                  </a:lnTo>
                  <a:lnTo>
                    <a:pt x="151" y="231"/>
                  </a:lnTo>
                  <a:lnTo>
                    <a:pt x="151" y="231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60" y="235"/>
                  </a:lnTo>
                  <a:lnTo>
                    <a:pt x="160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60" y="235"/>
                  </a:lnTo>
                  <a:lnTo>
                    <a:pt x="160" y="235"/>
                  </a:lnTo>
                  <a:lnTo>
                    <a:pt x="160" y="235"/>
                  </a:lnTo>
                  <a:lnTo>
                    <a:pt x="160" y="235"/>
                  </a:lnTo>
                  <a:lnTo>
                    <a:pt x="160" y="231"/>
                  </a:lnTo>
                  <a:lnTo>
                    <a:pt x="160" y="231"/>
                  </a:lnTo>
                  <a:lnTo>
                    <a:pt x="160" y="231"/>
                  </a:lnTo>
                  <a:lnTo>
                    <a:pt x="160" y="231"/>
                  </a:lnTo>
                  <a:lnTo>
                    <a:pt x="160" y="235"/>
                  </a:lnTo>
                  <a:lnTo>
                    <a:pt x="160" y="235"/>
                  </a:lnTo>
                  <a:lnTo>
                    <a:pt x="164" y="235"/>
                  </a:lnTo>
                  <a:lnTo>
                    <a:pt x="164" y="235"/>
                  </a:lnTo>
                  <a:lnTo>
                    <a:pt x="164" y="235"/>
                  </a:lnTo>
                  <a:lnTo>
                    <a:pt x="164" y="235"/>
                  </a:lnTo>
                  <a:lnTo>
                    <a:pt x="164" y="239"/>
                  </a:lnTo>
                  <a:lnTo>
                    <a:pt x="168" y="239"/>
                  </a:lnTo>
                  <a:lnTo>
                    <a:pt x="168" y="239"/>
                  </a:lnTo>
                  <a:lnTo>
                    <a:pt x="168" y="239"/>
                  </a:lnTo>
                  <a:lnTo>
                    <a:pt x="168" y="239"/>
                  </a:lnTo>
                  <a:lnTo>
                    <a:pt x="164" y="239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73" y="239"/>
                  </a:lnTo>
                  <a:lnTo>
                    <a:pt x="173" y="239"/>
                  </a:lnTo>
                  <a:lnTo>
                    <a:pt x="173" y="239"/>
                  </a:lnTo>
                  <a:lnTo>
                    <a:pt x="173" y="244"/>
                  </a:lnTo>
                  <a:lnTo>
                    <a:pt x="173" y="244"/>
                  </a:lnTo>
                  <a:lnTo>
                    <a:pt x="173" y="239"/>
                  </a:lnTo>
                  <a:lnTo>
                    <a:pt x="173" y="239"/>
                  </a:lnTo>
                  <a:lnTo>
                    <a:pt x="173" y="244"/>
                  </a:lnTo>
                  <a:lnTo>
                    <a:pt x="173" y="244"/>
                  </a:lnTo>
                  <a:lnTo>
                    <a:pt x="177" y="244"/>
                  </a:lnTo>
                  <a:lnTo>
                    <a:pt x="177" y="244"/>
                  </a:lnTo>
                  <a:lnTo>
                    <a:pt x="177" y="244"/>
                  </a:lnTo>
                  <a:lnTo>
                    <a:pt x="177" y="244"/>
                  </a:lnTo>
                  <a:lnTo>
                    <a:pt x="173" y="244"/>
                  </a:lnTo>
                  <a:lnTo>
                    <a:pt x="173" y="244"/>
                  </a:lnTo>
                  <a:lnTo>
                    <a:pt x="173" y="244"/>
                  </a:lnTo>
                  <a:lnTo>
                    <a:pt x="177" y="244"/>
                  </a:lnTo>
                  <a:lnTo>
                    <a:pt x="177" y="244"/>
                  </a:lnTo>
                  <a:lnTo>
                    <a:pt x="182" y="244"/>
                  </a:lnTo>
                  <a:lnTo>
                    <a:pt x="182" y="244"/>
                  </a:lnTo>
                  <a:lnTo>
                    <a:pt x="182" y="244"/>
                  </a:lnTo>
                  <a:lnTo>
                    <a:pt x="182" y="244"/>
                  </a:lnTo>
                  <a:lnTo>
                    <a:pt x="182" y="244"/>
                  </a:lnTo>
                  <a:lnTo>
                    <a:pt x="182" y="244"/>
                  </a:lnTo>
                  <a:lnTo>
                    <a:pt x="182" y="244"/>
                  </a:lnTo>
                  <a:lnTo>
                    <a:pt x="186" y="244"/>
                  </a:lnTo>
                  <a:lnTo>
                    <a:pt x="186" y="244"/>
                  </a:lnTo>
                  <a:lnTo>
                    <a:pt x="186" y="244"/>
                  </a:lnTo>
                  <a:lnTo>
                    <a:pt x="186" y="244"/>
                  </a:lnTo>
                  <a:lnTo>
                    <a:pt x="186" y="244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86" y="248"/>
                  </a:lnTo>
                  <a:lnTo>
                    <a:pt x="186" y="248"/>
                  </a:lnTo>
                  <a:lnTo>
                    <a:pt x="186" y="248"/>
                  </a:lnTo>
                  <a:lnTo>
                    <a:pt x="186" y="248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90" y="253"/>
                  </a:lnTo>
                  <a:lnTo>
                    <a:pt x="186" y="253"/>
                  </a:lnTo>
                  <a:lnTo>
                    <a:pt x="186" y="253"/>
                  </a:lnTo>
                  <a:lnTo>
                    <a:pt x="182" y="253"/>
                  </a:lnTo>
                  <a:lnTo>
                    <a:pt x="182" y="253"/>
                  </a:lnTo>
                  <a:lnTo>
                    <a:pt x="182" y="253"/>
                  </a:lnTo>
                  <a:lnTo>
                    <a:pt x="177" y="253"/>
                  </a:lnTo>
                  <a:lnTo>
                    <a:pt x="177" y="253"/>
                  </a:lnTo>
                  <a:lnTo>
                    <a:pt x="177" y="253"/>
                  </a:lnTo>
                  <a:lnTo>
                    <a:pt x="173" y="253"/>
                  </a:lnTo>
                  <a:lnTo>
                    <a:pt x="173" y="253"/>
                  </a:lnTo>
                  <a:lnTo>
                    <a:pt x="173" y="253"/>
                  </a:lnTo>
                  <a:lnTo>
                    <a:pt x="173" y="253"/>
                  </a:lnTo>
                  <a:lnTo>
                    <a:pt x="173" y="253"/>
                  </a:lnTo>
                  <a:lnTo>
                    <a:pt x="173" y="253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7" y="257"/>
                  </a:lnTo>
                  <a:lnTo>
                    <a:pt x="177" y="257"/>
                  </a:lnTo>
                  <a:lnTo>
                    <a:pt x="177" y="257"/>
                  </a:lnTo>
                  <a:lnTo>
                    <a:pt x="177" y="257"/>
                  </a:lnTo>
                  <a:lnTo>
                    <a:pt x="177" y="257"/>
                  </a:lnTo>
                  <a:lnTo>
                    <a:pt x="177" y="262"/>
                  </a:lnTo>
                  <a:lnTo>
                    <a:pt x="177" y="262"/>
                  </a:lnTo>
                  <a:lnTo>
                    <a:pt x="177" y="262"/>
                  </a:lnTo>
                  <a:lnTo>
                    <a:pt x="173" y="262"/>
                  </a:lnTo>
                  <a:lnTo>
                    <a:pt x="173" y="262"/>
                  </a:lnTo>
                  <a:lnTo>
                    <a:pt x="173" y="262"/>
                  </a:lnTo>
                  <a:lnTo>
                    <a:pt x="173" y="262"/>
                  </a:lnTo>
                  <a:lnTo>
                    <a:pt x="173" y="262"/>
                  </a:lnTo>
                  <a:lnTo>
                    <a:pt x="168" y="262"/>
                  </a:lnTo>
                  <a:lnTo>
                    <a:pt x="168" y="257"/>
                  </a:lnTo>
                  <a:lnTo>
                    <a:pt x="168" y="257"/>
                  </a:lnTo>
                  <a:lnTo>
                    <a:pt x="168" y="257"/>
                  </a:lnTo>
                  <a:lnTo>
                    <a:pt x="168" y="257"/>
                  </a:lnTo>
                  <a:lnTo>
                    <a:pt x="164" y="253"/>
                  </a:lnTo>
                  <a:lnTo>
                    <a:pt x="164" y="253"/>
                  </a:lnTo>
                  <a:lnTo>
                    <a:pt x="160" y="253"/>
                  </a:lnTo>
                  <a:lnTo>
                    <a:pt x="160" y="253"/>
                  </a:lnTo>
                  <a:lnTo>
                    <a:pt x="151" y="248"/>
                  </a:lnTo>
                  <a:lnTo>
                    <a:pt x="146" y="248"/>
                  </a:lnTo>
                  <a:lnTo>
                    <a:pt x="146" y="248"/>
                  </a:lnTo>
                  <a:lnTo>
                    <a:pt x="146" y="248"/>
                  </a:lnTo>
                  <a:lnTo>
                    <a:pt x="146" y="248"/>
                  </a:lnTo>
                  <a:lnTo>
                    <a:pt x="146" y="248"/>
                  </a:lnTo>
                  <a:lnTo>
                    <a:pt x="146" y="248"/>
                  </a:lnTo>
                  <a:lnTo>
                    <a:pt x="142" y="244"/>
                  </a:lnTo>
                  <a:lnTo>
                    <a:pt x="142" y="244"/>
                  </a:lnTo>
                  <a:lnTo>
                    <a:pt x="142" y="244"/>
                  </a:lnTo>
                  <a:lnTo>
                    <a:pt x="142" y="244"/>
                  </a:lnTo>
                  <a:lnTo>
                    <a:pt x="137" y="244"/>
                  </a:lnTo>
                  <a:lnTo>
                    <a:pt x="137" y="244"/>
                  </a:lnTo>
                  <a:lnTo>
                    <a:pt x="137" y="244"/>
                  </a:lnTo>
                  <a:lnTo>
                    <a:pt x="137" y="244"/>
                  </a:lnTo>
                  <a:lnTo>
                    <a:pt x="137" y="244"/>
                  </a:lnTo>
                  <a:lnTo>
                    <a:pt x="137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29" y="239"/>
                  </a:lnTo>
                  <a:lnTo>
                    <a:pt x="129" y="239"/>
                  </a:lnTo>
                  <a:lnTo>
                    <a:pt x="129" y="239"/>
                  </a:lnTo>
                  <a:lnTo>
                    <a:pt x="129" y="239"/>
                  </a:lnTo>
                  <a:lnTo>
                    <a:pt x="129" y="239"/>
                  </a:lnTo>
                  <a:lnTo>
                    <a:pt x="129" y="239"/>
                  </a:lnTo>
                  <a:lnTo>
                    <a:pt x="129" y="235"/>
                  </a:lnTo>
                  <a:lnTo>
                    <a:pt x="129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0" y="235"/>
                  </a:lnTo>
                  <a:lnTo>
                    <a:pt x="120" y="235"/>
                  </a:lnTo>
                  <a:lnTo>
                    <a:pt x="115" y="235"/>
                  </a:lnTo>
                  <a:lnTo>
                    <a:pt x="115" y="239"/>
                  </a:lnTo>
                  <a:lnTo>
                    <a:pt x="111" y="239"/>
                  </a:lnTo>
                  <a:lnTo>
                    <a:pt x="111" y="244"/>
                  </a:lnTo>
                  <a:lnTo>
                    <a:pt x="106" y="244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2" y="248"/>
                  </a:lnTo>
                  <a:lnTo>
                    <a:pt x="98" y="244"/>
                  </a:lnTo>
                  <a:lnTo>
                    <a:pt x="98" y="244"/>
                  </a:lnTo>
                  <a:lnTo>
                    <a:pt x="98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4"/>
                  </a:lnTo>
                  <a:lnTo>
                    <a:pt x="93" y="248"/>
                  </a:lnTo>
                  <a:lnTo>
                    <a:pt x="93" y="248"/>
                  </a:lnTo>
                  <a:lnTo>
                    <a:pt x="93" y="248"/>
                  </a:lnTo>
                  <a:lnTo>
                    <a:pt x="89" y="253"/>
                  </a:lnTo>
                  <a:lnTo>
                    <a:pt x="89" y="253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3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84" y="257"/>
                  </a:lnTo>
                  <a:lnTo>
                    <a:pt x="84" y="262"/>
                  </a:lnTo>
                  <a:lnTo>
                    <a:pt x="80" y="262"/>
                  </a:lnTo>
                  <a:lnTo>
                    <a:pt x="80" y="262"/>
                  </a:lnTo>
                  <a:lnTo>
                    <a:pt x="80" y="262"/>
                  </a:lnTo>
                  <a:lnTo>
                    <a:pt x="80" y="266"/>
                  </a:lnTo>
                  <a:lnTo>
                    <a:pt x="80" y="266"/>
                  </a:lnTo>
                  <a:lnTo>
                    <a:pt x="80" y="266"/>
                  </a:lnTo>
                  <a:lnTo>
                    <a:pt x="80" y="266"/>
                  </a:lnTo>
                  <a:lnTo>
                    <a:pt x="80" y="266"/>
                  </a:lnTo>
                  <a:lnTo>
                    <a:pt x="84" y="270"/>
                  </a:lnTo>
                  <a:lnTo>
                    <a:pt x="89" y="270"/>
                  </a:lnTo>
                  <a:lnTo>
                    <a:pt x="89" y="270"/>
                  </a:lnTo>
                  <a:lnTo>
                    <a:pt x="89" y="270"/>
                  </a:lnTo>
                  <a:lnTo>
                    <a:pt x="89" y="275"/>
                  </a:lnTo>
                  <a:lnTo>
                    <a:pt x="89" y="275"/>
                  </a:lnTo>
                  <a:lnTo>
                    <a:pt x="89" y="279"/>
                  </a:lnTo>
                  <a:lnTo>
                    <a:pt x="89" y="279"/>
                  </a:lnTo>
                  <a:lnTo>
                    <a:pt x="89" y="279"/>
                  </a:lnTo>
                  <a:lnTo>
                    <a:pt x="89" y="279"/>
                  </a:lnTo>
                  <a:lnTo>
                    <a:pt x="89" y="279"/>
                  </a:lnTo>
                  <a:lnTo>
                    <a:pt x="89" y="279"/>
                  </a:lnTo>
                  <a:lnTo>
                    <a:pt x="89" y="279"/>
                  </a:lnTo>
                  <a:lnTo>
                    <a:pt x="89" y="279"/>
                  </a:lnTo>
                  <a:lnTo>
                    <a:pt x="93" y="279"/>
                  </a:lnTo>
                  <a:lnTo>
                    <a:pt x="93" y="279"/>
                  </a:lnTo>
                  <a:lnTo>
                    <a:pt x="93" y="279"/>
                  </a:lnTo>
                  <a:lnTo>
                    <a:pt x="98" y="284"/>
                  </a:lnTo>
                  <a:lnTo>
                    <a:pt x="98" y="284"/>
                  </a:lnTo>
                  <a:lnTo>
                    <a:pt x="98" y="284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106" y="293"/>
                  </a:lnTo>
                  <a:lnTo>
                    <a:pt x="106" y="297"/>
                  </a:lnTo>
                  <a:lnTo>
                    <a:pt x="111" y="297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1" y="306"/>
                  </a:lnTo>
                  <a:lnTo>
                    <a:pt x="106" y="306"/>
                  </a:lnTo>
                  <a:lnTo>
                    <a:pt x="102" y="310"/>
                  </a:lnTo>
                  <a:lnTo>
                    <a:pt x="102" y="310"/>
                  </a:lnTo>
                  <a:lnTo>
                    <a:pt x="102" y="315"/>
                  </a:lnTo>
                  <a:lnTo>
                    <a:pt x="102" y="315"/>
                  </a:lnTo>
                  <a:lnTo>
                    <a:pt x="102" y="319"/>
                  </a:lnTo>
                  <a:lnTo>
                    <a:pt x="106" y="319"/>
                  </a:lnTo>
                  <a:lnTo>
                    <a:pt x="106" y="324"/>
                  </a:lnTo>
                  <a:lnTo>
                    <a:pt x="106" y="324"/>
                  </a:lnTo>
                  <a:lnTo>
                    <a:pt x="106" y="328"/>
                  </a:lnTo>
                  <a:lnTo>
                    <a:pt x="106" y="324"/>
                  </a:lnTo>
                  <a:lnTo>
                    <a:pt x="106" y="324"/>
                  </a:lnTo>
                  <a:lnTo>
                    <a:pt x="111" y="324"/>
                  </a:lnTo>
                  <a:lnTo>
                    <a:pt x="111" y="324"/>
                  </a:lnTo>
                  <a:lnTo>
                    <a:pt x="106" y="328"/>
                  </a:lnTo>
                  <a:lnTo>
                    <a:pt x="106" y="328"/>
                  </a:lnTo>
                  <a:lnTo>
                    <a:pt x="111" y="324"/>
                  </a:lnTo>
                  <a:lnTo>
                    <a:pt x="111" y="328"/>
                  </a:lnTo>
                  <a:lnTo>
                    <a:pt x="111" y="328"/>
                  </a:lnTo>
                  <a:lnTo>
                    <a:pt x="111" y="328"/>
                  </a:lnTo>
                  <a:lnTo>
                    <a:pt x="111" y="328"/>
                  </a:lnTo>
                  <a:lnTo>
                    <a:pt x="111" y="328"/>
                  </a:lnTo>
                  <a:lnTo>
                    <a:pt x="111" y="332"/>
                  </a:lnTo>
                  <a:lnTo>
                    <a:pt x="111" y="332"/>
                  </a:lnTo>
                  <a:lnTo>
                    <a:pt x="111" y="332"/>
                  </a:lnTo>
                  <a:lnTo>
                    <a:pt x="111" y="332"/>
                  </a:lnTo>
                  <a:lnTo>
                    <a:pt x="111" y="332"/>
                  </a:lnTo>
                  <a:lnTo>
                    <a:pt x="111" y="332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1" y="337"/>
                  </a:lnTo>
                  <a:lnTo>
                    <a:pt x="115" y="337"/>
                  </a:lnTo>
                  <a:lnTo>
                    <a:pt x="115" y="337"/>
                  </a:lnTo>
                  <a:lnTo>
                    <a:pt x="115" y="337"/>
                  </a:lnTo>
                  <a:lnTo>
                    <a:pt x="115" y="337"/>
                  </a:lnTo>
                  <a:lnTo>
                    <a:pt x="120" y="341"/>
                  </a:lnTo>
                  <a:lnTo>
                    <a:pt x="120" y="341"/>
                  </a:lnTo>
                  <a:lnTo>
                    <a:pt x="120" y="341"/>
                  </a:lnTo>
                  <a:lnTo>
                    <a:pt x="120" y="341"/>
                  </a:lnTo>
                  <a:lnTo>
                    <a:pt x="120" y="341"/>
                  </a:lnTo>
                  <a:lnTo>
                    <a:pt x="120" y="341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0" y="337"/>
                  </a:lnTo>
                  <a:lnTo>
                    <a:pt x="124" y="332"/>
                  </a:lnTo>
                  <a:lnTo>
                    <a:pt x="124" y="332"/>
                  </a:lnTo>
                  <a:lnTo>
                    <a:pt x="120" y="332"/>
                  </a:lnTo>
                  <a:lnTo>
                    <a:pt x="120" y="332"/>
                  </a:lnTo>
                  <a:lnTo>
                    <a:pt x="120" y="332"/>
                  </a:lnTo>
                  <a:lnTo>
                    <a:pt x="120" y="332"/>
                  </a:lnTo>
                  <a:lnTo>
                    <a:pt x="124" y="324"/>
                  </a:lnTo>
                  <a:lnTo>
                    <a:pt x="124" y="324"/>
                  </a:lnTo>
                  <a:lnTo>
                    <a:pt x="124" y="324"/>
                  </a:lnTo>
                  <a:lnTo>
                    <a:pt x="124" y="324"/>
                  </a:lnTo>
                  <a:lnTo>
                    <a:pt x="129" y="324"/>
                  </a:lnTo>
                  <a:lnTo>
                    <a:pt x="129" y="319"/>
                  </a:lnTo>
                  <a:lnTo>
                    <a:pt x="129" y="319"/>
                  </a:lnTo>
                  <a:lnTo>
                    <a:pt x="133" y="324"/>
                  </a:lnTo>
                  <a:lnTo>
                    <a:pt x="133" y="324"/>
                  </a:lnTo>
                  <a:lnTo>
                    <a:pt x="133" y="324"/>
                  </a:lnTo>
                  <a:lnTo>
                    <a:pt x="133" y="324"/>
                  </a:lnTo>
                  <a:lnTo>
                    <a:pt x="133" y="328"/>
                  </a:lnTo>
                  <a:lnTo>
                    <a:pt x="133" y="328"/>
                  </a:lnTo>
                  <a:lnTo>
                    <a:pt x="133" y="328"/>
                  </a:lnTo>
                  <a:lnTo>
                    <a:pt x="133" y="328"/>
                  </a:lnTo>
                  <a:lnTo>
                    <a:pt x="133" y="328"/>
                  </a:lnTo>
                  <a:lnTo>
                    <a:pt x="133" y="328"/>
                  </a:lnTo>
                  <a:lnTo>
                    <a:pt x="133" y="328"/>
                  </a:lnTo>
                  <a:lnTo>
                    <a:pt x="133" y="332"/>
                  </a:lnTo>
                  <a:lnTo>
                    <a:pt x="137" y="328"/>
                  </a:lnTo>
                  <a:lnTo>
                    <a:pt x="137" y="328"/>
                  </a:lnTo>
                  <a:lnTo>
                    <a:pt x="142" y="337"/>
                  </a:lnTo>
                  <a:lnTo>
                    <a:pt x="142" y="337"/>
                  </a:lnTo>
                  <a:lnTo>
                    <a:pt x="142" y="337"/>
                  </a:lnTo>
                  <a:lnTo>
                    <a:pt x="142" y="341"/>
                  </a:lnTo>
                  <a:lnTo>
                    <a:pt x="142" y="341"/>
                  </a:lnTo>
                  <a:lnTo>
                    <a:pt x="146" y="341"/>
                  </a:lnTo>
                  <a:lnTo>
                    <a:pt x="146" y="341"/>
                  </a:lnTo>
                  <a:lnTo>
                    <a:pt x="146" y="346"/>
                  </a:lnTo>
                  <a:lnTo>
                    <a:pt x="146" y="346"/>
                  </a:lnTo>
                  <a:lnTo>
                    <a:pt x="146" y="346"/>
                  </a:lnTo>
                  <a:lnTo>
                    <a:pt x="146" y="346"/>
                  </a:lnTo>
                  <a:lnTo>
                    <a:pt x="146" y="346"/>
                  </a:lnTo>
                  <a:lnTo>
                    <a:pt x="146" y="346"/>
                  </a:lnTo>
                  <a:lnTo>
                    <a:pt x="146" y="350"/>
                  </a:lnTo>
                  <a:lnTo>
                    <a:pt x="146" y="350"/>
                  </a:lnTo>
                  <a:lnTo>
                    <a:pt x="146" y="350"/>
                  </a:lnTo>
                  <a:lnTo>
                    <a:pt x="146" y="350"/>
                  </a:lnTo>
                  <a:lnTo>
                    <a:pt x="146" y="350"/>
                  </a:lnTo>
                  <a:lnTo>
                    <a:pt x="146" y="350"/>
                  </a:lnTo>
                  <a:lnTo>
                    <a:pt x="146" y="355"/>
                  </a:lnTo>
                  <a:lnTo>
                    <a:pt x="146" y="355"/>
                  </a:lnTo>
                  <a:lnTo>
                    <a:pt x="146" y="355"/>
                  </a:lnTo>
                  <a:lnTo>
                    <a:pt x="146" y="355"/>
                  </a:lnTo>
                  <a:lnTo>
                    <a:pt x="146" y="355"/>
                  </a:lnTo>
                  <a:lnTo>
                    <a:pt x="146" y="355"/>
                  </a:lnTo>
                  <a:lnTo>
                    <a:pt x="146" y="355"/>
                  </a:lnTo>
                  <a:lnTo>
                    <a:pt x="146" y="359"/>
                  </a:lnTo>
                  <a:lnTo>
                    <a:pt x="146" y="359"/>
                  </a:lnTo>
                  <a:lnTo>
                    <a:pt x="146" y="359"/>
                  </a:lnTo>
                  <a:lnTo>
                    <a:pt x="146" y="359"/>
                  </a:lnTo>
                  <a:lnTo>
                    <a:pt x="146" y="359"/>
                  </a:lnTo>
                  <a:lnTo>
                    <a:pt x="146" y="359"/>
                  </a:lnTo>
                  <a:lnTo>
                    <a:pt x="151" y="359"/>
                  </a:lnTo>
                  <a:lnTo>
                    <a:pt x="151" y="359"/>
                  </a:lnTo>
                  <a:lnTo>
                    <a:pt x="151" y="359"/>
                  </a:lnTo>
                  <a:lnTo>
                    <a:pt x="151" y="363"/>
                  </a:lnTo>
                  <a:lnTo>
                    <a:pt x="151" y="363"/>
                  </a:lnTo>
                  <a:lnTo>
                    <a:pt x="151" y="363"/>
                  </a:lnTo>
                  <a:lnTo>
                    <a:pt x="151" y="363"/>
                  </a:lnTo>
                  <a:lnTo>
                    <a:pt x="151" y="363"/>
                  </a:lnTo>
                  <a:lnTo>
                    <a:pt x="151" y="363"/>
                  </a:lnTo>
                  <a:lnTo>
                    <a:pt x="151" y="363"/>
                  </a:lnTo>
                  <a:lnTo>
                    <a:pt x="151" y="363"/>
                  </a:lnTo>
                  <a:lnTo>
                    <a:pt x="151" y="363"/>
                  </a:lnTo>
                  <a:lnTo>
                    <a:pt x="151" y="359"/>
                  </a:lnTo>
                  <a:lnTo>
                    <a:pt x="151" y="359"/>
                  </a:lnTo>
                  <a:lnTo>
                    <a:pt x="151" y="359"/>
                  </a:lnTo>
                  <a:lnTo>
                    <a:pt x="151" y="359"/>
                  </a:lnTo>
                  <a:lnTo>
                    <a:pt x="151" y="359"/>
                  </a:lnTo>
                  <a:lnTo>
                    <a:pt x="151" y="355"/>
                  </a:lnTo>
                  <a:lnTo>
                    <a:pt x="151" y="355"/>
                  </a:lnTo>
                  <a:lnTo>
                    <a:pt x="151" y="355"/>
                  </a:lnTo>
                  <a:lnTo>
                    <a:pt x="151" y="350"/>
                  </a:lnTo>
                  <a:lnTo>
                    <a:pt x="151" y="350"/>
                  </a:lnTo>
                  <a:lnTo>
                    <a:pt x="151" y="350"/>
                  </a:lnTo>
                  <a:lnTo>
                    <a:pt x="151" y="350"/>
                  </a:lnTo>
                  <a:lnTo>
                    <a:pt x="155" y="350"/>
                  </a:lnTo>
                  <a:lnTo>
                    <a:pt x="155" y="346"/>
                  </a:lnTo>
                  <a:lnTo>
                    <a:pt x="151" y="346"/>
                  </a:lnTo>
                  <a:lnTo>
                    <a:pt x="151" y="346"/>
                  </a:lnTo>
                  <a:lnTo>
                    <a:pt x="151" y="346"/>
                  </a:lnTo>
                  <a:lnTo>
                    <a:pt x="151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1"/>
                  </a:lnTo>
                  <a:lnTo>
                    <a:pt x="155" y="341"/>
                  </a:lnTo>
                  <a:lnTo>
                    <a:pt x="155" y="341"/>
                  </a:lnTo>
                  <a:lnTo>
                    <a:pt x="155" y="337"/>
                  </a:lnTo>
                  <a:lnTo>
                    <a:pt x="160" y="337"/>
                  </a:lnTo>
                  <a:lnTo>
                    <a:pt x="160" y="337"/>
                  </a:lnTo>
                  <a:lnTo>
                    <a:pt x="164" y="337"/>
                  </a:lnTo>
                  <a:lnTo>
                    <a:pt x="164" y="337"/>
                  </a:lnTo>
                  <a:lnTo>
                    <a:pt x="168" y="337"/>
                  </a:lnTo>
                  <a:lnTo>
                    <a:pt x="168" y="337"/>
                  </a:lnTo>
                  <a:lnTo>
                    <a:pt x="168" y="341"/>
                  </a:lnTo>
                  <a:lnTo>
                    <a:pt x="168" y="341"/>
                  </a:lnTo>
                  <a:lnTo>
                    <a:pt x="168" y="341"/>
                  </a:lnTo>
                  <a:lnTo>
                    <a:pt x="168" y="346"/>
                  </a:lnTo>
                  <a:lnTo>
                    <a:pt x="168" y="346"/>
                  </a:lnTo>
                  <a:lnTo>
                    <a:pt x="168" y="346"/>
                  </a:lnTo>
                  <a:lnTo>
                    <a:pt x="168" y="346"/>
                  </a:lnTo>
                  <a:lnTo>
                    <a:pt x="168" y="346"/>
                  </a:lnTo>
                  <a:lnTo>
                    <a:pt x="168" y="346"/>
                  </a:lnTo>
                  <a:lnTo>
                    <a:pt x="173" y="346"/>
                  </a:lnTo>
                  <a:lnTo>
                    <a:pt x="173" y="346"/>
                  </a:lnTo>
                  <a:lnTo>
                    <a:pt x="173" y="346"/>
                  </a:lnTo>
                  <a:lnTo>
                    <a:pt x="173" y="350"/>
                  </a:lnTo>
                  <a:lnTo>
                    <a:pt x="173" y="350"/>
                  </a:lnTo>
                  <a:lnTo>
                    <a:pt x="173" y="350"/>
                  </a:lnTo>
                  <a:lnTo>
                    <a:pt x="177" y="355"/>
                  </a:lnTo>
                  <a:lnTo>
                    <a:pt x="177" y="355"/>
                  </a:lnTo>
                  <a:lnTo>
                    <a:pt x="177" y="355"/>
                  </a:lnTo>
                  <a:lnTo>
                    <a:pt x="177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9"/>
                  </a:lnTo>
                  <a:lnTo>
                    <a:pt x="182" y="359"/>
                  </a:lnTo>
                  <a:lnTo>
                    <a:pt x="182" y="359"/>
                  </a:lnTo>
                  <a:lnTo>
                    <a:pt x="182" y="359"/>
                  </a:lnTo>
                  <a:lnTo>
                    <a:pt x="182" y="359"/>
                  </a:lnTo>
                  <a:lnTo>
                    <a:pt x="186" y="359"/>
                  </a:lnTo>
                  <a:lnTo>
                    <a:pt x="186" y="359"/>
                  </a:lnTo>
                  <a:lnTo>
                    <a:pt x="186" y="359"/>
                  </a:lnTo>
                  <a:lnTo>
                    <a:pt x="190" y="359"/>
                  </a:lnTo>
                  <a:lnTo>
                    <a:pt x="190" y="359"/>
                  </a:lnTo>
                  <a:lnTo>
                    <a:pt x="186" y="359"/>
                  </a:lnTo>
                  <a:lnTo>
                    <a:pt x="186" y="359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5"/>
                  </a:lnTo>
                  <a:lnTo>
                    <a:pt x="186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46"/>
                  </a:lnTo>
                  <a:lnTo>
                    <a:pt x="182" y="346"/>
                  </a:lnTo>
                  <a:lnTo>
                    <a:pt x="182" y="346"/>
                  </a:lnTo>
                  <a:lnTo>
                    <a:pt x="182" y="346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41"/>
                  </a:lnTo>
                  <a:lnTo>
                    <a:pt x="182" y="337"/>
                  </a:lnTo>
                  <a:lnTo>
                    <a:pt x="186" y="337"/>
                  </a:lnTo>
                  <a:lnTo>
                    <a:pt x="186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2"/>
                  </a:lnTo>
                  <a:lnTo>
                    <a:pt x="182" y="332"/>
                  </a:lnTo>
                  <a:lnTo>
                    <a:pt x="182" y="332"/>
                  </a:lnTo>
                  <a:lnTo>
                    <a:pt x="182" y="332"/>
                  </a:lnTo>
                  <a:lnTo>
                    <a:pt x="182" y="332"/>
                  </a:lnTo>
                  <a:lnTo>
                    <a:pt x="177" y="328"/>
                  </a:lnTo>
                  <a:lnTo>
                    <a:pt x="177" y="328"/>
                  </a:lnTo>
                  <a:lnTo>
                    <a:pt x="177" y="328"/>
                  </a:lnTo>
                  <a:lnTo>
                    <a:pt x="177" y="328"/>
                  </a:lnTo>
                  <a:lnTo>
                    <a:pt x="177" y="328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24"/>
                  </a:lnTo>
                  <a:lnTo>
                    <a:pt x="177" y="319"/>
                  </a:lnTo>
                  <a:lnTo>
                    <a:pt x="177" y="319"/>
                  </a:lnTo>
                  <a:lnTo>
                    <a:pt x="177" y="319"/>
                  </a:lnTo>
                  <a:lnTo>
                    <a:pt x="177" y="319"/>
                  </a:lnTo>
                  <a:lnTo>
                    <a:pt x="177" y="319"/>
                  </a:lnTo>
                  <a:lnTo>
                    <a:pt x="177" y="319"/>
                  </a:lnTo>
                  <a:lnTo>
                    <a:pt x="177" y="319"/>
                  </a:lnTo>
                  <a:lnTo>
                    <a:pt x="177" y="315"/>
                  </a:lnTo>
                  <a:lnTo>
                    <a:pt x="177" y="315"/>
                  </a:lnTo>
                  <a:lnTo>
                    <a:pt x="177" y="315"/>
                  </a:lnTo>
                  <a:lnTo>
                    <a:pt x="177" y="315"/>
                  </a:lnTo>
                  <a:lnTo>
                    <a:pt x="177" y="315"/>
                  </a:lnTo>
                  <a:lnTo>
                    <a:pt x="177" y="315"/>
                  </a:lnTo>
                  <a:lnTo>
                    <a:pt x="177" y="315"/>
                  </a:lnTo>
                  <a:lnTo>
                    <a:pt x="177" y="315"/>
                  </a:lnTo>
                  <a:lnTo>
                    <a:pt x="177" y="315"/>
                  </a:lnTo>
                  <a:lnTo>
                    <a:pt x="173" y="315"/>
                  </a:lnTo>
                  <a:lnTo>
                    <a:pt x="173" y="315"/>
                  </a:lnTo>
                  <a:lnTo>
                    <a:pt x="173" y="315"/>
                  </a:lnTo>
                  <a:lnTo>
                    <a:pt x="173" y="315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06"/>
                  </a:lnTo>
                  <a:lnTo>
                    <a:pt x="168" y="306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84"/>
                  </a:lnTo>
                  <a:lnTo>
                    <a:pt x="164" y="284"/>
                  </a:lnTo>
                  <a:lnTo>
                    <a:pt x="168" y="284"/>
                  </a:lnTo>
                  <a:lnTo>
                    <a:pt x="168" y="284"/>
                  </a:lnTo>
                  <a:lnTo>
                    <a:pt x="168" y="284"/>
                  </a:lnTo>
                  <a:lnTo>
                    <a:pt x="168" y="284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7" y="293"/>
                  </a:lnTo>
                  <a:lnTo>
                    <a:pt x="177" y="293"/>
                  </a:lnTo>
                  <a:lnTo>
                    <a:pt x="177" y="293"/>
                  </a:lnTo>
                  <a:lnTo>
                    <a:pt x="177" y="293"/>
                  </a:lnTo>
                  <a:lnTo>
                    <a:pt x="182" y="293"/>
                  </a:lnTo>
                  <a:lnTo>
                    <a:pt x="182" y="293"/>
                  </a:lnTo>
                  <a:lnTo>
                    <a:pt x="182" y="293"/>
                  </a:lnTo>
                  <a:lnTo>
                    <a:pt x="182" y="293"/>
                  </a:lnTo>
                  <a:lnTo>
                    <a:pt x="182" y="293"/>
                  </a:lnTo>
                  <a:lnTo>
                    <a:pt x="186" y="293"/>
                  </a:lnTo>
                  <a:lnTo>
                    <a:pt x="186" y="293"/>
                  </a:lnTo>
                  <a:lnTo>
                    <a:pt x="186" y="293"/>
                  </a:lnTo>
                  <a:lnTo>
                    <a:pt x="186" y="293"/>
                  </a:lnTo>
                  <a:lnTo>
                    <a:pt x="186" y="293"/>
                  </a:lnTo>
                  <a:lnTo>
                    <a:pt x="186" y="297"/>
                  </a:lnTo>
                  <a:lnTo>
                    <a:pt x="186" y="297"/>
                  </a:lnTo>
                  <a:lnTo>
                    <a:pt x="186" y="297"/>
                  </a:lnTo>
                  <a:lnTo>
                    <a:pt x="186" y="297"/>
                  </a:lnTo>
                  <a:lnTo>
                    <a:pt x="186" y="297"/>
                  </a:lnTo>
                  <a:lnTo>
                    <a:pt x="186" y="297"/>
                  </a:lnTo>
                  <a:lnTo>
                    <a:pt x="186" y="297"/>
                  </a:lnTo>
                  <a:lnTo>
                    <a:pt x="182" y="297"/>
                  </a:lnTo>
                  <a:lnTo>
                    <a:pt x="182" y="297"/>
                  </a:lnTo>
                  <a:lnTo>
                    <a:pt x="182" y="297"/>
                  </a:lnTo>
                  <a:lnTo>
                    <a:pt x="182" y="297"/>
                  </a:lnTo>
                  <a:lnTo>
                    <a:pt x="182" y="297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90" y="301"/>
                  </a:lnTo>
                  <a:lnTo>
                    <a:pt x="190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90" y="301"/>
                  </a:lnTo>
                  <a:lnTo>
                    <a:pt x="190" y="301"/>
                  </a:lnTo>
                  <a:lnTo>
                    <a:pt x="190" y="301"/>
                  </a:lnTo>
                  <a:lnTo>
                    <a:pt x="195" y="301"/>
                  </a:lnTo>
                  <a:lnTo>
                    <a:pt x="190" y="301"/>
                  </a:lnTo>
                </a:path>
              </a:pathLst>
            </a:custGeom>
            <a:noFill/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08" name="Freeform 40"/>
            <p:cNvSpPr>
              <a:spLocks noEditPoints="1"/>
            </p:cNvSpPr>
            <p:nvPr/>
          </p:nvSpPr>
          <p:spPr bwMode="auto">
            <a:xfrm>
              <a:off x="1771650" y="3375026"/>
              <a:ext cx="863600" cy="1357313"/>
            </a:xfrm>
            <a:custGeom>
              <a:avLst/>
              <a:gdLst>
                <a:gd name="T0" fmla="*/ 496 w 544"/>
                <a:gd name="T1" fmla="*/ 673 h 855"/>
                <a:gd name="T2" fmla="*/ 239 w 544"/>
                <a:gd name="T3" fmla="*/ 509 h 855"/>
                <a:gd name="T4" fmla="*/ 164 w 544"/>
                <a:gd name="T5" fmla="*/ 407 h 855"/>
                <a:gd name="T6" fmla="*/ 124 w 544"/>
                <a:gd name="T7" fmla="*/ 337 h 855"/>
                <a:gd name="T8" fmla="*/ 49 w 544"/>
                <a:gd name="T9" fmla="*/ 390 h 855"/>
                <a:gd name="T10" fmla="*/ 75 w 544"/>
                <a:gd name="T11" fmla="*/ 416 h 855"/>
                <a:gd name="T12" fmla="*/ 142 w 544"/>
                <a:gd name="T13" fmla="*/ 434 h 855"/>
                <a:gd name="T14" fmla="*/ 181 w 544"/>
                <a:gd name="T15" fmla="*/ 275 h 855"/>
                <a:gd name="T16" fmla="*/ 119 w 544"/>
                <a:gd name="T17" fmla="*/ 288 h 855"/>
                <a:gd name="T18" fmla="*/ 155 w 544"/>
                <a:gd name="T19" fmla="*/ 239 h 855"/>
                <a:gd name="T20" fmla="*/ 133 w 544"/>
                <a:gd name="T21" fmla="*/ 217 h 855"/>
                <a:gd name="T22" fmla="*/ 155 w 544"/>
                <a:gd name="T23" fmla="*/ 226 h 855"/>
                <a:gd name="T24" fmla="*/ 58 w 544"/>
                <a:gd name="T25" fmla="*/ 168 h 855"/>
                <a:gd name="T26" fmla="*/ 62 w 544"/>
                <a:gd name="T27" fmla="*/ 137 h 855"/>
                <a:gd name="T28" fmla="*/ 137 w 544"/>
                <a:gd name="T29" fmla="*/ 120 h 855"/>
                <a:gd name="T30" fmla="*/ 75 w 544"/>
                <a:gd name="T31" fmla="*/ 102 h 855"/>
                <a:gd name="T32" fmla="*/ 102 w 544"/>
                <a:gd name="T33" fmla="*/ 106 h 855"/>
                <a:gd name="T34" fmla="*/ 119 w 544"/>
                <a:gd name="T35" fmla="*/ 146 h 855"/>
                <a:gd name="T36" fmla="*/ 142 w 544"/>
                <a:gd name="T37" fmla="*/ 142 h 855"/>
                <a:gd name="T38" fmla="*/ 84 w 544"/>
                <a:gd name="T39" fmla="*/ 62 h 855"/>
                <a:gd name="T40" fmla="*/ 102 w 544"/>
                <a:gd name="T41" fmla="*/ 80 h 855"/>
                <a:gd name="T42" fmla="*/ 111 w 544"/>
                <a:gd name="T43" fmla="*/ 58 h 855"/>
                <a:gd name="T44" fmla="*/ 93 w 544"/>
                <a:gd name="T45" fmla="*/ 44 h 855"/>
                <a:gd name="T46" fmla="*/ 478 w 544"/>
                <a:gd name="T47" fmla="*/ 549 h 855"/>
                <a:gd name="T48" fmla="*/ 456 w 544"/>
                <a:gd name="T49" fmla="*/ 478 h 855"/>
                <a:gd name="T50" fmla="*/ 376 w 544"/>
                <a:gd name="T51" fmla="*/ 354 h 855"/>
                <a:gd name="T52" fmla="*/ 319 w 544"/>
                <a:gd name="T53" fmla="*/ 261 h 855"/>
                <a:gd name="T54" fmla="*/ 305 w 544"/>
                <a:gd name="T55" fmla="*/ 226 h 855"/>
                <a:gd name="T56" fmla="*/ 350 w 544"/>
                <a:gd name="T57" fmla="*/ 102 h 855"/>
                <a:gd name="T58" fmla="*/ 230 w 544"/>
                <a:gd name="T59" fmla="*/ 120 h 855"/>
                <a:gd name="T60" fmla="*/ 235 w 544"/>
                <a:gd name="T61" fmla="*/ 84 h 855"/>
                <a:gd name="T62" fmla="*/ 266 w 544"/>
                <a:gd name="T63" fmla="*/ 4 h 855"/>
                <a:gd name="T64" fmla="*/ 199 w 544"/>
                <a:gd name="T65" fmla="*/ 13 h 855"/>
                <a:gd name="T66" fmla="*/ 173 w 544"/>
                <a:gd name="T67" fmla="*/ 49 h 855"/>
                <a:gd name="T68" fmla="*/ 164 w 544"/>
                <a:gd name="T69" fmla="*/ 84 h 855"/>
                <a:gd name="T70" fmla="*/ 146 w 544"/>
                <a:gd name="T71" fmla="*/ 111 h 855"/>
                <a:gd name="T72" fmla="*/ 159 w 544"/>
                <a:gd name="T73" fmla="*/ 155 h 855"/>
                <a:gd name="T74" fmla="*/ 142 w 544"/>
                <a:gd name="T75" fmla="*/ 190 h 855"/>
                <a:gd name="T76" fmla="*/ 177 w 544"/>
                <a:gd name="T77" fmla="*/ 190 h 855"/>
                <a:gd name="T78" fmla="*/ 159 w 544"/>
                <a:gd name="T79" fmla="*/ 230 h 855"/>
                <a:gd name="T80" fmla="*/ 159 w 544"/>
                <a:gd name="T81" fmla="*/ 283 h 855"/>
                <a:gd name="T82" fmla="*/ 168 w 544"/>
                <a:gd name="T83" fmla="*/ 270 h 855"/>
                <a:gd name="T84" fmla="*/ 195 w 544"/>
                <a:gd name="T85" fmla="*/ 266 h 855"/>
                <a:gd name="T86" fmla="*/ 208 w 544"/>
                <a:gd name="T87" fmla="*/ 314 h 855"/>
                <a:gd name="T88" fmla="*/ 190 w 544"/>
                <a:gd name="T89" fmla="*/ 372 h 855"/>
                <a:gd name="T90" fmla="*/ 252 w 544"/>
                <a:gd name="T91" fmla="*/ 367 h 855"/>
                <a:gd name="T92" fmla="*/ 283 w 544"/>
                <a:gd name="T93" fmla="*/ 425 h 855"/>
                <a:gd name="T94" fmla="*/ 288 w 544"/>
                <a:gd name="T95" fmla="*/ 483 h 855"/>
                <a:gd name="T96" fmla="*/ 226 w 544"/>
                <a:gd name="T97" fmla="*/ 527 h 855"/>
                <a:gd name="T98" fmla="*/ 243 w 544"/>
                <a:gd name="T99" fmla="*/ 576 h 855"/>
                <a:gd name="T100" fmla="*/ 177 w 544"/>
                <a:gd name="T101" fmla="*/ 642 h 855"/>
                <a:gd name="T102" fmla="*/ 226 w 544"/>
                <a:gd name="T103" fmla="*/ 642 h 855"/>
                <a:gd name="T104" fmla="*/ 266 w 544"/>
                <a:gd name="T105" fmla="*/ 673 h 855"/>
                <a:gd name="T106" fmla="*/ 288 w 544"/>
                <a:gd name="T107" fmla="*/ 686 h 855"/>
                <a:gd name="T108" fmla="*/ 181 w 544"/>
                <a:gd name="T109" fmla="*/ 753 h 855"/>
                <a:gd name="T110" fmla="*/ 186 w 544"/>
                <a:gd name="T111" fmla="*/ 775 h 855"/>
                <a:gd name="T112" fmla="*/ 243 w 544"/>
                <a:gd name="T113" fmla="*/ 762 h 855"/>
                <a:gd name="T114" fmla="*/ 328 w 544"/>
                <a:gd name="T115" fmla="*/ 735 h 855"/>
                <a:gd name="T116" fmla="*/ 394 w 544"/>
                <a:gd name="T117" fmla="*/ 722 h 855"/>
                <a:gd name="T118" fmla="*/ 531 w 544"/>
                <a:gd name="T119" fmla="*/ 673 h 855"/>
                <a:gd name="T120" fmla="*/ 500 w 544"/>
                <a:gd name="T121" fmla="*/ 642 h 855"/>
                <a:gd name="T122" fmla="*/ 319 w 544"/>
                <a:gd name="T123" fmla="*/ 828 h 855"/>
                <a:gd name="T124" fmla="*/ 208 w 544"/>
                <a:gd name="T125" fmla="*/ 425 h 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4" h="855">
                  <a:moveTo>
                    <a:pt x="119" y="793"/>
                  </a:moveTo>
                  <a:lnTo>
                    <a:pt x="119" y="793"/>
                  </a:lnTo>
                  <a:lnTo>
                    <a:pt x="119" y="797"/>
                  </a:lnTo>
                  <a:lnTo>
                    <a:pt x="119" y="797"/>
                  </a:lnTo>
                  <a:lnTo>
                    <a:pt x="119" y="797"/>
                  </a:lnTo>
                  <a:lnTo>
                    <a:pt x="119" y="793"/>
                  </a:lnTo>
                  <a:lnTo>
                    <a:pt x="119" y="793"/>
                  </a:lnTo>
                  <a:lnTo>
                    <a:pt x="119" y="793"/>
                  </a:lnTo>
                  <a:close/>
                  <a:moveTo>
                    <a:pt x="119" y="793"/>
                  </a:moveTo>
                  <a:lnTo>
                    <a:pt x="119" y="793"/>
                  </a:lnTo>
                  <a:lnTo>
                    <a:pt x="119" y="793"/>
                  </a:lnTo>
                  <a:lnTo>
                    <a:pt x="119" y="793"/>
                  </a:lnTo>
                  <a:lnTo>
                    <a:pt x="119" y="793"/>
                  </a:lnTo>
                  <a:lnTo>
                    <a:pt x="119" y="793"/>
                  </a:lnTo>
                  <a:lnTo>
                    <a:pt x="119" y="793"/>
                  </a:lnTo>
                  <a:lnTo>
                    <a:pt x="119" y="793"/>
                  </a:lnTo>
                  <a:lnTo>
                    <a:pt x="119" y="793"/>
                  </a:lnTo>
                  <a:lnTo>
                    <a:pt x="119" y="793"/>
                  </a:lnTo>
                  <a:close/>
                  <a:moveTo>
                    <a:pt x="394" y="731"/>
                  </a:moveTo>
                  <a:lnTo>
                    <a:pt x="394" y="731"/>
                  </a:lnTo>
                  <a:lnTo>
                    <a:pt x="394" y="731"/>
                  </a:lnTo>
                  <a:lnTo>
                    <a:pt x="394" y="731"/>
                  </a:lnTo>
                  <a:lnTo>
                    <a:pt x="394" y="726"/>
                  </a:lnTo>
                  <a:lnTo>
                    <a:pt x="394" y="726"/>
                  </a:lnTo>
                  <a:lnTo>
                    <a:pt x="394" y="726"/>
                  </a:lnTo>
                  <a:lnTo>
                    <a:pt x="394" y="726"/>
                  </a:lnTo>
                  <a:lnTo>
                    <a:pt x="394" y="726"/>
                  </a:lnTo>
                  <a:lnTo>
                    <a:pt x="385" y="726"/>
                  </a:lnTo>
                  <a:lnTo>
                    <a:pt x="385" y="726"/>
                  </a:lnTo>
                  <a:lnTo>
                    <a:pt x="381" y="726"/>
                  </a:lnTo>
                  <a:lnTo>
                    <a:pt x="381" y="726"/>
                  </a:lnTo>
                  <a:lnTo>
                    <a:pt x="381" y="731"/>
                  </a:lnTo>
                  <a:lnTo>
                    <a:pt x="376" y="731"/>
                  </a:lnTo>
                  <a:lnTo>
                    <a:pt x="376" y="731"/>
                  </a:lnTo>
                  <a:lnTo>
                    <a:pt x="376" y="726"/>
                  </a:lnTo>
                  <a:lnTo>
                    <a:pt x="376" y="726"/>
                  </a:lnTo>
                  <a:lnTo>
                    <a:pt x="372" y="731"/>
                  </a:lnTo>
                  <a:lnTo>
                    <a:pt x="372" y="731"/>
                  </a:lnTo>
                  <a:lnTo>
                    <a:pt x="372" y="735"/>
                  </a:lnTo>
                  <a:lnTo>
                    <a:pt x="372" y="735"/>
                  </a:lnTo>
                  <a:lnTo>
                    <a:pt x="372" y="735"/>
                  </a:lnTo>
                  <a:lnTo>
                    <a:pt x="372" y="731"/>
                  </a:lnTo>
                  <a:lnTo>
                    <a:pt x="376" y="735"/>
                  </a:lnTo>
                  <a:lnTo>
                    <a:pt x="376" y="735"/>
                  </a:lnTo>
                  <a:lnTo>
                    <a:pt x="376" y="735"/>
                  </a:lnTo>
                  <a:lnTo>
                    <a:pt x="385" y="739"/>
                  </a:lnTo>
                  <a:lnTo>
                    <a:pt x="385" y="739"/>
                  </a:lnTo>
                  <a:lnTo>
                    <a:pt x="389" y="739"/>
                  </a:lnTo>
                  <a:lnTo>
                    <a:pt x="389" y="739"/>
                  </a:lnTo>
                  <a:lnTo>
                    <a:pt x="389" y="735"/>
                  </a:lnTo>
                  <a:lnTo>
                    <a:pt x="389" y="735"/>
                  </a:lnTo>
                  <a:lnTo>
                    <a:pt x="389" y="735"/>
                  </a:lnTo>
                  <a:lnTo>
                    <a:pt x="394" y="735"/>
                  </a:lnTo>
                  <a:lnTo>
                    <a:pt x="394" y="735"/>
                  </a:lnTo>
                  <a:lnTo>
                    <a:pt x="394" y="731"/>
                  </a:lnTo>
                  <a:lnTo>
                    <a:pt x="398" y="731"/>
                  </a:lnTo>
                  <a:lnTo>
                    <a:pt x="398" y="731"/>
                  </a:lnTo>
                  <a:lnTo>
                    <a:pt x="398" y="731"/>
                  </a:lnTo>
                  <a:lnTo>
                    <a:pt x="398" y="731"/>
                  </a:lnTo>
                  <a:lnTo>
                    <a:pt x="398" y="731"/>
                  </a:lnTo>
                  <a:lnTo>
                    <a:pt x="398" y="731"/>
                  </a:lnTo>
                  <a:lnTo>
                    <a:pt x="394" y="731"/>
                  </a:lnTo>
                  <a:lnTo>
                    <a:pt x="394" y="731"/>
                  </a:lnTo>
                  <a:close/>
                  <a:moveTo>
                    <a:pt x="403" y="722"/>
                  </a:moveTo>
                  <a:lnTo>
                    <a:pt x="403" y="722"/>
                  </a:lnTo>
                  <a:lnTo>
                    <a:pt x="403" y="722"/>
                  </a:lnTo>
                  <a:lnTo>
                    <a:pt x="403" y="722"/>
                  </a:lnTo>
                  <a:lnTo>
                    <a:pt x="403" y="722"/>
                  </a:lnTo>
                  <a:lnTo>
                    <a:pt x="403" y="722"/>
                  </a:lnTo>
                  <a:lnTo>
                    <a:pt x="403" y="722"/>
                  </a:lnTo>
                  <a:lnTo>
                    <a:pt x="403" y="722"/>
                  </a:lnTo>
                  <a:lnTo>
                    <a:pt x="398" y="722"/>
                  </a:lnTo>
                  <a:lnTo>
                    <a:pt x="398" y="722"/>
                  </a:lnTo>
                  <a:lnTo>
                    <a:pt x="398" y="722"/>
                  </a:lnTo>
                  <a:lnTo>
                    <a:pt x="403" y="722"/>
                  </a:lnTo>
                  <a:lnTo>
                    <a:pt x="403" y="722"/>
                  </a:lnTo>
                  <a:lnTo>
                    <a:pt x="403" y="722"/>
                  </a:lnTo>
                  <a:lnTo>
                    <a:pt x="403" y="722"/>
                  </a:lnTo>
                  <a:close/>
                  <a:moveTo>
                    <a:pt x="208" y="691"/>
                  </a:moveTo>
                  <a:lnTo>
                    <a:pt x="208" y="691"/>
                  </a:lnTo>
                  <a:lnTo>
                    <a:pt x="208" y="691"/>
                  </a:lnTo>
                  <a:lnTo>
                    <a:pt x="208" y="691"/>
                  </a:lnTo>
                  <a:lnTo>
                    <a:pt x="208" y="691"/>
                  </a:lnTo>
                  <a:lnTo>
                    <a:pt x="208" y="691"/>
                  </a:lnTo>
                  <a:lnTo>
                    <a:pt x="208" y="691"/>
                  </a:lnTo>
                  <a:lnTo>
                    <a:pt x="208" y="691"/>
                  </a:lnTo>
                  <a:lnTo>
                    <a:pt x="208" y="691"/>
                  </a:lnTo>
                  <a:lnTo>
                    <a:pt x="208" y="691"/>
                  </a:lnTo>
                  <a:close/>
                  <a:moveTo>
                    <a:pt x="500" y="669"/>
                  </a:moveTo>
                  <a:lnTo>
                    <a:pt x="500" y="669"/>
                  </a:lnTo>
                  <a:lnTo>
                    <a:pt x="491" y="669"/>
                  </a:lnTo>
                  <a:lnTo>
                    <a:pt x="491" y="669"/>
                  </a:lnTo>
                  <a:lnTo>
                    <a:pt x="491" y="669"/>
                  </a:lnTo>
                  <a:lnTo>
                    <a:pt x="491" y="669"/>
                  </a:lnTo>
                  <a:lnTo>
                    <a:pt x="491" y="673"/>
                  </a:lnTo>
                  <a:lnTo>
                    <a:pt x="491" y="673"/>
                  </a:lnTo>
                  <a:lnTo>
                    <a:pt x="496" y="673"/>
                  </a:lnTo>
                  <a:lnTo>
                    <a:pt x="496" y="673"/>
                  </a:lnTo>
                  <a:lnTo>
                    <a:pt x="500" y="673"/>
                  </a:lnTo>
                  <a:lnTo>
                    <a:pt x="500" y="673"/>
                  </a:lnTo>
                  <a:lnTo>
                    <a:pt x="505" y="673"/>
                  </a:lnTo>
                  <a:lnTo>
                    <a:pt x="500" y="673"/>
                  </a:lnTo>
                  <a:lnTo>
                    <a:pt x="500" y="669"/>
                  </a:lnTo>
                  <a:lnTo>
                    <a:pt x="500" y="669"/>
                  </a:lnTo>
                  <a:close/>
                  <a:moveTo>
                    <a:pt x="212" y="509"/>
                  </a:moveTo>
                  <a:lnTo>
                    <a:pt x="212" y="509"/>
                  </a:lnTo>
                  <a:lnTo>
                    <a:pt x="212" y="509"/>
                  </a:lnTo>
                  <a:lnTo>
                    <a:pt x="208" y="509"/>
                  </a:lnTo>
                  <a:lnTo>
                    <a:pt x="208" y="505"/>
                  </a:lnTo>
                  <a:lnTo>
                    <a:pt x="208" y="505"/>
                  </a:lnTo>
                  <a:lnTo>
                    <a:pt x="208" y="505"/>
                  </a:lnTo>
                  <a:lnTo>
                    <a:pt x="208" y="505"/>
                  </a:lnTo>
                  <a:lnTo>
                    <a:pt x="208" y="505"/>
                  </a:lnTo>
                  <a:lnTo>
                    <a:pt x="204" y="509"/>
                  </a:lnTo>
                  <a:lnTo>
                    <a:pt x="204" y="509"/>
                  </a:lnTo>
                  <a:lnTo>
                    <a:pt x="208" y="509"/>
                  </a:lnTo>
                  <a:lnTo>
                    <a:pt x="208" y="509"/>
                  </a:lnTo>
                  <a:lnTo>
                    <a:pt x="208" y="509"/>
                  </a:lnTo>
                  <a:lnTo>
                    <a:pt x="208" y="509"/>
                  </a:lnTo>
                  <a:lnTo>
                    <a:pt x="208" y="509"/>
                  </a:lnTo>
                  <a:lnTo>
                    <a:pt x="212" y="514"/>
                  </a:lnTo>
                  <a:lnTo>
                    <a:pt x="212" y="514"/>
                  </a:lnTo>
                  <a:lnTo>
                    <a:pt x="212" y="514"/>
                  </a:lnTo>
                  <a:lnTo>
                    <a:pt x="212" y="514"/>
                  </a:lnTo>
                  <a:lnTo>
                    <a:pt x="212" y="514"/>
                  </a:lnTo>
                  <a:lnTo>
                    <a:pt x="212" y="514"/>
                  </a:lnTo>
                  <a:lnTo>
                    <a:pt x="212" y="509"/>
                  </a:lnTo>
                  <a:lnTo>
                    <a:pt x="212" y="509"/>
                  </a:lnTo>
                  <a:close/>
                  <a:moveTo>
                    <a:pt x="226" y="500"/>
                  </a:moveTo>
                  <a:lnTo>
                    <a:pt x="226" y="500"/>
                  </a:lnTo>
                  <a:lnTo>
                    <a:pt x="226" y="500"/>
                  </a:lnTo>
                  <a:lnTo>
                    <a:pt x="226" y="500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1" y="496"/>
                  </a:lnTo>
                  <a:lnTo>
                    <a:pt x="221" y="496"/>
                  </a:lnTo>
                  <a:lnTo>
                    <a:pt x="212" y="500"/>
                  </a:lnTo>
                  <a:lnTo>
                    <a:pt x="212" y="500"/>
                  </a:lnTo>
                  <a:lnTo>
                    <a:pt x="212" y="500"/>
                  </a:lnTo>
                  <a:lnTo>
                    <a:pt x="212" y="500"/>
                  </a:lnTo>
                  <a:lnTo>
                    <a:pt x="212" y="505"/>
                  </a:lnTo>
                  <a:lnTo>
                    <a:pt x="212" y="509"/>
                  </a:lnTo>
                  <a:lnTo>
                    <a:pt x="212" y="509"/>
                  </a:lnTo>
                  <a:lnTo>
                    <a:pt x="212" y="509"/>
                  </a:lnTo>
                  <a:lnTo>
                    <a:pt x="212" y="509"/>
                  </a:lnTo>
                  <a:lnTo>
                    <a:pt x="212" y="514"/>
                  </a:lnTo>
                  <a:lnTo>
                    <a:pt x="212" y="514"/>
                  </a:lnTo>
                  <a:lnTo>
                    <a:pt x="217" y="518"/>
                  </a:lnTo>
                  <a:lnTo>
                    <a:pt x="217" y="518"/>
                  </a:lnTo>
                  <a:lnTo>
                    <a:pt x="217" y="518"/>
                  </a:lnTo>
                  <a:lnTo>
                    <a:pt x="217" y="518"/>
                  </a:lnTo>
                  <a:lnTo>
                    <a:pt x="217" y="518"/>
                  </a:lnTo>
                  <a:lnTo>
                    <a:pt x="217" y="518"/>
                  </a:lnTo>
                  <a:lnTo>
                    <a:pt x="217" y="518"/>
                  </a:lnTo>
                  <a:lnTo>
                    <a:pt x="217" y="518"/>
                  </a:lnTo>
                  <a:lnTo>
                    <a:pt x="217" y="518"/>
                  </a:lnTo>
                  <a:lnTo>
                    <a:pt x="217" y="518"/>
                  </a:lnTo>
                  <a:lnTo>
                    <a:pt x="217" y="518"/>
                  </a:lnTo>
                  <a:lnTo>
                    <a:pt x="217" y="522"/>
                  </a:lnTo>
                  <a:lnTo>
                    <a:pt x="221" y="518"/>
                  </a:lnTo>
                  <a:lnTo>
                    <a:pt x="221" y="518"/>
                  </a:lnTo>
                  <a:lnTo>
                    <a:pt x="221" y="518"/>
                  </a:lnTo>
                  <a:lnTo>
                    <a:pt x="221" y="518"/>
                  </a:lnTo>
                  <a:lnTo>
                    <a:pt x="221" y="518"/>
                  </a:lnTo>
                  <a:lnTo>
                    <a:pt x="221" y="518"/>
                  </a:lnTo>
                  <a:lnTo>
                    <a:pt x="221" y="522"/>
                  </a:lnTo>
                  <a:lnTo>
                    <a:pt x="221" y="522"/>
                  </a:lnTo>
                  <a:lnTo>
                    <a:pt x="221" y="522"/>
                  </a:lnTo>
                  <a:lnTo>
                    <a:pt x="221" y="522"/>
                  </a:lnTo>
                  <a:lnTo>
                    <a:pt x="221" y="522"/>
                  </a:lnTo>
                  <a:lnTo>
                    <a:pt x="221" y="522"/>
                  </a:lnTo>
                  <a:lnTo>
                    <a:pt x="221" y="522"/>
                  </a:lnTo>
                  <a:lnTo>
                    <a:pt x="221" y="522"/>
                  </a:lnTo>
                  <a:lnTo>
                    <a:pt x="221" y="522"/>
                  </a:lnTo>
                  <a:lnTo>
                    <a:pt x="221" y="522"/>
                  </a:lnTo>
                  <a:lnTo>
                    <a:pt x="221" y="522"/>
                  </a:lnTo>
                  <a:lnTo>
                    <a:pt x="226" y="522"/>
                  </a:lnTo>
                  <a:lnTo>
                    <a:pt x="226" y="522"/>
                  </a:lnTo>
                  <a:lnTo>
                    <a:pt x="230" y="518"/>
                  </a:lnTo>
                  <a:lnTo>
                    <a:pt x="230" y="518"/>
                  </a:lnTo>
                  <a:lnTo>
                    <a:pt x="230" y="518"/>
                  </a:lnTo>
                  <a:lnTo>
                    <a:pt x="230" y="518"/>
                  </a:lnTo>
                  <a:lnTo>
                    <a:pt x="230" y="518"/>
                  </a:lnTo>
                  <a:lnTo>
                    <a:pt x="230" y="518"/>
                  </a:lnTo>
                  <a:lnTo>
                    <a:pt x="230" y="518"/>
                  </a:lnTo>
                  <a:lnTo>
                    <a:pt x="230" y="518"/>
                  </a:lnTo>
                  <a:lnTo>
                    <a:pt x="230" y="518"/>
                  </a:lnTo>
                  <a:lnTo>
                    <a:pt x="230" y="514"/>
                  </a:lnTo>
                  <a:lnTo>
                    <a:pt x="235" y="514"/>
                  </a:lnTo>
                  <a:lnTo>
                    <a:pt x="235" y="514"/>
                  </a:lnTo>
                  <a:lnTo>
                    <a:pt x="235" y="514"/>
                  </a:lnTo>
                  <a:lnTo>
                    <a:pt x="239" y="514"/>
                  </a:lnTo>
                  <a:lnTo>
                    <a:pt x="239" y="509"/>
                  </a:lnTo>
                  <a:lnTo>
                    <a:pt x="239" y="509"/>
                  </a:lnTo>
                  <a:lnTo>
                    <a:pt x="239" y="509"/>
                  </a:lnTo>
                  <a:lnTo>
                    <a:pt x="239" y="509"/>
                  </a:lnTo>
                  <a:lnTo>
                    <a:pt x="239" y="509"/>
                  </a:lnTo>
                  <a:lnTo>
                    <a:pt x="235" y="509"/>
                  </a:lnTo>
                  <a:lnTo>
                    <a:pt x="235" y="505"/>
                  </a:lnTo>
                  <a:lnTo>
                    <a:pt x="235" y="505"/>
                  </a:lnTo>
                  <a:lnTo>
                    <a:pt x="235" y="505"/>
                  </a:lnTo>
                  <a:lnTo>
                    <a:pt x="235" y="509"/>
                  </a:lnTo>
                  <a:lnTo>
                    <a:pt x="235" y="509"/>
                  </a:lnTo>
                  <a:lnTo>
                    <a:pt x="235" y="509"/>
                  </a:lnTo>
                  <a:lnTo>
                    <a:pt x="235" y="509"/>
                  </a:lnTo>
                  <a:lnTo>
                    <a:pt x="230" y="509"/>
                  </a:lnTo>
                  <a:lnTo>
                    <a:pt x="230" y="509"/>
                  </a:lnTo>
                  <a:lnTo>
                    <a:pt x="230" y="509"/>
                  </a:lnTo>
                  <a:lnTo>
                    <a:pt x="230" y="509"/>
                  </a:lnTo>
                  <a:lnTo>
                    <a:pt x="230" y="505"/>
                  </a:lnTo>
                  <a:lnTo>
                    <a:pt x="230" y="505"/>
                  </a:lnTo>
                  <a:lnTo>
                    <a:pt x="230" y="505"/>
                  </a:lnTo>
                  <a:lnTo>
                    <a:pt x="230" y="505"/>
                  </a:lnTo>
                  <a:lnTo>
                    <a:pt x="230" y="505"/>
                  </a:lnTo>
                  <a:lnTo>
                    <a:pt x="230" y="505"/>
                  </a:lnTo>
                  <a:lnTo>
                    <a:pt x="230" y="505"/>
                  </a:lnTo>
                  <a:lnTo>
                    <a:pt x="230" y="505"/>
                  </a:lnTo>
                  <a:lnTo>
                    <a:pt x="230" y="505"/>
                  </a:lnTo>
                  <a:lnTo>
                    <a:pt x="226" y="500"/>
                  </a:lnTo>
                  <a:lnTo>
                    <a:pt x="230" y="500"/>
                  </a:lnTo>
                  <a:lnTo>
                    <a:pt x="226" y="500"/>
                  </a:lnTo>
                  <a:close/>
                  <a:moveTo>
                    <a:pt x="155" y="425"/>
                  </a:moveTo>
                  <a:lnTo>
                    <a:pt x="155" y="425"/>
                  </a:lnTo>
                  <a:lnTo>
                    <a:pt x="155" y="425"/>
                  </a:lnTo>
                  <a:lnTo>
                    <a:pt x="155" y="425"/>
                  </a:lnTo>
                  <a:lnTo>
                    <a:pt x="155" y="425"/>
                  </a:lnTo>
                  <a:lnTo>
                    <a:pt x="155" y="425"/>
                  </a:lnTo>
                  <a:lnTo>
                    <a:pt x="155" y="425"/>
                  </a:lnTo>
                  <a:lnTo>
                    <a:pt x="155" y="425"/>
                  </a:lnTo>
                  <a:lnTo>
                    <a:pt x="155" y="425"/>
                  </a:lnTo>
                  <a:lnTo>
                    <a:pt x="159" y="421"/>
                  </a:lnTo>
                  <a:lnTo>
                    <a:pt x="159" y="421"/>
                  </a:lnTo>
                  <a:lnTo>
                    <a:pt x="159" y="416"/>
                  </a:lnTo>
                  <a:lnTo>
                    <a:pt x="159" y="412"/>
                  </a:lnTo>
                  <a:lnTo>
                    <a:pt x="159" y="412"/>
                  </a:lnTo>
                  <a:lnTo>
                    <a:pt x="155" y="412"/>
                  </a:lnTo>
                  <a:lnTo>
                    <a:pt x="155" y="412"/>
                  </a:lnTo>
                  <a:lnTo>
                    <a:pt x="150" y="416"/>
                  </a:lnTo>
                  <a:lnTo>
                    <a:pt x="150" y="412"/>
                  </a:lnTo>
                  <a:lnTo>
                    <a:pt x="155" y="412"/>
                  </a:lnTo>
                  <a:lnTo>
                    <a:pt x="155" y="412"/>
                  </a:lnTo>
                  <a:lnTo>
                    <a:pt x="155" y="407"/>
                  </a:lnTo>
                  <a:lnTo>
                    <a:pt x="155" y="407"/>
                  </a:lnTo>
                  <a:lnTo>
                    <a:pt x="155" y="407"/>
                  </a:lnTo>
                  <a:lnTo>
                    <a:pt x="155" y="403"/>
                  </a:lnTo>
                  <a:lnTo>
                    <a:pt x="155" y="403"/>
                  </a:lnTo>
                  <a:lnTo>
                    <a:pt x="155" y="403"/>
                  </a:lnTo>
                  <a:lnTo>
                    <a:pt x="155" y="403"/>
                  </a:lnTo>
                  <a:lnTo>
                    <a:pt x="155" y="403"/>
                  </a:lnTo>
                  <a:lnTo>
                    <a:pt x="155" y="403"/>
                  </a:lnTo>
                  <a:lnTo>
                    <a:pt x="155" y="398"/>
                  </a:lnTo>
                  <a:lnTo>
                    <a:pt x="155" y="398"/>
                  </a:lnTo>
                  <a:lnTo>
                    <a:pt x="155" y="398"/>
                  </a:lnTo>
                  <a:lnTo>
                    <a:pt x="155" y="398"/>
                  </a:lnTo>
                  <a:lnTo>
                    <a:pt x="155" y="398"/>
                  </a:lnTo>
                  <a:lnTo>
                    <a:pt x="155" y="398"/>
                  </a:lnTo>
                  <a:lnTo>
                    <a:pt x="155" y="398"/>
                  </a:lnTo>
                  <a:lnTo>
                    <a:pt x="155" y="398"/>
                  </a:lnTo>
                  <a:lnTo>
                    <a:pt x="150" y="398"/>
                  </a:lnTo>
                  <a:lnTo>
                    <a:pt x="150" y="398"/>
                  </a:lnTo>
                  <a:lnTo>
                    <a:pt x="150" y="398"/>
                  </a:lnTo>
                  <a:lnTo>
                    <a:pt x="150" y="398"/>
                  </a:lnTo>
                  <a:lnTo>
                    <a:pt x="150" y="394"/>
                  </a:lnTo>
                  <a:lnTo>
                    <a:pt x="150" y="394"/>
                  </a:lnTo>
                  <a:lnTo>
                    <a:pt x="150" y="394"/>
                  </a:lnTo>
                  <a:lnTo>
                    <a:pt x="155" y="394"/>
                  </a:lnTo>
                  <a:lnTo>
                    <a:pt x="155" y="394"/>
                  </a:lnTo>
                  <a:lnTo>
                    <a:pt x="159" y="398"/>
                  </a:lnTo>
                  <a:lnTo>
                    <a:pt x="159" y="398"/>
                  </a:lnTo>
                  <a:lnTo>
                    <a:pt x="159" y="403"/>
                  </a:lnTo>
                  <a:lnTo>
                    <a:pt x="159" y="403"/>
                  </a:lnTo>
                  <a:lnTo>
                    <a:pt x="159" y="407"/>
                  </a:lnTo>
                  <a:lnTo>
                    <a:pt x="159" y="407"/>
                  </a:lnTo>
                  <a:lnTo>
                    <a:pt x="159" y="407"/>
                  </a:lnTo>
                  <a:lnTo>
                    <a:pt x="159" y="412"/>
                  </a:lnTo>
                  <a:lnTo>
                    <a:pt x="159" y="412"/>
                  </a:lnTo>
                  <a:lnTo>
                    <a:pt x="159" y="412"/>
                  </a:lnTo>
                  <a:lnTo>
                    <a:pt x="159" y="412"/>
                  </a:lnTo>
                  <a:lnTo>
                    <a:pt x="159" y="412"/>
                  </a:lnTo>
                  <a:lnTo>
                    <a:pt x="159" y="416"/>
                  </a:lnTo>
                  <a:lnTo>
                    <a:pt x="164" y="416"/>
                  </a:lnTo>
                  <a:lnTo>
                    <a:pt x="164" y="416"/>
                  </a:lnTo>
                  <a:lnTo>
                    <a:pt x="164" y="416"/>
                  </a:lnTo>
                  <a:lnTo>
                    <a:pt x="164" y="412"/>
                  </a:lnTo>
                  <a:lnTo>
                    <a:pt x="164" y="412"/>
                  </a:lnTo>
                  <a:lnTo>
                    <a:pt x="164" y="412"/>
                  </a:lnTo>
                  <a:lnTo>
                    <a:pt x="164" y="412"/>
                  </a:lnTo>
                  <a:lnTo>
                    <a:pt x="164" y="412"/>
                  </a:lnTo>
                  <a:lnTo>
                    <a:pt x="164" y="407"/>
                  </a:lnTo>
                  <a:lnTo>
                    <a:pt x="164" y="407"/>
                  </a:lnTo>
                  <a:lnTo>
                    <a:pt x="164" y="407"/>
                  </a:lnTo>
                  <a:lnTo>
                    <a:pt x="168" y="403"/>
                  </a:lnTo>
                  <a:lnTo>
                    <a:pt x="168" y="403"/>
                  </a:lnTo>
                  <a:lnTo>
                    <a:pt x="168" y="403"/>
                  </a:lnTo>
                  <a:lnTo>
                    <a:pt x="168" y="403"/>
                  </a:lnTo>
                  <a:lnTo>
                    <a:pt x="168" y="403"/>
                  </a:lnTo>
                  <a:lnTo>
                    <a:pt x="168" y="403"/>
                  </a:lnTo>
                  <a:lnTo>
                    <a:pt x="168" y="403"/>
                  </a:lnTo>
                  <a:lnTo>
                    <a:pt x="164" y="398"/>
                  </a:lnTo>
                  <a:lnTo>
                    <a:pt x="164" y="398"/>
                  </a:lnTo>
                  <a:lnTo>
                    <a:pt x="164" y="394"/>
                  </a:lnTo>
                  <a:lnTo>
                    <a:pt x="164" y="394"/>
                  </a:lnTo>
                  <a:lnTo>
                    <a:pt x="164" y="394"/>
                  </a:lnTo>
                  <a:lnTo>
                    <a:pt x="164" y="394"/>
                  </a:lnTo>
                  <a:lnTo>
                    <a:pt x="159" y="390"/>
                  </a:lnTo>
                  <a:lnTo>
                    <a:pt x="159" y="390"/>
                  </a:lnTo>
                  <a:lnTo>
                    <a:pt x="159" y="385"/>
                  </a:lnTo>
                  <a:lnTo>
                    <a:pt x="159" y="385"/>
                  </a:lnTo>
                  <a:lnTo>
                    <a:pt x="159" y="385"/>
                  </a:lnTo>
                  <a:lnTo>
                    <a:pt x="159" y="385"/>
                  </a:lnTo>
                  <a:lnTo>
                    <a:pt x="159" y="385"/>
                  </a:lnTo>
                  <a:lnTo>
                    <a:pt x="159" y="385"/>
                  </a:lnTo>
                  <a:lnTo>
                    <a:pt x="150" y="385"/>
                  </a:lnTo>
                  <a:lnTo>
                    <a:pt x="150" y="385"/>
                  </a:lnTo>
                  <a:lnTo>
                    <a:pt x="150" y="385"/>
                  </a:lnTo>
                  <a:lnTo>
                    <a:pt x="150" y="385"/>
                  </a:lnTo>
                  <a:lnTo>
                    <a:pt x="150" y="385"/>
                  </a:lnTo>
                  <a:lnTo>
                    <a:pt x="146" y="385"/>
                  </a:lnTo>
                  <a:lnTo>
                    <a:pt x="146" y="385"/>
                  </a:lnTo>
                  <a:lnTo>
                    <a:pt x="146" y="390"/>
                  </a:lnTo>
                  <a:lnTo>
                    <a:pt x="142" y="390"/>
                  </a:lnTo>
                  <a:lnTo>
                    <a:pt x="142" y="390"/>
                  </a:lnTo>
                  <a:lnTo>
                    <a:pt x="142" y="390"/>
                  </a:lnTo>
                  <a:lnTo>
                    <a:pt x="142" y="390"/>
                  </a:lnTo>
                  <a:lnTo>
                    <a:pt x="142" y="390"/>
                  </a:lnTo>
                  <a:lnTo>
                    <a:pt x="142" y="390"/>
                  </a:lnTo>
                  <a:lnTo>
                    <a:pt x="142" y="390"/>
                  </a:lnTo>
                  <a:lnTo>
                    <a:pt x="142" y="390"/>
                  </a:lnTo>
                  <a:lnTo>
                    <a:pt x="142" y="390"/>
                  </a:lnTo>
                  <a:lnTo>
                    <a:pt x="142" y="390"/>
                  </a:lnTo>
                  <a:lnTo>
                    <a:pt x="142" y="385"/>
                  </a:lnTo>
                  <a:lnTo>
                    <a:pt x="142" y="385"/>
                  </a:lnTo>
                  <a:lnTo>
                    <a:pt x="146" y="381"/>
                  </a:lnTo>
                  <a:lnTo>
                    <a:pt x="146" y="381"/>
                  </a:lnTo>
                  <a:lnTo>
                    <a:pt x="150" y="381"/>
                  </a:lnTo>
                  <a:lnTo>
                    <a:pt x="150" y="381"/>
                  </a:lnTo>
                  <a:lnTo>
                    <a:pt x="150" y="381"/>
                  </a:lnTo>
                  <a:lnTo>
                    <a:pt x="155" y="376"/>
                  </a:lnTo>
                  <a:lnTo>
                    <a:pt x="155" y="376"/>
                  </a:lnTo>
                  <a:lnTo>
                    <a:pt x="150" y="372"/>
                  </a:lnTo>
                  <a:lnTo>
                    <a:pt x="150" y="372"/>
                  </a:lnTo>
                  <a:lnTo>
                    <a:pt x="150" y="367"/>
                  </a:lnTo>
                  <a:lnTo>
                    <a:pt x="146" y="367"/>
                  </a:lnTo>
                  <a:lnTo>
                    <a:pt x="146" y="367"/>
                  </a:lnTo>
                  <a:lnTo>
                    <a:pt x="150" y="372"/>
                  </a:lnTo>
                  <a:lnTo>
                    <a:pt x="150" y="376"/>
                  </a:lnTo>
                  <a:lnTo>
                    <a:pt x="150" y="376"/>
                  </a:lnTo>
                  <a:lnTo>
                    <a:pt x="150" y="372"/>
                  </a:lnTo>
                  <a:lnTo>
                    <a:pt x="150" y="372"/>
                  </a:lnTo>
                  <a:lnTo>
                    <a:pt x="146" y="372"/>
                  </a:lnTo>
                  <a:lnTo>
                    <a:pt x="146" y="367"/>
                  </a:lnTo>
                  <a:lnTo>
                    <a:pt x="146" y="367"/>
                  </a:lnTo>
                  <a:lnTo>
                    <a:pt x="146" y="367"/>
                  </a:lnTo>
                  <a:lnTo>
                    <a:pt x="146" y="367"/>
                  </a:lnTo>
                  <a:lnTo>
                    <a:pt x="146" y="363"/>
                  </a:lnTo>
                  <a:lnTo>
                    <a:pt x="146" y="363"/>
                  </a:lnTo>
                  <a:lnTo>
                    <a:pt x="142" y="363"/>
                  </a:lnTo>
                  <a:lnTo>
                    <a:pt x="142" y="363"/>
                  </a:lnTo>
                  <a:lnTo>
                    <a:pt x="142" y="363"/>
                  </a:lnTo>
                  <a:lnTo>
                    <a:pt x="142" y="363"/>
                  </a:lnTo>
                  <a:lnTo>
                    <a:pt x="142" y="359"/>
                  </a:lnTo>
                  <a:lnTo>
                    <a:pt x="142" y="359"/>
                  </a:lnTo>
                  <a:lnTo>
                    <a:pt x="142" y="359"/>
                  </a:lnTo>
                  <a:lnTo>
                    <a:pt x="137" y="359"/>
                  </a:lnTo>
                  <a:lnTo>
                    <a:pt x="137" y="359"/>
                  </a:lnTo>
                  <a:lnTo>
                    <a:pt x="137" y="359"/>
                  </a:lnTo>
                  <a:lnTo>
                    <a:pt x="137" y="354"/>
                  </a:lnTo>
                  <a:lnTo>
                    <a:pt x="137" y="350"/>
                  </a:lnTo>
                  <a:lnTo>
                    <a:pt x="137" y="350"/>
                  </a:lnTo>
                  <a:lnTo>
                    <a:pt x="137" y="350"/>
                  </a:lnTo>
                  <a:lnTo>
                    <a:pt x="137" y="350"/>
                  </a:lnTo>
                  <a:lnTo>
                    <a:pt x="137" y="350"/>
                  </a:lnTo>
                  <a:lnTo>
                    <a:pt x="133" y="350"/>
                  </a:lnTo>
                  <a:lnTo>
                    <a:pt x="133" y="350"/>
                  </a:lnTo>
                  <a:lnTo>
                    <a:pt x="133" y="350"/>
                  </a:lnTo>
                  <a:lnTo>
                    <a:pt x="133" y="345"/>
                  </a:lnTo>
                  <a:lnTo>
                    <a:pt x="133" y="345"/>
                  </a:lnTo>
                  <a:lnTo>
                    <a:pt x="133" y="341"/>
                  </a:lnTo>
                  <a:lnTo>
                    <a:pt x="133" y="341"/>
                  </a:lnTo>
                  <a:lnTo>
                    <a:pt x="133" y="337"/>
                  </a:lnTo>
                  <a:lnTo>
                    <a:pt x="133" y="337"/>
                  </a:lnTo>
                  <a:lnTo>
                    <a:pt x="133" y="337"/>
                  </a:lnTo>
                  <a:lnTo>
                    <a:pt x="128" y="337"/>
                  </a:lnTo>
                  <a:lnTo>
                    <a:pt x="128" y="337"/>
                  </a:lnTo>
                  <a:lnTo>
                    <a:pt x="128" y="337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24" y="337"/>
                  </a:lnTo>
                  <a:lnTo>
                    <a:pt x="119" y="332"/>
                  </a:lnTo>
                  <a:lnTo>
                    <a:pt x="115" y="332"/>
                  </a:lnTo>
                  <a:lnTo>
                    <a:pt x="115" y="332"/>
                  </a:lnTo>
                  <a:lnTo>
                    <a:pt x="115" y="332"/>
                  </a:lnTo>
                  <a:lnTo>
                    <a:pt x="111" y="332"/>
                  </a:lnTo>
                  <a:lnTo>
                    <a:pt x="111" y="332"/>
                  </a:lnTo>
                  <a:lnTo>
                    <a:pt x="111" y="332"/>
                  </a:lnTo>
                  <a:lnTo>
                    <a:pt x="106" y="332"/>
                  </a:lnTo>
                  <a:lnTo>
                    <a:pt x="106" y="337"/>
                  </a:lnTo>
                  <a:lnTo>
                    <a:pt x="106" y="337"/>
                  </a:lnTo>
                  <a:lnTo>
                    <a:pt x="102" y="337"/>
                  </a:lnTo>
                  <a:lnTo>
                    <a:pt x="97" y="341"/>
                  </a:lnTo>
                  <a:lnTo>
                    <a:pt x="89" y="341"/>
                  </a:lnTo>
                  <a:lnTo>
                    <a:pt x="89" y="341"/>
                  </a:lnTo>
                  <a:lnTo>
                    <a:pt x="89" y="337"/>
                  </a:lnTo>
                  <a:lnTo>
                    <a:pt x="84" y="337"/>
                  </a:lnTo>
                  <a:lnTo>
                    <a:pt x="84" y="341"/>
                  </a:lnTo>
                  <a:lnTo>
                    <a:pt x="84" y="341"/>
                  </a:lnTo>
                  <a:lnTo>
                    <a:pt x="84" y="345"/>
                  </a:lnTo>
                  <a:lnTo>
                    <a:pt x="84" y="345"/>
                  </a:lnTo>
                  <a:lnTo>
                    <a:pt x="84" y="345"/>
                  </a:lnTo>
                  <a:lnTo>
                    <a:pt x="84" y="350"/>
                  </a:lnTo>
                  <a:lnTo>
                    <a:pt x="84" y="350"/>
                  </a:lnTo>
                  <a:lnTo>
                    <a:pt x="84" y="350"/>
                  </a:lnTo>
                  <a:lnTo>
                    <a:pt x="80" y="350"/>
                  </a:lnTo>
                  <a:lnTo>
                    <a:pt x="80" y="350"/>
                  </a:lnTo>
                  <a:lnTo>
                    <a:pt x="80" y="350"/>
                  </a:lnTo>
                  <a:lnTo>
                    <a:pt x="75" y="350"/>
                  </a:lnTo>
                  <a:lnTo>
                    <a:pt x="75" y="350"/>
                  </a:lnTo>
                  <a:lnTo>
                    <a:pt x="75" y="350"/>
                  </a:lnTo>
                  <a:lnTo>
                    <a:pt x="71" y="350"/>
                  </a:lnTo>
                  <a:lnTo>
                    <a:pt x="71" y="350"/>
                  </a:lnTo>
                  <a:lnTo>
                    <a:pt x="71" y="350"/>
                  </a:lnTo>
                  <a:lnTo>
                    <a:pt x="71" y="350"/>
                  </a:lnTo>
                  <a:lnTo>
                    <a:pt x="71" y="350"/>
                  </a:lnTo>
                  <a:lnTo>
                    <a:pt x="71" y="350"/>
                  </a:lnTo>
                  <a:lnTo>
                    <a:pt x="71" y="350"/>
                  </a:lnTo>
                  <a:lnTo>
                    <a:pt x="66" y="350"/>
                  </a:lnTo>
                  <a:lnTo>
                    <a:pt x="66" y="350"/>
                  </a:lnTo>
                  <a:lnTo>
                    <a:pt x="66" y="354"/>
                  </a:lnTo>
                  <a:lnTo>
                    <a:pt x="62" y="354"/>
                  </a:lnTo>
                  <a:lnTo>
                    <a:pt x="62" y="354"/>
                  </a:lnTo>
                  <a:lnTo>
                    <a:pt x="62" y="354"/>
                  </a:lnTo>
                  <a:lnTo>
                    <a:pt x="62" y="354"/>
                  </a:lnTo>
                  <a:lnTo>
                    <a:pt x="62" y="354"/>
                  </a:lnTo>
                  <a:lnTo>
                    <a:pt x="62" y="359"/>
                  </a:lnTo>
                  <a:lnTo>
                    <a:pt x="62" y="359"/>
                  </a:lnTo>
                  <a:lnTo>
                    <a:pt x="62" y="359"/>
                  </a:lnTo>
                  <a:lnTo>
                    <a:pt x="62" y="359"/>
                  </a:lnTo>
                  <a:lnTo>
                    <a:pt x="62" y="359"/>
                  </a:lnTo>
                  <a:lnTo>
                    <a:pt x="62" y="363"/>
                  </a:lnTo>
                  <a:lnTo>
                    <a:pt x="62" y="363"/>
                  </a:lnTo>
                  <a:lnTo>
                    <a:pt x="62" y="363"/>
                  </a:lnTo>
                  <a:lnTo>
                    <a:pt x="62" y="363"/>
                  </a:lnTo>
                  <a:lnTo>
                    <a:pt x="62" y="367"/>
                  </a:lnTo>
                  <a:lnTo>
                    <a:pt x="62" y="367"/>
                  </a:lnTo>
                  <a:lnTo>
                    <a:pt x="58" y="367"/>
                  </a:lnTo>
                  <a:lnTo>
                    <a:pt x="53" y="376"/>
                  </a:lnTo>
                  <a:lnTo>
                    <a:pt x="53" y="376"/>
                  </a:lnTo>
                  <a:lnTo>
                    <a:pt x="53" y="376"/>
                  </a:lnTo>
                  <a:lnTo>
                    <a:pt x="53" y="376"/>
                  </a:lnTo>
                  <a:lnTo>
                    <a:pt x="53" y="381"/>
                  </a:lnTo>
                  <a:lnTo>
                    <a:pt x="53" y="381"/>
                  </a:lnTo>
                  <a:lnTo>
                    <a:pt x="53" y="381"/>
                  </a:lnTo>
                  <a:lnTo>
                    <a:pt x="53" y="381"/>
                  </a:lnTo>
                  <a:lnTo>
                    <a:pt x="53" y="381"/>
                  </a:lnTo>
                  <a:lnTo>
                    <a:pt x="53" y="381"/>
                  </a:lnTo>
                  <a:lnTo>
                    <a:pt x="49" y="381"/>
                  </a:lnTo>
                  <a:lnTo>
                    <a:pt x="49" y="381"/>
                  </a:lnTo>
                  <a:lnTo>
                    <a:pt x="49" y="381"/>
                  </a:lnTo>
                  <a:lnTo>
                    <a:pt x="44" y="381"/>
                  </a:lnTo>
                  <a:lnTo>
                    <a:pt x="44" y="381"/>
                  </a:lnTo>
                  <a:lnTo>
                    <a:pt x="40" y="381"/>
                  </a:lnTo>
                  <a:lnTo>
                    <a:pt x="40" y="381"/>
                  </a:lnTo>
                  <a:lnTo>
                    <a:pt x="40" y="381"/>
                  </a:lnTo>
                  <a:lnTo>
                    <a:pt x="35" y="381"/>
                  </a:lnTo>
                  <a:lnTo>
                    <a:pt x="35" y="385"/>
                  </a:lnTo>
                  <a:lnTo>
                    <a:pt x="35" y="385"/>
                  </a:lnTo>
                  <a:lnTo>
                    <a:pt x="35" y="385"/>
                  </a:lnTo>
                  <a:lnTo>
                    <a:pt x="35" y="385"/>
                  </a:lnTo>
                  <a:lnTo>
                    <a:pt x="35" y="385"/>
                  </a:lnTo>
                  <a:lnTo>
                    <a:pt x="35" y="385"/>
                  </a:lnTo>
                  <a:lnTo>
                    <a:pt x="40" y="385"/>
                  </a:lnTo>
                  <a:lnTo>
                    <a:pt x="40" y="390"/>
                  </a:lnTo>
                  <a:lnTo>
                    <a:pt x="40" y="390"/>
                  </a:lnTo>
                  <a:lnTo>
                    <a:pt x="40" y="390"/>
                  </a:lnTo>
                  <a:lnTo>
                    <a:pt x="40" y="390"/>
                  </a:lnTo>
                  <a:lnTo>
                    <a:pt x="40" y="390"/>
                  </a:lnTo>
                  <a:lnTo>
                    <a:pt x="40" y="390"/>
                  </a:lnTo>
                  <a:lnTo>
                    <a:pt x="40" y="390"/>
                  </a:lnTo>
                  <a:lnTo>
                    <a:pt x="44" y="390"/>
                  </a:lnTo>
                  <a:lnTo>
                    <a:pt x="44" y="390"/>
                  </a:lnTo>
                  <a:lnTo>
                    <a:pt x="44" y="390"/>
                  </a:lnTo>
                  <a:lnTo>
                    <a:pt x="44" y="390"/>
                  </a:lnTo>
                  <a:lnTo>
                    <a:pt x="44" y="390"/>
                  </a:lnTo>
                  <a:lnTo>
                    <a:pt x="49" y="390"/>
                  </a:lnTo>
                  <a:lnTo>
                    <a:pt x="49" y="390"/>
                  </a:lnTo>
                  <a:lnTo>
                    <a:pt x="49" y="390"/>
                  </a:lnTo>
                  <a:lnTo>
                    <a:pt x="44" y="394"/>
                  </a:lnTo>
                  <a:lnTo>
                    <a:pt x="40" y="398"/>
                  </a:lnTo>
                  <a:lnTo>
                    <a:pt x="35" y="398"/>
                  </a:lnTo>
                  <a:lnTo>
                    <a:pt x="35" y="398"/>
                  </a:lnTo>
                  <a:lnTo>
                    <a:pt x="31" y="398"/>
                  </a:lnTo>
                  <a:lnTo>
                    <a:pt x="31" y="398"/>
                  </a:lnTo>
                  <a:lnTo>
                    <a:pt x="31" y="398"/>
                  </a:lnTo>
                  <a:lnTo>
                    <a:pt x="27" y="403"/>
                  </a:lnTo>
                  <a:lnTo>
                    <a:pt x="27" y="403"/>
                  </a:lnTo>
                  <a:lnTo>
                    <a:pt x="27" y="403"/>
                  </a:lnTo>
                  <a:lnTo>
                    <a:pt x="27" y="403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7" y="407"/>
                  </a:lnTo>
                  <a:lnTo>
                    <a:pt x="27" y="412"/>
                  </a:lnTo>
                  <a:lnTo>
                    <a:pt x="27" y="412"/>
                  </a:lnTo>
                  <a:lnTo>
                    <a:pt x="31" y="412"/>
                  </a:lnTo>
                  <a:lnTo>
                    <a:pt x="31" y="412"/>
                  </a:lnTo>
                  <a:lnTo>
                    <a:pt x="31" y="416"/>
                  </a:lnTo>
                  <a:lnTo>
                    <a:pt x="31" y="416"/>
                  </a:lnTo>
                  <a:lnTo>
                    <a:pt x="35" y="421"/>
                  </a:lnTo>
                  <a:lnTo>
                    <a:pt x="35" y="421"/>
                  </a:lnTo>
                  <a:lnTo>
                    <a:pt x="35" y="421"/>
                  </a:lnTo>
                  <a:lnTo>
                    <a:pt x="35" y="421"/>
                  </a:lnTo>
                  <a:lnTo>
                    <a:pt x="35" y="421"/>
                  </a:lnTo>
                  <a:lnTo>
                    <a:pt x="40" y="421"/>
                  </a:lnTo>
                  <a:lnTo>
                    <a:pt x="40" y="425"/>
                  </a:lnTo>
                  <a:lnTo>
                    <a:pt x="40" y="425"/>
                  </a:lnTo>
                  <a:lnTo>
                    <a:pt x="40" y="429"/>
                  </a:lnTo>
                  <a:lnTo>
                    <a:pt x="44" y="429"/>
                  </a:lnTo>
                  <a:lnTo>
                    <a:pt x="44" y="429"/>
                  </a:lnTo>
                  <a:lnTo>
                    <a:pt x="49" y="429"/>
                  </a:lnTo>
                  <a:lnTo>
                    <a:pt x="49" y="429"/>
                  </a:lnTo>
                  <a:lnTo>
                    <a:pt x="49" y="429"/>
                  </a:lnTo>
                  <a:lnTo>
                    <a:pt x="53" y="434"/>
                  </a:lnTo>
                  <a:lnTo>
                    <a:pt x="53" y="434"/>
                  </a:lnTo>
                  <a:lnTo>
                    <a:pt x="53" y="434"/>
                  </a:lnTo>
                  <a:lnTo>
                    <a:pt x="58" y="434"/>
                  </a:lnTo>
                  <a:lnTo>
                    <a:pt x="58" y="434"/>
                  </a:lnTo>
                  <a:lnTo>
                    <a:pt x="62" y="434"/>
                  </a:lnTo>
                  <a:lnTo>
                    <a:pt x="62" y="434"/>
                  </a:lnTo>
                  <a:lnTo>
                    <a:pt x="62" y="434"/>
                  </a:lnTo>
                  <a:lnTo>
                    <a:pt x="62" y="434"/>
                  </a:lnTo>
                  <a:lnTo>
                    <a:pt x="62" y="434"/>
                  </a:lnTo>
                  <a:lnTo>
                    <a:pt x="62" y="434"/>
                  </a:lnTo>
                  <a:lnTo>
                    <a:pt x="62" y="434"/>
                  </a:lnTo>
                  <a:lnTo>
                    <a:pt x="62" y="434"/>
                  </a:lnTo>
                  <a:lnTo>
                    <a:pt x="62" y="434"/>
                  </a:lnTo>
                  <a:lnTo>
                    <a:pt x="62" y="434"/>
                  </a:lnTo>
                  <a:lnTo>
                    <a:pt x="66" y="434"/>
                  </a:lnTo>
                  <a:lnTo>
                    <a:pt x="66" y="434"/>
                  </a:lnTo>
                  <a:lnTo>
                    <a:pt x="66" y="434"/>
                  </a:lnTo>
                  <a:lnTo>
                    <a:pt x="66" y="434"/>
                  </a:lnTo>
                  <a:lnTo>
                    <a:pt x="66" y="434"/>
                  </a:lnTo>
                  <a:lnTo>
                    <a:pt x="66" y="434"/>
                  </a:lnTo>
                  <a:lnTo>
                    <a:pt x="66" y="429"/>
                  </a:lnTo>
                  <a:lnTo>
                    <a:pt x="66" y="429"/>
                  </a:lnTo>
                  <a:lnTo>
                    <a:pt x="66" y="434"/>
                  </a:lnTo>
                  <a:lnTo>
                    <a:pt x="66" y="434"/>
                  </a:lnTo>
                  <a:lnTo>
                    <a:pt x="66" y="434"/>
                  </a:lnTo>
                  <a:lnTo>
                    <a:pt x="66" y="434"/>
                  </a:lnTo>
                  <a:lnTo>
                    <a:pt x="66" y="434"/>
                  </a:lnTo>
                  <a:lnTo>
                    <a:pt x="71" y="434"/>
                  </a:lnTo>
                  <a:lnTo>
                    <a:pt x="71" y="434"/>
                  </a:lnTo>
                  <a:lnTo>
                    <a:pt x="71" y="434"/>
                  </a:lnTo>
                  <a:lnTo>
                    <a:pt x="71" y="434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1" y="429"/>
                  </a:lnTo>
                  <a:lnTo>
                    <a:pt x="75" y="425"/>
                  </a:lnTo>
                  <a:lnTo>
                    <a:pt x="75" y="425"/>
                  </a:lnTo>
                  <a:lnTo>
                    <a:pt x="75" y="425"/>
                  </a:lnTo>
                  <a:lnTo>
                    <a:pt x="75" y="425"/>
                  </a:lnTo>
                  <a:lnTo>
                    <a:pt x="75" y="421"/>
                  </a:lnTo>
                  <a:lnTo>
                    <a:pt x="75" y="421"/>
                  </a:lnTo>
                  <a:lnTo>
                    <a:pt x="71" y="421"/>
                  </a:lnTo>
                  <a:lnTo>
                    <a:pt x="71" y="421"/>
                  </a:lnTo>
                  <a:lnTo>
                    <a:pt x="71" y="421"/>
                  </a:lnTo>
                  <a:lnTo>
                    <a:pt x="75" y="421"/>
                  </a:lnTo>
                  <a:lnTo>
                    <a:pt x="75" y="416"/>
                  </a:lnTo>
                  <a:lnTo>
                    <a:pt x="75" y="416"/>
                  </a:lnTo>
                  <a:lnTo>
                    <a:pt x="75" y="416"/>
                  </a:lnTo>
                  <a:lnTo>
                    <a:pt x="75" y="416"/>
                  </a:lnTo>
                  <a:lnTo>
                    <a:pt x="75" y="416"/>
                  </a:lnTo>
                  <a:lnTo>
                    <a:pt x="75" y="416"/>
                  </a:lnTo>
                  <a:lnTo>
                    <a:pt x="75" y="416"/>
                  </a:lnTo>
                  <a:lnTo>
                    <a:pt x="75" y="416"/>
                  </a:lnTo>
                  <a:lnTo>
                    <a:pt x="75" y="416"/>
                  </a:lnTo>
                  <a:lnTo>
                    <a:pt x="75" y="416"/>
                  </a:lnTo>
                  <a:lnTo>
                    <a:pt x="75" y="416"/>
                  </a:lnTo>
                  <a:lnTo>
                    <a:pt x="75" y="416"/>
                  </a:lnTo>
                  <a:lnTo>
                    <a:pt x="75" y="416"/>
                  </a:lnTo>
                  <a:lnTo>
                    <a:pt x="80" y="412"/>
                  </a:lnTo>
                  <a:lnTo>
                    <a:pt x="80" y="407"/>
                  </a:lnTo>
                  <a:lnTo>
                    <a:pt x="84" y="407"/>
                  </a:lnTo>
                  <a:lnTo>
                    <a:pt x="84" y="412"/>
                  </a:lnTo>
                  <a:lnTo>
                    <a:pt x="89" y="412"/>
                  </a:lnTo>
                  <a:lnTo>
                    <a:pt x="89" y="412"/>
                  </a:lnTo>
                  <a:lnTo>
                    <a:pt x="89" y="416"/>
                  </a:lnTo>
                  <a:lnTo>
                    <a:pt x="89" y="416"/>
                  </a:lnTo>
                  <a:lnTo>
                    <a:pt x="89" y="416"/>
                  </a:lnTo>
                  <a:lnTo>
                    <a:pt x="89" y="416"/>
                  </a:lnTo>
                  <a:lnTo>
                    <a:pt x="89" y="416"/>
                  </a:lnTo>
                  <a:lnTo>
                    <a:pt x="93" y="416"/>
                  </a:lnTo>
                  <a:lnTo>
                    <a:pt x="93" y="421"/>
                  </a:lnTo>
                  <a:lnTo>
                    <a:pt x="93" y="421"/>
                  </a:lnTo>
                  <a:lnTo>
                    <a:pt x="89" y="421"/>
                  </a:lnTo>
                  <a:lnTo>
                    <a:pt x="93" y="421"/>
                  </a:lnTo>
                  <a:lnTo>
                    <a:pt x="93" y="421"/>
                  </a:lnTo>
                  <a:lnTo>
                    <a:pt x="93" y="425"/>
                  </a:lnTo>
                  <a:lnTo>
                    <a:pt x="93" y="425"/>
                  </a:lnTo>
                  <a:lnTo>
                    <a:pt x="93" y="425"/>
                  </a:lnTo>
                  <a:lnTo>
                    <a:pt x="93" y="425"/>
                  </a:lnTo>
                  <a:lnTo>
                    <a:pt x="93" y="429"/>
                  </a:lnTo>
                  <a:lnTo>
                    <a:pt x="97" y="429"/>
                  </a:lnTo>
                  <a:lnTo>
                    <a:pt x="97" y="429"/>
                  </a:lnTo>
                  <a:lnTo>
                    <a:pt x="97" y="429"/>
                  </a:lnTo>
                  <a:lnTo>
                    <a:pt x="97" y="429"/>
                  </a:lnTo>
                  <a:lnTo>
                    <a:pt x="97" y="429"/>
                  </a:lnTo>
                  <a:lnTo>
                    <a:pt x="97" y="429"/>
                  </a:lnTo>
                  <a:lnTo>
                    <a:pt x="102" y="429"/>
                  </a:lnTo>
                  <a:lnTo>
                    <a:pt x="102" y="429"/>
                  </a:lnTo>
                  <a:lnTo>
                    <a:pt x="102" y="429"/>
                  </a:lnTo>
                  <a:lnTo>
                    <a:pt x="102" y="429"/>
                  </a:lnTo>
                  <a:lnTo>
                    <a:pt x="102" y="429"/>
                  </a:lnTo>
                  <a:lnTo>
                    <a:pt x="102" y="434"/>
                  </a:lnTo>
                  <a:lnTo>
                    <a:pt x="102" y="434"/>
                  </a:lnTo>
                  <a:lnTo>
                    <a:pt x="102" y="434"/>
                  </a:lnTo>
                  <a:lnTo>
                    <a:pt x="102" y="438"/>
                  </a:lnTo>
                  <a:lnTo>
                    <a:pt x="102" y="438"/>
                  </a:lnTo>
                  <a:lnTo>
                    <a:pt x="102" y="438"/>
                  </a:lnTo>
                  <a:lnTo>
                    <a:pt x="102" y="438"/>
                  </a:lnTo>
                  <a:lnTo>
                    <a:pt x="102" y="443"/>
                  </a:lnTo>
                  <a:lnTo>
                    <a:pt x="106" y="443"/>
                  </a:lnTo>
                  <a:lnTo>
                    <a:pt x="106" y="443"/>
                  </a:lnTo>
                  <a:lnTo>
                    <a:pt x="106" y="443"/>
                  </a:lnTo>
                  <a:lnTo>
                    <a:pt x="106" y="443"/>
                  </a:lnTo>
                  <a:lnTo>
                    <a:pt x="106" y="443"/>
                  </a:lnTo>
                  <a:lnTo>
                    <a:pt x="106" y="443"/>
                  </a:lnTo>
                  <a:lnTo>
                    <a:pt x="106" y="443"/>
                  </a:lnTo>
                  <a:lnTo>
                    <a:pt x="106" y="443"/>
                  </a:lnTo>
                  <a:lnTo>
                    <a:pt x="111" y="438"/>
                  </a:lnTo>
                  <a:lnTo>
                    <a:pt x="111" y="438"/>
                  </a:lnTo>
                  <a:lnTo>
                    <a:pt x="111" y="438"/>
                  </a:lnTo>
                  <a:lnTo>
                    <a:pt x="115" y="438"/>
                  </a:lnTo>
                  <a:lnTo>
                    <a:pt x="115" y="443"/>
                  </a:lnTo>
                  <a:lnTo>
                    <a:pt x="115" y="443"/>
                  </a:lnTo>
                  <a:lnTo>
                    <a:pt x="115" y="443"/>
                  </a:lnTo>
                  <a:lnTo>
                    <a:pt x="115" y="438"/>
                  </a:lnTo>
                  <a:lnTo>
                    <a:pt x="115" y="438"/>
                  </a:lnTo>
                  <a:lnTo>
                    <a:pt x="115" y="438"/>
                  </a:lnTo>
                  <a:lnTo>
                    <a:pt x="115" y="438"/>
                  </a:lnTo>
                  <a:lnTo>
                    <a:pt x="115" y="438"/>
                  </a:lnTo>
                  <a:lnTo>
                    <a:pt x="115" y="438"/>
                  </a:lnTo>
                  <a:lnTo>
                    <a:pt x="115" y="438"/>
                  </a:lnTo>
                  <a:lnTo>
                    <a:pt x="119" y="434"/>
                  </a:lnTo>
                  <a:lnTo>
                    <a:pt x="119" y="438"/>
                  </a:lnTo>
                  <a:lnTo>
                    <a:pt x="119" y="438"/>
                  </a:lnTo>
                  <a:lnTo>
                    <a:pt x="119" y="438"/>
                  </a:lnTo>
                  <a:lnTo>
                    <a:pt x="119" y="438"/>
                  </a:lnTo>
                  <a:lnTo>
                    <a:pt x="119" y="438"/>
                  </a:lnTo>
                  <a:lnTo>
                    <a:pt x="119" y="438"/>
                  </a:lnTo>
                  <a:lnTo>
                    <a:pt x="124" y="438"/>
                  </a:lnTo>
                  <a:lnTo>
                    <a:pt x="124" y="438"/>
                  </a:lnTo>
                  <a:lnTo>
                    <a:pt x="124" y="438"/>
                  </a:lnTo>
                  <a:lnTo>
                    <a:pt x="124" y="438"/>
                  </a:lnTo>
                  <a:lnTo>
                    <a:pt x="128" y="438"/>
                  </a:lnTo>
                  <a:lnTo>
                    <a:pt x="128" y="438"/>
                  </a:lnTo>
                  <a:lnTo>
                    <a:pt x="128" y="438"/>
                  </a:lnTo>
                  <a:lnTo>
                    <a:pt x="133" y="443"/>
                  </a:lnTo>
                  <a:lnTo>
                    <a:pt x="133" y="443"/>
                  </a:lnTo>
                  <a:lnTo>
                    <a:pt x="133" y="443"/>
                  </a:lnTo>
                  <a:lnTo>
                    <a:pt x="133" y="443"/>
                  </a:lnTo>
                  <a:lnTo>
                    <a:pt x="133" y="443"/>
                  </a:lnTo>
                  <a:lnTo>
                    <a:pt x="133" y="443"/>
                  </a:lnTo>
                  <a:lnTo>
                    <a:pt x="133" y="443"/>
                  </a:lnTo>
                  <a:lnTo>
                    <a:pt x="137" y="443"/>
                  </a:lnTo>
                  <a:lnTo>
                    <a:pt x="137" y="443"/>
                  </a:lnTo>
                  <a:lnTo>
                    <a:pt x="137" y="438"/>
                  </a:lnTo>
                  <a:lnTo>
                    <a:pt x="142" y="438"/>
                  </a:lnTo>
                  <a:lnTo>
                    <a:pt x="142" y="438"/>
                  </a:lnTo>
                  <a:lnTo>
                    <a:pt x="142" y="434"/>
                  </a:lnTo>
                  <a:lnTo>
                    <a:pt x="142" y="434"/>
                  </a:lnTo>
                  <a:lnTo>
                    <a:pt x="142" y="429"/>
                  </a:lnTo>
                  <a:lnTo>
                    <a:pt x="142" y="429"/>
                  </a:lnTo>
                  <a:lnTo>
                    <a:pt x="142" y="429"/>
                  </a:lnTo>
                  <a:lnTo>
                    <a:pt x="142" y="425"/>
                  </a:lnTo>
                  <a:lnTo>
                    <a:pt x="142" y="425"/>
                  </a:lnTo>
                  <a:lnTo>
                    <a:pt x="146" y="425"/>
                  </a:lnTo>
                  <a:lnTo>
                    <a:pt x="146" y="425"/>
                  </a:lnTo>
                  <a:lnTo>
                    <a:pt x="146" y="425"/>
                  </a:lnTo>
                  <a:lnTo>
                    <a:pt x="150" y="425"/>
                  </a:lnTo>
                  <a:lnTo>
                    <a:pt x="155" y="425"/>
                  </a:lnTo>
                  <a:lnTo>
                    <a:pt x="155" y="425"/>
                  </a:lnTo>
                  <a:close/>
                  <a:moveTo>
                    <a:pt x="128" y="332"/>
                  </a:moveTo>
                  <a:lnTo>
                    <a:pt x="128" y="332"/>
                  </a:lnTo>
                  <a:lnTo>
                    <a:pt x="128" y="332"/>
                  </a:lnTo>
                  <a:lnTo>
                    <a:pt x="128" y="332"/>
                  </a:lnTo>
                  <a:lnTo>
                    <a:pt x="128" y="328"/>
                  </a:lnTo>
                  <a:lnTo>
                    <a:pt x="128" y="328"/>
                  </a:lnTo>
                  <a:lnTo>
                    <a:pt x="128" y="328"/>
                  </a:lnTo>
                  <a:lnTo>
                    <a:pt x="128" y="328"/>
                  </a:lnTo>
                  <a:lnTo>
                    <a:pt x="124" y="328"/>
                  </a:lnTo>
                  <a:lnTo>
                    <a:pt x="124" y="328"/>
                  </a:lnTo>
                  <a:lnTo>
                    <a:pt x="124" y="328"/>
                  </a:lnTo>
                  <a:lnTo>
                    <a:pt x="124" y="328"/>
                  </a:lnTo>
                  <a:lnTo>
                    <a:pt x="119" y="328"/>
                  </a:lnTo>
                  <a:lnTo>
                    <a:pt x="124" y="328"/>
                  </a:lnTo>
                  <a:lnTo>
                    <a:pt x="124" y="328"/>
                  </a:lnTo>
                  <a:lnTo>
                    <a:pt x="124" y="328"/>
                  </a:lnTo>
                  <a:lnTo>
                    <a:pt x="128" y="328"/>
                  </a:lnTo>
                  <a:lnTo>
                    <a:pt x="128" y="328"/>
                  </a:lnTo>
                  <a:lnTo>
                    <a:pt x="128" y="332"/>
                  </a:lnTo>
                  <a:close/>
                  <a:moveTo>
                    <a:pt x="173" y="292"/>
                  </a:moveTo>
                  <a:lnTo>
                    <a:pt x="168" y="292"/>
                  </a:lnTo>
                  <a:lnTo>
                    <a:pt x="168" y="297"/>
                  </a:lnTo>
                  <a:lnTo>
                    <a:pt x="168" y="297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73" y="306"/>
                  </a:lnTo>
                  <a:lnTo>
                    <a:pt x="173" y="306"/>
                  </a:lnTo>
                  <a:lnTo>
                    <a:pt x="173" y="306"/>
                  </a:lnTo>
                  <a:lnTo>
                    <a:pt x="173" y="306"/>
                  </a:lnTo>
                  <a:lnTo>
                    <a:pt x="168" y="306"/>
                  </a:lnTo>
                  <a:lnTo>
                    <a:pt x="168" y="306"/>
                  </a:lnTo>
                  <a:lnTo>
                    <a:pt x="173" y="306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4"/>
                  </a:lnTo>
                  <a:lnTo>
                    <a:pt x="177" y="314"/>
                  </a:lnTo>
                  <a:lnTo>
                    <a:pt x="177" y="314"/>
                  </a:lnTo>
                  <a:lnTo>
                    <a:pt x="181" y="314"/>
                  </a:lnTo>
                  <a:lnTo>
                    <a:pt x="181" y="314"/>
                  </a:lnTo>
                  <a:lnTo>
                    <a:pt x="186" y="314"/>
                  </a:lnTo>
                  <a:lnTo>
                    <a:pt x="186" y="314"/>
                  </a:lnTo>
                  <a:lnTo>
                    <a:pt x="186" y="310"/>
                  </a:lnTo>
                  <a:lnTo>
                    <a:pt x="186" y="310"/>
                  </a:lnTo>
                  <a:lnTo>
                    <a:pt x="186" y="310"/>
                  </a:lnTo>
                  <a:lnTo>
                    <a:pt x="186" y="310"/>
                  </a:lnTo>
                  <a:lnTo>
                    <a:pt x="181" y="306"/>
                  </a:lnTo>
                  <a:lnTo>
                    <a:pt x="181" y="306"/>
                  </a:lnTo>
                  <a:lnTo>
                    <a:pt x="181" y="306"/>
                  </a:lnTo>
                  <a:lnTo>
                    <a:pt x="181" y="306"/>
                  </a:lnTo>
                  <a:lnTo>
                    <a:pt x="186" y="306"/>
                  </a:lnTo>
                  <a:lnTo>
                    <a:pt x="186" y="306"/>
                  </a:lnTo>
                  <a:lnTo>
                    <a:pt x="186" y="301"/>
                  </a:lnTo>
                  <a:lnTo>
                    <a:pt x="181" y="301"/>
                  </a:lnTo>
                  <a:lnTo>
                    <a:pt x="181" y="301"/>
                  </a:lnTo>
                  <a:lnTo>
                    <a:pt x="181" y="297"/>
                  </a:lnTo>
                  <a:lnTo>
                    <a:pt x="181" y="292"/>
                  </a:lnTo>
                  <a:lnTo>
                    <a:pt x="181" y="292"/>
                  </a:lnTo>
                  <a:lnTo>
                    <a:pt x="177" y="292"/>
                  </a:lnTo>
                  <a:lnTo>
                    <a:pt x="177" y="288"/>
                  </a:lnTo>
                  <a:lnTo>
                    <a:pt x="177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92"/>
                  </a:lnTo>
                  <a:lnTo>
                    <a:pt x="173" y="292"/>
                  </a:lnTo>
                  <a:close/>
                  <a:moveTo>
                    <a:pt x="190" y="283"/>
                  </a:moveTo>
                  <a:lnTo>
                    <a:pt x="190" y="283"/>
                  </a:lnTo>
                  <a:lnTo>
                    <a:pt x="190" y="279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81" y="270"/>
                  </a:lnTo>
                  <a:lnTo>
                    <a:pt x="181" y="270"/>
                  </a:lnTo>
                  <a:lnTo>
                    <a:pt x="177" y="270"/>
                  </a:lnTo>
                  <a:lnTo>
                    <a:pt x="177" y="270"/>
                  </a:lnTo>
                  <a:lnTo>
                    <a:pt x="181" y="275"/>
                  </a:lnTo>
                  <a:lnTo>
                    <a:pt x="181" y="275"/>
                  </a:lnTo>
                  <a:lnTo>
                    <a:pt x="181" y="275"/>
                  </a:lnTo>
                  <a:lnTo>
                    <a:pt x="181" y="279"/>
                  </a:lnTo>
                  <a:lnTo>
                    <a:pt x="181" y="279"/>
                  </a:lnTo>
                  <a:lnTo>
                    <a:pt x="181" y="283"/>
                  </a:lnTo>
                  <a:lnTo>
                    <a:pt x="181" y="283"/>
                  </a:lnTo>
                  <a:lnTo>
                    <a:pt x="186" y="288"/>
                  </a:lnTo>
                  <a:lnTo>
                    <a:pt x="186" y="288"/>
                  </a:lnTo>
                  <a:lnTo>
                    <a:pt x="186" y="288"/>
                  </a:lnTo>
                  <a:lnTo>
                    <a:pt x="190" y="288"/>
                  </a:lnTo>
                  <a:lnTo>
                    <a:pt x="190" y="288"/>
                  </a:lnTo>
                  <a:lnTo>
                    <a:pt x="190" y="288"/>
                  </a:lnTo>
                  <a:lnTo>
                    <a:pt x="190" y="288"/>
                  </a:lnTo>
                  <a:lnTo>
                    <a:pt x="186" y="288"/>
                  </a:lnTo>
                  <a:lnTo>
                    <a:pt x="190" y="283"/>
                  </a:lnTo>
                  <a:lnTo>
                    <a:pt x="190" y="283"/>
                  </a:lnTo>
                  <a:close/>
                  <a:moveTo>
                    <a:pt x="128" y="297"/>
                  </a:moveTo>
                  <a:lnTo>
                    <a:pt x="133" y="297"/>
                  </a:lnTo>
                  <a:lnTo>
                    <a:pt x="133" y="297"/>
                  </a:lnTo>
                  <a:lnTo>
                    <a:pt x="133" y="292"/>
                  </a:lnTo>
                  <a:lnTo>
                    <a:pt x="133" y="292"/>
                  </a:lnTo>
                  <a:lnTo>
                    <a:pt x="133" y="292"/>
                  </a:lnTo>
                  <a:lnTo>
                    <a:pt x="133" y="292"/>
                  </a:lnTo>
                  <a:lnTo>
                    <a:pt x="133" y="292"/>
                  </a:lnTo>
                  <a:lnTo>
                    <a:pt x="137" y="292"/>
                  </a:lnTo>
                  <a:lnTo>
                    <a:pt x="137" y="292"/>
                  </a:lnTo>
                  <a:lnTo>
                    <a:pt x="137" y="292"/>
                  </a:lnTo>
                  <a:lnTo>
                    <a:pt x="133" y="288"/>
                  </a:lnTo>
                  <a:lnTo>
                    <a:pt x="133" y="288"/>
                  </a:lnTo>
                  <a:lnTo>
                    <a:pt x="133" y="288"/>
                  </a:lnTo>
                  <a:lnTo>
                    <a:pt x="133" y="288"/>
                  </a:lnTo>
                  <a:lnTo>
                    <a:pt x="133" y="288"/>
                  </a:lnTo>
                  <a:lnTo>
                    <a:pt x="133" y="288"/>
                  </a:lnTo>
                  <a:lnTo>
                    <a:pt x="133" y="288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79"/>
                  </a:lnTo>
                  <a:lnTo>
                    <a:pt x="128" y="275"/>
                  </a:lnTo>
                  <a:lnTo>
                    <a:pt x="128" y="270"/>
                  </a:lnTo>
                  <a:lnTo>
                    <a:pt x="128" y="270"/>
                  </a:lnTo>
                  <a:lnTo>
                    <a:pt x="128" y="270"/>
                  </a:lnTo>
                  <a:lnTo>
                    <a:pt x="128" y="270"/>
                  </a:lnTo>
                  <a:lnTo>
                    <a:pt x="128" y="270"/>
                  </a:lnTo>
                  <a:lnTo>
                    <a:pt x="128" y="270"/>
                  </a:lnTo>
                  <a:lnTo>
                    <a:pt x="128" y="270"/>
                  </a:lnTo>
                  <a:lnTo>
                    <a:pt x="128" y="270"/>
                  </a:lnTo>
                  <a:lnTo>
                    <a:pt x="124" y="270"/>
                  </a:lnTo>
                  <a:lnTo>
                    <a:pt x="124" y="270"/>
                  </a:lnTo>
                  <a:lnTo>
                    <a:pt x="124" y="275"/>
                  </a:lnTo>
                  <a:lnTo>
                    <a:pt x="119" y="275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5"/>
                  </a:lnTo>
                  <a:lnTo>
                    <a:pt x="119" y="275"/>
                  </a:lnTo>
                  <a:lnTo>
                    <a:pt x="119" y="275"/>
                  </a:lnTo>
                  <a:lnTo>
                    <a:pt x="119" y="275"/>
                  </a:lnTo>
                  <a:lnTo>
                    <a:pt x="119" y="275"/>
                  </a:lnTo>
                  <a:lnTo>
                    <a:pt x="119" y="275"/>
                  </a:lnTo>
                  <a:lnTo>
                    <a:pt x="115" y="275"/>
                  </a:lnTo>
                  <a:lnTo>
                    <a:pt x="115" y="275"/>
                  </a:lnTo>
                  <a:lnTo>
                    <a:pt x="111" y="279"/>
                  </a:lnTo>
                  <a:lnTo>
                    <a:pt x="111" y="279"/>
                  </a:lnTo>
                  <a:lnTo>
                    <a:pt x="111" y="279"/>
                  </a:lnTo>
                  <a:lnTo>
                    <a:pt x="111" y="279"/>
                  </a:lnTo>
                  <a:lnTo>
                    <a:pt x="111" y="283"/>
                  </a:lnTo>
                  <a:lnTo>
                    <a:pt x="111" y="283"/>
                  </a:lnTo>
                  <a:lnTo>
                    <a:pt x="115" y="283"/>
                  </a:lnTo>
                  <a:lnTo>
                    <a:pt x="111" y="288"/>
                  </a:lnTo>
                  <a:lnTo>
                    <a:pt x="111" y="288"/>
                  </a:lnTo>
                  <a:lnTo>
                    <a:pt x="111" y="288"/>
                  </a:lnTo>
                  <a:lnTo>
                    <a:pt x="111" y="288"/>
                  </a:lnTo>
                  <a:lnTo>
                    <a:pt x="111" y="288"/>
                  </a:lnTo>
                  <a:lnTo>
                    <a:pt x="111" y="292"/>
                  </a:lnTo>
                  <a:lnTo>
                    <a:pt x="111" y="292"/>
                  </a:lnTo>
                  <a:lnTo>
                    <a:pt x="111" y="292"/>
                  </a:lnTo>
                  <a:lnTo>
                    <a:pt x="111" y="292"/>
                  </a:lnTo>
                  <a:lnTo>
                    <a:pt x="111" y="292"/>
                  </a:lnTo>
                  <a:lnTo>
                    <a:pt x="115" y="288"/>
                  </a:lnTo>
                  <a:lnTo>
                    <a:pt x="115" y="288"/>
                  </a:lnTo>
                  <a:lnTo>
                    <a:pt x="115" y="288"/>
                  </a:lnTo>
                  <a:lnTo>
                    <a:pt x="119" y="283"/>
                  </a:lnTo>
                  <a:lnTo>
                    <a:pt x="119" y="283"/>
                  </a:lnTo>
                  <a:lnTo>
                    <a:pt x="119" y="283"/>
                  </a:lnTo>
                  <a:lnTo>
                    <a:pt x="124" y="283"/>
                  </a:lnTo>
                  <a:lnTo>
                    <a:pt x="124" y="283"/>
                  </a:lnTo>
                  <a:lnTo>
                    <a:pt x="119" y="288"/>
                  </a:lnTo>
                  <a:lnTo>
                    <a:pt x="119" y="288"/>
                  </a:lnTo>
                  <a:lnTo>
                    <a:pt x="119" y="288"/>
                  </a:lnTo>
                  <a:lnTo>
                    <a:pt x="119" y="288"/>
                  </a:lnTo>
                  <a:lnTo>
                    <a:pt x="124" y="292"/>
                  </a:lnTo>
                  <a:lnTo>
                    <a:pt x="124" y="292"/>
                  </a:lnTo>
                  <a:lnTo>
                    <a:pt x="124" y="292"/>
                  </a:lnTo>
                  <a:lnTo>
                    <a:pt x="119" y="297"/>
                  </a:lnTo>
                  <a:lnTo>
                    <a:pt x="119" y="297"/>
                  </a:lnTo>
                  <a:lnTo>
                    <a:pt x="119" y="301"/>
                  </a:lnTo>
                  <a:lnTo>
                    <a:pt x="119" y="301"/>
                  </a:lnTo>
                  <a:lnTo>
                    <a:pt x="119" y="301"/>
                  </a:lnTo>
                  <a:lnTo>
                    <a:pt x="124" y="301"/>
                  </a:lnTo>
                  <a:lnTo>
                    <a:pt x="124" y="301"/>
                  </a:lnTo>
                  <a:lnTo>
                    <a:pt x="124" y="301"/>
                  </a:lnTo>
                  <a:lnTo>
                    <a:pt x="124" y="301"/>
                  </a:lnTo>
                  <a:lnTo>
                    <a:pt x="124" y="297"/>
                  </a:lnTo>
                  <a:lnTo>
                    <a:pt x="124" y="297"/>
                  </a:lnTo>
                  <a:lnTo>
                    <a:pt x="128" y="297"/>
                  </a:lnTo>
                  <a:lnTo>
                    <a:pt x="128" y="297"/>
                  </a:lnTo>
                  <a:close/>
                  <a:moveTo>
                    <a:pt x="124" y="252"/>
                  </a:moveTo>
                  <a:lnTo>
                    <a:pt x="124" y="252"/>
                  </a:lnTo>
                  <a:lnTo>
                    <a:pt x="124" y="252"/>
                  </a:lnTo>
                  <a:lnTo>
                    <a:pt x="124" y="257"/>
                  </a:lnTo>
                  <a:lnTo>
                    <a:pt x="124" y="257"/>
                  </a:lnTo>
                  <a:lnTo>
                    <a:pt x="124" y="257"/>
                  </a:lnTo>
                  <a:lnTo>
                    <a:pt x="124" y="257"/>
                  </a:lnTo>
                  <a:lnTo>
                    <a:pt x="124" y="257"/>
                  </a:lnTo>
                  <a:lnTo>
                    <a:pt x="124" y="261"/>
                  </a:lnTo>
                  <a:lnTo>
                    <a:pt x="124" y="261"/>
                  </a:lnTo>
                  <a:lnTo>
                    <a:pt x="128" y="261"/>
                  </a:lnTo>
                  <a:lnTo>
                    <a:pt x="128" y="257"/>
                  </a:lnTo>
                  <a:lnTo>
                    <a:pt x="128" y="257"/>
                  </a:lnTo>
                  <a:lnTo>
                    <a:pt x="128" y="257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24" y="252"/>
                  </a:lnTo>
                  <a:close/>
                  <a:moveTo>
                    <a:pt x="137" y="279"/>
                  </a:moveTo>
                  <a:lnTo>
                    <a:pt x="137" y="279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5"/>
                  </a:lnTo>
                  <a:lnTo>
                    <a:pt x="142" y="270"/>
                  </a:lnTo>
                  <a:lnTo>
                    <a:pt x="146" y="261"/>
                  </a:lnTo>
                  <a:lnTo>
                    <a:pt x="150" y="257"/>
                  </a:lnTo>
                  <a:lnTo>
                    <a:pt x="150" y="252"/>
                  </a:lnTo>
                  <a:lnTo>
                    <a:pt x="150" y="252"/>
                  </a:lnTo>
                  <a:lnTo>
                    <a:pt x="155" y="252"/>
                  </a:lnTo>
                  <a:lnTo>
                    <a:pt x="155" y="252"/>
                  </a:lnTo>
                  <a:lnTo>
                    <a:pt x="155" y="248"/>
                  </a:lnTo>
                  <a:lnTo>
                    <a:pt x="150" y="248"/>
                  </a:lnTo>
                  <a:lnTo>
                    <a:pt x="150" y="248"/>
                  </a:lnTo>
                  <a:lnTo>
                    <a:pt x="150" y="248"/>
                  </a:lnTo>
                  <a:lnTo>
                    <a:pt x="146" y="252"/>
                  </a:lnTo>
                  <a:lnTo>
                    <a:pt x="142" y="257"/>
                  </a:lnTo>
                  <a:lnTo>
                    <a:pt x="142" y="257"/>
                  </a:lnTo>
                  <a:lnTo>
                    <a:pt x="142" y="257"/>
                  </a:lnTo>
                  <a:lnTo>
                    <a:pt x="137" y="261"/>
                  </a:lnTo>
                  <a:lnTo>
                    <a:pt x="137" y="261"/>
                  </a:lnTo>
                  <a:lnTo>
                    <a:pt x="137" y="266"/>
                  </a:lnTo>
                  <a:lnTo>
                    <a:pt x="137" y="266"/>
                  </a:lnTo>
                  <a:lnTo>
                    <a:pt x="137" y="266"/>
                  </a:lnTo>
                  <a:lnTo>
                    <a:pt x="142" y="266"/>
                  </a:lnTo>
                  <a:lnTo>
                    <a:pt x="142" y="266"/>
                  </a:lnTo>
                  <a:lnTo>
                    <a:pt x="142" y="266"/>
                  </a:lnTo>
                  <a:lnTo>
                    <a:pt x="137" y="266"/>
                  </a:lnTo>
                  <a:lnTo>
                    <a:pt x="137" y="270"/>
                  </a:lnTo>
                  <a:lnTo>
                    <a:pt x="133" y="270"/>
                  </a:lnTo>
                  <a:lnTo>
                    <a:pt x="133" y="270"/>
                  </a:lnTo>
                  <a:lnTo>
                    <a:pt x="133" y="270"/>
                  </a:lnTo>
                  <a:lnTo>
                    <a:pt x="133" y="270"/>
                  </a:lnTo>
                  <a:lnTo>
                    <a:pt x="133" y="275"/>
                  </a:lnTo>
                  <a:lnTo>
                    <a:pt x="133" y="279"/>
                  </a:lnTo>
                  <a:lnTo>
                    <a:pt x="133" y="279"/>
                  </a:lnTo>
                  <a:lnTo>
                    <a:pt x="137" y="283"/>
                  </a:lnTo>
                  <a:lnTo>
                    <a:pt x="137" y="283"/>
                  </a:lnTo>
                  <a:lnTo>
                    <a:pt x="137" y="279"/>
                  </a:lnTo>
                  <a:close/>
                  <a:moveTo>
                    <a:pt x="155" y="244"/>
                  </a:moveTo>
                  <a:lnTo>
                    <a:pt x="155" y="244"/>
                  </a:lnTo>
                  <a:lnTo>
                    <a:pt x="150" y="244"/>
                  </a:lnTo>
                  <a:lnTo>
                    <a:pt x="150" y="248"/>
                  </a:lnTo>
                  <a:lnTo>
                    <a:pt x="150" y="248"/>
                  </a:lnTo>
                  <a:lnTo>
                    <a:pt x="150" y="248"/>
                  </a:lnTo>
                  <a:lnTo>
                    <a:pt x="150" y="248"/>
                  </a:lnTo>
                  <a:lnTo>
                    <a:pt x="155" y="244"/>
                  </a:lnTo>
                  <a:lnTo>
                    <a:pt x="155" y="244"/>
                  </a:lnTo>
                  <a:close/>
                  <a:moveTo>
                    <a:pt x="155" y="244"/>
                  </a:moveTo>
                  <a:lnTo>
                    <a:pt x="155" y="244"/>
                  </a:lnTo>
                  <a:lnTo>
                    <a:pt x="155" y="244"/>
                  </a:lnTo>
                  <a:lnTo>
                    <a:pt x="155" y="244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44"/>
                  </a:lnTo>
                  <a:close/>
                  <a:moveTo>
                    <a:pt x="159" y="235"/>
                  </a:moveTo>
                  <a:lnTo>
                    <a:pt x="159" y="230"/>
                  </a:lnTo>
                  <a:lnTo>
                    <a:pt x="159" y="230"/>
                  </a:lnTo>
                  <a:lnTo>
                    <a:pt x="155" y="230"/>
                  </a:lnTo>
                  <a:lnTo>
                    <a:pt x="155" y="230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5" y="235"/>
                  </a:lnTo>
                  <a:lnTo>
                    <a:pt x="159" y="235"/>
                  </a:lnTo>
                  <a:lnTo>
                    <a:pt x="159" y="235"/>
                  </a:lnTo>
                  <a:lnTo>
                    <a:pt x="159" y="235"/>
                  </a:lnTo>
                  <a:lnTo>
                    <a:pt x="159" y="235"/>
                  </a:lnTo>
                  <a:close/>
                  <a:moveTo>
                    <a:pt x="159" y="226"/>
                  </a:moveTo>
                  <a:lnTo>
                    <a:pt x="164" y="226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59" y="221"/>
                  </a:lnTo>
                  <a:lnTo>
                    <a:pt x="159" y="221"/>
                  </a:lnTo>
                  <a:lnTo>
                    <a:pt x="159" y="226"/>
                  </a:lnTo>
                  <a:lnTo>
                    <a:pt x="159" y="226"/>
                  </a:lnTo>
                  <a:lnTo>
                    <a:pt x="159" y="226"/>
                  </a:lnTo>
                  <a:lnTo>
                    <a:pt x="159" y="226"/>
                  </a:lnTo>
                  <a:lnTo>
                    <a:pt x="159" y="226"/>
                  </a:lnTo>
                  <a:close/>
                  <a:moveTo>
                    <a:pt x="124" y="217"/>
                  </a:moveTo>
                  <a:lnTo>
                    <a:pt x="128" y="217"/>
                  </a:lnTo>
                  <a:lnTo>
                    <a:pt x="128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7"/>
                  </a:lnTo>
                  <a:close/>
                  <a:moveTo>
                    <a:pt x="93" y="217"/>
                  </a:moveTo>
                  <a:lnTo>
                    <a:pt x="93" y="217"/>
                  </a:lnTo>
                  <a:lnTo>
                    <a:pt x="93" y="217"/>
                  </a:lnTo>
                  <a:lnTo>
                    <a:pt x="93" y="213"/>
                  </a:lnTo>
                  <a:lnTo>
                    <a:pt x="97" y="213"/>
                  </a:lnTo>
                  <a:lnTo>
                    <a:pt x="97" y="213"/>
                  </a:lnTo>
                  <a:lnTo>
                    <a:pt x="97" y="213"/>
                  </a:lnTo>
                  <a:lnTo>
                    <a:pt x="97" y="213"/>
                  </a:lnTo>
                  <a:lnTo>
                    <a:pt x="93" y="213"/>
                  </a:lnTo>
                  <a:lnTo>
                    <a:pt x="93" y="213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84" y="213"/>
                  </a:lnTo>
                  <a:lnTo>
                    <a:pt x="84" y="217"/>
                  </a:lnTo>
                  <a:lnTo>
                    <a:pt x="84" y="217"/>
                  </a:lnTo>
                  <a:lnTo>
                    <a:pt x="84" y="217"/>
                  </a:lnTo>
                  <a:lnTo>
                    <a:pt x="84" y="217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9" y="217"/>
                  </a:lnTo>
                  <a:lnTo>
                    <a:pt x="93" y="217"/>
                  </a:lnTo>
                  <a:lnTo>
                    <a:pt x="93" y="217"/>
                  </a:lnTo>
                  <a:close/>
                  <a:moveTo>
                    <a:pt x="133" y="204"/>
                  </a:moveTo>
                  <a:lnTo>
                    <a:pt x="133" y="204"/>
                  </a:lnTo>
                  <a:lnTo>
                    <a:pt x="133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4" y="204"/>
                  </a:lnTo>
                  <a:lnTo>
                    <a:pt x="124" y="204"/>
                  </a:lnTo>
                  <a:lnTo>
                    <a:pt x="124" y="204"/>
                  </a:lnTo>
                  <a:lnTo>
                    <a:pt x="124" y="204"/>
                  </a:lnTo>
                  <a:lnTo>
                    <a:pt x="124" y="204"/>
                  </a:lnTo>
                  <a:lnTo>
                    <a:pt x="124" y="204"/>
                  </a:lnTo>
                  <a:lnTo>
                    <a:pt x="124" y="204"/>
                  </a:lnTo>
                  <a:lnTo>
                    <a:pt x="119" y="204"/>
                  </a:lnTo>
                  <a:lnTo>
                    <a:pt x="119" y="204"/>
                  </a:lnTo>
                  <a:lnTo>
                    <a:pt x="119" y="208"/>
                  </a:lnTo>
                  <a:lnTo>
                    <a:pt x="119" y="208"/>
                  </a:lnTo>
                  <a:lnTo>
                    <a:pt x="119" y="208"/>
                  </a:lnTo>
                  <a:lnTo>
                    <a:pt x="119" y="208"/>
                  </a:lnTo>
                  <a:lnTo>
                    <a:pt x="119" y="213"/>
                  </a:lnTo>
                  <a:lnTo>
                    <a:pt x="119" y="213"/>
                  </a:lnTo>
                  <a:lnTo>
                    <a:pt x="119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33" y="217"/>
                  </a:lnTo>
                  <a:lnTo>
                    <a:pt x="133" y="217"/>
                  </a:lnTo>
                  <a:lnTo>
                    <a:pt x="133" y="217"/>
                  </a:lnTo>
                  <a:lnTo>
                    <a:pt x="137" y="217"/>
                  </a:lnTo>
                  <a:lnTo>
                    <a:pt x="137" y="217"/>
                  </a:lnTo>
                  <a:lnTo>
                    <a:pt x="137" y="217"/>
                  </a:lnTo>
                  <a:lnTo>
                    <a:pt x="137" y="217"/>
                  </a:lnTo>
                  <a:lnTo>
                    <a:pt x="137" y="217"/>
                  </a:lnTo>
                  <a:lnTo>
                    <a:pt x="137" y="217"/>
                  </a:lnTo>
                  <a:lnTo>
                    <a:pt x="133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6"/>
                  </a:lnTo>
                  <a:lnTo>
                    <a:pt x="128" y="226"/>
                  </a:lnTo>
                  <a:lnTo>
                    <a:pt x="128" y="226"/>
                  </a:lnTo>
                  <a:lnTo>
                    <a:pt x="128" y="226"/>
                  </a:lnTo>
                  <a:lnTo>
                    <a:pt x="124" y="226"/>
                  </a:lnTo>
                  <a:lnTo>
                    <a:pt x="124" y="226"/>
                  </a:lnTo>
                  <a:lnTo>
                    <a:pt x="124" y="226"/>
                  </a:lnTo>
                  <a:lnTo>
                    <a:pt x="128" y="230"/>
                  </a:lnTo>
                  <a:lnTo>
                    <a:pt x="128" y="230"/>
                  </a:lnTo>
                  <a:lnTo>
                    <a:pt x="133" y="226"/>
                  </a:lnTo>
                  <a:lnTo>
                    <a:pt x="133" y="226"/>
                  </a:lnTo>
                  <a:lnTo>
                    <a:pt x="137" y="226"/>
                  </a:lnTo>
                  <a:lnTo>
                    <a:pt x="137" y="226"/>
                  </a:lnTo>
                  <a:lnTo>
                    <a:pt x="133" y="226"/>
                  </a:lnTo>
                  <a:lnTo>
                    <a:pt x="133" y="230"/>
                  </a:lnTo>
                  <a:lnTo>
                    <a:pt x="128" y="230"/>
                  </a:lnTo>
                  <a:lnTo>
                    <a:pt x="128" y="230"/>
                  </a:lnTo>
                  <a:lnTo>
                    <a:pt x="128" y="230"/>
                  </a:lnTo>
                  <a:lnTo>
                    <a:pt x="124" y="230"/>
                  </a:lnTo>
                  <a:lnTo>
                    <a:pt x="124" y="230"/>
                  </a:lnTo>
                  <a:lnTo>
                    <a:pt x="124" y="230"/>
                  </a:lnTo>
                  <a:lnTo>
                    <a:pt x="124" y="230"/>
                  </a:lnTo>
                  <a:lnTo>
                    <a:pt x="124" y="230"/>
                  </a:lnTo>
                  <a:lnTo>
                    <a:pt x="124" y="230"/>
                  </a:lnTo>
                  <a:lnTo>
                    <a:pt x="124" y="230"/>
                  </a:lnTo>
                  <a:lnTo>
                    <a:pt x="124" y="235"/>
                  </a:lnTo>
                  <a:lnTo>
                    <a:pt x="124" y="230"/>
                  </a:lnTo>
                  <a:lnTo>
                    <a:pt x="124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5" y="230"/>
                  </a:lnTo>
                  <a:lnTo>
                    <a:pt x="119" y="235"/>
                  </a:lnTo>
                  <a:lnTo>
                    <a:pt x="119" y="235"/>
                  </a:lnTo>
                  <a:lnTo>
                    <a:pt x="119" y="235"/>
                  </a:lnTo>
                  <a:lnTo>
                    <a:pt x="119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4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3" y="235"/>
                  </a:lnTo>
                  <a:lnTo>
                    <a:pt x="137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6" y="230"/>
                  </a:lnTo>
                  <a:lnTo>
                    <a:pt x="146" y="230"/>
                  </a:lnTo>
                  <a:lnTo>
                    <a:pt x="146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6" y="235"/>
                  </a:lnTo>
                  <a:lnTo>
                    <a:pt x="146" y="230"/>
                  </a:lnTo>
                  <a:lnTo>
                    <a:pt x="150" y="230"/>
                  </a:lnTo>
                  <a:lnTo>
                    <a:pt x="150" y="226"/>
                  </a:lnTo>
                  <a:lnTo>
                    <a:pt x="150" y="226"/>
                  </a:lnTo>
                  <a:lnTo>
                    <a:pt x="150" y="226"/>
                  </a:lnTo>
                  <a:lnTo>
                    <a:pt x="150" y="226"/>
                  </a:lnTo>
                  <a:lnTo>
                    <a:pt x="150" y="226"/>
                  </a:lnTo>
                  <a:lnTo>
                    <a:pt x="146" y="226"/>
                  </a:lnTo>
                  <a:lnTo>
                    <a:pt x="146" y="226"/>
                  </a:lnTo>
                  <a:lnTo>
                    <a:pt x="150" y="226"/>
                  </a:lnTo>
                  <a:lnTo>
                    <a:pt x="150" y="226"/>
                  </a:lnTo>
                  <a:lnTo>
                    <a:pt x="150" y="221"/>
                  </a:lnTo>
                  <a:lnTo>
                    <a:pt x="150" y="221"/>
                  </a:lnTo>
                  <a:lnTo>
                    <a:pt x="150" y="221"/>
                  </a:lnTo>
                  <a:lnTo>
                    <a:pt x="150" y="221"/>
                  </a:lnTo>
                  <a:lnTo>
                    <a:pt x="150" y="226"/>
                  </a:lnTo>
                  <a:lnTo>
                    <a:pt x="150" y="226"/>
                  </a:lnTo>
                  <a:lnTo>
                    <a:pt x="150" y="226"/>
                  </a:lnTo>
                  <a:lnTo>
                    <a:pt x="155" y="226"/>
                  </a:lnTo>
                  <a:lnTo>
                    <a:pt x="155" y="226"/>
                  </a:lnTo>
                  <a:lnTo>
                    <a:pt x="155" y="221"/>
                  </a:lnTo>
                  <a:lnTo>
                    <a:pt x="155" y="221"/>
                  </a:lnTo>
                  <a:lnTo>
                    <a:pt x="155" y="221"/>
                  </a:lnTo>
                  <a:lnTo>
                    <a:pt x="155" y="221"/>
                  </a:lnTo>
                  <a:lnTo>
                    <a:pt x="155" y="221"/>
                  </a:lnTo>
                  <a:lnTo>
                    <a:pt x="155" y="221"/>
                  </a:lnTo>
                  <a:lnTo>
                    <a:pt x="155" y="221"/>
                  </a:lnTo>
                  <a:lnTo>
                    <a:pt x="155" y="221"/>
                  </a:lnTo>
                  <a:lnTo>
                    <a:pt x="155" y="221"/>
                  </a:lnTo>
                  <a:lnTo>
                    <a:pt x="155" y="221"/>
                  </a:lnTo>
                  <a:lnTo>
                    <a:pt x="155" y="217"/>
                  </a:lnTo>
                  <a:lnTo>
                    <a:pt x="150" y="217"/>
                  </a:lnTo>
                  <a:lnTo>
                    <a:pt x="150" y="217"/>
                  </a:lnTo>
                  <a:lnTo>
                    <a:pt x="150" y="217"/>
                  </a:lnTo>
                  <a:lnTo>
                    <a:pt x="150" y="217"/>
                  </a:lnTo>
                  <a:lnTo>
                    <a:pt x="150" y="217"/>
                  </a:lnTo>
                  <a:lnTo>
                    <a:pt x="150" y="217"/>
                  </a:lnTo>
                  <a:lnTo>
                    <a:pt x="150" y="217"/>
                  </a:lnTo>
                  <a:lnTo>
                    <a:pt x="146" y="213"/>
                  </a:lnTo>
                  <a:lnTo>
                    <a:pt x="146" y="213"/>
                  </a:lnTo>
                  <a:lnTo>
                    <a:pt x="146" y="213"/>
                  </a:lnTo>
                  <a:lnTo>
                    <a:pt x="146" y="213"/>
                  </a:lnTo>
                  <a:lnTo>
                    <a:pt x="146" y="213"/>
                  </a:lnTo>
                  <a:lnTo>
                    <a:pt x="146" y="213"/>
                  </a:lnTo>
                  <a:lnTo>
                    <a:pt x="146" y="213"/>
                  </a:lnTo>
                  <a:lnTo>
                    <a:pt x="146" y="213"/>
                  </a:lnTo>
                  <a:lnTo>
                    <a:pt x="137" y="213"/>
                  </a:lnTo>
                  <a:lnTo>
                    <a:pt x="137" y="213"/>
                  </a:lnTo>
                  <a:lnTo>
                    <a:pt x="137" y="213"/>
                  </a:lnTo>
                  <a:lnTo>
                    <a:pt x="137" y="213"/>
                  </a:lnTo>
                  <a:lnTo>
                    <a:pt x="137" y="213"/>
                  </a:lnTo>
                  <a:lnTo>
                    <a:pt x="137" y="204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3" y="204"/>
                  </a:lnTo>
                  <a:close/>
                  <a:moveTo>
                    <a:pt x="102" y="208"/>
                  </a:moveTo>
                  <a:lnTo>
                    <a:pt x="97" y="208"/>
                  </a:lnTo>
                  <a:lnTo>
                    <a:pt x="102" y="208"/>
                  </a:lnTo>
                  <a:lnTo>
                    <a:pt x="102" y="208"/>
                  </a:lnTo>
                  <a:lnTo>
                    <a:pt x="102" y="208"/>
                  </a:lnTo>
                  <a:lnTo>
                    <a:pt x="102" y="208"/>
                  </a:lnTo>
                  <a:lnTo>
                    <a:pt x="102" y="208"/>
                  </a:lnTo>
                  <a:lnTo>
                    <a:pt x="102" y="208"/>
                  </a:lnTo>
                  <a:lnTo>
                    <a:pt x="102" y="208"/>
                  </a:lnTo>
                  <a:lnTo>
                    <a:pt x="106" y="208"/>
                  </a:lnTo>
                  <a:lnTo>
                    <a:pt x="106" y="204"/>
                  </a:lnTo>
                  <a:lnTo>
                    <a:pt x="111" y="204"/>
                  </a:lnTo>
                  <a:lnTo>
                    <a:pt x="111" y="204"/>
                  </a:lnTo>
                  <a:lnTo>
                    <a:pt x="111" y="204"/>
                  </a:lnTo>
                  <a:lnTo>
                    <a:pt x="111" y="204"/>
                  </a:lnTo>
                  <a:lnTo>
                    <a:pt x="111" y="204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11" y="195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06" y="199"/>
                  </a:lnTo>
                  <a:lnTo>
                    <a:pt x="106" y="199"/>
                  </a:lnTo>
                  <a:lnTo>
                    <a:pt x="106" y="199"/>
                  </a:lnTo>
                  <a:lnTo>
                    <a:pt x="106" y="199"/>
                  </a:lnTo>
                  <a:lnTo>
                    <a:pt x="102" y="204"/>
                  </a:lnTo>
                  <a:lnTo>
                    <a:pt x="102" y="208"/>
                  </a:lnTo>
                  <a:close/>
                  <a:moveTo>
                    <a:pt x="58" y="173"/>
                  </a:moveTo>
                  <a:lnTo>
                    <a:pt x="58" y="173"/>
                  </a:lnTo>
                  <a:lnTo>
                    <a:pt x="62" y="173"/>
                  </a:lnTo>
                  <a:lnTo>
                    <a:pt x="62" y="173"/>
                  </a:lnTo>
                  <a:lnTo>
                    <a:pt x="62" y="173"/>
                  </a:lnTo>
                  <a:lnTo>
                    <a:pt x="62" y="173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4"/>
                  </a:lnTo>
                  <a:lnTo>
                    <a:pt x="62" y="164"/>
                  </a:lnTo>
                  <a:lnTo>
                    <a:pt x="62" y="164"/>
                  </a:lnTo>
                  <a:lnTo>
                    <a:pt x="62" y="164"/>
                  </a:lnTo>
                  <a:lnTo>
                    <a:pt x="62" y="164"/>
                  </a:lnTo>
                  <a:lnTo>
                    <a:pt x="62" y="164"/>
                  </a:lnTo>
                  <a:lnTo>
                    <a:pt x="62" y="164"/>
                  </a:lnTo>
                  <a:lnTo>
                    <a:pt x="62" y="164"/>
                  </a:lnTo>
                  <a:lnTo>
                    <a:pt x="62" y="159"/>
                  </a:lnTo>
                  <a:lnTo>
                    <a:pt x="62" y="159"/>
                  </a:lnTo>
                  <a:lnTo>
                    <a:pt x="62" y="159"/>
                  </a:lnTo>
                  <a:lnTo>
                    <a:pt x="62" y="164"/>
                  </a:lnTo>
                  <a:lnTo>
                    <a:pt x="58" y="164"/>
                  </a:lnTo>
                  <a:lnTo>
                    <a:pt x="58" y="164"/>
                  </a:lnTo>
                  <a:lnTo>
                    <a:pt x="58" y="168"/>
                  </a:lnTo>
                  <a:lnTo>
                    <a:pt x="58" y="168"/>
                  </a:lnTo>
                  <a:lnTo>
                    <a:pt x="58" y="168"/>
                  </a:lnTo>
                  <a:lnTo>
                    <a:pt x="58" y="168"/>
                  </a:lnTo>
                  <a:lnTo>
                    <a:pt x="58" y="168"/>
                  </a:lnTo>
                  <a:lnTo>
                    <a:pt x="53" y="168"/>
                  </a:lnTo>
                  <a:lnTo>
                    <a:pt x="53" y="173"/>
                  </a:lnTo>
                  <a:lnTo>
                    <a:pt x="53" y="173"/>
                  </a:lnTo>
                  <a:lnTo>
                    <a:pt x="53" y="173"/>
                  </a:lnTo>
                  <a:lnTo>
                    <a:pt x="58" y="173"/>
                  </a:lnTo>
                  <a:close/>
                  <a:moveTo>
                    <a:pt x="124" y="164"/>
                  </a:moveTo>
                  <a:lnTo>
                    <a:pt x="124" y="164"/>
                  </a:lnTo>
                  <a:lnTo>
                    <a:pt x="119" y="159"/>
                  </a:lnTo>
                  <a:lnTo>
                    <a:pt x="119" y="164"/>
                  </a:lnTo>
                  <a:lnTo>
                    <a:pt x="115" y="164"/>
                  </a:lnTo>
                  <a:lnTo>
                    <a:pt x="111" y="168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9" y="173"/>
                  </a:lnTo>
                  <a:lnTo>
                    <a:pt x="119" y="173"/>
                  </a:lnTo>
                  <a:lnTo>
                    <a:pt x="119" y="173"/>
                  </a:lnTo>
                  <a:lnTo>
                    <a:pt x="124" y="173"/>
                  </a:lnTo>
                  <a:lnTo>
                    <a:pt x="124" y="168"/>
                  </a:lnTo>
                  <a:lnTo>
                    <a:pt x="124" y="168"/>
                  </a:lnTo>
                  <a:lnTo>
                    <a:pt x="124" y="168"/>
                  </a:lnTo>
                  <a:lnTo>
                    <a:pt x="124" y="164"/>
                  </a:lnTo>
                  <a:lnTo>
                    <a:pt x="124" y="164"/>
                  </a:lnTo>
                  <a:close/>
                  <a:moveTo>
                    <a:pt x="106" y="164"/>
                  </a:moveTo>
                  <a:lnTo>
                    <a:pt x="111" y="164"/>
                  </a:lnTo>
                  <a:lnTo>
                    <a:pt x="111" y="159"/>
                  </a:lnTo>
                  <a:lnTo>
                    <a:pt x="111" y="159"/>
                  </a:lnTo>
                  <a:lnTo>
                    <a:pt x="111" y="159"/>
                  </a:lnTo>
                  <a:lnTo>
                    <a:pt x="106" y="159"/>
                  </a:lnTo>
                  <a:lnTo>
                    <a:pt x="106" y="159"/>
                  </a:lnTo>
                  <a:lnTo>
                    <a:pt x="106" y="159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close/>
                  <a:moveTo>
                    <a:pt x="137" y="137"/>
                  </a:move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42"/>
                  </a:lnTo>
                  <a:lnTo>
                    <a:pt x="142" y="137"/>
                  </a:lnTo>
                  <a:lnTo>
                    <a:pt x="142" y="137"/>
                  </a:lnTo>
                  <a:lnTo>
                    <a:pt x="137" y="137"/>
                  </a:lnTo>
                  <a:lnTo>
                    <a:pt x="137" y="137"/>
                  </a:lnTo>
                  <a:close/>
                  <a:moveTo>
                    <a:pt x="71" y="146"/>
                  </a:moveTo>
                  <a:lnTo>
                    <a:pt x="71" y="146"/>
                  </a:lnTo>
                  <a:lnTo>
                    <a:pt x="71" y="142"/>
                  </a:lnTo>
                  <a:lnTo>
                    <a:pt x="71" y="142"/>
                  </a:lnTo>
                  <a:lnTo>
                    <a:pt x="71" y="142"/>
                  </a:lnTo>
                  <a:lnTo>
                    <a:pt x="71" y="142"/>
                  </a:lnTo>
                  <a:lnTo>
                    <a:pt x="71" y="137"/>
                  </a:lnTo>
                  <a:lnTo>
                    <a:pt x="75" y="137"/>
                  </a:lnTo>
                  <a:lnTo>
                    <a:pt x="75" y="137"/>
                  </a:lnTo>
                  <a:lnTo>
                    <a:pt x="71" y="137"/>
                  </a:lnTo>
                  <a:lnTo>
                    <a:pt x="71" y="137"/>
                  </a:lnTo>
                  <a:lnTo>
                    <a:pt x="71" y="137"/>
                  </a:lnTo>
                  <a:lnTo>
                    <a:pt x="71" y="137"/>
                  </a:lnTo>
                  <a:lnTo>
                    <a:pt x="71" y="137"/>
                  </a:lnTo>
                  <a:lnTo>
                    <a:pt x="66" y="137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2" y="133"/>
                  </a:lnTo>
                  <a:lnTo>
                    <a:pt x="62" y="133"/>
                  </a:lnTo>
                  <a:lnTo>
                    <a:pt x="62" y="133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6" y="128"/>
                  </a:lnTo>
                  <a:lnTo>
                    <a:pt x="66" y="128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71" y="133"/>
                  </a:lnTo>
                  <a:lnTo>
                    <a:pt x="71" y="133"/>
                  </a:lnTo>
                  <a:lnTo>
                    <a:pt x="71" y="133"/>
                  </a:lnTo>
                  <a:lnTo>
                    <a:pt x="71" y="133"/>
                  </a:lnTo>
                  <a:lnTo>
                    <a:pt x="71" y="133"/>
                  </a:lnTo>
                  <a:lnTo>
                    <a:pt x="71" y="133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71" y="133"/>
                  </a:lnTo>
                  <a:lnTo>
                    <a:pt x="71" y="133"/>
                  </a:lnTo>
                  <a:lnTo>
                    <a:pt x="71" y="133"/>
                  </a:lnTo>
                  <a:lnTo>
                    <a:pt x="66" y="128"/>
                  </a:lnTo>
                  <a:lnTo>
                    <a:pt x="66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2" y="133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62" y="142"/>
                  </a:lnTo>
                  <a:lnTo>
                    <a:pt x="62" y="142"/>
                  </a:lnTo>
                  <a:lnTo>
                    <a:pt x="62" y="142"/>
                  </a:lnTo>
                  <a:lnTo>
                    <a:pt x="62" y="142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2" y="151"/>
                  </a:lnTo>
                  <a:lnTo>
                    <a:pt x="62" y="155"/>
                  </a:lnTo>
                  <a:lnTo>
                    <a:pt x="62" y="155"/>
                  </a:lnTo>
                  <a:lnTo>
                    <a:pt x="66" y="159"/>
                  </a:lnTo>
                  <a:lnTo>
                    <a:pt x="66" y="155"/>
                  </a:lnTo>
                  <a:lnTo>
                    <a:pt x="71" y="159"/>
                  </a:lnTo>
                  <a:lnTo>
                    <a:pt x="71" y="155"/>
                  </a:lnTo>
                  <a:lnTo>
                    <a:pt x="71" y="155"/>
                  </a:lnTo>
                  <a:lnTo>
                    <a:pt x="71" y="155"/>
                  </a:lnTo>
                  <a:lnTo>
                    <a:pt x="71" y="155"/>
                  </a:lnTo>
                  <a:lnTo>
                    <a:pt x="71" y="155"/>
                  </a:lnTo>
                  <a:lnTo>
                    <a:pt x="71" y="155"/>
                  </a:lnTo>
                  <a:lnTo>
                    <a:pt x="66" y="151"/>
                  </a:lnTo>
                  <a:lnTo>
                    <a:pt x="66" y="155"/>
                  </a:lnTo>
                  <a:lnTo>
                    <a:pt x="66" y="155"/>
                  </a:lnTo>
                  <a:lnTo>
                    <a:pt x="66" y="151"/>
                  </a:lnTo>
                  <a:lnTo>
                    <a:pt x="66" y="151"/>
                  </a:lnTo>
                  <a:lnTo>
                    <a:pt x="71" y="151"/>
                  </a:lnTo>
                  <a:lnTo>
                    <a:pt x="71" y="155"/>
                  </a:lnTo>
                  <a:lnTo>
                    <a:pt x="71" y="151"/>
                  </a:lnTo>
                  <a:lnTo>
                    <a:pt x="71" y="151"/>
                  </a:lnTo>
                  <a:lnTo>
                    <a:pt x="71" y="146"/>
                  </a:lnTo>
                  <a:lnTo>
                    <a:pt x="71" y="146"/>
                  </a:lnTo>
                  <a:lnTo>
                    <a:pt x="71" y="146"/>
                  </a:lnTo>
                  <a:lnTo>
                    <a:pt x="66" y="146"/>
                  </a:lnTo>
                  <a:lnTo>
                    <a:pt x="66" y="142"/>
                  </a:lnTo>
                  <a:lnTo>
                    <a:pt x="71" y="146"/>
                  </a:lnTo>
                  <a:close/>
                  <a:moveTo>
                    <a:pt x="71" y="120"/>
                  </a:moveTo>
                  <a:lnTo>
                    <a:pt x="71" y="120"/>
                  </a:lnTo>
                  <a:lnTo>
                    <a:pt x="71" y="120"/>
                  </a:lnTo>
                  <a:lnTo>
                    <a:pt x="71" y="120"/>
                  </a:lnTo>
                  <a:lnTo>
                    <a:pt x="71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62" y="120"/>
                  </a:lnTo>
                  <a:lnTo>
                    <a:pt x="62" y="124"/>
                  </a:lnTo>
                  <a:lnTo>
                    <a:pt x="62" y="124"/>
                  </a:lnTo>
                  <a:lnTo>
                    <a:pt x="62" y="124"/>
                  </a:lnTo>
                  <a:lnTo>
                    <a:pt x="66" y="128"/>
                  </a:lnTo>
                  <a:lnTo>
                    <a:pt x="66" y="128"/>
                  </a:lnTo>
                  <a:lnTo>
                    <a:pt x="71" y="128"/>
                  </a:lnTo>
                  <a:lnTo>
                    <a:pt x="75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5" y="124"/>
                  </a:lnTo>
                  <a:lnTo>
                    <a:pt x="71" y="120"/>
                  </a:lnTo>
                  <a:lnTo>
                    <a:pt x="71" y="120"/>
                  </a:lnTo>
                  <a:lnTo>
                    <a:pt x="71" y="120"/>
                  </a:lnTo>
                  <a:lnTo>
                    <a:pt x="71" y="120"/>
                  </a:lnTo>
                  <a:lnTo>
                    <a:pt x="71" y="120"/>
                  </a:lnTo>
                  <a:lnTo>
                    <a:pt x="71" y="120"/>
                  </a:lnTo>
                  <a:lnTo>
                    <a:pt x="71" y="120"/>
                  </a:lnTo>
                  <a:lnTo>
                    <a:pt x="71" y="120"/>
                  </a:lnTo>
                  <a:close/>
                  <a:moveTo>
                    <a:pt x="133" y="133"/>
                  </a:moveTo>
                  <a:lnTo>
                    <a:pt x="133" y="133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3" y="137"/>
                  </a:lnTo>
                  <a:lnTo>
                    <a:pt x="133" y="137"/>
                  </a:lnTo>
                  <a:lnTo>
                    <a:pt x="137" y="133"/>
                  </a:lnTo>
                  <a:lnTo>
                    <a:pt x="137" y="133"/>
                  </a:lnTo>
                  <a:lnTo>
                    <a:pt x="137" y="133"/>
                  </a:lnTo>
                  <a:lnTo>
                    <a:pt x="137" y="133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7" y="124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3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4"/>
                  </a:lnTo>
                  <a:lnTo>
                    <a:pt x="133" y="124"/>
                  </a:lnTo>
                  <a:lnTo>
                    <a:pt x="133" y="124"/>
                  </a:lnTo>
                  <a:lnTo>
                    <a:pt x="133" y="124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3" y="133"/>
                  </a:lnTo>
                  <a:close/>
                  <a:moveTo>
                    <a:pt x="137" y="115"/>
                  </a:moveTo>
                  <a:lnTo>
                    <a:pt x="137" y="115"/>
                  </a:lnTo>
                  <a:lnTo>
                    <a:pt x="137" y="111"/>
                  </a:lnTo>
                  <a:lnTo>
                    <a:pt x="137" y="111"/>
                  </a:lnTo>
                  <a:lnTo>
                    <a:pt x="137" y="111"/>
                  </a:lnTo>
                  <a:lnTo>
                    <a:pt x="137" y="111"/>
                  </a:lnTo>
                  <a:lnTo>
                    <a:pt x="137" y="111"/>
                  </a:lnTo>
                  <a:lnTo>
                    <a:pt x="137" y="111"/>
                  </a:lnTo>
                  <a:lnTo>
                    <a:pt x="137" y="111"/>
                  </a:lnTo>
                  <a:lnTo>
                    <a:pt x="137" y="111"/>
                  </a:lnTo>
                  <a:lnTo>
                    <a:pt x="137" y="115"/>
                  </a:lnTo>
                  <a:lnTo>
                    <a:pt x="137" y="115"/>
                  </a:lnTo>
                  <a:lnTo>
                    <a:pt x="137" y="115"/>
                  </a:lnTo>
                  <a:lnTo>
                    <a:pt x="137" y="115"/>
                  </a:lnTo>
                  <a:close/>
                  <a:moveTo>
                    <a:pt x="58" y="111"/>
                  </a:moveTo>
                  <a:lnTo>
                    <a:pt x="58" y="111"/>
                  </a:lnTo>
                  <a:lnTo>
                    <a:pt x="58" y="111"/>
                  </a:lnTo>
                  <a:lnTo>
                    <a:pt x="62" y="111"/>
                  </a:lnTo>
                  <a:lnTo>
                    <a:pt x="62" y="111"/>
                  </a:lnTo>
                  <a:lnTo>
                    <a:pt x="62" y="111"/>
                  </a:lnTo>
                  <a:lnTo>
                    <a:pt x="62" y="111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20"/>
                  </a:lnTo>
                  <a:lnTo>
                    <a:pt x="71" y="120"/>
                  </a:lnTo>
                  <a:lnTo>
                    <a:pt x="71" y="120"/>
                  </a:lnTo>
                  <a:lnTo>
                    <a:pt x="71" y="120"/>
                  </a:lnTo>
                  <a:lnTo>
                    <a:pt x="71" y="120"/>
                  </a:lnTo>
                  <a:lnTo>
                    <a:pt x="75" y="115"/>
                  </a:lnTo>
                  <a:lnTo>
                    <a:pt x="75" y="120"/>
                  </a:lnTo>
                  <a:lnTo>
                    <a:pt x="75" y="115"/>
                  </a:lnTo>
                  <a:lnTo>
                    <a:pt x="75" y="115"/>
                  </a:lnTo>
                  <a:lnTo>
                    <a:pt x="75" y="115"/>
                  </a:lnTo>
                  <a:lnTo>
                    <a:pt x="75" y="115"/>
                  </a:lnTo>
                  <a:lnTo>
                    <a:pt x="75" y="115"/>
                  </a:lnTo>
                  <a:lnTo>
                    <a:pt x="75" y="115"/>
                  </a:lnTo>
                  <a:lnTo>
                    <a:pt x="71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5" y="111"/>
                  </a:lnTo>
                  <a:lnTo>
                    <a:pt x="75" y="111"/>
                  </a:lnTo>
                  <a:lnTo>
                    <a:pt x="80" y="111"/>
                  </a:lnTo>
                  <a:lnTo>
                    <a:pt x="75" y="111"/>
                  </a:lnTo>
                  <a:lnTo>
                    <a:pt x="75" y="111"/>
                  </a:lnTo>
                  <a:lnTo>
                    <a:pt x="75" y="111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75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0" y="102"/>
                  </a:lnTo>
                  <a:lnTo>
                    <a:pt x="80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2" y="106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58" y="102"/>
                  </a:lnTo>
                  <a:lnTo>
                    <a:pt x="58" y="106"/>
                  </a:lnTo>
                  <a:lnTo>
                    <a:pt x="58" y="106"/>
                  </a:lnTo>
                  <a:lnTo>
                    <a:pt x="58" y="106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8" y="111"/>
                  </a:lnTo>
                  <a:lnTo>
                    <a:pt x="58" y="111"/>
                  </a:lnTo>
                  <a:close/>
                  <a:moveTo>
                    <a:pt x="128" y="111"/>
                  </a:moveTo>
                  <a:lnTo>
                    <a:pt x="128" y="106"/>
                  </a:lnTo>
                  <a:lnTo>
                    <a:pt x="128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2"/>
                  </a:lnTo>
                  <a:lnTo>
                    <a:pt x="124" y="102"/>
                  </a:lnTo>
                  <a:lnTo>
                    <a:pt x="119" y="102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102"/>
                  </a:lnTo>
                  <a:lnTo>
                    <a:pt x="119" y="102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5" y="106"/>
                  </a:lnTo>
                  <a:lnTo>
                    <a:pt x="115" y="106"/>
                  </a:lnTo>
                  <a:lnTo>
                    <a:pt x="115" y="106"/>
                  </a:lnTo>
                  <a:lnTo>
                    <a:pt x="115" y="106"/>
                  </a:lnTo>
                  <a:lnTo>
                    <a:pt x="115" y="106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9" y="111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5" y="115"/>
                  </a:lnTo>
                  <a:lnTo>
                    <a:pt x="115" y="115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4"/>
                  </a:lnTo>
                  <a:lnTo>
                    <a:pt x="115" y="115"/>
                  </a:lnTo>
                  <a:lnTo>
                    <a:pt x="115" y="115"/>
                  </a:lnTo>
                  <a:lnTo>
                    <a:pt x="115" y="120"/>
                  </a:lnTo>
                  <a:lnTo>
                    <a:pt x="115" y="120"/>
                  </a:lnTo>
                  <a:lnTo>
                    <a:pt x="115" y="120"/>
                  </a:lnTo>
                  <a:lnTo>
                    <a:pt x="115" y="115"/>
                  </a:lnTo>
                  <a:lnTo>
                    <a:pt x="115" y="115"/>
                  </a:lnTo>
                  <a:lnTo>
                    <a:pt x="111" y="115"/>
                  </a:lnTo>
                  <a:lnTo>
                    <a:pt x="111" y="115"/>
                  </a:lnTo>
                  <a:lnTo>
                    <a:pt x="111" y="115"/>
                  </a:lnTo>
                  <a:lnTo>
                    <a:pt x="111" y="115"/>
                  </a:lnTo>
                  <a:lnTo>
                    <a:pt x="111" y="115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106" y="111"/>
                  </a:lnTo>
                  <a:lnTo>
                    <a:pt x="106" y="111"/>
                  </a:lnTo>
                  <a:lnTo>
                    <a:pt x="106" y="111"/>
                  </a:lnTo>
                  <a:lnTo>
                    <a:pt x="106" y="111"/>
                  </a:lnTo>
                  <a:lnTo>
                    <a:pt x="106" y="111"/>
                  </a:lnTo>
                  <a:lnTo>
                    <a:pt x="106" y="111"/>
                  </a:lnTo>
                  <a:lnTo>
                    <a:pt x="102" y="106"/>
                  </a:lnTo>
                  <a:lnTo>
                    <a:pt x="102" y="106"/>
                  </a:lnTo>
                  <a:lnTo>
                    <a:pt x="102" y="111"/>
                  </a:lnTo>
                  <a:lnTo>
                    <a:pt x="102" y="111"/>
                  </a:lnTo>
                  <a:lnTo>
                    <a:pt x="102" y="111"/>
                  </a:lnTo>
                  <a:lnTo>
                    <a:pt x="102" y="111"/>
                  </a:lnTo>
                  <a:lnTo>
                    <a:pt x="102" y="115"/>
                  </a:lnTo>
                  <a:lnTo>
                    <a:pt x="102" y="115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6" y="115"/>
                  </a:lnTo>
                  <a:lnTo>
                    <a:pt x="102" y="120"/>
                  </a:lnTo>
                  <a:lnTo>
                    <a:pt x="102" y="120"/>
                  </a:lnTo>
                  <a:lnTo>
                    <a:pt x="102" y="120"/>
                  </a:lnTo>
                  <a:lnTo>
                    <a:pt x="102" y="120"/>
                  </a:lnTo>
                  <a:lnTo>
                    <a:pt x="102" y="120"/>
                  </a:lnTo>
                  <a:lnTo>
                    <a:pt x="102" y="120"/>
                  </a:lnTo>
                  <a:lnTo>
                    <a:pt x="102" y="120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6" y="124"/>
                  </a:lnTo>
                  <a:lnTo>
                    <a:pt x="106" y="124"/>
                  </a:lnTo>
                  <a:lnTo>
                    <a:pt x="106" y="124"/>
                  </a:lnTo>
                  <a:lnTo>
                    <a:pt x="106" y="124"/>
                  </a:lnTo>
                  <a:lnTo>
                    <a:pt x="102" y="124"/>
                  </a:lnTo>
                  <a:lnTo>
                    <a:pt x="102" y="124"/>
                  </a:lnTo>
                  <a:lnTo>
                    <a:pt x="102" y="124"/>
                  </a:lnTo>
                  <a:lnTo>
                    <a:pt x="102" y="120"/>
                  </a:lnTo>
                  <a:lnTo>
                    <a:pt x="97" y="120"/>
                  </a:lnTo>
                  <a:lnTo>
                    <a:pt x="97" y="115"/>
                  </a:lnTo>
                  <a:lnTo>
                    <a:pt x="97" y="120"/>
                  </a:lnTo>
                  <a:lnTo>
                    <a:pt x="97" y="120"/>
                  </a:lnTo>
                  <a:lnTo>
                    <a:pt x="97" y="120"/>
                  </a:lnTo>
                  <a:lnTo>
                    <a:pt x="97" y="120"/>
                  </a:lnTo>
                  <a:lnTo>
                    <a:pt x="97" y="124"/>
                  </a:lnTo>
                  <a:lnTo>
                    <a:pt x="97" y="124"/>
                  </a:lnTo>
                  <a:lnTo>
                    <a:pt x="97" y="124"/>
                  </a:lnTo>
                  <a:lnTo>
                    <a:pt x="97" y="124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11" y="128"/>
                  </a:lnTo>
                  <a:lnTo>
                    <a:pt x="111" y="128"/>
                  </a:lnTo>
                  <a:lnTo>
                    <a:pt x="111" y="128"/>
                  </a:lnTo>
                  <a:lnTo>
                    <a:pt x="111" y="128"/>
                  </a:lnTo>
                  <a:lnTo>
                    <a:pt x="111" y="128"/>
                  </a:lnTo>
                  <a:lnTo>
                    <a:pt x="111" y="128"/>
                  </a:lnTo>
                  <a:lnTo>
                    <a:pt x="111" y="128"/>
                  </a:lnTo>
                  <a:lnTo>
                    <a:pt x="111" y="128"/>
                  </a:lnTo>
                  <a:lnTo>
                    <a:pt x="111" y="128"/>
                  </a:lnTo>
                  <a:lnTo>
                    <a:pt x="111" y="128"/>
                  </a:lnTo>
                  <a:lnTo>
                    <a:pt x="111" y="128"/>
                  </a:lnTo>
                  <a:lnTo>
                    <a:pt x="111" y="133"/>
                  </a:lnTo>
                  <a:lnTo>
                    <a:pt x="111" y="133"/>
                  </a:lnTo>
                  <a:lnTo>
                    <a:pt x="111" y="133"/>
                  </a:lnTo>
                  <a:lnTo>
                    <a:pt x="111" y="133"/>
                  </a:lnTo>
                  <a:lnTo>
                    <a:pt x="111" y="133"/>
                  </a:lnTo>
                  <a:lnTo>
                    <a:pt x="115" y="133"/>
                  </a:lnTo>
                  <a:lnTo>
                    <a:pt x="115" y="133"/>
                  </a:lnTo>
                  <a:lnTo>
                    <a:pt x="111" y="133"/>
                  </a:lnTo>
                  <a:lnTo>
                    <a:pt x="111" y="133"/>
                  </a:lnTo>
                  <a:lnTo>
                    <a:pt x="115" y="133"/>
                  </a:lnTo>
                  <a:lnTo>
                    <a:pt x="115" y="133"/>
                  </a:lnTo>
                  <a:lnTo>
                    <a:pt x="115" y="133"/>
                  </a:lnTo>
                  <a:lnTo>
                    <a:pt x="115" y="133"/>
                  </a:lnTo>
                  <a:lnTo>
                    <a:pt x="115" y="133"/>
                  </a:lnTo>
                  <a:lnTo>
                    <a:pt x="119" y="137"/>
                  </a:lnTo>
                  <a:lnTo>
                    <a:pt x="119" y="137"/>
                  </a:lnTo>
                  <a:lnTo>
                    <a:pt x="119" y="137"/>
                  </a:lnTo>
                  <a:lnTo>
                    <a:pt x="119" y="137"/>
                  </a:lnTo>
                  <a:lnTo>
                    <a:pt x="115" y="137"/>
                  </a:lnTo>
                  <a:lnTo>
                    <a:pt x="115" y="133"/>
                  </a:lnTo>
                  <a:lnTo>
                    <a:pt x="115" y="133"/>
                  </a:lnTo>
                  <a:lnTo>
                    <a:pt x="115" y="137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1" y="142"/>
                  </a:lnTo>
                  <a:lnTo>
                    <a:pt x="111" y="142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9" y="142"/>
                  </a:lnTo>
                  <a:lnTo>
                    <a:pt x="119" y="146"/>
                  </a:lnTo>
                  <a:lnTo>
                    <a:pt x="119" y="146"/>
                  </a:lnTo>
                  <a:lnTo>
                    <a:pt x="115" y="146"/>
                  </a:lnTo>
                  <a:lnTo>
                    <a:pt x="115" y="146"/>
                  </a:lnTo>
                  <a:lnTo>
                    <a:pt x="119" y="146"/>
                  </a:lnTo>
                  <a:lnTo>
                    <a:pt x="119" y="151"/>
                  </a:lnTo>
                  <a:lnTo>
                    <a:pt x="119" y="146"/>
                  </a:lnTo>
                  <a:lnTo>
                    <a:pt x="119" y="146"/>
                  </a:lnTo>
                  <a:lnTo>
                    <a:pt x="119" y="146"/>
                  </a:lnTo>
                  <a:lnTo>
                    <a:pt x="124" y="146"/>
                  </a:lnTo>
                  <a:lnTo>
                    <a:pt x="124" y="146"/>
                  </a:lnTo>
                  <a:lnTo>
                    <a:pt x="119" y="151"/>
                  </a:lnTo>
                  <a:lnTo>
                    <a:pt x="119" y="151"/>
                  </a:lnTo>
                  <a:lnTo>
                    <a:pt x="119" y="151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46"/>
                  </a:lnTo>
                  <a:lnTo>
                    <a:pt x="128" y="146"/>
                  </a:lnTo>
                  <a:lnTo>
                    <a:pt x="128" y="146"/>
                  </a:lnTo>
                  <a:lnTo>
                    <a:pt x="128" y="146"/>
                  </a:lnTo>
                  <a:lnTo>
                    <a:pt x="128" y="146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46"/>
                  </a:lnTo>
                  <a:lnTo>
                    <a:pt x="128" y="151"/>
                  </a:lnTo>
                  <a:lnTo>
                    <a:pt x="133" y="151"/>
                  </a:lnTo>
                  <a:lnTo>
                    <a:pt x="133" y="151"/>
                  </a:lnTo>
                  <a:lnTo>
                    <a:pt x="133" y="151"/>
                  </a:lnTo>
                  <a:lnTo>
                    <a:pt x="133" y="155"/>
                  </a:lnTo>
                  <a:lnTo>
                    <a:pt x="133" y="155"/>
                  </a:lnTo>
                  <a:lnTo>
                    <a:pt x="133" y="155"/>
                  </a:lnTo>
                  <a:lnTo>
                    <a:pt x="133" y="155"/>
                  </a:lnTo>
                  <a:lnTo>
                    <a:pt x="133" y="151"/>
                  </a:lnTo>
                  <a:lnTo>
                    <a:pt x="133" y="151"/>
                  </a:lnTo>
                  <a:lnTo>
                    <a:pt x="133" y="151"/>
                  </a:lnTo>
                  <a:lnTo>
                    <a:pt x="133" y="151"/>
                  </a:lnTo>
                  <a:lnTo>
                    <a:pt x="133" y="151"/>
                  </a:lnTo>
                  <a:lnTo>
                    <a:pt x="137" y="146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7" y="151"/>
                  </a:lnTo>
                  <a:lnTo>
                    <a:pt x="137" y="151"/>
                  </a:lnTo>
                  <a:lnTo>
                    <a:pt x="137" y="151"/>
                  </a:lnTo>
                  <a:lnTo>
                    <a:pt x="137" y="151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2" y="151"/>
                  </a:lnTo>
                  <a:lnTo>
                    <a:pt x="137" y="151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3" y="164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42" y="164"/>
                  </a:lnTo>
                  <a:lnTo>
                    <a:pt x="142" y="164"/>
                  </a:lnTo>
                  <a:lnTo>
                    <a:pt x="146" y="159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50" y="151"/>
                  </a:lnTo>
                  <a:lnTo>
                    <a:pt x="150" y="151"/>
                  </a:lnTo>
                  <a:lnTo>
                    <a:pt x="155" y="151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2"/>
                  </a:lnTo>
                  <a:lnTo>
                    <a:pt x="155" y="142"/>
                  </a:lnTo>
                  <a:lnTo>
                    <a:pt x="150" y="142"/>
                  </a:lnTo>
                  <a:lnTo>
                    <a:pt x="150" y="142"/>
                  </a:lnTo>
                  <a:lnTo>
                    <a:pt x="150" y="142"/>
                  </a:lnTo>
                  <a:lnTo>
                    <a:pt x="146" y="142"/>
                  </a:lnTo>
                  <a:lnTo>
                    <a:pt x="146" y="142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37" y="142"/>
                  </a:lnTo>
                  <a:lnTo>
                    <a:pt x="137" y="142"/>
                  </a:lnTo>
                  <a:lnTo>
                    <a:pt x="137" y="142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3" y="142"/>
                  </a:lnTo>
                  <a:lnTo>
                    <a:pt x="133" y="142"/>
                  </a:lnTo>
                  <a:lnTo>
                    <a:pt x="133" y="142"/>
                  </a:lnTo>
                  <a:lnTo>
                    <a:pt x="133" y="137"/>
                  </a:lnTo>
                  <a:lnTo>
                    <a:pt x="133" y="137"/>
                  </a:lnTo>
                  <a:lnTo>
                    <a:pt x="133" y="137"/>
                  </a:lnTo>
                  <a:lnTo>
                    <a:pt x="133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33" y="137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28" y="133"/>
                  </a:lnTo>
                  <a:lnTo>
                    <a:pt x="128" y="133"/>
                  </a:lnTo>
                  <a:lnTo>
                    <a:pt x="128" y="133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4"/>
                  </a:lnTo>
                  <a:lnTo>
                    <a:pt x="128" y="124"/>
                  </a:lnTo>
                  <a:lnTo>
                    <a:pt x="128" y="124"/>
                  </a:lnTo>
                  <a:lnTo>
                    <a:pt x="128" y="120"/>
                  </a:lnTo>
                  <a:lnTo>
                    <a:pt x="128" y="120"/>
                  </a:lnTo>
                  <a:lnTo>
                    <a:pt x="128" y="115"/>
                  </a:lnTo>
                  <a:lnTo>
                    <a:pt x="128" y="111"/>
                  </a:lnTo>
                  <a:lnTo>
                    <a:pt x="128" y="111"/>
                  </a:lnTo>
                  <a:close/>
                  <a:moveTo>
                    <a:pt x="75" y="97"/>
                  </a:moveTo>
                  <a:lnTo>
                    <a:pt x="75" y="97"/>
                  </a:lnTo>
                  <a:lnTo>
                    <a:pt x="75" y="93"/>
                  </a:lnTo>
                  <a:lnTo>
                    <a:pt x="75" y="97"/>
                  </a:lnTo>
                  <a:lnTo>
                    <a:pt x="71" y="97"/>
                  </a:lnTo>
                  <a:lnTo>
                    <a:pt x="75" y="97"/>
                  </a:lnTo>
                  <a:lnTo>
                    <a:pt x="75" y="97"/>
                  </a:lnTo>
                  <a:close/>
                  <a:moveTo>
                    <a:pt x="0" y="89"/>
                  </a:moveTo>
                  <a:lnTo>
                    <a:pt x="0" y="84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close/>
                  <a:moveTo>
                    <a:pt x="80" y="80"/>
                  </a:move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75"/>
                  </a:lnTo>
                  <a:lnTo>
                    <a:pt x="80" y="75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close/>
                  <a:moveTo>
                    <a:pt x="89" y="49"/>
                  </a:moveTo>
                  <a:lnTo>
                    <a:pt x="93" y="49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49"/>
                  </a:lnTo>
                  <a:close/>
                  <a:moveTo>
                    <a:pt x="80" y="58"/>
                  </a:move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62"/>
                  </a:lnTo>
                  <a:lnTo>
                    <a:pt x="80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0" y="62"/>
                  </a:lnTo>
                  <a:lnTo>
                    <a:pt x="80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0" y="62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4" y="66"/>
                  </a:lnTo>
                  <a:lnTo>
                    <a:pt x="89" y="62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4" y="75"/>
                  </a:lnTo>
                  <a:lnTo>
                    <a:pt x="84" y="75"/>
                  </a:lnTo>
                  <a:lnTo>
                    <a:pt x="89" y="75"/>
                  </a:lnTo>
                  <a:lnTo>
                    <a:pt x="89" y="75"/>
                  </a:lnTo>
                  <a:lnTo>
                    <a:pt x="89" y="75"/>
                  </a:lnTo>
                  <a:lnTo>
                    <a:pt x="89" y="75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89" y="80"/>
                  </a:lnTo>
                  <a:lnTo>
                    <a:pt x="89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9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0" y="89"/>
                  </a:lnTo>
                  <a:lnTo>
                    <a:pt x="80" y="89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80" y="89"/>
                  </a:lnTo>
                  <a:lnTo>
                    <a:pt x="80" y="89"/>
                  </a:lnTo>
                  <a:lnTo>
                    <a:pt x="80" y="89"/>
                  </a:lnTo>
                  <a:lnTo>
                    <a:pt x="80" y="93"/>
                  </a:lnTo>
                  <a:lnTo>
                    <a:pt x="84" y="93"/>
                  </a:lnTo>
                  <a:lnTo>
                    <a:pt x="84" y="97"/>
                  </a:lnTo>
                  <a:lnTo>
                    <a:pt x="84" y="97"/>
                  </a:lnTo>
                  <a:lnTo>
                    <a:pt x="84" y="93"/>
                  </a:lnTo>
                  <a:lnTo>
                    <a:pt x="89" y="93"/>
                  </a:lnTo>
                  <a:lnTo>
                    <a:pt x="89" y="93"/>
                  </a:lnTo>
                  <a:lnTo>
                    <a:pt x="89" y="93"/>
                  </a:lnTo>
                  <a:lnTo>
                    <a:pt x="89" y="89"/>
                  </a:lnTo>
                  <a:lnTo>
                    <a:pt x="89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4"/>
                  </a:lnTo>
                  <a:lnTo>
                    <a:pt x="93" y="89"/>
                  </a:lnTo>
                  <a:lnTo>
                    <a:pt x="97" y="89"/>
                  </a:lnTo>
                  <a:lnTo>
                    <a:pt x="97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7" y="89"/>
                  </a:lnTo>
                  <a:lnTo>
                    <a:pt x="97" y="89"/>
                  </a:lnTo>
                  <a:lnTo>
                    <a:pt x="97" y="84"/>
                  </a:lnTo>
                  <a:lnTo>
                    <a:pt x="97" y="84"/>
                  </a:lnTo>
                  <a:lnTo>
                    <a:pt x="97" y="84"/>
                  </a:lnTo>
                  <a:lnTo>
                    <a:pt x="97" y="84"/>
                  </a:lnTo>
                  <a:lnTo>
                    <a:pt x="97" y="84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93" y="80"/>
                  </a:lnTo>
                  <a:lnTo>
                    <a:pt x="97" y="80"/>
                  </a:lnTo>
                  <a:lnTo>
                    <a:pt x="97" y="80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1"/>
                  </a:lnTo>
                  <a:lnTo>
                    <a:pt x="97" y="71"/>
                  </a:lnTo>
                  <a:lnTo>
                    <a:pt x="97" y="71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102" y="66"/>
                  </a:lnTo>
                  <a:lnTo>
                    <a:pt x="102" y="62"/>
                  </a:lnTo>
                  <a:lnTo>
                    <a:pt x="102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2" y="62"/>
                  </a:lnTo>
                  <a:lnTo>
                    <a:pt x="102" y="66"/>
                  </a:lnTo>
                  <a:lnTo>
                    <a:pt x="102" y="66"/>
                  </a:lnTo>
                  <a:lnTo>
                    <a:pt x="97" y="71"/>
                  </a:lnTo>
                  <a:lnTo>
                    <a:pt x="97" y="71"/>
                  </a:lnTo>
                  <a:lnTo>
                    <a:pt x="102" y="71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80"/>
                  </a:lnTo>
                  <a:lnTo>
                    <a:pt x="106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80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11" y="75"/>
                  </a:lnTo>
                  <a:lnTo>
                    <a:pt x="111" y="75"/>
                  </a:lnTo>
                  <a:lnTo>
                    <a:pt x="111" y="75"/>
                  </a:lnTo>
                  <a:lnTo>
                    <a:pt x="111" y="75"/>
                  </a:lnTo>
                  <a:lnTo>
                    <a:pt x="111" y="75"/>
                  </a:lnTo>
                  <a:lnTo>
                    <a:pt x="111" y="71"/>
                  </a:lnTo>
                  <a:lnTo>
                    <a:pt x="111" y="71"/>
                  </a:lnTo>
                  <a:lnTo>
                    <a:pt x="111" y="71"/>
                  </a:lnTo>
                  <a:lnTo>
                    <a:pt x="111" y="71"/>
                  </a:lnTo>
                  <a:lnTo>
                    <a:pt x="111" y="71"/>
                  </a:lnTo>
                  <a:lnTo>
                    <a:pt x="111" y="71"/>
                  </a:lnTo>
                  <a:lnTo>
                    <a:pt x="106" y="66"/>
                  </a:lnTo>
                  <a:lnTo>
                    <a:pt x="106" y="66"/>
                  </a:lnTo>
                  <a:lnTo>
                    <a:pt x="106" y="66"/>
                  </a:lnTo>
                  <a:lnTo>
                    <a:pt x="106" y="66"/>
                  </a:lnTo>
                  <a:lnTo>
                    <a:pt x="111" y="66"/>
                  </a:lnTo>
                  <a:lnTo>
                    <a:pt x="115" y="71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9" y="66"/>
                  </a:lnTo>
                  <a:lnTo>
                    <a:pt x="119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5" y="62"/>
                  </a:lnTo>
                  <a:lnTo>
                    <a:pt x="115" y="62"/>
                  </a:lnTo>
                  <a:lnTo>
                    <a:pt x="115" y="62"/>
                  </a:lnTo>
                  <a:lnTo>
                    <a:pt x="115" y="62"/>
                  </a:lnTo>
                  <a:lnTo>
                    <a:pt x="115" y="62"/>
                  </a:lnTo>
                  <a:lnTo>
                    <a:pt x="115" y="62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1" y="58"/>
                  </a:lnTo>
                  <a:lnTo>
                    <a:pt x="106" y="62"/>
                  </a:lnTo>
                  <a:lnTo>
                    <a:pt x="102" y="62"/>
                  </a:lnTo>
                  <a:lnTo>
                    <a:pt x="102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11" y="58"/>
                  </a:lnTo>
                  <a:lnTo>
                    <a:pt x="111" y="58"/>
                  </a:lnTo>
                  <a:lnTo>
                    <a:pt x="111" y="58"/>
                  </a:lnTo>
                  <a:lnTo>
                    <a:pt x="111" y="58"/>
                  </a:lnTo>
                  <a:lnTo>
                    <a:pt x="111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49"/>
                  </a:lnTo>
                  <a:lnTo>
                    <a:pt x="115" y="49"/>
                  </a:lnTo>
                  <a:lnTo>
                    <a:pt x="119" y="49"/>
                  </a:lnTo>
                  <a:lnTo>
                    <a:pt x="119" y="49"/>
                  </a:lnTo>
                  <a:lnTo>
                    <a:pt x="119" y="49"/>
                  </a:lnTo>
                  <a:lnTo>
                    <a:pt x="124" y="49"/>
                  </a:lnTo>
                  <a:lnTo>
                    <a:pt x="124" y="49"/>
                  </a:lnTo>
                  <a:lnTo>
                    <a:pt x="124" y="49"/>
                  </a:lnTo>
                  <a:lnTo>
                    <a:pt x="124" y="49"/>
                  </a:lnTo>
                  <a:lnTo>
                    <a:pt x="124" y="49"/>
                  </a:lnTo>
                  <a:lnTo>
                    <a:pt x="124" y="49"/>
                  </a:lnTo>
                  <a:lnTo>
                    <a:pt x="128" y="49"/>
                  </a:lnTo>
                  <a:lnTo>
                    <a:pt x="128" y="49"/>
                  </a:lnTo>
                  <a:lnTo>
                    <a:pt x="128" y="49"/>
                  </a:lnTo>
                  <a:lnTo>
                    <a:pt x="128" y="49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4" y="49"/>
                  </a:lnTo>
                  <a:lnTo>
                    <a:pt x="124" y="49"/>
                  </a:lnTo>
                  <a:lnTo>
                    <a:pt x="119" y="49"/>
                  </a:lnTo>
                  <a:lnTo>
                    <a:pt x="119" y="49"/>
                  </a:lnTo>
                  <a:lnTo>
                    <a:pt x="115" y="44"/>
                  </a:lnTo>
                  <a:lnTo>
                    <a:pt x="119" y="44"/>
                  </a:lnTo>
                  <a:lnTo>
                    <a:pt x="119" y="44"/>
                  </a:lnTo>
                  <a:lnTo>
                    <a:pt x="119" y="44"/>
                  </a:lnTo>
                  <a:lnTo>
                    <a:pt x="119" y="44"/>
                  </a:lnTo>
                  <a:lnTo>
                    <a:pt x="119" y="44"/>
                  </a:lnTo>
                  <a:lnTo>
                    <a:pt x="119" y="44"/>
                  </a:lnTo>
                  <a:lnTo>
                    <a:pt x="119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4" y="35"/>
                  </a:lnTo>
                  <a:lnTo>
                    <a:pt x="128" y="35"/>
                  </a:lnTo>
                  <a:lnTo>
                    <a:pt x="128" y="35"/>
                  </a:lnTo>
                  <a:lnTo>
                    <a:pt x="128" y="35"/>
                  </a:lnTo>
                  <a:lnTo>
                    <a:pt x="128" y="35"/>
                  </a:lnTo>
                  <a:lnTo>
                    <a:pt x="128" y="35"/>
                  </a:lnTo>
                  <a:lnTo>
                    <a:pt x="124" y="31"/>
                  </a:lnTo>
                  <a:lnTo>
                    <a:pt x="124" y="31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2"/>
                  </a:lnTo>
                  <a:lnTo>
                    <a:pt x="124" y="22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19" y="18"/>
                  </a:lnTo>
                  <a:lnTo>
                    <a:pt x="119" y="22"/>
                  </a:lnTo>
                  <a:lnTo>
                    <a:pt x="111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97" y="35"/>
                  </a:lnTo>
                  <a:lnTo>
                    <a:pt x="97" y="35"/>
                  </a:lnTo>
                  <a:lnTo>
                    <a:pt x="97" y="35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7" y="44"/>
                  </a:lnTo>
                  <a:lnTo>
                    <a:pt x="97" y="44"/>
                  </a:lnTo>
                  <a:lnTo>
                    <a:pt x="97" y="44"/>
                  </a:lnTo>
                  <a:lnTo>
                    <a:pt x="97" y="44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53"/>
                  </a:lnTo>
                  <a:lnTo>
                    <a:pt x="97" y="53"/>
                  </a:lnTo>
                  <a:lnTo>
                    <a:pt x="97" y="49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89" y="49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93" y="53"/>
                  </a:lnTo>
                  <a:lnTo>
                    <a:pt x="93" y="58"/>
                  </a:lnTo>
                  <a:lnTo>
                    <a:pt x="93" y="58"/>
                  </a:lnTo>
                  <a:lnTo>
                    <a:pt x="93" y="58"/>
                  </a:lnTo>
                  <a:lnTo>
                    <a:pt x="93" y="58"/>
                  </a:lnTo>
                  <a:lnTo>
                    <a:pt x="89" y="58"/>
                  </a:lnTo>
                  <a:lnTo>
                    <a:pt x="89" y="58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4" y="44"/>
                  </a:lnTo>
                  <a:lnTo>
                    <a:pt x="84" y="49"/>
                  </a:lnTo>
                  <a:lnTo>
                    <a:pt x="84" y="49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0" y="44"/>
                  </a:lnTo>
                  <a:lnTo>
                    <a:pt x="80" y="49"/>
                  </a:lnTo>
                  <a:lnTo>
                    <a:pt x="80" y="49"/>
                  </a:lnTo>
                  <a:lnTo>
                    <a:pt x="80" y="49"/>
                  </a:lnTo>
                  <a:lnTo>
                    <a:pt x="80" y="49"/>
                  </a:lnTo>
                  <a:lnTo>
                    <a:pt x="84" y="49"/>
                  </a:lnTo>
                  <a:lnTo>
                    <a:pt x="80" y="49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80" y="58"/>
                  </a:lnTo>
                  <a:close/>
                  <a:moveTo>
                    <a:pt x="544" y="576"/>
                  </a:moveTo>
                  <a:lnTo>
                    <a:pt x="544" y="571"/>
                  </a:lnTo>
                  <a:lnTo>
                    <a:pt x="544" y="571"/>
                  </a:lnTo>
                  <a:lnTo>
                    <a:pt x="544" y="567"/>
                  </a:lnTo>
                  <a:lnTo>
                    <a:pt x="544" y="567"/>
                  </a:lnTo>
                  <a:lnTo>
                    <a:pt x="544" y="562"/>
                  </a:lnTo>
                  <a:lnTo>
                    <a:pt x="544" y="562"/>
                  </a:lnTo>
                  <a:lnTo>
                    <a:pt x="544" y="558"/>
                  </a:lnTo>
                  <a:lnTo>
                    <a:pt x="540" y="558"/>
                  </a:lnTo>
                  <a:lnTo>
                    <a:pt x="540" y="553"/>
                  </a:lnTo>
                  <a:lnTo>
                    <a:pt x="527" y="545"/>
                  </a:lnTo>
                  <a:lnTo>
                    <a:pt x="518" y="540"/>
                  </a:lnTo>
                  <a:lnTo>
                    <a:pt x="505" y="536"/>
                  </a:lnTo>
                  <a:lnTo>
                    <a:pt x="505" y="536"/>
                  </a:lnTo>
                  <a:lnTo>
                    <a:pt x="505" y="536"/>
                  </a:lnTo>
                  <a:lnTo>
                    <a:pt x="505" y="536"/>
                  </a:lnTo>
                  <a:lnTo>
                    <a:pt x="505" y="536"/>
                  </a:lnTo>
                  <a:lnTo>
                    <a:pt x="505" y="536"/>
                  </a:lnTo>
                  <a:lnTo>
                    <a:pt x="505" y="540"/>
                  </a:lnTo>
                  <a:lnTo>
                    <a:pt x="500" y="540"/>
                  </a:lnTo>
                  <a:lnTo>
                    <a:pt x="500" y="536"/>
                  </a:lnTo>
                  <a:lnTo>
                    <a:pt x="496" y="536"/>
                  </a:lnTo>
                  <a:lnTo>
                    <a:pt x="491" y="536"/>
                  </a:lnTo>
                  <a:lnTo>
                    <a:pt x="491" y="536"/>
                  </a:lnTo>
                  <a:lnTo>
                    <a:pt x="491" y="536"/>
                  </a:lnTo>
                  <a:lnTo>
                    <a:pt x="487" y="536"/>
                  </a:lnTo>
                  <a:lnTo>
                    <a:pt x="487" y="536"/>
                  </a:lnTo>
                  <a:lnTo>
                    <a:pt x="487" y="536"/>
                  </a:lnTo>
                  <a:lnTo>
                    <a:pt x="487" y="536"/>
                  </a:lnTo>
                  <a:lnTo>
                    <a:pt x="482" y="536"/>
                  </a:lnTo>
                  <a:lnTo>
                    <a:pt x="482" y="540"/>
                  </a:lnTo>
                  <a:lnTo>
                    <a:pt x="478" y="540"/>
                  </a:lnTo>
                  <a:lnTo>
                    <a:pt x="478" y="540"/>
                  </a:lnTo>
                  <a:lnTo>
                    <a:pt x="478" y="545"/>
                  </a:lnTo>
                  <a:lnTo>
                    <a:pt x="478" y="545"/>
                  </a:lnTo>
                  <a:lnTo>
                    <a:pt x="478" y="549"/>
                  </a:lnTo>
                  <a:lnTo>
                    <a:pt x="474" y="549"/>
                  </a:lnTo>
                  <a:lnTo>
                    <a:pt x="474" y="549"/>
                  </a:lnTo>
                  <a:lnTo>
                    <a:pt x="474" y="553"/>
                  </a:lnTo>
                  <a:lnTo>
                    <a:pt x="474" y="553"/>
                  </a:lnTo>
                  <a:lnTo>
                    <a:pt x="474" y="553"/>
                  </a:lnTo>
                  <a:lnTo>
                    <a:pt x="474" y="553"/>
                  </a:lnTo>
                  <a:lnTo>
                    <a:pt x="469" y="553"/>
                  </a:lnTo>
                  <a:lnTo>
                    <a:pt x="469" y="553"/>
                  </a:lnTo>
                  <a:lnTo>
                    <a:pt x="469" y="553"/>
                  </a:lnTo>
                  <a:lnTo>
                    <a:pt x="465" y="553"/>
                  </a:lnTo>
                  <a:lnTo>
                    <a:pt x="465" y="553"/>
                  </a:lnTo>
                  <a:lnTo>
                    <a:pt x="465" y="549"/>
                  </a:lnTo>
                  <a:lnTo>
                    <a:pt x="460" y="545"/>
                  </a:lnTo>
                  <a:lnTo>
                    <a:pt x="460" y="545"/>
                  </a:lnTo>
                  <a:lnTo>
                    <a:pt x="460" y="545"/>
                  </a:lnTo>
                  <a:lnTo>
                    <a:pt x="460" y="545"/>
                  </a:lnTo>
                  <a:lnTo>
                    <a:pt x="456" y="545"/>
                  </a:lnTo>
                  <a:lnTo>
                    <a:pt x="456" y="545"/>
                  </a:lnTo>
                  <a:lnTo>
                    <a:pt x="451" y="545"/>
                  </a:lnTo>
                  <a:lnTo>
                    <a:pt x="451" y="545"/>
                  </a:lnTo>
                  <a:lnTo>
                    <a:pt x="456" y="540"/>
                  </a:lnTo>
                  <a:lnTo>
                    <a:pt x="456" y="540"/>
                  </a:lnTo>
                  <a:lnTo>
                    <a:pt x="456" y="540"/>
                  </a:lnTo>
                  <a:lnTo>
                    <a:pt x="456" y="540"/>
                  </a:lnTo>
                  <a:lnTo>
                    <a:pt x="460" y="536"/>
                  </a:lnTo>
                  <a:lnTo>
                    <a:pt x="460" y="531"/>
                  </a:lnTo>
                  <a:lnTo>
                    <a:pt x="465" y="531"/>
                  </a:lnTo>
                  <a:lnTo>
                    <a:pt x="469" y="527"/>
                  </a:lnTo>
                  <a:lnTo>
                    <a:pt x="469" y="527"/>
                  </a:lnTo>
                  <a:lnTo>
                    <a:pt x="469" y="527"/>
                  </a:lnTo>
                  <a:lnTo>
                    <a:pt x="469" y="527"/>
                  </a:lnTo>
                  <a:lnTo>
                    <a:pt x="469" y="527"/>
                  </a:lnTo>
                  <a:lnTo>
                    <a:pt x="474" y="522"/>
                  </a:lnTo>
                  <a:lnTo>
                    <a:pt x="474" y="518"/>
                  </a:lnTo>
                  <a:lnTo>
                    <a:pt x="469" y="514"/>
                  </a:lnTo>
                  <a:lnTo>
                    <a:pt x="465" y="505"/>
                  </a:lnTo>
                  <a:lnTo>
                    <a:pt x="465" y="500"/>
                  </a:lnTo>
                  <a:lnTo>
                    <a:pt x="465" y="500"/>
                  </a:lnTo>
                  <a:lnTo>
                    <a:pt x="465" y="500"/>
                  </a:lnTo>
                  <a:lnTo>
                    <a:pt x="465" y="500"/>
                  </a:lnTo>
                  <a:lnTo>
                    <a:pt x="465" y="496"/>
                  </a:lnTo>
                  <a:lnTo>
                    <a:pt x="465" y="496"/>
                  </a:lnTo>
                  <a:lnTo>
                    <a:pt x="460" y="496"/>
                  </a:lnTo>
                  <a:lnTo>
                    <a:pt x="460" y="496"/>
                  </a:lnTo>
                  <a:lnTo>
                    <a:pt x="460" y="496"/>
                  </a:lnTo>
                  <a:lnTo>
                    <a:pt x="460" y="496"/>
                  </a:lnTo>
                  <a:lnTo>
                    <a:pt x="460" y="491"/>
                  </a:lnTo>
                  <a:lnTo>
                    <a:pt x="460" y="491"/>
                  </a:lnTo>
                  <a:lnTo>
                    <a:pt x="460" y="491"/>
                  </a:lnTo>
                  <a:lnTo>
                    <a:pt x="460" y="491"/>
                  </a:lnTo>
                  <a:lnTo>
                    <a:pt x="456" y="491"/>
                  </a:lnTo>
                  <a:lnTo>
                    <a:pt x="451" y="487"/>
                  </a:lnTo>
                  <a:lnTo>
                    <a:pt x="451" y="483"/>
                  </a:lnTo>
                  <a:lnTo>
                    <a:pt x="451" y="483"/>
                  </a:lnTo>
                  <a:lnTo>
                    <a:pt x="447" y="483"/>
                  </a:lnTo>
                  <a:lnTo>
                    <a:pt x="447" y="483"/>
                  </a:lnTo>
                  <a:lnTo>
                    <a:pt x="447" y="483"/>
                  </a:lnTo>
                  <a:lnTo>
                    <a:pt x="443" y="478"/>
                  </a:lnTo>
                  <a:lnTo>
                    <a:pt x="438" y="474"/>
                  </a:lnTo>
                  <a:lnTo>
                    <a:pt x="438" y="474"/>
                  </a:lnTo>
                  <a:lnTo>
                    <a:pt x="438" y="469"/>
                  </a:lnTo>
                  <a:lnTo>
                    <a:pt x="429" y="474"/>
                  </a:lnTo>
                  <a:lnTo>
                    <a:pt x="425" y="474"/>
                  </a:lnTo>
                  <a:lnTo>
                    <a:pt x="425" y="474"/>
                  </a:lnTo>
                  <a:lnTo>
                    <a:pt x="425" y="474"/>
                  </a:lnTo>
                  <a:lnTo>
                    <a:pt x="425" y="474"/>
                  </a:lnTo>
                  <a:lnTo>
                    <a:pt x="420" y="474"/>
                  </a:lnTo>
                  <a:lnTo>
                    <a:pt x="420" y="474"/>
                  </a:lnTo>
                  <a:lnTo>
                    <a:pt x="420" y="474"/>
                  </a:lnTo>
                  <a:lnTo>
                    <a:pt x="416" y="474"/>
                  </a:lnTo>
                  <a:lnTo>
                    <a:pt x="416" y="474"/>
                  </a:lnTo>
                  <a:lnTo>
                    <a:pt x="416" y="474"/>
                  </a:lnTo>
                  <a:lnTo>
                    <a:pt x="416" y="474"/>
                  </a:lnTo>
                  <a:lnTo>
                    <a:pt x="416" y="474"/>
                  </a:lnTo>
                  <a:lnTo>
                    <a:pt x="416" y="474"/>
                  </a:lnTo>
                  <a:lnTo>
                    <a:pt x="416" y="469"/>
                  </a:lnTo>
                  <a:lnTo>
                    <a:pt x="420" y="469"/>
                  </a:lnTo>
                  <a:lnTo>
                    <a:pt x="420" y="469"/>
                  </a:lnTo>
                  <a:lnTo>
                    <a:pt x="420" y="469"/>
                  </a:lnTo>
                  <a:lnTo>
                    <a:pt x="425" y="474"/>
                  </a:lnTo>
                  <a:lnTo>
                    <a:pt x="425" y="474"/>
                  </a:lnTo>
                  <a:lnTo>
                    <a:pt x="425" y="469"/>
                  </a:lnTo>
                  <a:lnTo>
                    <a:pt x="429" y="469"/>
                  </a:lnTo>
                  <a:lnTo>
                    <a:pt x="438" y="469"/>
                  </a:lnTo>
                  <a:lnTo>
                    <a:pt x="438" y="469"/>
                  </a:lnTo>
                  <a:lnTo>
                    <a:pt x="438" y="469"/>
                  </a:lnTo>
                  <a:lnTo>
                    <a:pt x="443" y="469"/>
                  </a:lnTo>
                  <a:lnTo>
                    <a:pt x="447" y="478"/>
                  </a:lnTo>
                  <a:lnTo>
                    <a:pt x="447" y="478"/>
                  </a:lnTo>
                  <a:lnTo>
                    <a:pt x="447" y="478"/>
                  </a:lnTo>
                  <a:lnTo>
                    <a:pt x="447" y="478"/>
                  </a:lnTo>
                  <a:lnTo>
                    <a:pt x="451" y="478"/>
                  </a:lnTo>
                  <a:lnTo>
                    <a:pt x="451" y="478"/>
                  </a:lnTo>
                  <a:lnTo>
                    <a:pt x="451" y="478"/>
                  </a:lnTo>
                  <a:lnTo>
                    <a:pt x="456" y="478"/>
                  </a:lnTo>
                  <a:lnTo>
                    <a:pt x="456" y="478"/>
                  </a:lnTo>
                  <a:lnTo>
                    <a:pt x="456" y="478"/>
                  </a:lnTo>
                  <a:lnTo>
                    <a:pt x="460" y="478"/>
                  </a:lnTo>
                  <a:lnTo>
                    <a:pt x="460" y="483"/>
                  </a:lnTo>
                  <a:lnTo>
                    <a:pt x="460" y="483"/>
                  </a:lnTo>
                  <a:lnTo>
                    <a:pt x="460" y="487"/>
                  </a:lnTo>
                  <a:lnTo>
                    <a:pt x="460" y="483"/>
                  </a:lnTo>
                  <a:lnTo>
                    <a:pt x="460" y="483"/>
                  </a:lnTo>
                  <a:lnTo>
                    <a:pt x="460" y="483"/>
                  </a:lnTo>
                  <a:lnTo>
                    <a:pt x="460" y="478"/>
                  </a:lnTo>
                  <a:lnTo>
                    <a:pt x="451" y="465"/>
                  </a:lnTo>
                  <a:lnTo>
                    <a:pt x="447" y="456"/>
                  </a:lnTo>
                  <a:lnTo>
                    <a:pt x="443" y="452"/>
                  </a:lnTo>
                  <a:lnTo>
                    <a:pt x="443" y="447"/>
                  </a:lnTo>
                  <a:lnTo>
                    <a:pt x="443" y="443"/>
                  </a:lnTo>
                  <a:lnTo>
                    <a:pt x="443" y="438"/>
                  </a:lnTo>
                  <a:lnTo>
                    <a:pt x="443" y="438"/>
                  </a:lnTo>
                  <a:lnTo>
                    <a:pt x="447" y="434"/>
                  </a:lnTo>
                  <a:lnTo>
                    <a:pt x="447" y="434"/>
                  </a:lnTo>
                  <a:lnTo>
                    <a:pt x="443" y="429"/>
                  </a:lnTo>
                  <a:lnTo>
                    <a:pt x="438" y="429"/>
                  </a:lnTo>
                  <a:lnTo>
                    <a:pt x="438" y="429"/>
                  </a:lnTo>
                  <a:lnTo>
                    <a:pt x="438" y="429"/>
                  </a:lnTo>
                  <a:lnTo>
                    <a:pt x="438" y="425"/>
                  </a:lnTo>
                  <a:lnTo>
                    <a:pt x="438" y="425"/>
                  </a:lnTo>
                  <a:lnTo>
                    <a:pt x="438" y="425"/>
                  </a:lnTo>
                  <a:lnTo>
                    <a:pt x="434" y="425"/>
                  </a:lnTo>
                  <a:lnTo>
                    <a:pt x="434" y="425"/>
                  </a:lnTo>
                  <a:lnTo>
                    <a:pt x="434" y="425"/>
                  </a:lnTo>
                  <a:lnTo>
                    <a:pt x="434" y="421"/>
                  </a:lnTo>
                  <a:lnTo>
                    <a:pt x="434" y="421"/>
                  </a:lnTo>
                  <a:lnTo>
                    <a:pt x="434" y="421"/>
                  </a:lnTo>
                  <a:lnTo>
                    <a:pt x="434" y="421"/>
                  </a:lnTo>
                  <a:lnTo>
                    <a:pt x="434" y="421"/>
                  </a:lnTo>
                  <a:lnTo>
                    <a:pt x="429" y="421"/>
                  </a:lnTo>
                  <a:lnTo>
                    <a:pt x="429" y="421"/>
                  </a:lnTo>
                  <a:lnTo>
                    <a:pt x="429" y="421"/>
                  </a:lnTo>
                  <a:lnTo>
                    <a:pt x="429" y="416"/>
                  </a:lnTo>
                  <a:lnTo>
                    <a:pt x="429" y="416"/>
                  </a:lnTo>
                  <a:lnTo>
                    <a:pt x="429" y="412"/>
                  </a:lnTo>
                  <a:lnTo>
                    <a:pt x="429" y="412"/>
                  </a:lnTo>
                  <a:lnTo>
                    <a:pt x="429" y="412"/>
                  </a:lnTo>
                  <a:lnTo>
                    <a:pt x="425" y="407"/>
                  </a:lnTo>
                  <a:lnTo>
                    <a:pt x="425" y="407"/>
                  </a:lnTo>
                  <a:lnTo>
                    <a:pt x="425" y="407"/>
                  </a:lnTo>
                  <a:lnTo>
                    <a:pt x="425" y="407"/>
                  </a:lnTo>
                  <a:lnTo>
                    <a:pt x="425" y="407"/>
                  </a:lnTo>
                  <a:lnTo>
                    <a:pt x="425" y="403"/>
                  </a:lnTo>
                  <a:lnTo>
                    <a:pt x="425" y="403"/>
                  </a:lnTo>
                  <a:lnTo>
                    <a:pt x="412" y="394"/>
                  </a:lnTo>
                  <a:lnTo>
                    <a:pt x="398" y="394"/>
                  </a:lnTo>
                  <a:lnTo>
                    <a:pt x="398" y="390"/>
                  </a:lnTo>
                  <a:lnTo>
                    <a:pt x="394" y="390"/>
                  </a:lnTo>
                  <a:lnTo>
                    <a:pt x="394" y="390"/>
                  </a:lnTo>
                  <a:lnTo>
                    <a:pt x="394" y="390"/>
                  </a:lnTo>
                  <a:lnTo>
                    <a:pt x="394" y="390"/>
                  </a:lnTo>
                  <a:lnTo>
                    <a:pt x="394" y="390"/>
                  </a:lnTo>
                  <a:lnTo>
                    <a:pt x="394" y="390"/>
                  </a:lnTo>
                  <a:lnTo>
                    <a:pt x="389" y="390"/>
                  </a:lnTo>
                  <a:lnTo>
                    <a:pt x="389" y="390"/>
                  </a:lnTo>
                  <a:lnTo>
                    <a:pt x="389" y="390"/>
                  </a:lnTo>
                  <a:lnTo>
                    <a:pt x="389" y="390"/>
                  </a:lnTo>
                  <a:lnTo>
                    <a:pt x="389" y="390"/>
                  </a:lnTo>
                  <a:lnTo>
                    <a:pt x="389" y="390"/>
                  </a:lnTo>
                  <a:lnTo>
                    <a:pt x="389" y="390"/>
                  </a:lnTo>
                  <a:lnTo>
                    <a:pt x="389" y="390"/>
                  </a:lnTo>
                  <a:lnTo>
                    <a:pt x="389" y="390"/>
                  </a:lnTo>
                  <a:lnTo>
                    <a:pt x="389" y="390"/>
                  </a:lnTo>
                  <a:lnTo>
                    <a:pt x="389" y="390"/>
                  </a:lnTo>
                  <a:lnTo>
                    <a:pt x="389" y="390"/>
                  </a:lnTo>
                  <a:lnTo>
                    <a:pt x="389" y="390"/>
                  </a:lnTo>
                  <a:lnTo>
                    <a:pt x="389" y="390"/>
                  </a:lnTo>
                  <a:lnTo>
                    <a:pt x="389" y="390"/>
                  </a:lnTo>
                  <a:lnTo>
                    <a:pt x="389" y="385"/>
                  </a:lnTo>
                  <a:lnTo>
                    <a:pt x="389" y="385"/>
                  </a:lnTo>
                  <a:lnTo>
                    <a:pt x="389" y="385"/>
                  </a:lnTo>
                  <a:lnTo>
                    <a:pt x="389" y="385"/>
                  </a:lnTo>
                  <a:lnTo>
                    <a:pt x="389" y="385"/>
                  </a:lnTo>
                  <a:lnTo>
                    <a:pt x="389" y="385"/>
                  </a:lnTo>
                  <a:lnTo>
                    <a:pt x="389" y="385"/>
                  </a:lnTo>
                  <a:lnTo>
                    <a:pt x="389" y="385"/>
                  </a:lnTo>
                  <a:lnTo>
                    <a:pt x="389" y="385"/>
                  </a:lnTo>
                  <a:lnTo>
                    <a:pt x="389" y="381"/>
                  </a:lnTo>
                  <a:lnTo>
                    <a:pt x="389" y="381"/>
                  </a:lnTo>
                  <a:lnTo>
                    <a:pt x="389" y="381"/>
                  </a:lnTo>
                  <a:lnTo>
                    <a:pt x="385" y="376"/>
                  </a:lnTo>
                  <a:lnTo>
                    <a:pt x="385" y="376"/>
                  </a:lnTo>
                  <a:lnTo>
                    <a:pt x="381" y="363"/>
                  </a:lnTo>
                  <a:lnTo>
                    <a:pt x="381" y="363"/>
                  </a:lnTo>
                  <a:lnTo>
                    <a:pt x="381" y="363"/>
                  </a:lnTo>
                  <a:lnTo>
                    <a:pt x="381" y="363"/>
                  </a:lnTo>
                  <a:lnTo>
                    <a:pt x="381" y="359"/>
                  </a:lnTo>
                  <a:lnTo>
                    <a:pt x="381" y="359"/>
                  </a:lnTo>
                  <a:lnTo>
                    <a:pt x="381" y="359"/>
                  </a:lnTo>
                  <a:lnTo>
                    <a:pt x="381" y="359"/>
                  </a:lnTo>
                  <a:lnTo>
                    <a:pt x="381" y="359"/>
                  </a:lnTo>
                  <a:lnTo>
                    <a:pt x="381" y="354"/>
                  </a:lnTo>
                  <a:lnTo>
                    <a:pt x="381" y="354"/>
                  </a:lnTo>
                  <a:lnTo>
                    <a:pt x="376" y="354"/>
                  </a:lnTo>
                  <a:lnTo>
                    <a:pt x="376" y="354"/>
                  </a:lnTo>
                  <a:lnTo>
                    <a:pt x="376" y="354"/>
                  </a:lnTo>
                  <a:lnTo>
                    <a:pt x="376" y="354"/>
                  </a:lnTo>
                  <a:lnTo>
                    <a:pt x="376" y="350"/>
                  </a:lnTo>
                  <a:lnTo>
                    <a:pt x="376" y="350"/>
                  </a:lnTo>
                  <a:lnTo>
                    <a:pt x="376" y="350"/>
                  </a:lnTo>
                  <a:lnTo>
                    <a:pt x="376" y="350"/>
                  </a:lnTo>
                  <a:lnTo>
                    <a:pt x="376" y="350"/>
                  </a:lnTo>
                  <a:lnTo>
                    <a:pt x="376" y="350"/>
                  </a:lnTo>
                  <a:lnTo>
                    <a:pt x="376" y="345"/>
                  </a:lnTo>
                  <a:lnTo>
                    <a:pt x="376" y="345"/>
                  </a:lnTo>
                  <a:lnTo>
                    <a:pt x="376" y="345"/>
                  </a:lnTo>
                  <a:lnTo>
                    <a:pt x="372" y="341"/>
                  </a:lnTo>
                  <a:lnTo>
                    <a:pt x="372" y="341"/>
                  </a:lnTo>
                  <a:lnTo>
                    <a:pt x="372" y="341"/>
                  </a:lnTo>
                  <a:lnTo>
                    <a:pt x="372" y="341"/>
                  </a:lnTo>
                  <a:lnTo>
                    <a:pt x="372" y="341"/>
                  </a:lnTo>
                  <a:lnTo>
                    <a:pt x="372" y="337"/>
                  </a:lnTo>
                  <a:lnTo>
                    <a:pt x="372" y="337"/>
                  </a:lnTo>
                  <a:lnTo>
                    <a:pt x="372" y="337"/>
                  </a:lnTo>
                  <a:lnTo>
                    <a:pt x="372" y="337"/>
                  </a:lnTo>
                  <a:lnTo>
                    <a:pt x="372" y="337"/>
                  </a:lnTo>
                  <a:lnTo>
                    <a:pt x="372" y="332"/>
                  </a:lnTo>
                  <a:lnTo>
                    <a:pt x="372" y="332"/>
                  </a:lnTo>
                  <a:lnTo>
                    <a:pt x="372" y="332"/>
                  </a:lnTo>
                  <a:lnTo>
                    <a:pt x="372" y="332"/>
                  </a:lnTo>
                  <a:lnTo>
                    <a:pt x="372" y="332"/>
                  </a:lnTo>
                  <a:lnTo>
                    <a:pt x="372" y="328"/>
                  </a:lnTo>
                  <a:lnTo>
                    <a:pt x="372" y="328"/>
                  </a:lnTo>
                  <a:lnTo>
                    <a:pt x="372" y="328"/>
                  </a:lnTo>
                  <a:lnTo>
                    <a:pt x="372" y="328"/>
                  </a:lnTo>
                  <a:lnTo>
                    <a:pt x="372" y="328"/>
                  </a:lnTo>
                  <a:lnTo>
                    <a:pt x="372" y="328"/>
                  </a:lnTo>
                  <a:lnTo>
                    <a:pt x="372" y="328"/>
                  </a:lnTo>
                  <a:lnTo>
                    <a:pt x="372" y="323"/>
                  </a:lnTo>
                  <a:lnTo>
                    <a:pt x="367" y="323"/>
                  </a:lnTo>
                  <a:lnTo>
                    <a:pt x="367" y="319"/>
                  </a:lnTo>
                  <a:lnTo>
                    <a:pt x="367" y="319"/>
                  </a:lnTo>
                  <a:lnTo>
                    <a:pt x="367" y="319"/>
                  </a:lnTo>
                  <a:lnTo>
                    <a:pt x="367" y="319"/>
                  </a:lnTo>
                  <a:lnTo>
                    <a:pt x="367" y="319"/>
                  </a:lnTo>
                  <a:lnTo>
                    <a:pt x="367" y="310"/>
                  </a:lnTo>
                  <a:lnTo>
                    <a:pt x="367" y="310"/>
                  </a:lnTo>
                  <a:lnTo>
                    <a:pt x="367" y="310"/>
                  </a:lnTo>
                  <a:lnTo>
                    <a:pt x="367" y="310"/>
                  </a:lnTo>
                  <a:lnTo>
                    <a:pt x="367" y="310"/>
                  </a:lnTo>
                  <a:lnTo>
                    <a:pt x="367" y="306"/>
                  </a:lnTo>
                  <a:lnTo>
                    <a:pt x="367" y="306"/>
                  </a:lnTo>
                  <a:lnTo>
                    <a:pt x="367" y="306"/>
                  </a:lnTo>
                  <a:lnTo>
                    <a:pt x="367" y="306"/>
                  </a:lnTo>
                  <a:lnTo>
                    <a:pt x="367" y="306"/>
                  </a:lnTo>
                  <a:lnTo>
                    <a:pt x="367" y="306"/>
                  </a:lnTo>
                  <a:lnTo>
                    <a:pt x="367" y="306"/>
                  </a:lnTo>
                  <a:lnTo>
                    <a:pt x="367" y="301"/>
                  </a:lnTo>
                  <a:lnTo>
                    <a:pt x="367" y="301"/>
                  </a:lnTo>
                  <a:lnTo>
                    <a:pt x="367" y="301"/>
                  </a:lnTo>
                  <a:lnTo>
                    <a:pt x="367" y="301"/>
                  </a:lnTo>
                  <a:lnTo>
                    <a:pt x="363" y="297"/>
                  </a:lnTo>
                  <a:lnTo>
                    <a:pt x="363" y="297"/>
                  </a:lnTo>
                  <a:lnTo>
                    <a:pt x="359" y="301"/>
                  </a:lnTo>
                  <a:lnTo>
                    <a:pt x="359" y="297"/>
                  </a:lnTo>
                  <a:lnTo>
                    <a:pt x="359" y="297"/>
                  </a:lnTo>
                  <a:lnTo>
                    <a:pt x="363" y="297"/>
                  </a:lnTo>
                  <a:lnTo>
                    <a:pt x="359" y="297"/>
                  </a:lnTo>
                  <a:lnTo>
                    <a:pt x="359" y="297"/>
                  </a:lnTo>
                  <a:lnTo>
                    <a:pt x="359" y="297"/>
                  </a:lnTo>
                  <a:lnTo>
                    <a:pt x="359" y="297"/>
                  </a:lnTo>
                  <a:lnTo>
                    <a:pt x="359" y="297"/>
                  </a:lnTo>
                  <a:lnTo>
                    <a:pt x="359" y="297"/>
                  </a:lnTo>
                  <a:lnTo>
                    <a:pt x="359" y="297"/>
                  </a:lnTo>
                  <a:lnTo>
                    <a:pt x="359" y="297"/>
                  </a:lnTo>
                  <a:lnTo>
                    <a:pt x="359" y="297"/>
                  </a:lnTo>
                  <a:lnTo>
                    <a:pt x="359" y="297"/>
                  </a:lnTo>
                  <a:lnTo>
                    <a:pt x="354" y="297"/>
                  </a:lnTo>
                  <a:lnTo>
                    <a:pt x="354" y="292"/>
                  </a:lnTo>
                  <a:lnTo>
                    <a:pt x="354" y="292"/>
                  </a:lnTo>
                  <a:lnTo>
                    <a:pt x="354" y="292"/>
                  </a:lnTo>
                  <a:lnTo>
                    <a:pt x="345" y="283"/>
                  </a:lnTo>
                  <a:lnTo>
                    <a:pt x="345" y="279"/>
                  </a:lnTo>
                  <a:lnTo>
                    <a:pt x="345" y="275"/>
                  </a:lnTo>
                  <a:lnTo>
                    <a:pt x="341" y="275"/>
                  </a:lnTo>
                  <a:lnTo>
                    <a:pt x="341" y="275"/>
                  </a:lnTo>
                  <a:lnTo>
                    <a:pt x="341" y="275"/>
                  </a:lnTo>
                  <a:lnTo>
                    <a:pt x="341" y="270"/>
                  </a:lnTo>
                  <a:lnTo>
                    <a:pt x="341" y="270"/>
                  </a:lnTo>
                  <a:lnTo>
                    <a:pt x="341" y="270"/>
                  </a:lnTo>
                  <a:lnTo>
                    <a:pt x="341" y="270"/>
                  </a:lnTo>
                  <a:lnTo>
                    <a:pt x="332" y="270"/>
                  </a:lnTo>
                  <a:lnTo>
                    <a:pt x="328" y="266"/>
                  </a:lnTo>
                  <a:lnTo>
                    <a:pt x="328" y="266"/>
                  </a:lnTo>
                  <a:lnTo>
                    <a:pt x="323" y="266"/>
                  </a:lnTo>
                  <a:lnTo>
                    <a:pt x="323" y="261"/>
                  </a:lnTo>
                  <a:lnTo>
                    <a:pt x="319" y="261"/>
                  </a:lnTo>
                  <a:lnTo>
                    <a:pt x="319" y="261"/>
                  </a:lnTo>
                  <a:lnTo>
                    <a:pt x="319" y="261"/>
                  </a:lnTo>
                  <a:lnTo>
                    <a:pt x="319" y="261"/>
                  </a:lnTo>
                  <a:lnTo>
                    <a:pt x="319" y="261"/>
                  </a:lnTo>
                  <a:lnTo>
                    <a:pt x="319" y="261"/>
                  </a:lnTo>
                  <a:lnTo>
                    <a:pt x="319" y="261"/>
                  </a:lnTo>
                  <a:lnTo>
                    <a:pt x="319" y="261"/>
                  </a:lnTo>
                  <a:lnTo>
                    <a:pt x="319" y="261"/>
                  </a:lnTo>
                  <a:lnTo>
                    <a:pt x="314" y="261"/>
                  </a:lnTo>
                  <a:lnTo>
                    <a:pt x="314" y="257"/>
                  </a:lnTo>
                  <a:lnTo>
                    <a:pt x="314" y="257"/>
                  </a:lnTo>
                  <a:lnTo>
                    <a:pt x="305" y="257"/>
                  </a:lnTo>
                  <a:lnTo>
                    <a:pt x="305" y="257"/>
                  </a:lnTo>
                  <a:lnTo>
                    <a:pt x="301" y="257"/>
                  </a:lnTo>
                  <a:lnTo>
                    <a:pt x="301" y="261"/>
                  </a:lnTo>
                  <a:lnTo>
                    <a:pt x="301" y="261"/>
                  </a:lnTo>
                  <a:lnTo>
                    <a:pt x="301" y="261"/>
                  </a:lnTo>
                  <a:lnTo>
                    <a:pt x="301" y="261"/>
                  </a:lnTo>
                  <a:lnTo>
                    <a:pt x="301" y="261"/>
                  </a:lnTo>
                  <a:lnTo>
                    <a:pt x="301" y="261"/>
                  </a:lnTo>
                  <a:lnTo>
                    <a:pt x="301" y="266"/>
                  </a:lnTo>
                  <a:lnTo>
                    <a:pt x="297" y="266"/>
                  </a:lnTo>
                  <a:lnTo>
                    <a:pt x="292" y="266"/>
                  </a:lnTo>
                  <a:lnTo>
                    <a:pt x="292" y="266"/>
                  </a:lnTo>
                  <a:lnTo>
                    <a:pt x="292" y="266"/>
                  </a:lnTo>
                  <a:lnTo>
                    <a:pt x="288" y="266"/>
                  </a:lnTo>
                  <a:lnTo>
                    <a:pt x="288" y="266"/>
                  </a:lnTo>
                  <a:lnTo>
                    <a:pt x="288" y="266"/>
                  </a:lnTo>
                  <a:lnTo>
                    <a:pt x="279" y="266"/>
                  </a:lnTo>
                  <a:lnTo>
                    <a:pt x="279" y="266"/>
                  </a:lnTo>
                  <a:lnTo>
                    <a:pt x="279" y="261"/>
                  </a:lnTo>
                  <a:lnTo>
                    <a:pt x="279" y="261"/>
                  </a:lnTo>
                  <a:lnTo>
                    <a:pt x="274" y="261"/>
                  </a:lnTo>
                  <a:lnTo>
                    <a:pt x="274" y="261"/>
                  </a:lnTo>
                  <a:lnTo>
                    <a:pt x="266" y="261"/>
                  </a:lnTo>
                  <a:lnTo>
                    <a:pt x="261" y="261"/>
                  </a:lnTo>
                  <a:lnTo>
                    <a:pt x="261" y="261"/>
                  </a:lnTo>
                  <a:lnTo>
                    <a:pt x="261" y="261"/>
                  </a:lnTo>
                  <a:lnTo>
                    <a:pt x="261" y="261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7" y="261"/>
                  </a:lnTo>
                  <a:lnTo>
                    <a:pt x="257" y="257"/>
                  </a:lnTo>
                  <a:lnTo>
                    <a:pt x="257" y="257"/>
                  </a:lnTo>
                  <a:lnTo>
                    <a:pt x="252" y="257"/>
                  </a:lnTo>
                  <a:lnTo>
                    <a:pt x="252" y="257"/>
                  </a:lnTo>
                  <a:lnTo>
                    <a:pt x="252" y="252"/>
                  </a:lnTo>
                  <a:lnTo>
                    <a:pt x="252" y="252"/>
                  </a:lnTo>
                  <a:lnTo>
                    <a:pt x="252" y="252"/>
                  </a:lnTo>
                  <a:lnTo>
                    <a:pt x="252" y="252"/>
                  </a:lnTo>
                  <a:lnTo>
                    <a:pt x="252" y="252"/>
                  </a:lnTo>
                  <a:lnTo>
                    <a:pt x="257" y="257"/>
                  </a:lnTo>
                  <a:lnTo>
                    <a:pt x="257" y="257"/>
                  </a:lnTo>
                  <a:lnTo>
                    <a:pt x="257" y="257"/>
                  </a:lnTo>
                  <a:lnTo>
                    <a:pt x="261" y="257"/>
                  </a:lnTo>
                  <a:lnTo>
                    <a:pt x="266" y="257"/>
                  </a:lnTo>
                  <a:lnTo>
                    <a:pt x="274" y="261"/>
                  </a:lnTo>
                  <a:lnTo>
                    <a:pt x="274" y="261"/>
                  </a:lnTo>
                  <a:lnTo>
                    <a:pt x="279" y="261"/>
                  </a:lnTo>
                  <a:lnTo>
                    <a:pt x="279" y="257"/>
                  </a:lnTo>
                  <a:lnTo>
                    <a:pt x="279" y="257"/>
                  </a:lnTo>
                  <a:lnTo>
                    <a:pt x="283" y="257"/>
                  </a:lnTo>
                  <a:lnTo>
                    <a:pt x="283" y="257"/>
                  </a:lnTo>
                  <a:lnTo>
                    <a:pt x="288" y="257"/>
                  </a:lnTo>
                  <a:lnTo>
                    <a:pt x="288" y="257"/>
                  </a:lnTo>
                  <a:lnTo>
                    <a:pt x="288" y="252"/>
                  </a:lnTo>
                  <a:lnTo>
                    <a:pt x="288" y="252"/>
                  </a:lnTo>
                  <a:lnTo>
                    <a:pt x="288" y="252"/>
                  </a:lnTo>
                  <a:lnTo>
                    <a:pt x="292" y="248"/>
                  </a:lnTo>
                  <a:lnTo>
                    <a:pt x="292" y="248"/>
                  </a:lnTo>
                  <a:lnTo>
                    <a:pt x="297" y="244"/>
                  </a:lnTo>
                  <a:lnTo>
                    <a:pt x="297" y="244"/>
                  </a:lnTo>
                  <a:lnTo>
                    <a:pt x="297" y="244"/>
                  </a:lnTo>
                  <a:lnTo>
                    <a:pt x="297" y="244"/>
                  </a:lnTo>
                  <a:lnTo>
                    <a:pt x="301" y="244"/>
                  </a:lnTo>
                  <a:lnTo>
                    <a:pt x="305" y="244"/>
                  </a:lnTo>
                  <a:lnTo>
                    <a:pt x="305" y="244"/>
                  </a:lnTo>
                  <a:lnTo>
                    <a:pt x="305" y="244"/>
                  </a:lnTo>
                  <a:lnTo>
                    <a:pt x="310" y="244"/>
                  </a:lnTo>
                  <a:lnTo>
                    <a:pt x="310" y="244"/>
                  </a:lnTo>
                  <a:lnTo>
                    <a:pt x="314" y="239"/>
                  </a:lnTo>
                  <a:lnTo>
                    <a:pt x="314" y="239"/>
                  </a:lnTo>
                  <a:lnTo>
                    <a:pt x="319" y="235"/>
                  </a:lnTo>
                  <a:lnTo>
                    <a:pt x="319" y="235"/>
                  </a:lnTo>
                  <a:lnTo>
                    <a:pt x="314" y="235"/>
                  </a:lnTo>
                  <a:lnTo>
                    <a:pt x="314" y="235"/>
                  </a:lnTo>
                  <a:lnTo>
                    <a:pt x="314" y="230"/>
                  </a:lnTo>
                  <a:lnTo>
                    <a:pt x="310" y="230"/>
                  </a:lnTo>
                  <a:lnTo>
                    <a:pt x="305" y="230"/>
                  </a:lnTo>
                  <a:lnTo>
                    <a:pt x="305" y="230"/>
                  </a:lnTo>
                  <a:lnTo>
                    <a:pt x="305" y="230"/>
                  </a:lnTo>
                  <a:lnTo>
                    <a:pt x="305" y="230"/>
                  </a:lnTo>
                  <a:lnTo>
                    <a:pt x="305" y="230"/>
                  </a:lnTo>
                  <a:lnTo>
                    <a:pt x="305" y="230"/>
                  </a:lnTo>
                  <a:lnTo>
                    <a:pt x="305" y="230"/>
                  </a:lnTo>
                  <a:lnTo>
                    <a:pt x="305" y="226"/>
                  </a:lnTo>
                  <a:lnTo>
                    <a:pt x="305" y="226"/>
                  </a:lnTo>
                  <a:lnTo>
                    <a:pt x="305" y="226"/>
                  </a:lnTo>
                  <a:lnTo>
                    <a:pt x="305" y="226"/>
                  </a:lnTo>
                  <a:lnTo>
                    <a:pt x="305" y="226"/>
                  </a:lnTo>
                  <a:lnTo>
                    <a:pt x="305" y="221"/>
                  </a:lnTo>
                  <a:lnTo>
                    <a:pt x="305" y="221"/>
                  </a:lnTo>
                  <a:lnTo>
                    <a:pt x="301" y="221"/>
                  </a:lnTo>
                  <a:lnTo>
                    <a:pt x="301" y="221"/>
                  </a:lnTo>
                  <a:lnTo>
                    <a:pt x="301" y="217"/>
                  </a:lnTo>
                  <a:lnTo>
                    <a:pt x="301" y="221"/>
                  </a:lnTo>
                  <a:lnTo>
                    <a:pt x="297" y="221"/>
                  </a:lnTo>
                  <a:lnTo>
                    <a:pt x="297" y="221"/>
                  </a:lnTo>
                  <a:lnTo>
                    <a:pt x="297" y="221"/>
                  </a:lnTo>
                  <a:lnTo>
                    <a:pt x="288" y="226"/>
                  </a:lnTo>
                  <a:lnTo>
                    <a:pt x="283" y="226"/>
                  </a:lnTo>
                  <a:lnTo>
                    <a:pt x="283" y="230"/>
                  </a:lnTo>
                  <a:lnTo>
                    <a:pt x="283" y="230"/>
                  </a:lnTo>
                  <a:lnTo>
                    <a:pt x="279" y="230"/>
                  </a:lnTo>
                  <a:lnTo>
                    <a:pt x="279" y="230"/>
                  </a:lnTo>
                  <a:lnTo>
                    <a:pt x="279" y="226"/>
                  </a:lnTo>
                  <a:lnTo>
                    <a:pt x="279" y="230"/>
                  </a:lnTo>
                  <a:lnTo>
                    <a:pt x="283" y="226"/>
                  </a:lnTo>
                  <a:lnTo>
                    <a:pt x="288" y="221"/>
                  </a:lnTo>
                  <a:lnTo>
                    <a:pt x="288" y="221"/>
                  </a:lnTo>
                  <a:lnTo>
                    <a:pt x="292" y="221"/>
                  </a:lnTo>
                  <a:lnTo>
                    <a:pt x="292" y="221"/>
                  </a:lnTo>
                  <a:lnTo>
                    <a:pt x="305" y="217"/>
                  </a:lnTo>
                  <a:lnTo>
                    <a:pt x="305" y="217"/>
                  </a:lnTo>
                  <a:lnTo>
                    <a:pt x="310" y="217"/>
                  </a:lnTo>
                  <a:lnTo>
                    <a:pt x="310" y="217"/>
                  </a:lnTo>
                  <a:lnTo>
                    <a:pt x="310" y="217"/>
                  </a:lnTo>
                  <a:lnTo>
                    <a:pt x="310" y="217"/>
                  </a:lnTo>
                  <a:lnTo>
                    <a:pt x="310" y="217"/>
                  </a:lnTo>
                  <a:lnTo>
                    <a:pt x="310" y="217"/>
                  </a:lnTo>
                  <a:lnTo>
                    <a:pt x="314" y="213"/>
                  </a:lnTo>
                  <a:lnTo>
                    <a:pt x="314" y="213"/>
                  </a:lnTo>
                  <a:lnTo>
                    <a:pt x="314" y="213"/>
                  </a:lnTo>
                  <a:lnTo>
                    <a:pt x="319" y="208"/>
                  </a:lnTo>
                  <a:lnTo>
                    <a:pt x="319" y="208"/>
                  </a:lnTo>
                  <a:lnTo>
                    <a:pt x="319" y="204"/>
                  </a:lnTo>
                  <a:lnTo>
                    <a:pt x="323" y="204"/>
                  </a:lnTo>
                  <a:lnTo>
                    <a:pt x="323" y="204"/>
                  </a:lnTo>
                  <a:lnTo>
                    <a:pt x="323" y="204"/>
                  </a:lnTo>
                  <a:lnTo>
                    <a:pt x="323" y="199"/>
                  </a:lnTo>
                  <a:lnTo>
                    <a:pt x="323" y="199"/>
                  </a:lnTo>
                  <a:lnTo>
                    <a:pt x="323" y="199"/>
                  </a:lnTo>
                  <a:lnTo>
                    <a:pt x="323" y="199"/>
                  </a:lnTo>
                  <a:lnTo>
                    <a:pt x="323" y="195"/>
                  </a:lnTo>
                  <a:lnTo>
                    <a:pt x="323" y="195"/>
                  </a:lnTo>
                  <a:lnTo>
                    <a:pt x="323" y="190"/>
                  </a:lnTo>
                  <a:lnTo>
                    <a:pt x="323" y="190"/>
                  </a:lnTo>
                  <a:lnTo>
                    <a:pt x="328" y="190"/>
                  </a:lnTo>
                  <a:lnTo>
                    <a:pt x="328" y="190"/>
                  </a:lnTo>
                  <a:lnTo>
                    <a:pt x="328" y="186"/>
                  </a:lnTo>
                  <a:lnTo>
                    <a:pt x="332" y="186"/>
                  </a:lnTo>
                  <a:lnTo>
                    <a:pt x="332" y="186"/>
                  </a:lnTo>
                  <a:lnTo>
                    <a:pt x="332" y="182"/>
                  </a:lnTo>
                  <a:lnTo>
                    <a:pt x="336" y="182"/>
                  </a:lnTo>
                  <a:lnTo>
                    <a:pt x="336" y="182"/>
                  </a:lnTo>
                  <a:lnTo>
                    <a:pt x="336" y="177"/>
                  </a:lnTo>
                  <a:lnTo>
                    <a:pt x="336" y="177"/>
                  </a:lnTo>
                  <a:lnTo>
                    <a:pt x="336" y="177"/>
                  </a:lnTo>
                  <a:lnTo>
                    <a:pt x="336" y="177"/>
                  </a:lnTo>
                  <a:lnTo>
                    <a:pt x="336" y="173"/>
                  </a:lnTo>
                  <a:lnTo>
                    <a:pt x="336" y="173"/>
                  </a:lnTo>
                  <a:lnTo>
                    <a:pt x="336" y="173"/>
                  </a:lnTo>
                  <a:lnTo>
                    <a:pt x="336" y="173"/>
                  </a:lnTo>
                  <a:lnTo>
                    <a:pt x="336" y="168"/>
                  </a:lnTo>
                  <a:lnTo>
                    <a:pt x="341" y="164"/>
                  </a:lnTo>
                  <a:lnTo>
                    <a:pt x="345" y="159"/>
                  </a:lnTo>
                  <a:lnTo>
                    <a:pt x="345" y="159"/>
                  </a:lnTo>
                  <a:lnTo>
                    <a:pt x="345" y="155"/>
                  </a:lnTo>
                  <a:lnTo>
                    <a:pt x="345" y="155"/>
                  </a:lnTo>
                  <a:lnTo>
                    <a:pt x="345" y="155"/>
                  </a:lnTo>
                  <a:lnTo>
                    <a:pt x="345" y="151"/>
                  </a:lnTo>
                  <a:lnTo>
                    <a:pt x="345" y="151"/>
                  </a:lnTo>
                  <a:lnTo>
                    <a:pt x="345" y="146"/>
                  </a:lnTo>
                  <a:lnTo>
                    <a:pt x="350" y="137"/>
                  </a:lnTo>
                  <a:lnTo>
                    <a:pt x="350" y="133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9" y="124"/>
                  </a:lnTo>
                  <a:lnTo>
                    <a:pt x="359" y="124"/>
                  </a:lnTo>
                  <a:lnTo>
                    <a:pt x="359" y="120"/>
                  </a:lnTo>
                  <a:lnTo>
                    <a:pt x="359" y="120"/>
                  </a:lnTo>
                  <a:lnTo>
                    <a:pt x="359" y="120"/>
                  </a:lnTo>
                  <a:lnTo>
                    <a:pt x="359" y="120"/>
                  </a:lnTo>
                  <a:lnTo>
                    <a:pt x="359" y="120"/>
                  </a:lnTo>
                  <a:lnTo>
                    <a:pt x="359" y="120"/>
                  </a:lnTo>
                  <a:lnTo>
                    <a:pt x="359" y="120"/>
                  </a:lnTo>
                  <a:lnTo>
                    <a:pt x="359" y="115"/>
                  </a:lnTo>
                  <a:lnTo>
                    <a:pt x="359" y="115"/>
                  </a:lnTo>
                  <a:lnTo>
                    <a:pt x="359" y="115"/>
                  </a:lnTo>
                  <a:lnTo>
                    <a:pt x="359" y="115"/>
                  </a:lnTo>
                  <a:lnTo>
                    <a:pt x="359" y="111"/>
                  </a:lnTo>
                  <a:lnTo>
                    <a:pt x="359" y="111"/>
                  </a:lnTo>
                  <a:lnTo>
                    <a:pt x="359" y="111"/>
                  </a:lnTo>
                  <a:lnTo>
                    <a:pt x="359" y="106"/>
                  </a:lnTo>
                  <a:lnTo>
                    <a:pt x="354" y="102"/>
                  </a:lnTo>
                  <a:lnTo>
                    <a:pt x="350" y="102"/>
                  </a:lnTo>
                  <a:lnTo>
                    <a:pt x="350" y="102"/>
                  </a:lnTo>
                  <a:lnTo>
                    <a:pt x="350" y="102"/>
                  </a:lnTo>
                  <a:lnTo>
                    <a:pt x="350" y="102"/>
                  </a:lnTo>
                  <a:lnTo>
                    <a:pt x="350" y="102"/>
                  </a:lnTo>
                  <a:lnTo>
                    <a:pt x="350" y="102"/>
                  </a:lnTo>
                  <a:lnTo>
                    <a:pt x="350" y="102"/>
                  </a:lnTo>
                  <a:lnTo>
                    <a:pt x="350" y="97"/>
                  </a:lnTo>
                  <a:lnTo>
                    <a:pt x="350" y="97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36" y="102"/>
                  </a:lnTo>
                  <a:lnTo>
                    <a:pt x="336" y="102"/>
                  </a:lnTo>
                  <a:lnTo>
                    <a:pt x="336" y="102"/>
                  </a:lnTo>
                  <a:lnTo>
                    <a:pt x="332" y="97"/>
                  </a:lnTo>
                  <a:lnTo>
                    <a:pt x="332" y="97"/>
                  </a:lnTo>
                  <a:lnTo>
                    <a:pt x="332" y="97"/>
                  </a:lnTo>
                  <a:lnTo>
                    <a:pt x="332" y="102"/>
                  </a:lnTo>
                  <a:lnTo>
                    <a:pt x="332" y="102"/>
                  </a:lnTo>
                  <a:lnTo>
                    <a:pt x="332" y="102"/>
                  </a:lnTo>
                  <a:lnTo>
                    <a:pt x="332" y="102"/>
                  </a:lnTo>
                  <a:lnTo>
                    <a:pt x="328" y="102"/>
                  </a:lnTo>
                  <a:lnTo>
                    <a:pt x="328" y="102"/>
                  </a:lnTo>
                  <a:lnTo>
                    <a:pt x="328" y="102"/>
                  </a:lnTo>
                  <a:lnTo>
                    <a:pt x="328" y="102"/>
                  </a:lnTo>
                  <a:lnTo>
                    <a:pt x="328" y="102"/>
                  </a:lnTo>
                  <a:lnTo>
                    <a:pt x="328" y="102"/>
                  </a:lnTo>
                  <a:lnTo>
                    <a:pt x="328" y="102"/>
                  </a:lnTo>
                  <a:lnTo>
                    <a:pt x="323" y="102"/>
                  </a:lnTo>
                  <a:lnTo>
                    <a:pt x="323" y="102"/>
                  </a:lnTo>
                  <a:lnTo>
                    <a:pt x="323" y="102"/>
                  </a:lnTo>
                  <a:lnTo>
                    <a:pt x="323" y="102"/>
                  </a:lnTo>
                  <a:lnTo>
                    <a:pt x="319" y="102"/>
                  </a:lnTo>
                  <a:lnTo>
                    <a:pt x="319" y="102"/>
                  </a:lnTo>
                  <a:lnTo>
                    <a:pt x="319" y="102"/>
                  </a:lnTo>
                  <a:lnTo>
                    <a:pt x="319" y="102"/>
                  </a:lnTo>
                  <a:lnTo>
                    <a:pt x="319" y="102"/>
                  </a:lnTo>
                  <a:lnTo>
                    <a:pt x="314" y="97"/>
                  </a:lnTo>
                  <a:lnTo>
                    <a:pt x="310" y="102"/>
                  </a:lnTo>
                  <a:lnTo>
                    <a:pt x="310" y="97"/>
                  </a:lnTo>
                  <a:lnTo>
                    <a:pt x="310" y="97"/>
                  </a:lnTo>
                  <a:lnTo>
                    <a:pt x="310" y="102"/>
                  </a:lnTo>
                  <a:lnTo>
                    <a:pt x="310" y="102"/>
                  </a:lnTo>
                  <a:lnTo>
                    <a:pt x="310" y="102"/>
                  </a:lnTo>
                  <a:lnTo>
                    <a:pt x="310" y="97"/>
                  </a:lnTo>
                  <a:lnTo>
                    <a:pt x="305" y="97"/>
                  </a:lnTo>
                  <a:lnTo>
                    <a:pt x="301" y="97"/>
                  </a:lnTo>
                  <a:lnTo>
                    <a:pt x="297" y="97"/>
                  </a:lnTo>
                  <a:lnTo>
                    <a:pt x="297" y="102"/>
                  </a:lnTo>
                  <a:lnTo>
                    <a:pt x="292" y="102"/>
                  </a:lnTo>
                  <a:lnTo>
                    <a:pt x="292" y="102"/>
                  </a:lnTo>
                  <a:lnTo>
                    <a:pt x="283" y="97"/>
                  </a:lnTo>
                  <a:lnTo>
                    <a:pt x="279" y="97"/>
                  </a:lnTo>
                  <a:lnTo>
                    <a:pt x="274" y="97"/>
                  </a:lnTo>
                  <a:lnTo>
                    <a:pt x="274" y="97"/>
                  </a:lnTo>
                  <a:lnTo>
                    <a:pt x="270" y="97"/>
                  </a:lnTo>
                  <a:lnTo>
                    <a:pt x="270" y="97"/>
                  </a:lnTo>
                  <a:lnTo>
                    <a:pt x="270" y="97"/>
                  </a:lnTo>
                  <a:lnTo>
                    <a:pt x="270" y="97"/>
                  </a:lnTo>
                  <a:lnTo>
                    <a:pt x="270" y="97"/>
                  </a:lnTo>
                  <a:lnTo>
                    <a:pt x="270" y="97"/>
                  </a:lnTo>
                  <a:lnTo>
                    <a:pt x="270" y="102"/>
                  </a:lnTo>
                  <a:lnTo>
                    <a:pt x="270" y="102"/>
                  </a:lnTo>
                  <a:lnTo>
                    <a:pt x="266" y="102"/>
                  </a:lnTo>
                  <a:lnTo>
                    <a:pt x="266" y="102"/>
                  </a:lnTo>
                  <a:lnTo>
                    <a:pt x="266" y="102"/>
                  </a:lnTo>
                  <a:lnTo>
                    <a:pt x="266" y="102"/>
                  </a:lnTo>
                  <a:lnTo>
                    <a:pt x="261" y="102"/>
                  </a:lnTo>
                  <a:lnTo>
                    <a:pt x="266" y="106"/>
                  </a:lnTo>
                  <a:lnTo>
                    <a:pt x="261" y="106"/>
                  </a:lnTo>
                  <a:lnTo>
                    <a:pt x="261" y="106"/>
                  </a:lnTo>
                  <a:lnTo>
                    <a:pt x="261" y="106"/>
                  </a:lnTo>
                  <a:lnTo>
                    <a:pt x="261" y="106"/>
                  </a:lnTo>
                  <a:lnTo>
                    <a:pt x="261" y="106"/>
                  </a:lnTo>
                  <a:lnTo>
                    <a:pt x="261" y="102"/>
                  </a:lnTo>
                  <a:lnTo>
                    <a:pt x="261" y="102"/>
                  </a:lnTo>
                  <a:lnTo>
                    <a:pt x="257" y="102"/>
                  </a:lnTo>
                  <a:lnTo>
                    <a:pt x="252" y="111"/>
                  </a:lnTo>
                  <a:lnTo>
                    <a:pt x="248" y="111"/>
                  </a:lnTo>
                  <a:lnTo>
                    <a:pt x="243" y="111"/>
                  </a:lnTo>
                  <a:lnTo>
                    <a:pt x="239" y="111"/>
                  </a:lnTo>
                  <a:lnTo>
                    <a:pt x="239" y="111"/>
                  </a:lnTo>
                  <a:lnTo>
                    <a:pt x="239" y="111"/>
                  </a:lnTo>
                  <a:lnTo>
                    <a:pt x="239" y="115"/>
                  </a:lnTo>
                  <a:lnTo>
                    <a:pt x="239" y="115"/>
                  </a:lnTo>
                  <a:lnTo>
                    <a:pt x="239" y="115"/>
                  </a:lnTo>
                  <a:lnTo>
                    <a:pt x="239" y="115"/>
                  </a:lnTo>
                  <a:lnTo>
                    <a:pt x="239" y="115"/>
                  </a:lnTo>
                  <a:lnTo>
                    <a:pt x="235" y="115"/>
                  </a:lnTo>
                  <a:lnTo>
                    <a:pt x="235" y="115"/>
                  </a:lnTo>
                  <a:lnTo>
                    <a:pt x="235" y="115"/>
                  </a:lnTo>
                  <a:lnTo>
                    <a:pt x="235" y="115"/>
                  </a:lnTo>
                  <a:lnTo>
                    <a:pt x="235" y="120"/>
                  </a:lnTo>
                  <a:lnTo>
                    <a:pt x="235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20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0" y="115"/>
                  </a:lnTo>
                  <a:lnTo>
                    <a:pt x="235" y="115"/>
                  </a:lnTo>
                  <a:lnTo>
                    <a:pt x="230" y="111"/>
                  </a:lnTo>
                  <a:lnTo>
                    <a:pt x="235" y="111"/>
                  </a:lnTo>
                  <a:lnTo>
                    <a:pt x="235" y="111"/>
                  </a:lnTo>
                  <a:lnTo>
                    <a:pt x="235" y="111"/>
                  </a:lnTo>
                  <a:lnTo>
                    <a:pt x="235" y="111"/>
                  </a:lnTo>
                  <a:lnTo>
                    <a:pt x="235" y="111"/>
                  </a:lnTo>
                  <a:lnTo>
                    <a:pt x="235" y="111"/>
                  </a:lnTo>
                  <a:lnTo>
                    <a:pt x="235" y="111"/>
                  </a:lnTo>
                  <a:lnTo>
                    <a:pt x="239" y="106"/>
                  </a:lnTo>
                  <a:lnTo>
                    <a:pt x="239" y="106"/>
                  </a:lnTo>
                  <a:lnTo>
                    <a:pt x="239" y="102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39" y="102"/>
                  </a:lnTo>
                  <a:lnTo>
                    <a:pt x="239" y="102"/>
                  </a:lnTo>
                  <a:lnTo>
                    <a:pt x="239" y="102"/>
                  </a:lnTo>
                  <a:lnTo>
                    <a:pt x="239" y="102"/>
                  </a:lnTo>
                  <a:lnTo>
                    <a:pt x="235" y="102"/>
                  </a:lnTo>
                  <a:lnTo>
                    <a:pt x="235" y="102"/>
                  </a:lnTo>
                  <a:lnTo>
                    <a:pt x="235" y="102"/>
                  </a:lnTo>
                  <a:lnTo>
                    <a:pt x="230" y="102"/>
                  </a:lnTo>
                  <a:lnTo>
                    <a:pt x="230" y="102"/>
                  </a:lnTo>
                  <a:lnTo>
                    <a:pt x="230" y="102"/>
                  </a:lnTo>
                  <a:lnTo>
                    <a:pt x="226" y="106"/>
                  </a:lnTo>
                  <a:lnTo>
                    <a:pt x="226" y="106"/>
                  </a:lnTo>
                  <a:lnTo>
                    <a:pt x="226" y="106"/>
                  </a:lnTo>
                  <a:lnTo>
                    <a:pt x="221" y="106"/>
                  </a:lnTo>
                  <a:lnTo>
                    <a:pt x="221" y="111"/>
                  </a:lnTo>
                  <a:lnTo>
                    <a:pt x="221" y="111"/>
                  </a:lnTo>
                  <a:lnTo>
                    <a:pt x="221" y="111"/>
                  </a:lnTo>
                  <a:lnTo>
                    <a:pt x="221" y="111"/>
                  </a:lnTo>
                  <a:lnTo>
                    <a:pt x="221" y="111"/>
                  </a:lnTo>
                  <a:lnTo>
                    <a:pt x="221" y="111"/>
                  </a:lnTo>
                  <a:lnTo>
                    <a:pt x="221" y="106"/>
                  </a:lnTo>
                  <a:lnTo>
                    <a:pt x="221" y="106"/>
                  </a:lnTo>
                  <a:lnTo>
                    <a:pt x="226" y="106"/>
                  </a:lnTo>
                  <a:lnTo>
                    <a:pt x="226" y="102"/>
                  </a:lnTo>
                  <a:lnTo>
                    <a:pt x="226" y="102"/>
                  </a:lnTo>
                  <a:lnTo>
                    <a:pt x="226" y="102"/>
                  </a:lnTo>
                  <a:lnTo>
                    <a:pt x="226" y="102"/>
                  </a:lnTo>
                  <a:lnTo>
                    <a:pt x="226" y="102"/>
                  </a:lnTo>
                  <a:lnTo>
                    <a:pt x="230" y="102"/>
                  </a:lnTo>
                  <a:lnTo>
                    <a:pt x="230" y="102"/>
                  </a:lnTo>
                  <a:lnTo>
                    <a:pt x="235" y="102"/>
                  </a:lnTo>
                  <a:lnTo>
                    <a:pt x="235" y="97"/>
                  </a:lnTo>
                  <a:lnTo>
                    <a:pt x="239" y="97"/>
                  </a:lnTo>
                  <a:lnTo>
                    <a:pt x="239" y="93"/>
                  </a:lnTo>
                  <a:lnTo>
                    <a:pt x="239" y="97"/>
                  </a:lnTo>
                  <a:lnTo>
                    <a:pt x="239" y="97"/>
                  </a:lnTo>
                  <a:lnTo>
                    <a:pt x="239" y="97"/>
                  </a:lnTo>
                  <a:lnTo>
                    <a:pt x="243" y="97"/>
                  </a:lnTo>
                  <a:lnTo>
                    <a:pt x="243" y="97"/>
                  </a:lnTo>
                  <a:lnTo>
                    <a:pt x="243" y="97"/>
                  </a:lnTo>
                  <a:lnTo>
                    <a:pt x="243" y="97"/>
                  </a:lnTo>
                  <a:lnTo>
                    <a:pt x="248" y="97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48" y="89"/>
                  </a:lnTo>
                  <a:lnTo>
                    <a:pt x="248" y="89"/>
                  </a:lnTo>
                  <a:lnTo>
                    <a:pt x="243" y="89"/>
                  </a:lnTo>
                  <a:lnTo>
                    <a:pt x="243" y="89"/>
                  </a:lnTo>
                  <a:lnTo>
                    <a:pt x="243" y="84"/>
                  </a:lnTo>
                  <a:lnTo>
                    <a:pt x="243" y="84"/>
                  </a:lnTo>
                  <a:lnTo>
                    <a:pt x="239" y="89"/>
                  </a:lnTo>
                  <a:lnTo>
                    <a:pt x="239" y="89"/>
                  </a:lnTo>
                  <a:lnTo>
                    <a:pt x="235" y="84"/>
                  </a:lnTo>
                  <a:lnTo>
                    <a:pt x="235" y="84"/>
                  </a:lnTo>
                  <a:lnTo>
                    <a:pt x="235" y="84"/>
                  </a:lnTo>
                  <a:lnTo>
                    <a:pt x="235" y="84"/>
                  </a:lnTo>
                  <a:lnTo>
                    <a:pt x="230" y="84"/>
                  </a:lnTo>
                  <a:lnTo>
                    <a:pt x="230" y="84"/>
                  </a:lnTo>
                  <a:lnTo>
                    <a:pt x="230" y="84"/>
                  </a:lnTo>
                  <a:lnTo>
                    <a:pt x="226" y="84"/>
                  </a:lnTo>
                  <a:lnTo>
                    <a:pt x="226" y="84"/>
                  </a:lnTo>
                  <a:lnTo>
                    <a:pt x="226" y="84"/>
                  </a:lnTo>
                  <a:lnTo>
                    <a:pt x="221" y="80"/>
                  </a:lnTo>
                  <a:lnTo>
                    <a:pt x="221" y="80"/>
                  </a:lnTo>
                  <a:lnTo>
                    <a:pt x="221" y="80"/>
                  </a:lnTo>
                  <a:lnTo>
                    <a:pt x="226" y="84"/>
                  </a:lnTo>
                  <a:lnTo>
                    <a:pt x="226" y="84"/>
                  </a:lnTo>
                  <a:lnTo>
                    <a:pt x="230" y="80"/>
                  </a:lnTo>
                  <a:lnTo>
                    <a:pt x="230" y="84"/>
                  </a:lnTo>
                  <a:lnTo>
                    <a:pt x="235" y="84"/>
                  </a:lnTo>
                  <a:lnTo>
                    <a:pt x="235" y="84"/>
                  </a:lnTo>
                  <a:lnTo>
                    <a:pt x="239" y="84"/>
                  </a:lnTo>
                  <a:lnTo>
                    <a:pt x="239" y="84"/>
                  </a:lnTo>
                  <a:lnTo>
                    <a:pt x="239" y="80"/>
                  </a:lnTo>
                  <a:lnTo>
                    <a:pt x="239" y="80"/>
                  </a:lnTo>
                  <a:lnTo>
                    <a:pt x="239" y="84"/>
                  </a:lnTo>
                  <a:lnTo>
                    <a:pt x="243" y="84"/>
                  </a:lnTo>
                  <a:lnTo>
                    <a:pt x="243" y="80"/>
                  </a:lnTo>
                  <a:lnTo>
                    <a:pt x="243" y="80"/>
                  </a:lnTo>
                  <a:lnTo>
                    <a:pt x="243" y="80"/>
                  </a:lnTo>
                  <a:lnTo>
                    <a:pt x="243" y="75"/>
                  </a:lnTo>
                  <a:lnTo>
                    <a:pt x="239" y="75"/>
                  </a:lnTo>
                  <a:lnTo>
                    <a:pt x="239" y="75"/>
                  </a:lnTo>
                  <a:lnTo>
                    <a:pt x="239" y="75"/>
                  </a:lnTo>
                  <a:lnTo>
                    <a:pt x="239" y="75"/>
                  </a:lnTo>
                  <a:lnTo>
                    <a:pt x="239" y="75"/>
                  </a:lnTo>
                  <a:lnTo>
                    <a:pt x="239" y="75"/>
                  </a:lnTo>
                  <a:lnTo>
                    <a:pt x="239" y="71"/>
                  </a:lnTo>
                  <a:lnTo>
                    <a:pt x="239" y="75"/>
                  </a:lnTo>
                  <a:lnTo>
                    <a:pt x="239" y="75"/>
                  </a:lnTo>
                  <a:lnTo>
                    <a:pt x="239" y="75"/>
                  </a:lnTo>
                  <a:lnTo>
                    <a:pt x="239" y="75"/>
                  </a:lnTo>
                  <a:lnTo>
                    <a:pt x="239" y="75"/>
                  </a:lnTo>
                  <a:lnTo>
                    <a:pt x="243" y="75"/>
                  </a:lnTo>
                  <a:lnTo>
                    <a:pt x="243" y="75"/>
                  </a:lnTo>
                  <a:lnTo>
                    <a:pt x="243" y="75"/>
                  </a:lnTo>
                  <a:lnTo>
                    <a:pt x="243" y="75"/>
                  </a:lnTo>
                  <a:lnTo>
                    <a:pt x="243" y="71"/>
                  </a:lnTo>
                  <a:lnTo>
                    <a:pt x="248" y="71"/>
                  </a:lnTo>
                  <a:lnTo>
                    <a:pt x="248" y="71"/>
                  </a:lnTo>
                  <a:lnTo>
                    <a:pt x="248" y="71"/>
                  </a:lnTo>
                  <a:lnTo>
                    <a:pt x="248" y="71"/>
                  </a:lnTo>
                  <a:lnTo>
                    <a:pt x="252" y="66"/>
                  </a:lnTo>
                  <a:lnTo>
                    <a:pt x="252" y="66"/>
                  </a:lnTo>
                  <a:lnTo>
                    <a:pt x="252" y="66"/>
                  </a:lnTo>
                  <a:lnTo>
                    <a:pt x="252" y="62"/>
                  </a:lnTo>
                  <a:lnTo>
                    <a:pt x="257" y="62"/>
                  </a:lnTo>
                  <a:lnTo>
                    <a:pt x="266" y="53"/>
                  </a:lnTo>
                  <a:lnTo>
                    <a:pt x="270" y="49"/>
                  </a:lnTo>
                  <a:lnTo>
                    <a:pt x="270" y="49"/>
                  </a:lnTo>
                  <a:lnTo>
                    <a:pt x="270" y="49"/>
                  </a:lnTo>
                  <a:lnTo>
                    <a:pt x="270" y="44"/>
                  </a:lnTo>
                  <a:lnTo>
                    <a:pt x="274" y="44"/>
                  </a:lnTo>
                  <a:lnTo>
                    <a:pt x="274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3" y="35"/>
                  </a:lnTo>
                  <a:lnTo>
                    <a:pt x="288" y="31"/>
                  </a:lnTo>
                  <a:lnTo>
                    <a:pt x="292" y="27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8" y="22"/>
                  </a:lnTo>
                  <a:lnTo>
                    <a:pt x="288" y="18"/>
                  </a:lnTo>
                  <a:lnTo>
                    <a:pt x="288" y="18"/>
                  </a:lnTo>
                  <a:lnTo>
                    <a:pt x="288" y="18"/>
                  </a:lnTo>
                  <a:lnTo>
                    <a:pt x="288" y="13"/>
                  </a:lnTo>
                  <a:lnTo>
                    <a:pt x="292" y="13"/>
                  </a:lnTo>
                  <a:lnTo>
                    <a:pt x="292" y="13"/>
                  </a:lnTo>
                  <a:lnTo>
                    <a:pt x="292" y="13"/>
                  </a:lnTo>
                  <a:lnTo>
                    <a:pt x="292" y="9"/>
                  </a:lnTo>
                  <a:lnTo>
                    <a:pt x="292" y="9"/>
                  </a:lnTo>
                  <a:lnTo>
                    <a:pt x="292" y="9"/>
                  </a:lnTo>
                  <a:lnTo>
                    <a:pt x="292" y="4"/>
                  </a:lnTo>
                  <a:lnTo>
                    <a:pt x="292" y="4"/>
                  </a:lnTo>
                  <a:lnTo>
                    <a:pt x="288" y="4"/>
                  </a:lnTo>
                  <a:lnTo>
                    <a:pt x="288" y="4"/>
                  </a:lnTo>
                  <a:lnTo>
                    <a:pt x="283" y="4"/>
                  </a:lnTo>
                  <a:lnTo>
                    <a:pt x="283" y="4"/>
                  </a:lnTo>
                  <a:lnTo>
                    <a:pt x="279" y="4"/>
                  </a:lnTo>
                  <a:lnTo>
                    <a:pt x="279" y="4"/>
                  </a:lnTo>
                  <a:lnTo>
                    <a:pt x="274" y="4"/>
                  </a:lnTo>
                  <a:lnTo>
                    <a:pt x="274" y="4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4" y="4"/>
                  </a:lnTo>
                  <a:lnTo>
                    <a:pt x="274" y="4"/>
                  </a:lnTo>
                  <a:lnTo>
                    <a:pt x="274" y="4"/>
                  </a:lnTo>
                  <a:lnTo>
                    <a:pt x="274" y="4"/>
                  </a:lnTo>
                  <a:lnTo>
                    <a:pt x="274" y="9"/>
                  </a:lnTo>
                  <a:lnTo>
                    <a:pt x="274" y="9"/>
                  </a:lnTo>
                  <a:lnTo>
                    <a:pt x="274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66" y="9"/>
                  </a:lnTo>
                  <a:lnTo>
                    <a:pt x="266" y="9"/>
                  </a:lnTo>
                  <a:lnTo>
                    <a:pt x="266" y="9"/>
                  </a:lnTo>
                  <a:lnTo>
                    <a:pt x="266" y="9"/>
                  </a:lnTo>
                  <a:lnTo>
                    <a:pt x="266" y="4"/>
                  </a:lnTo>
                  <a:lnTo>
                    <a:pt x="261" y="4"/>
                  </a:lnTo>
                  <a:lnTo>
                    <a:pt x="261" y="9"/>
                  </a:lnTo>
                  <a:lnTo>
                    <a:pt x="257" y="9"/>
                  </a:lnTo>
                  <a:lnTo>
                    <a:pt x="252" y="9"/>
                  </a:lnTo>
                  <a:lnTo>
                    <a:pt x="252" y="13"/>
                  </a:lnTo>
                  <a:lnTo>
                    <a:pt x="248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39" y="9"/>
                  </a:lnTo>
                  <a:lnTo>
                    <a:pt x="239" y="9"/>
                  </a:lnTo>
                  <a:lnTo>
                    <a:pt x="239" y="9"/>
                  </a:lnTo>
                  <a:lnTo>
                    <a:pt x="239" y="9"/>
                  </a:lnTo>
                  <a:lnTo>
                    <a:pt x="239" y="9"/>
                  </a:lnTo>
                  <a:lnTo>
                    <a:pt x="239" y="13"/>
                  </a:lnTo>
                  <a:lnTo>
                    <a:pt x="239" y="13"/>
                  </a:lnTo>
                  <a:lnTo>
                    <a:pt x="239" y="13"/>
                  </a:lnTo>
                  <a:lnTo>
                    <a:pt x="239" y="13"/>
                  </a:lnTo>
                  <a:lnTo>
                    <a:pt x="235" y="13"/>
                  </a:lnTo>
                  <a:lnTo>
                    <a:pt x="235" y="13"/>
                  </a:lnTo>
                  <a:lnTo>
                    <a:pt x="235" y="13"/>
                  </a:lnTo>
                  <a:lnTo>
                    <a:pt x="235" y="13"/>
                  </a:lnTo>
                  <a:lnTo>
                    <a:pt x="235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3"/>
                  </a:lnTo>
                  <a:lnTo>
                    <a:pt x="230" y="18"/>
                  </a:lnTo>
                  <a:lnTo>
                    <a:pt x="230" y="18"/>
                  </a:lnTo>
                  <a:lnTo>
                    <a:pt x="230" y="18"/>
                  </a:lnTo>
                  <a:lnTo>
                    <a:pt x="226" y="13"/>
                  </a:lnTo>
                  <a:lnTo>
                    <a:pt x="226" y="13"/>
                  </a:lnTo>
                  <a:lnTo>
                    <a:pt x="226" y="13"/>
                  </a:lnTo>
                  <a:lnTo>
                    <a:pt x="226" y="13"/>
                  </a:lnTo>
                  <a:lnTo>
                    <a:pt x="221" y="18"/>
                  </a:lnTo>
                  <a:lnTo>
                    <a:pt x="221" y="18"/>
                  </a:lnTo>
                  <a:lnTo>
                    <a:pt x="221" y="18"/>
                  </a:lnTo>
                  <a:lnTo>
                    <a:pt x="221" y="18"/>
                  </a:lnTo>
                  <a:lnTo>
                    <a:pt x="221" y="18"/>
                  </a:lnTo>
                  <a:lnTo>
                    <a:pt x="221" y="18"/>
                  </a:lnTo>
                  <a:lnTo>
                    <a:pt x="221" y="22"/>
                  </a:lnTo>
                  <a:lnTo>
                    <a:pt x="221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18"/>
                  </a:lnTo>
                  <a:lnTo>
                    <a:pt x="221" y="18"/>
                  </a:lnTo>
                  <a:lnTo>
                    <a:pt x="221" y="18"/>
                  </a:lnTo>
                  <a:lnTo>
                    <a:pt x="221" y="18"/>
                  </a:lnTo>
                  <a:lnTo>
                    <a:pt x="221" y="13"/>
                  </a:lnTo>
                  <a:lnTo>
                    <a:pt x="221" y="13"/>
                  </a:lnTo>
                  <a:lnTo>
                    <a:pt x="217" y="13"/>
                  </a:lnTo>
                  <a:lnTo>
                    <a:pt x="217" y="13"/>
                  </a:lnTo>
                  <a:lnTo>
                    <a:pt x="212" y="13"/>
                  </a:lnTo>
                  <a:lnTo>
                    <a:pt x="212" y="13"/>
                  </a:lnTo>
                  <a:lnTo>
                    <a:pt x="212" y="13"/>
                  </a:lnTo>
                  <a:lnTo>
                    <a:pt x="212" y="13"/>
                  </a:lnTo>
                  <a:lnTo>
                    <a:pt x="208" y="18"/>
                  </a:lnTo>
                  <a:lnTo>
                    <a:pt x="208" y="18"/>
                  </a:lnTo>
                  <a:lnTo>
                    <a:pt x="208" y="18"/>
                  </a:lnTo>
                  <a:lnTo>
                    <a:pt x="208" y="18"/>
                  </a:lnTo>
                  <a:lnTo>
                    <a:pt x="208" y="22"/>
                  </a:lnTo>
                  <a:lnTo>
                    <a:pt x="208" y="22"/>
                  </a:lnTo>
                  <a:lnTo>
                    <a:pt x="204" y="22"/>
                  </a:lnTo>
                  <a:lnTo>
                    <a:pt x="204" y="27"/>
                  </a:lnTo>
                  <a:lnTo>
                    <a:pt x="204" y="22"/>
                  </a:lnTo>
                  <a:lnTo>
                    <a:pt x="204" y="22"/>
                  </a:lnTo>
                  <a:lnTo>
                    <a:pt x="204" y="18"/>
                  </a:lnTo>
                  <a:lnTo>
                    <a:pt x="208" y="18"/>
                  </a:lnTo>
                  <a:lnTo>
                    <a:pt x="208" y="18"/>
                  </a:lnTo>
                  <a:lnTo>
                    <a:pt x="208" y="13"/>
                  </a:lnTo>
                  <a:lnTo>
                    <a:pt x="208" y="13"/>
                  </a:lnTo>
                  <a:lnTo>
                    <a:pt x="208" y="13"/>
                  </a:lnTo>
                  <a:lnTo>
                    <a:pt x="208" y="13"/>
                  </a:lnTo>
                  <a:lnTo>
                    <a:pt x="208" y="13"/>
                  </a:lnTo>
                  <a:lnTo>
                    <a:pt x="204" y="13"/>
                  </a:lnTo>
                  <a:lnTo>
                    <a:pt x="204" y="13"/>
                  </a:lnTo>
                  <a:lnTo>
                    <a:pt x="204" y="9"/>
                  </a:lnTo>
                  <a:lnTo>
                    <a:pt x="199" y="9"/>
                  </a:lnTo>
                  <a:lnTo>
                    <a:pt x="199" y="9"/>
                  </a:lnTo>
                  <a:lnTo>
                    <a:pt x="199" y="9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9" y="18"/>
                  </a:lnTo>
                  <a:lnTo>
                    <a:pt x="199" y="18"/>
                  </a:lnTo>
                  <a:lnTo>
                    <a:pt x="199" y="18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9" y="9"/>
                  </a:lnTo>
                  <a:lnTo>
                    <a:pt x="199" y="9"/>
                  </a:lnTo>
                  <a:lnTo>
                    <a:pt x="199" y="9"/>
                  </a:lnTo>
                  <a:lnTo>
                    <a:pt x="195" y="9"/>
                  </a:lnTo>
                  <a:lnTo>
                    <a:pt x="190" y="4"/>
                  </a:lnTo>
                  <a:lnTo>
                    <a:pt x="190" y="9"/>
                  </a:lnTo>
                  <a:lnTo>
                    <a:pt x="190" y="9"/>
                  </a:lnTo>
                  <a:lnTo>
                    <a:pt x="190" y="13"/>
                  </a:lnTo>
                  <a:lnTo>
                    <a:pt x="186" y="13"/>
                  </a:lnTo>
                  <a:lnTo>
                    <a:pt x="190" y="13"/>
                  </a:lnTo>
                  <a:lnTo>
                    <a:pt x="186" y="13"/>
                  </a:lnTo>
                  <a:lnTo>
                    <a:pt x="186" y="18"/>
                  </a:lnTo>
                  <a:lnTo>
                    <a:pt x="186" y="18"/>
                  </a:lnTo>
                  <a:lnTo>
                    <a:pt x="186" y="18"/>
                  </a:lnTo>
                  <a:lnTo>
                    <a:pt x="186" y="18"/>
                  </a:lnTo>
                  <a:lnTo>
                    <a:pt x="186" y="22"/>
                  </a:lnTo>
                  <a:lnTo>
                    <a:pt x="190" y="27"/>
                  </a:lnTo>
                  <a:lnTo>
                    <a:pt x="186" y="27"/>
                  </a:lnTo>
                  <a:lnTo>
                    <a:pt x="186" y="22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6" y="31"/>
                  </a:lnTo>
                  <a:lnTo>
                    <a:pt x="190" y="31"/>
                  </a:lnTo>
                  <a:lnTo>
                    <a:pt x="186" y="31"/>
                  </a:lnTo>
                  <a:lnTo>
                    <a:pt x="181" y="27"/>
                  </a:lnTo>
                  <a:lnTo>
                    <a:pt x="181" y="27"/>
                  </a:lnTo>
                  <a:lnTo>
                    <a:pt x="181" y="27"/>
                  </a:lnTo>
                  <a:lnTo>
                    <a:pt x="181" y="27"/>
                  </a:lnTo>
                  <a:lnTo>
                    <a:pt x="181" y="27"/>
                  </a:lnTo>
                  <a:lnTo>
                    <a:pt x="181" y="27"/>
                  </a:lnTo>
                  <a:lnTo>
                    <a:pt x="181" y="31"/>
                  </a:lnTo>
                  <a:lnTo>
                    <a:pt x="181" y="31"/>
                  </a:lnTo>
                  <a:lnTo>
                    <a:pt x="181" y="31"/>
                  </a:lnTo>
                  <a:lnTo>
                    <a:pt x="181" y="31"/>
                  </a:lnTo>
                  <a:lnTo>
                    <a:pt x="181" y="31"/>
                  </a:lnTo>
                  <a:lnTo>
                    <a:pt x="181" y="35"/>
                  </a:lnTo>
                  <a:lnTo>
                    <a:pt x="181" y="35"/>
                  </a:lnTo>
                  <a:lnTo>
                    <a:pt x="181" y="35"/>
                  </a:lnTo>
                  <a:lnTo>
                    <a:pt x="181" y="35"/>
                  </a:lnTo>
                  <a:lnTo>
                    <a:pt x="181" y="35"/>
                  </a:lnTo>
                  <a:lnTo>
                    <a:pt x="181" y="35"/>
                  </a:lnTo>
                  <a:lnTo>
                    <a:pt x="181" y="40"/>
                  </a:lnTo>
                  <a:lnTo>
                    <a:pt x="181" y="40"/>
                  </a:lnTo>
                  <a:lnTo>
                    <a:pt x="181" y="40"/>
                  </a:lnTo>
                  <a:lnTo>
                    <a:pt x="186" y="40"/>
                  </a:lnTo>
                  <a:lnTo>
                    <a:pt x="186" y="44"/>
                  </a:lnTo>
                  <a:lnTo>
                    <a:pt x="186" y="44"/>
                  </a:lnTo>
                  <a:lnTo>
                    <a:pt x="186" y="44"/>
                  </a:lnTo>
                  <a:lnTo>
                    <a:pt x="186" y="44"/>
                  </a:lnTo>
                  <a:lnTo>
                    <a:pt x="186" y="44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5" y="44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5" y="49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86" y="44"/>
                  </a:lnTo>
                  <a:lnTo>
                    <a:pt x="186" y="44"/>
                  </a:lnTo>
                  <a:lnTo>
                    <a:pt x="181" y="44"/>
                  </a:lnTo>
                  <a:lnTo>
                    <a:pt x="181" y="44"/>
                  </a:lnTo>
                  <a:lnTo>
                    <a:pt x="181" y="44"/>
                  </a:lnTo>
                  <a:lnTo>
                    <a:pt x="181" y="44"/>
                  </a:lnTo>
                  <a:lnTo>
                    <a:pt x="181" y="44"/>
                  </a:lnTo>
                  <a:lnTo>
                    <a:pt x="181" y="44"/>
                  </a:lnTo>
                  <a:lnTo>
                    <a:pt x="177" y="44"/>
                  </a:lnTo>
                  <a:lnTo>
                    <a:pt x="177" y="44"/>
                  </a:lnTo>
                  <a:lnTo>
                    <a:pt x="177" y="44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68" y="44"/>
                  </a:lnTo>
                  <a:lnTo>
                    <a:pt x="168" y="44"/>
                  </a:lnTo>
                  <a:lnTo>
                    <a:pt x="168" y="44"/>
                  </a:lnTo>
                  <a:lnTo>
                    <a:pt x="173" y="49"/>
                  </a:lnTo>
                  <a:lnTo>
                    <a:pt x="173" y="49"/>
                  </a:lnTo>
                  <a:lnTo>
                    <a:pt x="173" y="49"/>
                  </a:lnTo>
                  <a:lnTo>
                    <a:pt x="173" y="49"/>
                  </a:lnTo>
                  <a:lnTo>
                    <a:pt x="173" y="49"/>
                  </a:lnTo>
                  <a:lnTo>
                    <a:pt x="173" y="53"/>
                  </a:lnTo>
                  <a:lnTo>
                    <a:pt x="173" y="53"/>
                  </a:lnTo>
                  <a:lnTo>
                    <a:pt x="173" y="53"/>
                  </a:lnTo>
                  <a:lnTo>
                    <a:pt x="173" y="53"/>
                  </a:lnTo>
                  <a:lnTo>
                    <a:pt x="173" y="53"/>
                  </a:lnTo>
                  <a:lnTo>
                    <a:pt x="173" y="53"/>
                  </a:lnTo>
                  <a:lnTo>
                    <a:pt x="173" y="53"/>
                  </a:lnTo>
                  <a:lnTo>
                    <a:pt x="173" y="53"/>
                  </a:lnTo>
                  <a:lnTo>
                    <a:pt x="177" y="53"/>
                  </a:lnTo>
                  <a:lnTo>
                    <a:pt x="177" y="53"/>
                  </a:lnTo>
                  <a:lnTo>
                    <a:pt x="177" y="53"/>
                  </a:lnTo>
                  <a:lnTo>
                    <a:pt x="173" y="53"/>
                  </a:lnTo>
                  <a:lnTo>
                    <a:pt x="173" y="58"/>
                  </a:lnTo>
                  <a:lnTo>
                    <a:pt x="173" y="58"/>
                  </a:lnTo>
                  <a:lnTo>
                    <a:pt x="173" y="58"/>
                  </a:lnTo>
                  <a:lnTo>
                    <a:pt x="173" y="58"/>
                  </a:lnTo>
                  <a:lnTo>
                    <a:pt x="173" y="58"/>
                  </a:lnTo>
                  <a:lnTo>
                    <a:pt x="173" y="58"/>
                  </a:lnTo>
                  <a:lnTo>
                    <a:pt x="173" y="58"/>
                  </a:lnTo>
                  <a:lnTo>
                    <a:pt x="173" y="62"/>
                  </a:lnTo>
                  <a:lnTo>
                    <a:pt x="173" y="62"/>
                  </a:lnTo>
                  <a:lnTo>
                    <a:pt x="173" y="62"/>
                  </a:lnTo>
                  <a:lnTo>
                    <a:pt x="173" y="62"/>
                  </a:lnTo>
                  <a:lnTo>
                    <a:pt x="173" y="62"/>
                  </a:lnTo>
                  <a:lnTo>
                    <a:pt x="168" y="62"/>
                  </a:lnTo>
                  <a:lnTo>
                    <a:pt x="168" y="62"/>
                  </a:lnTo>
                  <a:lnTo>
                    <a:pt x="168" y="58"/>
                  </a:lnTo>
                  <a:lnTo>
                    <a:pt x="164" y="62"/>
                  </a:lnTo>
                  <a:lnTo>
                    <a:pt x="168" y="62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73" y="66"/>
                  </a:lnTo>
                  <a:lnTo>
                    <a:pt x="173" y="66"/>
                  </a:lnTo>
                  <a:lnTo>
                    <a:pt x="173" y="66"/>
                  </a:lnTo>
                  <a:lnTo>
                    <a:pt x="168" y="66"/>
                  </a:lnTo>
                  <a:lnTo>
                    <a:pt x="173" y="66"/>
                  </a:lnTo>
                  <a:lnTo>
                    <a:pt x="173" y="71"/>
                  </a:lnTo>
                  <a:lnTo>
                    <a:pt x="177" y="71"/>
                  </a:lnTo>
                  <a:lnTo>
                    <a:pt x="177" y="71"/>
                  </a:lnTo>
                  <a:lnTo>
                    <a:pt x="177" y="71"/>
                  </a:lnTo>
                  <a:lnTo>
                    <a:pt x="177" y="75"/>
                  </a:lnTo>
                  <a:lnTo>
                    <a:pt x="177" y="75"/>
                  </a:lnTo>
                  <a:lnTo>
                    <a:pt x="177" y="75"/>
                  </a:lnTo>
                  <a:lnTo>
                    <a:pt x="177" y="75"/>
                  </a:lnTo>
                  <a:lnTo>
                    <a:pt x="177" y="75"/>
                  </a:lnTo>
                  <a:lnTo>
                    <a:pt x="177" y="75"/>
                  </a:lnTo>
                  <a:lnTo>
                    <a:pt x="177" y="75"/>
                  </a:lnTo>
                  <a:lnTo>
                    <a:pt x="186" y="84"/>
                  </a:lnTo>
                  <a:lnTo>
                    <a:pt x="186" y="84"/>
                  </a:lnTo>
                  <a:lnTo>
                    <a:pt x="186" y="84"/>
                  </a:lnTo>
                  <a:lnTo>
                    <a:pt x="186" y="84"/>
                  </a:lnTo>
                  <a:lnTo>
                    <a:pt x="186" y="84"/>
                  </a:lnTo>
                  <a:lnTo>
                    <a:pt x="186" y="84"/>
                  </a:lnTo>
                  <a:lnTo>
                    <a:pt x="186" y="84"/>
                  </a:lnTo>
                  <a:lnTo>
                    <a:pt x="181" y="84"/>
                  </a:lnTo>
                  <a:lnTo>
                    <a:pt x="181" y="80"/>
                  </a:lnTo>
                  <a:lnTo>
                    <a:pt x="177" y="80"/>
                  </a:lnTo>
                  <a:lnTo>
                    <a:pt x="177" y="80"/>
                  </a:lnTo>
                  <a:lnTo>
                    <a:pt x="177" y="80"/>
                  </a:lnTo>
                  <a:lnTo>
                    <a:pt x="177" y="80"/>
                  </a:lnTo>
                  <a:lnTo>
                    <a:pt x="177" y="80"/>
                  </a:lnTo>
                  <a:lnTo>
                    <a:pt x="177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75"/>
                  </a:lnTo>
                  <a:lnTo>
                    <a:pt x="168" y="75"/>
                  </a:lnTo>
                  <a:lnTo>
                    <a:pt x="168" y="75"/>
                  </a:lnTo>
                  <a:lnTo>
                    <a:pt x="168" y="75"/>
                  </a:lnTo>
                  <a:lnTo>
                    <a:pt x="168" y="75"/>
                  </a:lnTo>
                  <a:lnTo>
                    <a:pt x="168" y="75"/>
                  </a:lnTo>
                  <a:lnTo>
                    <a:pt x="168" y="75"/>
                  </a:lnTo>
                  <a:lnTo>
                    <a:pt x="168" y="75"/>
                  </a:lnTo>
                  <a:lnTo>
                    <a:pt x="168" y="75"/>
                  </a:lnTo>
                  <a:lnTo>
                    <a:pt x="168" y="75"/>
                  </a:lnTo>
                  <a:lnTo>
                    <a:pt x="168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7" y="84"/>
                  </a:lnTo>
                  <a:lnTo>
                    <a:pt x="177" y="84"/>
                  </a:lnTo>
                  <a:lnTo>
                    <a:pt x="177" y="84"/>
                  </a:lnTo>
                  <a:lnTo>
                    <a:pt x="173" y="84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59" y="84"/>
                  </a:lnTo>
                  <a:lnTo>
                    <a:pt x="159" y="80"/>
                  </a:lnTo>
                  <a:lnTo>
                    <a:pt x="159" y="80"/>
                  </a:lnTo>
                  <a:lnTo>
                    <a:pt x="159" y="80"/>
                  </a:lnTo>
                  <a:lnTo>
                    <a:pt x="159" y="75"/>
                  </a:lnTo>
                  <a:lnTo>
                    <a:pt x="155" y="75"/>
                  </a:lnTo>
                  <a:lnTo>
                    <a:pt x="155" y="75"/>
                  </a:lnTo>
                  <a:lnTo>
                    <a:pt x="155" y="80"/>
                  </a:lnTo>
                  <a:lnTo>
                    <a:pt x="155" y="80"/>
                  </a:lnTo>
                  <a:lnTo>
                    <a:pt x="155" y="80"/>
                  </a:lnTo>
                  <a:lnTo>
                    <a:pt x="155" y="80"/>
                  </a:lnTo>
                  <a:lnTo>
                    <a:pt x="155" y="80"/>
                  </a:lnTo>
                  <a:lnTo>
                    <a:pt x="155" y="80"/>
                  </a:lnTo>
                  <a:lnTo>
                    <a:pt x="155" y="84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93"/>
                  </a:lnTo>
                  <a:lnTo>
                    <a:pt x="155" y="93"/>
                  </a:lnTo>
                  <a:lnTo>
                    <a:pt x="159" y="93"/>
                  </a:lnTo>
                  <a:lnTo>
                    <a:pt x="155" y="93"/>
                  </a:lnTo>
                  <a:lnTo>
                    <a:pt x="155" y="93"/>
                  </a:lnTo>
                  <a:lnTo>
                    <a:pt x="155" y="93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4"/>
                  </a:lnTo>
                  <a:lnTo>
                    <a:pt x="155" y="84"/>
                  </a:lnTo>
                  <a:lnTo>
                    <a:pt x="155" y="84"/>
                  </a:lnTo>
                  <a:lnTo>
                    <a:pt x="150" y="84"/>
                  </a:lnTo>
                  <a:lnTo>
                    <a:pt x="150" y="80"/>
                  </a:lnTo>
                  <a:lnTo>
                    <a:pt x="150" y="80"/>
                  </a:lnTo>
                  <a:lnTo>
                    <a:pt x="150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9"/>
                  </a:lnTo>
                  <a:lnTo>
                    <a:pt x="146" y="89"/>
                  </a:lnTo>
                  <a:lnTo>
                    <a:pt x="146" y="89"/>
                  </a:lnTo>
                  <a:lnTo>
                    <a:pt x="146" y="93"/>
                  </a:lnTo>
                  <a:lnTo>
                    <a:pt x="146" y="93"/>
                  </a:lnTo>
                  <a:lnTo>
                    <a:pt x="146" y="93"/>
                  </a:lnTo>
                  <a:lnTo>
                    <a:pt x="150" y="97"/>
                  </a:lnTo>
                  <a:lnTo>
                    <a:pt x="150" y="97"/>
                  </a:lnTo>
                  <a:lnTo>
                    <a:pt x="150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102"/>
                  </a:lnTo>
                  <a:lnTo>
                    <a:pt x="150" y="102"/>
                  </a:lnTo>
                  <a:lnTo>
                    <a:pt x="150" y="97"/>
                  </a:lnTo>
                  <a:lnTo>
                    <a:pt x="150" y="97"/>
                  </a:lnTo>
                  <a:lnTo>
                    <a:pt x="146" y="97"/>
                  </a:lnTo>
                  <a:lnTo>
                    <a:pt x="146" y="102"/>
                  </a:lnTo>
                  <a:lnTo>
                    <a:pt x="146" y="102"/>
                  </a:lnTo>
                  <a:lnTo>
                    <a:pt x="146" y="102"/>
                  </a:lnTo>
                  <a:lnTo>
                    <a:pt x="146" y="102"/>
                  </a:lnTo>
                  <a:lnTo>
                    <a:pt x="146" y="106"/>
                  </a:lnTo>
                  <a:lnTo>
                    <a:pt x="146" y="106"/>
                  </a:lnTo>
                  <a:lnTo>
                    <a:pt x="146" y="106"/>
                  </a:lnTo>
                  <a:lnTo>
                    <a:pt x="150" y="106"/>
                  </a:lnTo>
                  <a:lnTo>
                    <a:pt x="150" y="106"/>
                  </a:lnTo>
                  <a:lnTo>
                    <a:pt x="150" y="111"/>
                  </a:lnTo>
                  <a:lnTo>
                    <a:pt x="150" y="111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0" y="111"/>
                  </a:lnTo>
                  <a:lnTo>
                    <a:pt x="155" y="115"/>
                  </a:lnTo>
                  <a:lnTo>
                    <a:pt x="155" y="111"/>
                  </a:lnTo>
                  <a:lnTo>
                    <a:pt x="159" y="111"/>
                  </a:lnTo>
                  <a:lnTo>
                    <a:pt x="159" y="115"/>
                  </a:lnTo>
                  <a:lnTo>
                    <a:pt x="164" y="115"/>
                  </a:lnTo>
                  <a:lnTo>
                    <a:pt x="164" y="115"/>
                  </a:lnTo>
                  <a:lnTo>
                    <a:pt x="159" y="115"/>
                  </a:lnTo>
                  <a:lnTo>
                    <a:pt x="159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20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0" y="115"/>
                  </a:lnTo>
                  <a:lnTo>
                    <a:pt x="150" y="115"/>
                  </a:lnTo>
                  <a:lnTo>
                    <a:pt x="150" y="115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6" y="115"/>
                  </a:lnTo>
                  <a:lnTo>
                    <a:pt x="146" y="115"/>
                  </a:lnTo>
                  <a:lnTo>
                    <a:pt x="146" y="115"/>
                  </a:lnTo>
                  <a:lnTo>
                    <a:pt x="146" y="115"/>
                  </a:lnTo>
                  <a:lnTo>
                    <a:pt x="142" y="120"/>
                  </a:lnTo>
                  <a:lnTo>
                    <a:pt x="142" y="120"/>
                  </a:lnTo>
                  <a:lnTo>
                    <a:pt x="142" y="120"/>
                  </a:lnTo>
                  <a:lnTo>
                    <a:pt x="146" y="124"/>
                  </a:lnTo>
                  <a:lnTo>
                    <a:pt x="146" y="124"/>
                  </a:lnTo>
                  <a:lnTo>
                    <a:pt x="146" y="124"/>
                  </a:lnTo>
                  <a:lnTo>
                    <a:pt x="146" y="124"/>
                  </a:lnTo>
                  <a:lnTo>
                    <a:pt x="146" y="124"/>
                  </a:lnTo>
                  <a:lnTo>
                    <a:pt x="146" y="124"/>
                  </a:lnTo>
                  <a:lnTo>
                    <a:pt x="146" y="124"/>
                  </a:lnTo>
                  <a:lnTo>
                    <a:pt x="146" y="128"/>
                  </a:lnTo>
                  <a:lnTo>
                    <a:pt x="146" y="128"/>
                  </a:lnTo>
                  <a:lnTo>
                    <a:pt x="146" y="128"/>
                  </a:lnTo>
                  <a:lnTo>
                    <a:pt x="146" y="128"/>
                  </a:lnTo>
                  <a:lnTo>
                    <a:pt x="146" y="128"/>
                  </a:lnTo>
                  <a:lnTo>
                    <a:pt x="146" y="128"/>
                  </a:lnTo>
                  <a:lnTo>
                    <a:pt x="146" y="128"/>
                  </a:lnTo>
                  <a:lnTo>
                    <a:pt x="146" y="128"/>
                  </a:lnTo>
                  <a:lnTo>
                    <a:pt x="146" y="133"/>
                  </a:lnTo>
                  <a:lnTo>
                    <a:pt x="146" y="133"/>
                  </a:lnTo>
                  <a:lnTo>
                    <a:pt x="150" y="133"/>
                  </a:lnTo>
                  <a:lnTo>
                    <a:pt x="150" y="133"/>
                  </a:lnTo>
                  <a:lnTo>
                    <a:pt x="155" y="128"/>
                  </a:lnTo>
                  <a:lnTo>
                    <a:pt x="155" y="128"/>
                  </a:lnTo>
                  <a:lnTo>
                    <a:pt x="155" y="128"/>
                  </a:lnTo>
                  <a:lnTo>
                    <a:pt x="155" y="12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33"/>
                  </a:lnTo>
                  <a:lnTo>
                    <a:pt x="155" y="133"/>
                  </a:lnTo>
                  <a:lnTo>
                    <a:pt x="159" y="133"/>
                  </a:lnTo>
                  <a:lnTo>
                    <a:pt x="159" y="133"/>
                  </a:lnTo>
                  <a:lnTo>
                    <a:pt x="159" y="133"/>
                  </a:lnTo>
                  <a:lnTo>
                    <a:pt x="164" y="128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8"/>
                  </a:lnTo>
                  <a:lnTo>
                    <a:pt x="164" y="133"/>
                  </a:lnTo>
                  <a:lnTo>
                    <a:pt x="155" y="133"/>
                  </a:lnTo>
                  <a:lnTo>
                    <a:pt x="155" y="133"/>
                  </a:lnTo>
                  <a:lnTo>
                    <a:pt x="155" y="133"/>
                  </a:lnTo>
                  <a:lnTo>
                    <a:pt x="155" y="133"/>
                  </a:lnTo>
                  <a:lnTo>
                    <a:pt x="155" y="133"/>
                  </a:lnTo>
                  <a:lnTo>
                    <a:pt x="155" y="133"/>
                  </a:lnTo>
                  <a:lnTo>
                    <a:pt x="155" y="133"/>
                  </a:lnTo>
                  <a:lnTo>
                    <a:pt x="155" y="133"/>
                  </a:lnTo>
                  <a:lnTo>
                    <a:pt x="150" y="133"/>
                  </a:lnTo>
                  <a:lnTo>
                    <a:pt x="150" y="137"/>
                  </a:lnTo>
                  <a:lnTo>
                    <a:pt x="150" y="137"/>
                  </a:lnTo>
                  <a:lnTo>
                    <a:pt x="150" y="142"/>
                  </a:lnTo>
                  <a:lnTo>
                    <a:pt x="150" y="142"/>
                  </a:lnTo>
                  <a:lnTo>
                    <a:pt x="155" y="137"/>
                  </a:lnTo>
                  <a:lnTo>
                    <a:pt x="155" y="137"/>
                  </a:lnTo>
                  <a:lnTo>
                    <a:pt x="159" y="142"/>
                  </a:lnTo>
                  <a:lnTo>
                    <a:pt x="159" y="142"/>
                  </a:lnTo>
                  <a:lnTo>
                    <a:pt x="159" y="142"/>
                  </a:lnTo>
                  <a:lnTo>
                    <a:pt x="164" y="137"/>
                  </a:lnTo>
                  <a:lnTo>
                    <a:pt x="164" y="137"/>
                  </a:lnTo>
                  <a:lnTo>
                    <a:pt x="164" y="137"/>
                  </a:lnTo>
                  <a:lnTo>
                    <a:pt x="164" y="137"/>
                  </a:lnTo>
                  <a:lnTo>
                    <a:pt x="164" y="137"/>
                  </a:lnTo>
                  <a:lnTo>
                    <a:pt x="168" y="137"/>
                  </a:lnTo>
                  <a:lnTo>
                    <a:pt x="168" y="137"/>
                  </a:lnTo>
                  <a:lnTo>
                    <a:pt x="164" y="137"/>
                  </a:lnTo>
                  <a:lnTo>
                    <a:pt x="164" y="137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8" y="146"/>
                  </a:lnTo>
                  <a:lnTo>
                    <a:pt x="168" y="146"/>
                  </a:lnTo>
                  <a:lnTo>
                    <a:pt x="164" y="146"/>
                  </a:lnTo>
                  <a:lnTo>
                    <a:pt x="164" y="146"/>
                  </a:lnTo>
                  <a:lnTo>
                    <a:pt x="164" y="142"/>
                  </a:lnTo>
                  <a:lnTo>
                    <a:pt x="159" y="142"/>
                  </a:lnTo>
                  <a:lnTo>
                    <a:pt x="159" y="142"/>
                  </a:lnTo>
                  <a:lnTo>
                    <a:pt x="155" y="142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51"/>
                  </a:lnTo>
                  <a:lnTo>
                    <a:pt x="155" y="151"/>
                  </a:lnTo>
                  <a:lnTo>
                    <a:pt x="155" y="155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64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4" y="155"/>
                  </a:lnTo>
                  <a:lnTo>
                    <a:pt x="164" y="155"/>
                  </a:lnTo>
                  <a:lnTo>
                    <a:pt x="164" y="159"/>
                  </a:lnTo>
                  <a:lnTo>
                    <a:pt x="159" y="159"/>
                  </a:lnTo>
                  <a:lnTo>
                    <a:pt x="159" y="155"/>
                  </a:lnTo>
                  <a:lnTo>
                    <a:pt x="155" y="155"/>
                  </a:lnTo>
                  <a:lnTo>
                    <a:pt x="155" y="155"/>
                  </a:lnTo>
                  <a:lnTo>
                    <a:pt x="155" y="155"/>
                  </a:lnTo>
                  <a:lnTo>
                    <a:pt x="155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9"/>
                  </a:lnTo>
                  <a:lnTo>
                    <a:pt x="146" y="159"/>
                  </a:lnTo>
                  <a:lnTo>
                    <a:pt x="146" y="164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5" y="164"/>
                  </a:lnTo>
                  <a:lnTo>
                    <a:pt x="155" y="164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9" y="168"/>
                  </a:lnTo>
                  <a:lnTo>
                    <a:pt x="159" y="168"/>
                  </a:lnTo>
                  <a:lnTo>
                    <a:pt x="159" y="168"/>
                  </a:lnTo>
                  <a:lnTo>
                    <a:pt x="159" y="168"/>
                  </a:lnTo>
                  <a:lnTo>
                    <a:pt x="159" y="168"/>
                  </a:lnTo>
                  <a:lnTo>
                    <a:pt x="164" y="168"/>
                  </a:lnTo>
                  <a:lnTo>
                    <a:pt x="164" y="168"/>
                  </a:lnTo>
                  <a:lnTo>
                    <a:pt x="159" y="168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0" y="168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46" y="164"/>
                  </a:lnTo>
                  <a:lnTo>
                    <a:pt x="146" y="168"/>
                  </a:lnTo>
                  <a:lnTo>
                    <a:pt x="146" y="168"/>
                  </a:lnTo>
                  <a:lnTo>
                    <a:pt x="146" y="168"/>
                  </a:lnTo>
                  <a:lnTo>
                    <a:pt x="146" y="173"/>
                  </a:lnTo>
                  <a:lnTo>
                    <a:pt x="142" y="173"/>
                  </a:lnTo>
                  <a:lnTo>
                    <a:pt x="142" y="173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2" y="177"/>
                  </a:lnTo>
                  <a:lnTo>
                    <a:pt x="142" y="177"/>
                  </a:lnTo>
                  <a:lnTo>
                    <a:pt x="142" y="177"/>
                  </a:lnTo>
                  <a:lnTo>
                    <a:pt x="146" y="177"/>
                  </a:lnTo>
                  <a:lnTo>
                    <a:pt x="150" y="177"/>
                  </a:lnTo>
                  <a:lnTo>
                    <a:pt x="150" y="182"/>
                  </a:lnTo>
                  <a:lnTo>
                    <a:pt x="146" y="182"/>
                  </a:lnTo>
                  <a:lnTo>
                    <a:pt x="150" y="182"/>
                  </a:lnTo>
                  <a:lnTo>
                    <a:pt x="150" y="182"/>
                  </a:lnTo>
                  <a:lnTo>
                    <a:pt x="150" y="182"/>
                  </a:lnTo>
                  <a:lnTo>
                    <a:pt x="155" y="177"/>
                  </a:lnTo>
                  <a:lnTo>
                    <a:pt x="155" y="177"/>
                  </a:lnTo>
                  <a:lnTo>
                    <a:pt x="155" y="182"/>
                  </a:lnTo>
                  <a:lnTo>
                    <a:pt x="155" y="182"/>
                  </a:lnTo>
                  <a:lnTo>
                    <a:pt x="150" y="182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6" y="186"/>
                  </a:lnTo>
                  <a:lnTo>
                    <a:pt x="146" y="186"/>
                  </a:lnTo>
                  <a:lnTo>
                    <a:pt x="150" y="186"/>
                  </a:lnTo>
                  <a:lnTo>
                    <a:pt x="150" y="186"/>
                  </a:lnTo>
                  <a:lnTo>
                    <a:pt x="146" y="186"/>
                  </a:lnTo>
                  <a:lnTo>
                    <a:pt x="146" y="186"/>
                  </a:lnTo>
                  <a:lnTo>
                    <a:pt x="146" y="190"/>
                  </a:lnTo>
                  <a:lnTo>
                    <a:pt x="146" y="186"/>
                  </a:lnTo>
                  <a:lnTo>
                    <a:pt x="146" y="186"/>
                  </a:lnTo>
                  <a:lnTo>
                    <a:pt x="142" y="186"/>
                  </a:lnTo>
                  <a:lnTo>
                    <a:pt x="142" y="186"/>
                  </a:lnTo>
                  <a:lnTo>
                    <a:pt x="142" y="190"/>
                  </a:lnTo>
                  <a:lnTo>
                    <a:pt x="142" y="190"/>
                  </a:lnTo>
                  <a:lnTo>
                    <a:pt x="146" y="190"/>
                  </a:lnTo>
                  <a:lnTo>
                    <a:pt x="146" y="190"/>
                  </a:lnTo>
                  <a:lnTo>
                    <a:pt x="146" y="190"/>
                  </a:lnTo>
                  <a:lnTo>
                    <a:pt x="146" y="190"/>
                  </a:lnTo>
                  <a:lnTo>
                    <a:pt x="142" y="190"/>
                  </a:lnTo>
                  <a:lnTo>
                    <a:pt x="142" y="190"/>
                  </a:lnTo>
                  <a:lnTo>
                    <a:pt x="142" y="190"/>
                  </a:lnTo>
                  <a:lnTo>
                    <a:pt x="137" y="186"/>
                  </a:lnTo>
                  <a:lnTo>
                    <a:pt x="137" y="186"/>
                  </a:lnTo>
                  <a:lnTo>
                    <a:pt x="137" y="186"/>
                  </a:lnTo>
                  <a:lnTo>
                    <a:pt x="137" y="190"/>
                  </a:lnTo>
                  <a:lnTo>
                    <a:pt x="137" y="190"/>
                  </a:lnTo>
                  <a:lnTo>
                    <a:pt x="128" y="190"/>
                  </a:lnTo>
                  <a:lnTo>
                    <a:pt x="128" y="190"/>
                  </a:lnTo>
                  <a:lnTo>
                    <a:pt x="124" y="195"/>
                  </a:lnTo>
                  <a:lnTo>
                    <a:pt x="124" y="195"/>
                  </a:lnTo>
                  <a:lnTo>
                    <a:pt x="124" y="195"/>
                  </a:lnTo>
                  <a:lnTo>
                    <a:pt x="124" y="195"/>
                  </a:lnTo>
                  <a:lnTo>
                    <a:pt x="124" y="195"/>
                  </a:lnTo>
                  <a:lnTo>
                    <a:pt x="124" y="195"/>
                  </a:lnTo>
                  <a:lnTo>
                    <a:pt x="124" y="195"/>
                  </a:lnTo>
                  <a:lnTo>
                    <a:pt x="124" y="195"/>
                  </a:lnTo>
                  <a:lnTo>
                    <a:pt x="124" y="195"/>
                  </a:lnTo>
                  <a:lnTo>
                    <a:pt x="124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5"/>
                  </a:lnTo>
                  <a:lnTo>
                    <a:pt x="133" y="195"/>
                  </a:lnTo>
                  <a:lnTo>
                    <a:pt x="137" y="199"/>
                  </a:lnTo>
                  <a:lnTo>
                    <a:pt x="137" y="199"/>
                  </a:lnTo>
                  <a:lnTo>
                    <a:pt x="142" y="199"/>
                  </a:lnTo>
                  <a:lnTo>
                    <a:pt x="142" y="199"/>
                  </a:lnTo>
                  <a:lnTo>
                    <a:pt x="142" y="199"/>
                  </a:lnTo>
                  <a:lnTo>
                    <a:pt x="142" y="199"/>
                  </a:lnTo>
                  <a:lnTo>
                    <a:pt x="146" y="199"/>
                  </a:lnTo>
                  <a:lnTo>
                    <a:pt x="150" y="195"/>
                  </a:lnTo>
                  <a:lnTo>
                    <a:pt x="150" y="195"/>
                  </a:lnTo>
                  <a:lnTo>
                    <a:pt x="155" y="195"/>
                  </a:lnTo>
                  <a:lnTo>
                    <a:pt x="155" y="199"/>
                  </a:lnTo>
                  <a:lnTo>
                    <a:pt x="159" y="195"/>
                  </a:lnTo>
                  <a:lnTo>
                    <a:pt x="159" y="199"/>
                  </a:lnTo>
                  <a:lnTo>
                    <a:pt x="159" y="199"/>
                  </a:lnTo>
                  <a:lnTo>
                    <a:pt x="155" y="199"/>
                  </a:lnTo>
                  <a:lnTo>
                    <a:pt x="155" y="199"/>
                  </a:lnTo>
                  <a:lnTo>
                    <a:pt x="150" y="195"/>
                  </a:lnTo>
                  <a:lnTo>
                    <a:pt x="150" y="195"/>
                  </a:lnTo>
                  <a:lnTo>
                    <a:pt x="142" y="199"/>
                  </a:lnTo>
                  <a:lnTo>
                    <a:pt x="142" y="199"/>
                  </a:lnTo>
                  <a:lnTo>
                    <a:pt x="146" y="199"/>
                  </a:lnTo>
                  <a:lnTo>
                    <a:pt x="146" y="204"/>
                  </a:lnTo>
                  <a:lnTo>
                    <a:pt x="146" y="204"/>
                  </a:lnTo>
                  <a:lnTo>
                    <a:pt x="142" y="204"/>
                  </a:lnTo>
                  <a:lnTo>
                    <a:pt x="142" y="199"/>
                  </a:lnTo>
                  <a:lnTo>
                    <a:pt x="142" y="199"/>
                  </a:lnTo>
                  <a:lnTo>
                    <a:pt x="137" y="199"/>
                  </a:lnTo>
                  <a:lnTo>
                    <a:pt x="137" y="199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46" y="208"/>
                  </a:lnTo>
                  <a:lnTo>
                    <a:pt x="146" y="213"/>
                  </a:lnTo>
                  <a:lnTo>
                    <a:pt x="150" y="208"/>
                  </a:lnTo>
                  <a:lnTo>
                    <a:pt x="150" y="208"/>
                  </a:lnTo>
                  <a:lnTo>
                    <a:pt x="150" y="208"/>
                  </a:lnTo>
                  <a:lnTo>
                    <a:pt x="150" y="208"/>
                  </a:lnTo>
                  <a:lnTo>
                    <a:pt x="150" y="213"/>
                  </a:lnTo>
                  <a:lnTo>
                    <a:pt x="150" y="213"/>
                  </a:lnTo>
                  <a:lnTo>
                    <a:pt x="150" y="213"/>
                  </a:lnTo>
                  <a:lnTo>
                    <a:pt x="150" y="213"/>
                  </a:lnTo>
                  <a:lnTo>
                    <a:pt x="150" y="213"/>
                  </a:lnTo>
                  <a:lnTo>
                    <a:pt x="150" y="213"/>
                  </a:lnTo>
                  <a:lnTo>
                    <a:pt x="155" y="217"/>
                  </a:lnTo>
                  <a:lnTo>
                    <a:pt x="155" y="217"/>
                  </a:lnTo>
                  <a:lnTo>
                    <a:pt x="155" y="217"/>
                  </a:lnTo>
                  <a:lnTo>
                    <a:pt x="159" y="213"/>
                  </a:lnTo>
                  <a:lnTo>
                    <a:pt x="159" y="208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8" y="204"/>
                  </a:lnTo>
                  <a:lnTo>
                    <a:pt x="168" y="199"/>
                  </a:lnTo>
                  <a:lnTo>
                    <a:pt x="168" y="199"/>
                  </a:lnTo>
                  <a:lnTo>
                    <a:pt x="168" y="199"/>
                  </a:lnTo>
                  <a:lnTo>
                    <a:pt x="168" y="199"/>
                  </a:lnTo>
                  <a:lnTo>
                    <a:pt x="173" y="199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0"/>
                  </a:lnTo>
                  <a:lnTo>
                    <a:pt x="177" y="190"/>
                  </a:lnTo>
                  <a:lnTo>
                    <a:pt x="177" y="190"/>
                  </a:lnTo>
                  <a:lnTo>
                    <a:pt x="177" y="190"/>
                  </a:lnTo>
                  <a:lnTo>
                    <a:pt x="177" y="190"/>
                  </a:lnTo>
                  <a:lnTo>
                    <a:pt x="177" y="190"/>
                  </a:lnTo>
                  <a:lnTo>
                    <a:pt x="177" y="190"/>
                  </a:lnTo>
                  <a:lnTo>
                    <a:pt x="177" y="190"/>
                  </a:lnTo>
                  <a:lnTo>
                    <a:pt x="181" y="190"/>
                  </a:lnTo>
                  <a:lnTo>
                    <a:pt x="181" y="186"/>
                  </a:lnTo>
                  <a:lnTo>
                    <a:pt x="181" y="186"/>
                  </a:lnTo>
                  <a:lnTo>
                    <a:pt x="181" y="186"/>
                  </a:lnTo>
                  <a:lnTo>
                    <a:pt x="181" y="186"/>
                  </a:lnTo>
                  <a:lnTo>
                    <a:pt x="177" y="190"/>
                  </a:lnTo>
                  <a:lnTo>
                    <a:pt x="177" y="190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81" y="195"/>
                  </a:lnTo>
                  <a:lnTo>
                    <a:pt x="190" y="195"/>
                  </a:lnTo>
                  <a:lnTo>
                    <a:pt x="190" y="195"/>
                  </a:lnTo>
                  <a:lnTo>
                    <a:pt x="186" y="195"/>
                  </a:lnTo>
                  <a:lnTo>
                    <a:pt x="181" y="199"/>
                  </a:lnTo>
                  <a:lnTo>
                    <a:pt x="181" y="199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3" y="199"/>
                  </a:lnTo>
                  <a:lnTo>
                    <a:pt x="173" y="199"/>
                  </a:lnTo>
                  <a:lnTo>
                    <a:pt x="173" y="199"/>
                  </a:lnTo>
                  <a:lnTo>
                    <a:pt x="173" y="199"/>
                  </a:lnTo>
                  <a:lnTo>
                    <a:pt x="173" y="199"/>
                  </a:lnTo>
                  <a:lnTo>
                    <a:pt x="173" y="204"/>
                  </a:lnTo>
                  <a:lnTo>
                    <a:pt x="173" y="204"/>
                  </a:lnTo>
                  <a:lnTo>
                    <a:pt x="173" y="204"/>
                  </a:lnTo>
                  <a:lnTo>
                    <a:pt x="168" y="204"/>
                  </a:lnTo>
                  <a:lnTo>
                    <a:pt x="168" y="208"/>
                  </a:lnTo>
                  <a:lnTo>
                    <a:pt x="168" y="208"/>
                  </a:lnTo>
                  <a:lnTo>
                    <a:pt x="168" y="208"/>
                  </a:lnTo>
                  <a:lnTo>
                    <a:pt x="168" y="208"/>
                  </a:lnTo>
                  <a:lnTo>
                    <a:pt x="168" y="208"/>
                  </a:lnTo>
                  <a:lnTo>
                    <a:pt x="168" y="208"/>
                  </a:lnTo>
                  <a:lnTo>
                    <a:pt x="168" y="208"/>
                  </a:lnTo>
                  <a:lnTo>
                    <a:pt x="168" y="213"/>
                  </a:lnTo>
                  <a:lnTo>
                    <a:pt x="168" y="213"/>
                  </a:lnTo>
                  <a:lnTo>
                    <a:pt x="168" y="213"/>
                  </a:lnTo>
                  <a:lnTo>
                    <a:pt x="168" y="213"/>
                  </a:lnTo>
                  <a:lnTo>
                    <a:pt x="168" y="213"/>
                  </a:lnTo>
                  <a:lnTo>
                    <a:pt x="173" y="213"/>
                  </a:lnTo>
                  <a:lnTo>
                    <a:pt x="173" y="213"/>
                  </a:lnTo>
                  <a:lnTo>
                    <a:pt x="173" y="208"/>
                  </a:lnTo>
                  <a:lnTo>
                    <a:pt x="173" y="208"/>
                  </a:lnTo>
                  <a:lnTo>
                    <a:pt x="173" y="208"/>
                  </a:lnTo>
                  <a:lnTo>
                    <a:pt x="173" y="208"/>
                  </a:lnTo>
                  <a:lnTo>
                    <a:pt x="177" y="208"/>
                  </a:lnTo>
                  <a:lnTo>
                    <a:pt x="177" y="208"/>
                  </a:lnTo>
                  <a:lnTo>
                    <a:pt x="177" y="208"/>
                  </a:lnTo>
                  <a:lnTo>
                    <a:pt x="173" y="213"/>
                  </a:lnTo>
                  <a:lnTo>
                    <a:pt x="173" y="213"/>
                  </a:lnTo>
                  <a:lnTo>
                    <a:pt x="173" y="213"/>
                  </a:lnTo>
                  <a:lnTo>
                    <a:pt x="168" y="213"/>
                  </a:lnTo>
                  <a:lnTo>
                    <a:pt x="168" y="213"/>
                  </a:lnTo>
                  <a:lnTo>
                    <a:pt x="168" y="213"/>
                  </a:lnTo>
                  <a:lnTo>
                    <a:pt x="168" y="213"/>
                  </a:lnTo>
                  <a:lnTo>
                    <a:pt x="164" y="217"/>
                  </a:lnTo>
                  <a:lnTo>
                    <a:pt x="164" y="217"/>
                  </a:lnTo>
                  <a:lnTo>
                    <a:pt x="168" y="217"/>
                  </a:lnTo>
                  <a:lnTo>
                    <a:pt x="168" y="217"/>
                  </a:lnTo>
                  <a:lnTo>
                    <a:pt x="168" y="217"/>
                  </a:lnTo>
                  <a:lnTo>
                    <a:pt x="168" y="217"/>
                  </a:lnTo>
                  <a:lnTo>
                    <a:pt x="168" y="217"/>
                  </a:lnTo>
                  <a:lnTo>
                    <a:pt x="173" y="217"/>
                  </a:lnTo>
                  <a:lnTo>
                    <a:pt x="177" y="217"/>
                  </a:lnTo>
                  <a:lnTo>
                    <a:pt x="177" y="217"/>
                  </a:lnTo>
                  <a:lnTo>
                    <a:pt x="181" y="217"/>
                  </a:lnTo>
                  <a:lnTo>
                    <a:pt x="181" y="217"/>
                  </a:lnTo>
                  <a:lnTo>
                    <a:pt x="181" y="213"/>
                  </a:lnTo>
                  <a:lnTo>
                    <a:pt x="181" y="213"/>
                  </a:lnTo>
                  <a:lnTo>
                    <a:pt x="186" y="213"/>
                  </a:lnTo>
                  <a:lnTo>
                    <a:pt x="186" y="208"/>
                  </a:lnTo>
                  <a:lnTo>
                    <a:pt x="186" y="208"/>
                  </a:lnTo>
                  <a:lnTo>
                    <a:pt x="186" y="213"/>
                  </a:lnTo>
                  <a:lnTo>
                    <a:pt x="181" y="213"/>
                  </a:lnTo>
                  <a:lnTo>
                    <a:pt x="181" y="217"/>
                  </a:lnTo>
                  <a:lnTo>
                    <a:pt x="177" y="221"/>
                  </a:lnTo>
                  <a:lnTo>
                    <a:pt x="177" y="221"/>
                  </a:lnTo>
                  <a:lnTo>
                    <a:pt x="173" y="221"/>
                  </a:lnTo>
                  <a:lnTo>
                    <a:pt x="168" y="221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4" y="226"/>
                  </a:lnTo>
                  <a:lnTo>
                    <a:pt x="164" y="226"/>
                  </a:lnTo>
                  <a:lnTo>
                    <a:pt x="164" y="226"/>
                  </a:lnTo>
                  <a:lnTo>
                    <a:pt x="164" y="226"/>
                  </a:lnTo>
                  <a:lnTo>
                    <a:pt x="159" y="230"/>
                  </a:lnTo>
                  <a:lnTo>
                    <a:pt x="164" y="230"/>
                  </a:lnTo>
                  <a:lnTo>
                    <a:pt x="164" y="226"/>
                  </a:lnTo>
                  <a:lnTo>
                    <a:pt x="164" y="226"/>
                  </a:lnTo>
                  <a:lnTo>
                    <a:pt x="164" y="230"/>
                  </a:lnTo>
                  <a:lnTo>
                    <a:pt x="164" y="230"/>
                  </a:lnTo>
                  <a:lnTo>
                    <a:pt x="164" y="230"/>
                  </a:lnTo>
                  <a:lnTo>
                    <a:pt x="159" y="230"/>
                  </a:lnTo>
                  <a:lnTo>
                    <a:pt x="159" y="230"/>
                  </a:lnTo>
                  <a:lnTo>
                    <a:pt x="159" y="230"/>
                  </a:lnTo>
                  <a:lnTo>
                    <a:pt x="159" y="235"/>
                  </a:lnTo>
                  <a:lnTo>
                    <a:pt x="159" y="239"/>
                  </a:lnTo>
                  <a:lnTo>
                    <a:pt x="159" y="239"/>
                  </a:lnTo>
                  <a:lnTo>
                    <a:pt x="159" y="239"/>
                  </a:lnTo>
                  <a:lnTo>
                    <a:pt x="159" y="239"/>
                  </a:lnTo>
                  <a:lnTo>
                    <a:pt x="159" y="239"/>
                  </a:lnTo>
                  <a:lnTo>
                    <a:pt x="159" y="239"/>
                  </a:lnTo>
                  <a:lnTo>
                    <a:pt x="159" y="239"/>
                  </a:lnTo>
                  <a:lnTo>
                    <a:pt x="164" y="239"/>
                  </a:lnTo>
                  <a:lnTo>
                    <a:pt x="164" y="239"/>
                  </a:lnTo>
                  <a:lnTo>
                    <a:pt x="164" y="239"/>
                  </a:lnTo>
                  <a:lnTo>
                    <a:pt x="164" y="239"/>
                  </a:lnTo>
                  <a:lnTo>
                    <a:pt x="164" y="239"/>
                  </a:lnTo>
                  <a:lnTo>
                    <a:pt x="164" y="239"/>
                  </a:lnTo>
                  <a:lnTo>
                    <a:pt x="159" y="239"/>
                  </a:lnTo>
                  <a:lnTo>
                    <a:pt x="159" y="239"/>
                  </a:lnTo>
                  <a:lnTo>
                    <a:pt x="159" y="244"/>
                  </a:lnTo>
                  <a:lnTo>
                    <a:pt x="159" y="244"/>
                  </a:lnTo>
                  <a:lnTo>
                    <a:pt x="159" y="244"/>
                  </a:lnTo>
                  <a:lnTo>
                    <a:pt x="159" y="248"/>
                  </a:lnTo>
                  <a:lnTo>
                    <a:pt x="159" y="248"/>
                  </a:lnTo>
                  <a:lnTo>
                    <a:pt x="159" y="248"/>
                  </a:lnTo>
                  <a:lnTo>
                    <a:pt x="159" y="248"/>
                  </a:lnTo>
                  <a:lnTo>
                    <a:pt x="159" y="244"/>
                  </a:lnTo>
                  <a:lnTo>
                    <a:pt x="164" y="244"/>
                  </a:lnTo>
                  <a:lnTo>
                    <a:pt x="164" y="248"/>
                  </a:lnTo>
                  <a:lnTo>
                    <a:pt x="164" y="248"/>
                  </a:lnTo>
                  <a:lnTo>
                    <a:pt x="159" y="248"/>
                  </a:lnTo>
                  <a:lnTo>
                    <a:pt x="159" y="248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5" y="261"/>
                  </a:lnTo>
                  <a:lnTo>
                    <a:pt x="150" y="266"/>
                  </a:lnTo>
                  <a:lnTo>
                    <a:pt x="150" y="266"/>
                  </a:lnTo>
                  <a:lnTo>
                    <a:pt x="150" y="266"/>
                  </a:lnTo>
                  <a:lnTo>
                    <a:pt x="150" y="270"/>
                  </a:lnTo>
                  <a:lnTo>
                    <a:pt x="150" y="270"/>
                  </a:lnTo>
                  <a:lnTo>
                    <a:pt x="150" y="270"/>
                  </a:lnTo>
                  <a:lnTo>
                    <a:pt x="155" y="270"/>
                  </a:lnTo>
                  <a:lnTo>
                    <a:pt x="155" y="266"/>
                  </a:lnTo>
                  <a:lnTo>
                    <a:pt x="155" y="266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9" y="261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59" y="261"/>
                  </a:lnTo>
                  <a:lnTo>
                    <a:pt x="159" y="261"/>
                  </a:lnTo>
                  <a:lnTo>
                    <a:pt x="159" y="261"/>
                  </a:lnTo>
                  <a:lnTo>
                    <a:pt x="159" y="261"/>
                  </a:lnTo>
                  <a:lnTo>
                    <a:pt x="150" y="270"/>
                  </a:lnTo>
                  <a:lnTo>
                    <a:pt x="150" y="270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9" y="270"/>
                  </a:lnTo>
                  <a:lnTo>
                    <a:pt x="159" y="270"/>
                  </a:lnTo>
                  <a:lnTo>
                    <a:pt x="159" y="270"/>
                  </a:lnTo>
                  <a:lnTo>
                    <a:pt x="159" y="270"/>
                  </a:lnTo>
                  <a:lnTo>
                    <a:pt x="155" y="270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9"/>
                  </a:lnTo>
                  <a:lnTo>
                    <a:pt x="155" y="279"/>
                  </a:lnTo>
                  <a:lnTo>
                    <a:pt x="155" y="279"/>
                  </a:lnTo>
                  <a:lnTo>
                    <a:pt x="155" y="283"/>
                  </a:lnTo>
                  <a:lnTo>
                    <a:pt x="155" y="283"/>
                  </a:lnTo>
                  <a:lnTo>
                    <a:pt x="155" y="283"/>
                  </a:lnTo>
                  <a:lnTo>
                    <a:pt x="159" y="283"/>
                  </a:lnTo>
                  <a:lnTo>
                    <a:pt x="155" y="283"/>
                  </a:lnTo>
                  <a:lnTo>
                    <a:pt x="159" y="283"/>
                  </a:lnTo>
                  <a:lnTo>
                    <a:pt x="159" y="283"/>
                  </a:lnTo>
                  <a:lnTo>
                    <a:pt x="159" y="283"/>
                  </a:lnTo>
                  <a:lnTo>
                    <a:pt x="164" y="279"/>
                  </a:lnTo>
                  <a:lnTo>
                    <a:pt x="164" y="279"/>
                  </a:lnTo>
                  <a:lnTo>
                    <a:pt x="164" y="283"/>
                  </a:lnTo>
                  <a:lnTo>
                    <a:pt x="159" y="283"/>
                  </a:lnTo>
                  <a:lnTo>
                    <a:pt x="159" y="283"/>
                  </a:lnTo>
                  <a:lnTo>
                    <a:pt x="159" y="283"/>
                  </a:lnTo>
                  <a:lnTo>
                    <a:pt x="159" y="288"/>
                  </a:lnTo>
                  <a:lnTo>
                    <a:pt x="155" y="288"/>
                  </a:lnTo>
                  <a:lnTo>
                    <a:pt x="155" y="288"/>
                  </a:lnTo>
                  <a:lnTo>
                    <a:pt x="155" y="292"/>
                  </a:lnTo>
                  <a:lnTo>
                    <a:pt x="155" y="292"/>
                  </a:lnTo>
                  <a:lnTo>
                    <a:pt x="155" y="292"/>
                  </a:lnTo>
                  <a:lnTo>
                    <a:pt x="155" y="297"/>
                  </a:lnTo>
                  <a:lnTo>
                    <a:pt x="150" y="301"/>
                  </a:lnTo>
                  <a:lnTo>
                    <a:pt x="150" y="301"/>
                  </a:lnTo>
                  <a:lnTo>
                    <a:pt x="150" y="301"/>
                  </a:lnTo>
                  <a:lnTo>
                    <a:pt x="150" y="306"/>
                  </a:lnTo>
                  <a:lnTo>
                    <a:pt x="150" y="306"/>
                  </a:lnTo>
                  <a:lnTo>
                    <a:pt x="150" y="306"/>
                  </a:lnTo>
                  <a:lnTo>
                    <a:pt x="150" y="310"/>
                  </a:lnTo>
                  <a:lnTo>
                    <a:pt x="150" y="310"/>
                  </a:lnTo>
                  <a:lnTo>
                    <a:pt x="150" y="310"/>
                  </a:lnTo>
                  <a:lnTo>
                    <a:pt x="150" y="314"/>
                  </a:lnTo>
                  <a:lnTo>
                    <a:pt x="150" y="314"/>
                  </a:lnTo>
                  <a:lnTo>
                    <a:pt x="150" y="319"/>
                  </a:lnTo>
                  <a:lnTo>
                    <a:pt x="146" y="319"/>
                  </a:lnTo>
                  <a:lnTo>
                    <a:pt x="146" y="319"/>
                  </a:lnTo>
                  <a:lnTo>
                    <a:pt x="146" y="323"/>
                  </a:lnTo>
                  <a:lnTo>
                    <a:pt x="146" y="328"/>
                  </a:lnTo>
                  <a:lnTo>
                    <a:pt x="150" y="328"/>
                  </a:lnTo>
                  <a:lnTo>
                    <a:pt x="150" y="328"/>
                  </a:lnTo>
                  <a:lnTo>
                    <a:pt x="150" y="328"/>
                  </a:lnTo>
                  <a:lnTo>
                    <a:pt x="150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9" y="328"/>
                  </a:lnTo>
                  <a:lnTo>
                    <a:pt x="159" y="328"/>
                  </a:lnTo>
                  <a:lnTo>
                    <a:pt x="159" y="323"/>
                  </a:lnTo>
                  <a:lnTo>
                    <a:pt x="164" y="323"/>
                  </a:lnTo>
                  <a:lnTo>
                    <a:pt x="164" y="319"/>
                  </a:lnTo>
                  <a:lnTo>
                    <a:pt x="159" y="319"/>
                  </a:lnTo>
                  <a:lnTo>
                    <a:pt x="159" y="319"/>
                  </a:lnTo>
                  <a:lnTo>
                    <a:pt x="159" y="319"/>
                  </a:lnTo>
                  <a:lnTo>
                    <a:pt x="159" y="319"/>
                  </a:lnTo>
                  <a:lnTo>
                    <a:pt x="159" y="31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64" y="310"/>
                  </a:lnTo>
                  <a:lnTo>
                    <a:pt x="164" y="310"/>
                  </a:lnTo>
                  <a:lnTo>
                    <a:pt x="164" y="310"/>
                  </a:lnTo>
                  <a:lnTo>
                    <a:pt x="164" y="310"/>
                  </a:lnTo>
                  <a:lnTo>
                    <a:pt x="164" y="310"/>
                  </a:lnTo>
                  <a:lnTo>
                    <a:pt x="164" y="310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2"/>
                  </a:lnTo>
                  <a:lnTo>
                    <a:pt x="164" y="292"/>
                  </a:lnTo>
                  <a:lnTo>
                    <a:pt x="164" y="292"/>
                  </a:lnTo>
                  <a:lnTo>
                    <a:pt x="164" y="292"/>
                  </a:lnTo>
                  <a:lnTo>
                    <a:pt x="164" y="288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68" y="283"/>
                  </a:lnTo>
                  <a:lnTo>
                    <a:pt x="173" y="283"/>
                  </a:lnTo>
                  <a:lnTo>
                    <a:pt x="173" y="283"/>
                  </a:lnTo>
                  <a:lnTo>
                    <a:pt x="173" y="283"/>
                  </a:lnTo>
                  <a:lnTo>
                    <a:pt x="173" y="279"/>
                  </a:lnTo>
                  <a:lnTo>
                    <a:pt x="173" y="279"/>
                  </a:lnTo>
                  <a:lnTo>
                    <a:pt x="168" y="275"/>
                  </a:lnTo>
                  <a:lnTo>
                    <a:pt x="168" y="275"/>
                  </a:lnTo>
                  <a:lnTo>
                    <a:pt x="168" y="275"/>
                  </a:lnTo>
                  <a:lnTo>
                    <a:pt x="168" y="275"/>
                  </a:lnTo>
                  <a:lnTo>
                    <a:pt x="168" y="275"/>
                  </a:lnTo>
                  <a:lnTo>
                    <a:pt x="168" y="275"/>
                  </a:lnTo>
                  <a:lnTo>
                    <a:pt x="168" y="275"/>
                  </a:lnTo>
                  <a:lnTo>
                    <a:pt x="168" y="275"/>
                  </a:lnTo>
                  <a:lnTo>
                    <a:pt x="168" y="275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66"/>
                  </a:lnTo>
                  <a:lnTo>
                    <a:pt x="168" y="266"/>
                  </a:lnTo>
                  <a:lnTo>
                    <a:pt x="164" y="266"/>
                  </a:lnTo>
                  <a:lnTo>
                    <a:pt x="164" y="266"/>
                  </a:lnTo>
                  <a:lnTo>
                    <a:pt x="164" y="261"/>
                  </a:lnTo>
                  <a:lnTo>
                    <a:pt x="164" y="261"/>
                  </a:lnTo>
                  <a:lnTo>
                    <a:pt x="164" y="261"/>
                  </a:lnTo>
                  <a:lnTo>
                    <a:pt x="164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73" y="261"/>
                  </a:lnTo>
                  <a:lnTo>
                    <a:pt x="173" y="261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7" y="252"/>
                  </a:lnTo>
                  <a:lnTo>
                    <a:pt x="181" y="248"/>
                  </a:lnTo>
                  <a:lnTo>
                    <a:pt x="186" y="244"/>
                  </a:lnTo>
                  <a:lnTo>
                    <a:pt x="186" y="244"/>
                  </a:lnTo>
                  <a:lnTo>
                    <a:pt x="186" y="239"/>
                  </a:lnTo>
                  <a:lnTo>
                    <a:pt x="186" y="239"/>
                  </a:lnTo>
                  <a:lnTo>
                    <a:pt x="186" y="239"/>
                  </a:lnTo>
                  <a:lnTo>
                    <a:pt x="190" y="239"/>
                  </a:lnTo>
                  <a:lnTo>
                    <a:pt x="190" y="239"/>
                  </a:lnTo>
                  <a:lnTo>
                    <a:pt x="195" y="239"/>
                  </a:lnTo>
                  <a:lnTo>
                    <a:pt x="195" y="235"/>
                  </a:lnTo>
                  <a:lnTo>
                    <a:pt x="190" y="239"/>
                  </a:lnTo>
                  <a:lnTo>
                    <a:pt x="190" y="239"/>
                  </a:lnTo>
                  <a:lnTo>
                    <a:pt x="190" y="239"/>
                  </a:lnTo>
                  <a:lnTo>
                    <a:pt x="186" y="244"/>
                  </a:lnTo>
                  <a:lnTo>
                    <a:pt x="186" y="244"/>
                  </a:lnTo>
                  <a:lnTo>
                    <a:pt x="186" y="248"/>
                  </a:lnTo>
                  <a:lnTo>
                    <a:pt x="186" y="248"/>
                  </a:lnTo>
                  <a:lnTo>
                    <a:pt x="181" y="248"/>
                  </a:lnTo>
                  <a:lnTo>
                    <a:pt x="177" y="252"/>
                  </a:lnTo>
                  <a:lnTo>
                    <a:pt x="173" y="261"/>
                  </a:lnTo>
                  <a:lnTo>
                    <a:pt x="173" y="261"/>
                  </a:lnTo>
                  <a:lnTo>
                    <a:pt x="173" y="266"/>
                  </a:lnTo>
                  <a:lnTo>
                    <a:pt x="173" y="266"/>
                  </a:lnTo>
                  <a:lnTo>
                    <a:pt x="173" y="266"/>
                  </a:lnTo>
                  <a:lnTo>
                    <a:pt x="173" y="270"/>
                  </a:lnTo>
                  <a:lnTo>
                    <a:pt x="173" y="270"/>
                  </a:lnTo>
                  <a:lnTo>
                    <a:pt x="173" y="270"/>
                  </a:lnTo>
                  <a:lnTo>
                    <a:pt x="173" y="270"/>
                  </a:lnTo>
                  <a:lnTo>
                    <a:pt x="173" y="270"/>
                  </a:lnTo>
                  <a:lnTo>
                    <a:pt x="173" y="275"/>
                  </a:lnTo>
                  <a:lnTo>
                    <a:pt x="173" y="275"/>
                  </a:lnTo>
                  <a:lnTo>
                    <a:pt x="173" y="275"/>
                  </a:lnTo>
                  <a:lnTo>
                    <a:pt x="173" y="275"/>
                  </a:lnTo>
                  <a:lnTo>
                    <a:pt x="173" y="275"/>
                  </a:lnTo>
                  <a:lnTo>
                    <a:pt x="177" y="279"/>
                  </a:lnTo>
                  <a:lnTo>
                    <a:pt x="177" y="279"/>
                  </a:lnTo>
                  <a:lnTo>
                    <a:pt x="177" y="279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0"/>
                  </a:lnTo>
                  <a:lnTo>
                    <a:pt x="177" y="270"/>
                  </a:lnTo>
                  <a:lnTo>
                    <a:pt x="177" y="270"/>
                  </a:lnTo>
                  <a:lnTo>
                    <a:pt x="177" y="266"/>
                  </a:lnTo>
                  <a:lnTo>
                    <a:pt x="177" y="266"/>
                  </a:lnTo>
                  <a:lnTo>
                    <a:pt x="181" y="266"/>
                  </a:lnTo>
                  <a:lnTo>
                    <a:pt x="181" y="266"/>
                  </a:lnTo>
                  <a:lnTo>
                    <a:pt x="181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1" y="266"/>
                  </a:lnTo>
                  <a:lnTo>
                    <a:pt x="181" y="261"/>
                  </a:lnTo>
                  <a:lnTo>
                    <a:pt x="181" y="261"/>
                  </a:lnTo>
                  <a:lnTo>
                    <a:pt x="181" y="261"/>
                  </a:lnTo>
                  <a:lnTo>
                    <a:pt x="181" y="266"/>
                  </a:lnTo>
                  <a:lnTo>
                    <a:pt x="186" y="266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5"/>
                  </a:lnTo>
                  <a:lnTo>
                    <a:pt x="186" y="275"/>
                  </a:lnTo>
                  <a:lnTo>
                    <a:pt x="190" y="275"/>
                  </a:lnTo>
                  <a:lnTo>
                    <a:pt x="190" y="275"/>
                  </a:lnTo>
                  <a:lnTo>
                    <a:pt x="190" y="275"/>
                  </a:lnTo>
                  <a:lnTo>
                    <a:pt x="190" y="275"/>
                  </a:lnTo>
                  <a:lnTo>
                    <a:pt x="190" y="270"/>
                  </a:lnTo>
                  <a:lnTo>
                    <a:pt x="190" y="270"/>
                  </a:lnTo>
                  <a:lnTo>
                    <a:pt x="190" y="270"/>
                  </a:lnTo>
                  <a:lnTo>
                    <a:pt x="190" y="270"/>
                  </a:lnTo>
                  <a:lnTo>
                    <a:pt x="195" y="270"/>
                  </a:lnTo>
                  <a:lnTo>
                    <a:pt x="195" y="266"/>
                  </a:lnTo>
                  <a:lnTo>
                    <a:pt x="195" y="266"/>
                  </a:lnTo>
                  <a:lnTo>
                    <a:pt x="195" y="266"/>
                  </a:lnTo>
                  <a:lnTo>
                    <a:pt x="195" y="266"/>
                  </a:lnTo>
                  <a:lnTo>
                    <a:pt x="190" y="266"/>
                  </a:lnTo>
                  <a:lnTo>
                    <a:pt x="190" y="261"/>
                  </a:lnTo>
                  <a:lnTo>
                    <a:pt x="190" y="261"/>
                  </a:lnTo>
                  <a:lnTo>
                    <a:pt x="195" y="261"/>
                  </a:lnTo>
                  <a:lnTo>
                    <a:pt x="195" y="266"/>
                  </a:lnTo>
                  <a:lnTo>
                    <a:pt x="195" y="266"/>
                  </a:lnTo>
                  <a:lnTo>
                    <a:pt x="195" y="261"/>
                  </a:lnTo>
                  <a:lnTo>
                    <a:pt x="195" y="261"/>
                  </a:lnTo>
                  <a:lnTo>
                    <a:pt x="195" y="261"/>
                  </a:lnTo>
                  <a:lnTo>
                    <a:pt x="195" y="261"/>
                  </a:lnTo>
                  <a:lnTo>
                    <a:pt x="195" y="257"/>
                  </a:lnTo>
                  <a:lnTo>
                    <a:pt x="195" y="257"/>
                  </a:lnTo>
                  <a:lnTo>
                    <a:pt x="195" y="257"/>
                  </a:lnTo>
                  <a:lnTo>
                    <a:pt x="195" y="257"/>
                  </a:lnTo>
                  <a:lnTo>
                    <a:pt x="195" y="252"/>
                  </a:lnTo>
                  <a:lnTo>
                    <a:pt x="195" y="248"/>
                  </a:lnTo>
                  <a:lnTo>
                    <a:pt x="195" y="248"/>
                  </a:lnTo>
                  <a:lnTo>
                    <a:pt x="195" y="248"/>
                  </a:lnTo>
                  <a:lnTo>
                    <a:pt x="195" y="248"/>
                  </a:lnTo>
                  <a:lnTo>
                    <a:pt x="195" y="248"/>
                  </a:lnTo>
                  <a:lnTo>
                    <a:pt x="195" y="248"/>
                  </a:lnTo>
                  <a:lnTo>
                    <a:pt x="195" y="252"/>
                  </a:lnTo>
                  <a:lnTo>
                    <a:pt x="195" y="252"/>
                  </a:lnTo>
                  <a:lnTo>
                    <a:pt x="199" y="252"/>
                  </a:lnTo>
                  <a:lnTo>
                    <a:pt x="199" y="252"/>
                  </a:lnTo>
                  <a:lnTo>
                    <a:pt x="199" y="244"/>
                  </a:lnTo>
                  <a:lnTo>
                    <a:pt x="204" y="244"/>
                  </a:lnTo>
                  <a:lnTo>
                    <a:pt x="204" y="244"/>
                  </a:lnTo>
                  <a:lnTo>
                    <a:pt x="204" y="244"/>
                  </a:lnTo>
                  <a:lnTo>
                    <a:pt x="204" y="244"/>
                  </a:lnTo>
                  <a:lnTo>
                    <a:pt x="199" y="252"/>
                  </a:lnTo>
                  <a:lnTo>
                    <a:pt x="195" y="257"/>
                  </a:lnTo>
                  <a:lnTo>
                    <a:pt x="195" y="257"/>
                  </a:lnTo>
                  <a:lnTo>
                    <a:pt x="195" y="261"/>
                  </a:lnTo>
                  <a:lnTo>
                    <a:pt x="195" y="261"/>
                  </a:lnTo>
                  <a:lnTo>
                    <a:pt x="199" y="266"/>
                  </a:lnTo>
                  <a:lnTo>
                    <a:pt x="199" y="266"/>
                  </a:lnTo>
                  <a:lnTo>
                    <a:pt x="199" y="266"/>
                  </a:lnTo>
                  <a:lnTo>
                    <a:pt x="199" y="266"/>
                  </a:lnTo>
                  <a:lnTo>
                    <a:pt x="199" y="261"/>
                  </a:lnTo>
                  <a:lnTo>
                    <a:pt x="199" y="261"/>
                  </a:lnTo>
                  <a:lnTo>
                    <a:pt x="199" y="257"/>
                  </a:lnTo>
                  <a:lnTo>
                    <a:pt x="199" y="257"/>
                  </a:lnTo>
                  <a:lnTo>
                    <a:pt x="199" y="257"/>
                  </a:lnTo>
                  <a:lnTo>
                    <a:pt x="199" y="257"/>
                  </a:lnTo>
                  <a:lnTo>
                    <a:pt x="199" y="257"/>
                  </a:lnTo>
                  <a:lnTo>
                    <a:pt x="199" y="257"/>
                  </a:lnTo>
                  <a:lnTo>
                    <a:pt x="199" y="257"/>
                  </a:lnTo>
                  <a:lnTo>
                    <a:pt x="199" y="261"/>
                  </a:lnTo>
                  <a:lnTo>
                    <a:pt x="199" y="261"/>
                  </a:lnTo>
                  <a:lnTo>
                    <a:pt x="204" y="261"/>
                  </a:lnTo>
                  <a:lnTo>
                    <a:pt x="204" y="261"/>
                  </a:lnTo>
                  <a:lnTo>
                    <a:pt x="208" y="266"/>
                  </a:lnTo>
                  <a:lnTo>
                    <a:pt x="208" y="266"/>
                  </a:lnTo>
                  <a:lnTo>
                    <a:pt x="212" y="270"/>
                  </a:lnTo>
                  <a:lnTo>
                    <a:pt x="217" y="270"/>
                  </a:lnTo>
                  <a:lnTo>
                    <a:pt x="217" y="270"/>
                  </a:lnTo>
                  <a:lnTo>
                    <a:pt x="208" y="270"/>
                  </a:lnTo>
                  <a:lnTo>
                    <a:pt x="204" y="270"/>
                  </a:lnTo>
                  <a:lnTo>
                    <a:pt x="204" y="270"/>
                  </a:lnTo>
                  <a:lnTo>
                    <a:pt x="204" y="270"/>
                  </a:lnTo>
                  <a:lnTo>
                    <a:pt x="199" y="266"/>
                  </a:lnTo>
                  <a:lnTo>
                    <a:pt x="199" y="266"/>
                  </a:lnTo>
                  <a:lnTo>
                    <a:pt x="199" y="266"/>
                  </a:lnTo>
                  <a:lnTo>
                    <a:pt x="199" y="266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5" y="275"/>
                  </a:lnTo>
                  <a:lnTo>
                    <a:pt x="195" y="275"/>
                  </a:lnTo>
                  <a:lnTo>
                    <a:pt x="195" y="275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5" y="283"/>
                  </a:lnTo>
                  <a:lnTo>
                    <a:pt x="195" y="283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5" y="292"/>
                  </a:lnTo>
                  <a:lnTo>
                    <a:pt x="195" y="292"/>
                  </a:lnTo>
                  <a:lnTo>
                    <a:pt x="199" y="297"/>
                  </a:lnTo>
                  <a:lnTo>
                    <a:pt x="199" y="297"/>
                  </a:lnTo>
                  <a:lnTo>
                    <a:pt x="199" y="297"/>
                  </a:lnTo>
                  <a:lnTo>
                    <a:pt x="199" y="297"/>
                  </a:lnTo>
                  <a:lnTo>
                    <a:pt x="199" y="297"/>
                  </a:lnTo>
                  <a:lnTo>
                    <a:pt x="204" y="297"/>
                  </a:lnTo>
                  <a:lnTo>
                    <a:pt x="204" y="301"/>
                  </a:lnTo>
                  <a:lnTo>
                    <a:pt x="208" y="301"/>
                  </a:lnTo>
                  <a:lnTo>
                    <a:pt x="208" y="306"/>
                  </a:lnTo>
                  <a:lnTo>
                    <a:pt x="208" y="306"/>
                  </a:lnTo>
                  <a:lnTo>
                    <a:pt x="204" y="306"/>
                  </a:lnTo>
                  <a:lnTo>
                    <a:pt x="208" y="306"/>
                  </a:lnTo>
                  <a:lnTo>
                    <a:pt x="208" y="306"/>
                  </a:lnTo>
                  <a:lnTo>
                    <a:pt x="208" y="310"/>
                  </a:lnTo>
                  <a:lnTo>
                    <a:pt x="208" y="314"/>
                  </a:lnTo>
                  <a:lnTo>
                    <a:pt x="208" y="314"/>
                  </a:lnTo>
                  <a:lnTo>
                    <a:pt x="204" y="314"/>
                  </a:lnTo>
                  <a:lnTo>
                    <a:pt x="204" y="319"/>
                  </a:lnTo>
                  <a:lnTo>
                    <a:pt x="204" y="319"/>
                  </a:lnTo>
                  <a:lnTo>
                    <a:pt x="204" y="319"/>
                  </a:lnTo>
                  <a:lnTo>
                    <a:pt x="199" y="323"/>
                  </a:lnTo>
                  <a:lnTo>
                    <a:pt x="199" y="323"/>
                  </a:lnTo>
                  <a:lnTo>
                    <a:pt x="199" y="323"/>
                  </a:lnTo>
                  <a:lnTo>
                    <a:pt x="199" y="323"/>
                  </a:lnTo>
                  <a:lnTo>
                    <a:pt x="199" y="328"/>
                  </a:lnTo>
                  <a:lnTo>
                    <a:pt x="199" y="328"/>
                  </a:lnTo>
                  <a:lnTo>
                    <a:pt x="199" y="328"/>
                  </a:lnTo>
                  <a:lnTo>
                    <a:pt x="199" y="328"/>
                  </a:lnTo>
                  <a:lnTo>
                    <a:pt x="199" y="332"/>
                  </a:lnTo>
                  <a:lnTo>
                    <a:pt x="195" y="332"/>
                  </a:lnTo>
                  <a:lnTo>
                    <a:pt x="195" y="332"/>
                  </a:lnTo>
                  <a:lnTo>
                    <a:pt x="195" y="337"/>
                  </a:lnTo>
                  <a:lnTo>
                    <a:pt x="195" y="337"/>
                  </a:lnTo>
                  <a:lnTo>
                    <a:pt x="195" y="337"/>
                  </a:lnTo>
                  <a:lnTo>
                    <a:pt x="195" y="337"/>
                  </a:lnTo>
                  <a:lnTo>
                    <a:pt x="190" y="341"/>
                  </a:lnTo>
                  <a:lnTo>
                    <a:pt x="190" y="341"/>
                  </a:lnTo>
                  <a:lnTo>
                    <a:pt x="190" y="341"/>
                  </a:lnTo>
                  <a:lnTo>
                    <a:pt x="190" y="345"/>
                  </a:lnTo>
                  <a:lnTo>
                    <a:pt x="190" y="345"/>
                  </a:lnTo>
                  <a:lnTo>
                    <a:pt x="186" y="345"/>
                  </a:lnTo>
                  <a:lnTo>
                    <a:pt x="186" y="350"/>
                  </a:lnTo>
                  <a:lnTo>
                    <a:pt x="186" y="350"/>
                  </a:lnTo>
                  <a:lnTo>
                    <a:pt x="186" y="350"/>
                  </a:lnTo>
                  <a:lnTo>
                    <a:pt x="186" y="354"/>
                  </a:lnTo>
                  <a:lnTo>
                    <a:pt x="186" y="354"/>
                  </a:lnTo>
                  <a:lnTo>
                    <a:pt x="186" y="354"/>
                  </a:lnTo>
                  <a:lnTo>
                    <a:pt x="186" y="354"/>
                  </a:lnTo>
                  <a:lnTo>
                    <a:pt x="186" y="359"/>
                  </a:lnTo>
                  <a:lnTo>
                    <a:pt x="186" y="359"/>
                  </a:lnTo>
                  <a:lnTo>
                    <a:pt x="190" y="363"/>
                  </a:lnTo>
                  <a:lnTo>
                    <a:pt x="190" y="363"/>
                  </a:lnTo>
                  <a:lnTo>
                    <a:pt x="190" y="363"/>
                  </a:lnTo>
                  <a:lnTo>
                    <a:pt x="190" y="363"/>
                  </a:lnTo>
                  <a:lnTo>
                    <a:pt x="190" y="363"/>
                  </a:lnTo>
                  <a:lnTo>
                    <a:pt x="186" y="363"/>
                  </a:lnTo>
                  <a:lnTo>
                    <a:pt x="186" y="363"/>
                  </a:lnTo>
                  <a:lnTo>
                    <a:pt x="186" y="363"/>
                  </a:lnTo>
                  <a:lnTo>
                    <a:pt x="186" y="363"/>
                  </a:lnTo>
                  <a:lnTo>
                    <a:pt x="186" y="359"/>
                  </a:lnTo>
                  <a:lnTo>
                    <a:pt x="186" y="359"/>
                  </a:lnTo>
                  <a:lnTo>
                    <a:pt x="186" y="359"/>
                  </a:lnTo>
                  <a:lnTo>
                    <a:pt x="186" y="354"/>
                  </a:lnTo>
                  <a:lnTo>
                    <a:pt x="186" y="354"/>
                  </a:lnTo>
                  <a:lnTo>
                    <a:pt x="186" y="354"/>
                  </a:lnTo>
                  <a:lnTo>
                    <a:pt x="186" y="354"/>
                  </a:lnTo>
                  <a:lnTo>
                    <a:pt x="181" y="354"/>
                  </a:lnTo>
                  <a:lnTo>
                    <a:pt x="181" y="354"/>
                  </a:lnTo>
                  <a:lnTo>
                    <a:pt x="181" y="354"/>
                  </a:lnTo>
                  <a:lnTo>
                    <a:pt x="181" y="354"/>
                  </a:lnTo>
                  <a:lnTo>
                    <a:pt x="181" y="354"/>
                  </a:lnTo>
                  <a:lnTo>
                    <a:pt x="181" y="354"/>
                  </a:lnTo>
                  <a:lnTo>
                    <a:pt x="181" y="354"/>
                  </a:lnTo>
                  <a:lnTo>
                    <a:pt x="181" y="359"/>
                  </a:lnTo>
                  <a:lnTo>
                    <a:pt x="181" y="36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6" y="376"/>
                  </a:lnTo>
                  <a:lnTo>
                    <a:pt x="190" y="376"/>
                  </a:lnTo>
                  <a:lnTo>
                    <a:pt x="190" y="376"/>
                  </a:lnTo>
                  <a:lnTo>
                    <a:pt x="190" y="376"/>
                  </a:lnTo>
                  <a:lnTo>
                    <a:pt x="190" y="381"/>
                  </a:lnTo>
                  <a:lnTo>
                    <a:pt x="190" y="381"/>
                  </a:lnTo>
                  <a:lnTo>
                    <a:pt x="190" y="381"/>
                  </a:lnTo>
                  <a:lnTo>
                    <a:pt x="190" y="381"/>
                  </a:lnTo>
                  <a:lnTo>
                    <a:pt x="190" y="381"/>
                  </a:lnTo>
                  <a:lnTo>
                    <a:pt x="190" y="381"/>
                  </a:lnTo>
                  <a:lnTo>
                    <a:pt x="190" y="381"/>
                  </a:lnTo>
                  <a:lnTo>
                    <a:pt x="190" y="381"/>
                  </a:lnTo>
                  <a:lnTo>
                    <a:pt x="190" y="381"/>
                  </a:lnTo>
                  <a:lnTo>
                    <a:pt x="190" y="385"/>
                  </a:lnTo>
                  <a:lnTo>
                    <a:pt x="190" y="385"/>
                  </a:lnTo>
                  <a:lnTo>
                    <a:pt x="190" y="385"/>
                  </a:lnTo>
                  <a:lnTo>
                    <a:pt x="190" y="385"/>
                  </a:lnTo>
                  <a:lnTo>
                    <a:pt x="195" y="385"/>
                  </a:lnTo>
                  <a:lnTo>
                    <a:pt x="195" y="390"/>
                  </a:lnTo>
                  <a:lnTo>
                    <a:pt x="195" y="390"/>
                  </a:lnTo>
                  <a:lnTo>
                    <a:pt x="195" y="390"/>
                  </a:lnTo>
                  <a:lnTo>
                    <a:pt x="195" y="385"/>
                  </a:lnTo>
                  <a:lnTo>
                    <a:pt x="195" y="385"/>
                  </a:lnTo>
                  <a:lnTo>
                    <a:pt x="195" y="385"/>
                  </a:lnTo>
                  <a:lnTo>
                    <a:pt x="195" y="385"/>
                  </a:lnTo>
                  <a:lnTo>
                    <a:pt x="195" y="381"/>
                  </a:lnTo>
                  <a:lnTo>
                    <a:pt x="195" y="381"/>
                  </a:lnTo>
                  <a:lnTo>
                    <a:pt x="195" y="376"/>
                  </a:lnTo>
                  <a:lnTo>
                    <a:pt x="195" y="376"/>
                  </a:lnTo>
                  <a:lnTo>
                    <a:pt x="190" y="376"/>
                  </a:lnTo>
                  <a:lnTo>
                    <a:pt x="190" y="376"/>
                  </a:lnTo>
                  <a:lnTo>
                    <a:pt x="190" y="376"/>
                  </a:lnTo>
                  <a:lnTo>
                    <a:pt x="190" y="372"/>
                  </a:lnTo>
                  <a:lnTo>
                    <a:pt x="190" y="372"/>
                  </a:lnTo>
                  <a:lnTo>
                    <a:pt x="190" y="372"/>
                  </a:lnTo>
                  <a:lnTo>
                    <a:pt x="190" y="372"/>
                  </a:lnTo>
                  <a:lnTo>
                    <a:pt x="190" y="372"/>
                  </a:lnTo>
                  <a:lnTo>
                    <a:pt x="195" y="372"/>
                  </a:lnTo>
                  <a:lnTo>
                    <a:pt x="195" y="367"/>
                  </a:lnTo>
                  <a:lnTo>
                    <a:pt x="195" y="367"/>
                  </a:lnTo>
                  <a:lnTo>
                    <a:pt x="195" y="367"/>
                  </a:lnTo>
                  <a:lnTo>
                    <a:pt x="199" y="367"/>
                  </a:lnTo>
                  <a:lnTo>
                    <a:pt x="199" y="367"/>
                  </a:lnTo>
                  <a:lnTo>
                    <a:pt x="199" y="372"/>
                  </a:lnTo>
                  <a:lnTo>
                    <a:pt x="204" y="372"/>
                  </a:lnTo>
                  <a:lnTo>
                    <a:pt x="204" y="372"/>
                  </a:lnTo>
                  <a:lnTo>
                    <a:pt x="212" y="376"/>
                  </a:lnTo>
                  <a:lnTo>
                    <a:pt x="212" y="376"/>
                  </a:lnTo>
                  <a:lnTo>
                    <a:pt x="217" y="381"/>
                  </a:lnTo>
                  <a:lnTo>
                    <a:pt x="217" y="381"/>
                  </a:lnTo>
                  <a:lnTo>
                    <a:pt x="217" y="381"/>
                  </a:lnTo>
                  <a:lnTo>
                    <a:pt x="217" y="381"/>
                  </a:lnTo>
                  <a:lnTo>
                    <a:pt x="221" y="385"/>
                  </a:lnTo>
                  <a:lnTo>
                    <a:pt x="221" y="385"/>
                  </a:lnTo>
                  <a:lnTo>
                    <a:pt x="221" y="385"/>
                  </a:lnTo>
                  <a:lnTo>
                    <a:pt x="221" y="385"/>
                  </a:lnTo>
                  <a:lnTo>
                    <a:pt x="221" y="385"/>
                  </a:lnTo>
                  <a:lnTo>
                    <a:pt x="221" y="385"/>
                  </a:lnTo>
                  <a:lnTo>
                    <a:pt x="221" y="385"/>
                  </a:lnTo>
                  <a:lnTo>
                    <a:pt x="226" y="381"/>
                  </a:lnTo>
                  <a:lnTo>
                    <a:pt x="221" y="381"/>
                  </a:lnTo>
                  <a:lnTo>
                    <a:pt x="221" y="381"/>
                  </a:lnTo>
                  <a:lnTo>
                    <a:pt x="226" y="376"/>
                  </a:lnTo>
                  <a:lnTo>
                    <a:pt x="221" y="376"/>
                  </a:lnTo>
                  <a:lnTo>
                    <a:pt x="221" y="376"/>
                  </a:lnTo>
                  <a:lnTo>
                    <a:pt x="226" y="376"/>
                  </a:lnTo>
                  <a:lnTo>
                    <a:pt x="226" y="372"/>
                  </a:lnTo>
                  <a:lnTo>
                    <a:pt x="221" y="372"/>
                  </a:lnTo>
                  <a:lnTo>
                    <a:pt x="221" y="372"/>
                  </a:lnTo>
                  <a:lnTo>
                    <a:pt x="221" y="372"/>
                  </a:lnTo>
                  <a:lnTo>
                    <a:pt x="221" y="372"/>
                  </a:lnTo>
                  <a:lnTo>
                    <a:pt x="221" y="372"/>
                  </a:lnTo>
                  <a:lnTo>
                    <a:pt x="221" y="367"/>
                  </a:lnTo>
                  <a:lnTo>
                    <a:pt x="221" y="367"/>
                  </a:lnTo>
                  <a:lnTo>
                    <a:pt x="221" y="367"/>
                  </a:lnTo>
                  <a:lnTo>
                    <a:pt x="221" y="363"/>
                  </a:lnTo>
                  <a:lnTo>
                    <a:pt x="221" y="363"/>
                  </a:lnTo>
                  <a:lnTo>
                    <a:pt x="221" y="363"/>
                  </a:lnTo>
                  <a:lnTo>
                    <a:pt x="221" y="363"/>
                  </a:lnTo>
                  <a:lnTo>
                    <a:pt x="221" y="363"/>
                  </a:lnTo>
                  <a:lnTo>
                    <a:pt x="221" y="367"/>
                  </a:lnTo>
                  <a:lnTo>
                    <a:pt x="221" y="367"/>
                  </a:lnTo>
                  <a:lnTo>
                    <a:pt x="221" y="367"/>
                  </a:lnTo>
                  <a:lnTo>
                    <a:pt x="226" y="367"/>
                  </a:lnTo>
                  <a:lnTo>
                    <a:pt x="226" y="372"/>
                  </a:lnTo>
                  <a:lnTo>
                    <a:pt x="230" y="372"/>
                  </a:lnTo>
                  <a:lnTo>
                    <a:pt x="230" y="372"/>
                  </a:lnTo>
                  <a:lnTo>
                    <a:pt x="230" y="367"/>
                  </a:lnTo>
                  <a:lnTo>
                    <a:pt x="230" y="367"/>
                  </a:lnTo>
                  <a:lnTo>
                    <a:pt x="230" y="372"/>
                  </a:lnTo>
                  <a:lnTo>
                    <a:pt x="235" y="376"/>
                  </a:lnTo>
                  <a:lnTo>
                    <a:pt x="235" y="376"/>
                  </a:lnTo>
                  <a:lnTo>
                    <a:pt x="239" y="376"/>
                  </a:lnTo>
                  <a:lnTo>
                    <a:pt x="239" y="376"/>
                  </a:lnTo>
                  <a:lnTo>
                    <a:pt x="239" y="372"/>
                  </a:lnTo>
                  <a:lnTo>
                    <a:pt x="239" y="372"/>
                  </a:lnTo>
                  <a:lnTo>
                    <a:pt x="239" y="372"/>
                  </a:lnTo>
                  <a:lnTo>
                    <a:pt x="239" y="372"/>
                  </a:lnTo>
                  <a:lnTo>
                    <a:pt x="239" y="372"/>
                  </a:lnTo>
                  <a:lnTo>
                    <a:pt x="239" y="372"/>
                  </a:lnTo>
                  <a:lnTo>
                    <a:pt x="239" y="372"/>
                  </a:lnTo>
                  <a:lnTo>
                    <a:pt x="239" y="376"/>
                  </a:lnTo>
                  <a:lnTo>
                    <a:pt x="239" y="376"/>
                  </a:lnTo>
                  <a:lnTo>
                    <a:pt x="239" y="376"/>
                  </a:lnTo>
                  <a:lnTo>
                    <a:pt x="239" y="376"/>
                  </a:lnTo>
                  <a:lnTo>
                    <a:pt x="239" y="376"/>
                  </a:lnTo>
                  <a:lnTo>
                    <a:pt x="239" y="376"/>
                  </a:lnTo>
                  <a:lnTo>
                    <a:pt x="239" y="376"/>
                  </a:lnTo>
                  <a:lnTo>
                    <a:pt x="239" y="376"/>
                  </a:lnTo>
                  <a:lnTo>
                    <a:pt x="239" y="376"/>
                  </a:lnTo>
                  <a:lnTo>
                    <a:pt x="243" y="376"/>
                  </a:lnTo>
                  <a:lnTo>
                    <a:pt x="243" y="376"/>
                  </a:lnTo>
                  <a:lnTo>
                    <a:pt x="248" y="372"/>
                  </a:lnTo>
                  <a:lnTo>
                    <a:pt x="252" y="372"/>
                  </a:lnTo>
                  <a:lnTo>
                    <a:pt x="252" y="372"/>
                  </a:lnTo>
                  <a:lnTo>
                    <a:pt x="248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2" y="367"/>
                  </a:lnTo>
                  <a:lnTo>
                    <a:pt x="257" y="367"/>
                  </a:lnTo>
                  <a:lnTo>
                    <a:pt x="257" y="367"/>
                  </a:lnTo>
                  <a:lnTo>
                    <a:pt x="257" y="367"/>
                  </a:lnTo>
                  <a:lnTo>
                    <a:pt x="261" y="367"/>
                  </a:lnTo>
                  <a:lnTo>
                    <a:pt x="266" y="367"/>
                  </a:lnTo>
                  <a:lnTo>
                    <a:pt x="266" y="363"/>
                  </a:lnTo>
                  <a:lnTo>
                    <a:pt x="266" y="363"/>
                  </a:lnTo>
                  <a:lnTo>
                    <a:pt x="266" y="363"/>
                  </a:lnTo>
                  <a:lnTo>
                    <a:pt x="266" y="359"/>
                  </a:lnTo>
                  <a:lnTo>
                    <a:pt x="266" y="359"/>
                  </a:lnTo>
                  <a:lnTo>
                    <a:pt x="266" y="354"/>
                  </a:lnTo>
                  <a:lnTo>
                    <a:pt x="266" y="359"/>
                  </a:lnTo>
                  <a:lnTo>
                    <a:pt x="266" y="359"/>
                  </a:lnTo>
                  <a:lnTo>
                    <a:pt x="270" y="359"/>
                  </a:lnTo>
                  <a:lnTo>
                    <a:pt x="270" y="359"/>
                  </a:lnTo>
                  <a:lnTo>
                    <a:pt x="266" y="359"/>
                  </a:lnTo>
                  <a:lnTo>
                    <a:pt x="266" y="359"/>
                  </a:lnTo>
                  <a:lnTo>
                    <a:pt x="266" y="354"/>
                  </a:lnTo>
                  <a:lnTo>
                    <a:pt x="270" y="354"/>
                  </a:lnTo>
                  <a:lnTo>
                    <a:pt x="270" y="354"/>
                  </a:lnTo>
                  <a:lnTo>
                    <a:pt x="270" y="359"/>
                  </a:lnTo>
                  <a:lnTo>
                    <a:pt x="270" y="359"/>
                  </a:lnTo>
                  <a:lnTo>
                    <a:pt x="288" y="359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88" y="363"/>
                  </a:lnTo>
                  <a:lnTo>
                    <a:pt x="288" y="363"/>
                  </a:lnTo>
                  <a:lnTo>
                    <a:pt x="283" y="359"/>
                  </a:lnTo>
                  <a:lnTo>
                    <a:pt x="283" y="359"/>
                  </a:lnTo>
                  <a:lnTo>
                    <a:pt x="283" y="359"/>
                  </a:lnTo>
                  <a:lnTo>
                    <a:pt x="283" y="359"/>
                  </a:lnTo>
                  <a:lnTo>
                    <a:pt x="283" y="359"/>
                  </a:lnTo>
                  <a:lnTo>
                    <a:pt x="279" y="359"/>
                  </a:lnTo>
                  <a:lnTo>
                    <a:pt x="279" y="363"/>
                  </a:lnTo>
                  <a:lnTo>
                    <a:pt x="279" y="363"/>
                  </a:lnTo>
                  <a:lnTo>
                    <a:pt x="279" y="363"/>
                  </a:lnTo>
                  <a:lnTo>
                    <a:pt x="283" y="363"/>
                  </a:lnTo>
                  <a:lnTo>
                    <a:pt x="279" y="367"/>
                  </a:lnTo>
                  <a:lnTo>
                    <a:pt x="279" y="367"/>
                  </a:lnTo>
                  <a:lnTo>
                    <a:pt x="279" y="367"/>
                  </a:lnTo>
                  <a:lnTo>
                    <a:pt x="279" y="363"/>
                  </a:lnTo>
                  <a:lnTo>
                    <a:pt x="274" y="363"/>
                  </a:lnTo>
                  <a:lnTo>
                    <a:pt x="274" y="363"/>
                  </a:lnTo>
                  <a:lnTo>
                    <a:pt x="274" y="367"/>
                  </a:lnTo>
                  <a:lnTo>
                    <a:pt x="274" y="367"/>
                  </a:lnTo>
                  <a:lnTo>
                    <a:pt x="270" y="372"/>
                  </a:lnTo>
                  <a:lnTo>
                    <a:pt x="270" y="376"/>
                  </a:lnTo>
                  <a:lnTo>
                    <a:pt x="270" y="376"/>
                  </a:lnTo>
                  <a:lnTo>
                    <a:pt x="270" y="381"/>
                  </a:lnTo>
                  <a:lnTo>
                    <a:pt x="270" y="381"/>
                  </a:lnTo>
                  <a:lnTo>
                    <a:pt x="270" y="381"/>
                  </a:lnTo>
                  <a:lnTo>
                    <a:pt x="270" y="381"/>
                  </a:lnTo>
                  <a:lnTo>
                    <a:pt x="270" y="381"/>
                  </a:lnTo>
                  <a:lnTo>
                    <a:pt x="266" y="381"/>
                  </a:lnTo>
                  <a:lnTo>
                    <a:pt x="266" y="385"/>
                  </a:lnTo>
                  <a:lnTo>
                    <a:pt x="266" y="390"/>
                  </a:lnTo>
                  <a:lnTo>
                    <a:pt x="266" y="394"/>
                  </a:lnTo>
                  <a:lnTo>
                    <a:pt x="261" y="398"/>
                  </a:lnTo>
                  <a:lnTo>
                    <a:pt x="261" y="398"/>
                  </a:lnTo>
                  <a:lnTo>
                    <a:pt x="261" y="398"/>
                  </a:lnTo>
                  <a:lnTo>
                    <a:pt x="261" y="398"/>
                  </a:lnTo>
                  <a:lnTo>
                    <a:pt x="261" y="398"/>
                  </a:lnTo>
                  <a:lnTo>
                    <a:pt x="261" y="403"/>
                  </a:lnTo>
                  <a:lnTo>
                    <a:pt x="261" y="403"/>
                  </a:lnTo>
                  <a:lnTo>
                    <a:pt x="266" y="403"/>
                  </a:lnTo>
                  <a:lnTo>
                    <a:pt x="270" y="407"/>
                  </a:lnTo>
                  <a:lnTo>
                    <a:pt x="270" y="412"/>
                  </a:lnTo>
                  <a:lnTo>
                    <a:pt x="270" y="416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4" y="421"/>
                  </a:lnTo>
                  <a:lnTo>
                    <a:pt x="274" y="421"/>
                  </a:lnTo>
                  <a:lnTo>
                    <a:pt x="274" y="421"/>
                  </a:lnTo>
                  <a:lnTo>
                    <a:pt x="274" y="421"/>
                  </a:lnTo>
                  <a:lnTo>
                    <a:pt x="274" y="425"/>
                  </a:lnTo>
                  <a:lnTo>
                    <a:pt x="279" y="429"/>
                  </a:lnTo>
                  <a:lnTo>
                    <a:pt x="279" y="429"/>
                  </a:lnTo>
                  <a:lnTo>
                    <a:pt x="279" y="429"/>
                  </a:lnTo>
                  <a:lnTo>
                    <a:pt x="279" y="429"/>
                  </a:lnTo>
                  <a:lnTo>
                    <a:pt x="283" y="429"/>
                  </a:lnTo>
                  <a:lnTo>
                    <a:pt x="283" y="429"/>
                  </a:lnTo>
                  <a:lnTo>
                    <a:pt x="283" y="425"/>
                  </a:lnTo>
                  <a:lnTo>
                    <a:pt x="283" y="425"/>
                  </a:lnTo>
                  <a:lnTo>
                    <a:pt x="283" y="425"/>
                  </a:lnTo>
                  <a:lnTo>
                    <a:pt x="283" y="421"/>
                  </a:lnTo>
                  <a:lnTo>
                    <a:pt x="283" y="425"/>
                  </a:lnTo>
                  <a:lnTo>
                    <a:pt x="283" y="425"/>
                  </a:lnTo>
                  <a:lnTo>
                    <a:pt x="283" y="429"/>
                  </a:lnTo>
                  <a:lnTo>
                    <a:pt x="283" y="429"/>
                  </a:lnTo>
                  <a:lnTo>
                    <a:pt x="283" y="429"/>
                  </a:lnTo>
                  <a:lnTo>
                    <a:pt x="283" y="434"/>
                  </a:lnTo>
                  <a:lnTo>
                    <a:pt x="283" y="434"/>
                  </a:lnTo>
                  <a:lnTo>
                    <a:pt x="283" y="434"/>
                  </a:lnTo>
                  <a:lnTo>
                    <a:pt x="283" y="434"/>
                  </a:lnTo>
                  <a:lnTo>
                    <a:pt x="283" y="438"/>
                  </a:lnTo>
                  <a:lnTo>
                    <a:pt x="283" y="438"/>
                  </a:lnTo>
                  <a:lnTo>
                    <a:pt x="283" y="438"/>
                  </a:lnTo>
                  <a:lnTo>
                    <a:pt x="283" y="438"/>
                  </a:lnTo>
                  <a:lnTo>
                    <a:pt x="283" y="438"/>
                  </a:lnTo>
                  <a:lnTo>
                    <a:pt x="288" y="438"/>
                  </a:lnTo>
                  <a:lnTo>
                    <a:pt x="288" y="438"/>
                  </a:lnTo>
                  <a:lnTo>
                    <a:pt x="288" y="438"/>
                  </a:lnTo>
                  <a:lnTo>
                    <a:pt x="288" y="438"/>
                  </a:lnTo>
                  <a:lnTo>
                    <a:pt x="288" y="438"/>
                  </a:lnTo>
                  <a:lnTo>
                    <a:pt x="288" y="434"/>
                  </a:lnTo>
                  <a:lnTo>
                    <a:pt x="292" y="434"/>
                  </a:lnTo>
                  <a:lnTo>
                    <a:pt x="292" y="429"/>
                  </a:lnTo>
                  <a:lnTo>
                    <a:pt x="292" y="429"/>
                  </a:lnTo>
                  <a:lnTo>
                    <a:pt x="292" y="429"/>
                  </a:lnTo>
                  <a:lnTo>
                    <a:pt x="292" y="429"/>
                  </a:lnTo>
                  <a:lnTo>
                    <a:pt x="292" y="429"/>
                  </a:lnTo>
                  <a:lnTo>
                    <a:pt x="292" y="425"/>
                  </a:lnTo>
                  <a:lnTo>
                    <a:pt x="292" y="425"/>
                  </a:lnTo>
                  <a:lnTo>
                    <a:pt x="292" y="425"/>
                  </a:lnTo>
                  <a:lnTo>
                    <a:pt x="292" y="425"/>
                  </a:lnTo>
                  <a:lnTo>
                    <a:pt x="292" y="429"/>
                  </a:lnTo>
                  <a:lnTo>
                    <a:pt x="292" y="429"/>
                  </a:lnTo>
                  <a:lnTo>
                    <a:pt x="292" y="429"/>
                  </a:lnTo>
                  <a:lnTo>
                    <a:pt x="297" y="429"/>
                  </a:lnTo>
                  <a:lnTo>
                    <a:pt x="297" y="434"/>
                  </a:lnTo>
                  <a:lnTo>
                    <a:pt x="297" y="434"/>
                  </a:lnTo>
                  <a:lnTo>
                    <a:pt x="301" y="429"/>
                  </a:lnTo>
                  <a:lnTo>
                    <a:pt x="301" y="429"/>
                  </a:lnTo>
                  <a:lnTo>
                    <a:pt x="301" y="429"/>
                  </a:lnTo>
                  <a:lnTo>
                    <a:pt x="301" y="429"/>
                  </a:lnTo>
                  <a:lnTo>
                    <a:pt x="301" y="429"/>
                  </a:lnTo>
                  <a:lnTo>
                    <a:pt x="305" y="425"/>
                  </a:lnTo>
                  <a:lnTo>
                    <a:pt x="305" y="425"/>
                  </a:lnTo>
                  <a:lnTo>
                    <a:pt x="305" y="425"/>
                  </a:lnTo>
                  <a:lnTo>
                    <a:pt x="305" y="425"/>
                  </a:lnTo>
                  <a:lnTo>
                    <a:pt x="305" y="425"/>
                  </a:lnTo>
                  <a:lnTo>
                    <a:pt x="305" y="425"/>
                  </a:lnTo>
                  <a:lnTo>
                    <a:pt x="305" y="429"/>
                  </a:lnTo>
                  <a:lnTo>
                    <a:pt x="301" y="429"/>
                  </a:lnTo>
                  <a:lnTo>
                    <a:pt x="301" y="429"/>
                  </a:lnTo>
                  <a:lnTo>
                    <a:pt x="305" y="429"/>
                  </a:lnTo>
                  <a:lnTo>
                    <a:pt x="305" y="434"/>
                  </a:lnTo>
                  <a:lnTo>
                    <a:pt x="305" y="434"/>
                  </a:lnTo>
                  <a:lnTo>
                    <a:pt x="305" y="438"/>
                  </a:lnTo>
                  <a:lnTo>
                    <a:pt x="305" y="438"/>
                  </a:lnTo>
                  <a:lnTo>
                    <a:pt x="301" y="438"/>
                  </a:lnTo>
                  <a:lnTo>
                    <a:pt x="301" y="438"/>
                  </a:lnTo>
                  <a:lnTo>
                    <a:pt x="301" y="443"/>
                  </a:lnTo>
                  <a:lnTo>
                    <a:pt x="301" y="443"/>
                  </a:lnTo>
                  <a:lnTo>
                    <a:pt x="301" y="443"/>
                  </a:lnTo>
                  <a:lnTo>
                    <a:pt x="301" y="443"/>
                  </a:lnTo>
                  <a:lnTo>
                    <a:pt x="301" y="443"/>
                  </a:lnTo>
                  <a:lnTo>
                    <a:pt x="301" y="447"/>
                  </a:lnTo>
                  <a:lnTo>
                    <a:pt x="301" y="447"/>
                  </a:lnTo>
                  <a:lnTo>
                    <a:pt x="301" y="447"/>
                  </a:lnTo>
                  <a:lnTo>
                    <a:pt x="301" y="447"/>
                  </a:lnTo>
                  <a:lnTo>
                    <a:pt x="305" y="443"/>
                  </a:lnTo>
                  <a:lnTo>
                    <a:pt x="305" y="447"/>
                  </a:lnTo>
                  <a:lnTo>
                    <a:pt x="301" y="447"/>
                  </a:lnTo>
                  <a:lnTo>
                    <a:pt x="301" y="447"/>
                  </a:lnTo>
                  <a:lnTo>
                    <a:pt x="301" y="447"/>
                  </a:lnTo>
                  <a:lnTo>
                    <a:pt x="301" y="452"/>
                  </a:lnTo>
                  <a:lnTo>
                    <a:pt x="301" y="452"/>
                  </a:lnTo>
                  <a:lnTo>
                    <a:pt x="301" y="452"/>
                  </a:lnTo>
                  <a:lnTo>
                    <a:pt x="301" y="452"/>
                  </a:lnTo>
                  <a:lnTo>
                    <a:pt x="301" y="452"/>
                  </a:lnTo>
                  <a:lnTo>
                    <a:pt x="301" y="452"/>
                  </a:lnTo>
                  <a:lnTo>
                    <a:pt x="297" y="452"/>
                  </a:lnTo>
                  <a:lnTo>
                    <a:pt x="292" y="452"/>
                  </a:lnTo>
                  <a:lnTo>
                    <a:pt x="292" y="452"/>
                  </a:lnTo>
                  <a:lnTo>
                    <a:pt x="292" y="456"/>
                  </a:lnTo>
                  <a:lnTo>
                    <a:pt x="292" y="456"/>
                  </a:lnTo>
                  <a:lnTo>
                    <a:pt x="292" y="465"/>
                  </a:lnTo>
                  <a:lnTo>
                    <a:pt x="292" y="465"/>
                  </a:lnTo>
                  <a:lnTo>
                    <a:pt x="292" y="469"/>
                  </a:lnTo>
                  <a:lnTo>
                    <a:pt x="297" y="469"/>
                  </a:lnTo>
                  <a:lnTo>
                    <a:pt x="301" y="469"/>
                  </a:lnTo>
                  <a:lnTo>
                    <a:pt x="301" y="469"/>
                  </a:lnTo>
                  <a:lnTo>
                    <a:pt x="297" y="474"/>
                  </a:lnTo>
                  <a:lnTo>
                    <a:pt x="297" y="474"/>
                  </a:lnTo>
                  <a:lnTo>
                    <a:pt x="297" y="474"/>
                  </a:lnTo>
                  <a:lnTo>
                    <a:pt x="292" y="478"/>
                  </a:lnTo>
                  <a:lnTo>
                    <a:pt x="292" y="483"/>
                  </a:lnTo>
                  <a:lnTo>
                    <a:pt x="288" y="483"/>
                  </a:lnTo>
                  <a:lnTo>
                    <a:pt x="288" y="487"/>
                  </a:lnTo>
                  <a:lnTo>
                    <a:pt x="288" y="487"/>
                  </a:lnTo>
                  <a:lnTo>
                    <a:pt x="297" y="500"/>
                  </a:lnTo>
                  <a:lnTo>
                    <a:pt x="297" y="500"/>
                  </a:lnTo>
                  <a:lnTo>
                    <a:pt x="297" y="505"/>
                  </a:lnTo>
                  <a:lnTo>
                    <a:pt x="301" y="505"/>
                  </a:lnTo>
                  <a:lnTo>
                    <a:pt x="301" y="505"/>
                  </a:lnTo>
                  <a:lnTo>
                    <a:pt x="305" y="505"/>
                  </a:lnTo>
                  <a:lnTo>
                    <a:pt x="305" y="505"/>
                  </a:lnTo>
                  <a:lnTo>
                    <a:pt x="305" y="505"/>
                  </a:lnTo>
                  <a:lnTo>
                    <a:pt x="305" y="505"/>
                  </a:lnTo>
                  <a:lnTo>
                    <a:pt x="305" y="505"/>
                  </a:lnTo>
                  <a:lnTo>
                    <a:pt x="310" y="505"/>
                  </a:lnTo>
                  <a:lnTo>
                    <a:pt x="310" y="505"/>
                  </a:lnTo>
                  <a:lnTo>
                    <a:pt x="310" y="505"/>
                  </a:lnTo>
                  <a:lnTo>
                    <a:pt x="310" y="505"/>
                  </a:lnTo>
                  <a:lnTo>
                    <a:pt x="310" y="505"/>
                  </a:lnTo>
                  <a:lnTo>
                    <a:pt x="310" y="505"/>
                  </a:lnTo>
                  <a:lnTo>
                    <a:pt x="310" y="505"/>
                  </a:lnTo>
                  <a:lnTo>
                    <a:pt x="310" y="505"/>
                  </a:lnTo>
                  <a:lnTo>
                    <a:pt x="310" y="505"/>
                  </a:lnTo>
                  <a:lnTo>
                    <a:pt x="310" y="509"/>
                  </a:lnTo>
                  <a:lnTo>
                    <a:pt x="305" y="509"/>
                  </a:lnTo>
                  <a:lnTo>
                    <a:pt x="305" y="509"/>
                  </a:lnTo>
                  <a:lnTo>
                    <a:pt x="305" y="509"/>
                  </a:lnTo>
                  <a:lnTo>
                    <a:pt x="305" y="509"/>
                  </a:lnTo>
                  <a:lnTo>
                    <a:pt x="305" y="509"/>
                  </a:lnTo>
                  <a:lnTo>
                    <a:pt x="305" y="509"/>
                  </a:lnTo>
                  <a:lnTo>
                    <a:pt x="301" y="509"/>
                  </a:lnTo>
                  <a:lnTo>
                    <a:pt x="301" y="509"/>
                  </a:lnTo>
                  <a:lnTo>
                    <a:pt x="301" y="509"/>
                  </a:lnTo>
                  <a:lnTo>
                    <a:pt x="301" y="509"/>
                  </a:lnTo>
                  <a:lnTo>
                    <a:pt x="301" y="509"/>
                  </a:lnTo>
                  <a:lnTo>
                    <a:pt x="301" y="509"/>
                  </a:lnTo>
                  <a:lnTo>
                    <a:pt x="297" y="509"/>
                  </a:lnTo>
                  <a:lnTo>
                    <a:pt x="297" y="505"/>
                  </a:lnTo>
                  <a:lnTo>
                    <a:pt x="292" y="496"/>
                  </a:lnTo>
                  <a:lnTo>
                    <a:pt x="292" y="496"/>
                  </a:lnTo>
                  <a:lnTo>
                    <a:pt x="292" y="496"/>
                  </a:lnTo>
                  <a:lnTo>
                    <a:pt x="288" y="496"/>
                  </a:lnTo>
                  <a:lnTo>
                    <a:pt x="288" y="500"/>
                  </a:lnTo>
                  <a:lnTo>
                    <a:pt x="288" y="500"/>
                  </a:lnTo>
                  <a:lnTo>
                    <a:pt x="283" y="500"/>
                  </a:lnTo>
                  <a:lnTo>
                    <a:pt x="283" y="500"/>
                  </a:lnTo>
                  <a:lnTo>
                    <a:pt x="283" y="500"/>
                  </a:lnTo>
                  <a:lnTo>
                    <a:pt x="288" y="505"/>
                  </a:lnTo>
                  <a:lnTo>
                    <a:pt x="288" y="505"/>
                  </a:lnTo>
                  <a:lnTo>
                    <a:pt x="288" y="509"/>
                  </a:lnTo>
                  <a:lnTo>
                    <a:pt x="288" y="509"/>
                  </a:lnTo>
                  <a:lnTo>
                    <a:pt x="292" y="509"/>
                  </a:lnTo>
                  <a:lnTo>
                    <a:pt x="292" y="514"/>
                  </a:lnTo>
                  <a:lnTo>
                    <a:pt x="292" y="514"/>
                  </a:lnTo>
                  <a:lnTo>
                    <a:pt x="288" y="514"/>
                  </a:lnTo>
                  <a:lnTo>
                    <a:pt x="288" y="514"/>
                  </a:lnTo>
                  <a:lnTo>
                    <a:pt x="288" y="514"/>
                  </a:lnTo>
                  <a:lnTo>
                    <a:pt x="283" y="509"/>
                  </a:lnTo>
                  <a:lnTo>
                    <a:pt x="279" y="505"/>
                  </a:lnTo>
                  <a:lnTo>
                    <a:pt x="279" y="505"/>
                  </a:lnTo>
                  <a:lnTo>
                    <a:pt x="279" y="505"/>
                  </a:lnTo>
                  <a:lnTo>
                    <a:pt x="279" y="505"/>
                  </a:lnTo>
                  <a:lnTo>
                    <a:pt x="274" y="505"/>
                  </a:lnTo>
                  <a:lnTo>
                    <a:pt x="266" y="509"/>
                  </a:lnTo>
                  <a:lnTo>
                    <a:pt x="261" y="509"/>
                  </a:lnTo>
                  <a:lnTo>
                    <a:pt x="257" y="509"/>
                  </a:lnTo>
                  <a:lnTo>
                    <a:pt x="257" y="509"/>
                  </a:lnTo>
                  <a:lnTo>
                    <a:pt x="257" y="509"/>
                  </a:lnTo>
                  <a:lnTo>
                    <a:pt x="252" y="505"/>
                  </a:lnTo>
                  <a:lnTo>
                    <a:pt x="252" y="505"/>
                  </a:lnTo>
                  <a:lnTo>
                    <a:pt x="252" y="505"/>
                  </a:lnTo>
                  <a:lnTo>
                    <a:pt x="252" y="505"/>
                  </a:lnTo>
                  <a:lnTo>
                    <a:pt x="252" y="505"/>
                  </a:lnTo>
                  <a:lnTo>
                    <a:pt x="248" y="505"/>
                  </a:lnTo>
                  <a:lnTo>
                    <a:pt x="248" y="505"/>
                  </a:lnTo>
                  <a:lnTo>
                    <a:pt x="248" y="505"/>
                  </a:lnTo>
                  <a:lnTo>
                    <a:pt x="252" y="509"/>
                  </a:lnTo>
                  <a:lnTo>
                    <a:pt x="252" y="509"/>
                  </a:lnTo>
                  <a:lnTo>
                    <a:pt x="248" y="509"/>
                  </a:lnTo>
                  <a:lnTo>
                    <a:pt x="243" y="514"/>
                  </a:lnTo>
                  <a:lnTo>
                    <a:pt x="243" y="514"/>
                  </a:lnTo>
                  <a:lnTo>
                    <a:pt x="239" y="514"/>
                  </a:lnTo>
                  <a:lnTo>
                    <a:pt x="239" y="514"/>
                  </a:lnTo>
                  <a:lnTo>
                    <a:pt x="239" y="514"/>
                  </a:lnTo>
                  <a:lnTo>
                    <a:pt x="239" y="514"/>
                  </a:lnTo>
                  <a:lnTo>
                    <a:pt x="239" y="514"/>
                  </a:lnTo>
                  <a:lnTo>
                    <a:pt x="239" y="514"/>
                  </a:lnTo>
                  <a:lnTo>
                    <a:pt x="235" y="514"/>
                  </a:lnTo>
                  <a:lnTo>
                    <a:pt x="235" y="514"/>
                  </a:lnTo>
                  <a:lnTo>
                    <a:pt x="235" y="514"/>
                  </a:lnTo>
                  <a:lnTo>
                    <a:pt x="230" y="518"/>
                  </a:lnTo>
                  <a:lnTo>
                    <a:pt x="230" y="518"/>
                  </a:lnTo>
                  <a:lnTo>
                    <a:pt x="230" y="518"/>
                  </a:lnTo>
                  <a:lnTo>
                    <a:pt x="230" y="522"/>
                  </a:lnTo>
                  <a:lnTo>
                    <a:pt x="230" y="522"/>
                  </a:lnTo>
                  <a:lnTo>
                    <a:pt x="226" y="522"/>
                  </a:lnTo>
                  <a:lnTo>
                    <a:pt x="226" y="522"/>
                  </a:lnTo>
                  <a:lnTo>
                    <a:pt x="226" y="527"/>
                  </a:lnTo>
                  <a:lnTo>
                    <a:pt x="226" y="527"/>
                  </a:lnTo>
                  <a:lnTo>
                    <a:pt x="226" y="527"/>
                  </a:lnTo>
                  <a:lnTo>
                    <a:pt x="226" y="522"/>
                  </a:lnTo>
                  <a:lnTo>
                    <a:pt x="226" y="522"/>
                  </a:lnTo>
                  <a:lnTo>
                    <a:pt x="226" y="522"/>
                  </a:lnTo>
                  <a:lnTo>
                    <a:pt x="226" y="527"/>
                  </a:lnTo>
                  <a:lnTo>
                    <a:pt x="226" y="531"/>
                  </a:lnTo>
                  <a:lnTo>
                    <a:pt x="226" y="531"/>
                  </a:lnTo>
                  <a:lnTo>
                    <a:pt x="221" y="531"/>
                  </a:lnTo>
                  <a:lnTo>
                    <a:pt x="221" y="536"/>
                  </a:lnTo>
                  <a:lnTo>
                    <a:pt x="217" y="536"/>
                  </a:lnTo>
                  <a:lnTo>
                    <a:pt x="212" y="540"/>
                  </a:lnTo>
                  <a:lnTo>
                    <a:pt x="212" y="540"/>
                  </a:lnTo>
                  <a:lnTo>
                    <a:pt x="212" y="540"/>
                  </a:lnTo>
                  <a:lnTo>
                    <a:pt x="212" y="540"/>
                  </a:lnTo>
                  <a:lnTo>
                    <a:pt x="212" y="540"/>
                  </a:lnTo>
                  <a:lnTo>
                    <a:pt x="204" y="549"/>
                  </a:lnTo>
                  <a:lnTo>
                    <a:pt x="204" y="549"/>
                  </a:lnTo>
                  <a:lnTo>
                    <a:pt x="204" y="549"/>
                  </a:lnTo>
                  <a:lnTo>
                    <a:pt x="204" y="553"/>
                  </a:lnTo>
                  <a:lnTo>
                    <a:pt x="204" y="553"/>
                  </a:lnTo>
                  <a:lnTo>
                    <a:pt x="204" y="553"/>
                  </a:lnTo>
                  <a:lnTo>
                    <a:pt x="204" y="553"/>
                  </a:lnTo>
                  <a:lnTo>
                    <a:pt x="204" y="553"/>
                  </a:lnTo>
                  <a:lnTo>
                    <a:pt x="204" y="553"/>
                  </a:lnTo>
                  <a:lnTo>
                    <a:pt x="204" y="553"/>
                  </a:lnTo>
                  <a:lnTo>
                    <a:pt x="208" y="553"/>
                  </a:lnTo>
                  <a:lnTo>
                    <a:pt x="208" y="553"/>
                  </a:lnTo>
                  <a:lnTo>
                    <a:pt x="208" y="553"/>
                  </a:lnTo>
                  <a:lnTo>
                    <a:pt x="208" y="549"/>
                  </a:lnTo>
                  <a:lnTo>
                    <a:pt x="208" y="549"/>
                  </a:lnTo>
                  <a:lnTo>
                    <a:pt x="212" y="549"/>
                  </a:lnTo>
                  <a:lnTo>
                    <a:pt x="212" y="549"/>
                  </a:lnTo>
                  <a:lnTo>
                    <a:pt x="212" y="553"/>
                  </a:lnTo>
                  <a:lnTo>
                    <a:pt x="212" y="553"/>
                  </a:lnTo>
                  <a:lnTo>
                    <a:pt x="212" y="553"/>
                  </a:lnTo>
                  <a:lnTo>
                    <a:pt x="217" y="553"/>
                  </a:lnTo>
                  <a:lnTo>
                    <a:pt x="217" y="553"/>
                  </a:lnTo>
                  <a:lnTo>
                    <a:pt x="217" y="553"/>
                  </a:lnTo>
                  <a:lnTo>
                    <a:pt x="217" y="553"/>
                  </a:lnTo>
                  <a:lnTo>
                    <a:pt x="217" y="549"/>
                  </a:lnTo>
                  <a:lnTo>
                    <a:pt x="217" y="549"/>
                  </a:lnTo>
                  <a:lnTo>
                    <a:pt x="217" y="549"/>
                  </a:lnTo>
                  <a:lnTo>
                    <a:pt x="217" y="549"/>
                  </a:lnTo>
                  <a:lnTo>
                    <a:pt x="217" y="549"/>
                  </a:lnTo>
                  <a:lnTo>
                    <a:pt x="217" y="549"/>
                  </a:lnTo>
                  <a:lnTo>
                    <a:pt x="217" y="545"/>
                  </a:lnTo>
                  <a:lnTo>
                    <a:pt x="221" y="545"/>
                  </a:lnTo>
                  <a:lnTo>
                    <a:pt x="221" y="545"/>
                  </a:lnTo>
                  <a:lnTo>
                    <a:pt x="226" y="545"/>
                  </a:lnTo>
                  <a:lnTo>
                    <a:pt x="226" y="545"/>
                  </a:lnTo>
                  <a:lnTo>
                    <a:pt x="226" y="545"/>
                  </a:lnTo>
                  <a:lnTo>
                    <a:pt x="230" y="540"/>
                  </a:lnTo>
                  <a:lnTo>
                    <a:pt x="235" y="540"/>
                  </a:lnTo>
                  <a:lnTo>
                    <a:pt x="235" y="540"/>
                  </a:lnTo>
                  <a:lnTo>
                    <a:pt x="235" y="540"/>
                  </a:lnTo>
                  <a:lnTo>
                    <a:pt x="235" y="540"/>
                  </a:lnTo>
                  <a:lnTo>
                    <a:pt x="235" y="540"/>
                  </a:lnTo>
                  <a:lnTo>
                    <a:pt x="239" y="540"/>
                  </a:lnTo>
                  <a:lnTo>
                    <a:pt x="239" y="540"/>
                  </a:lnTo>
                  <a:lnTo>
                    <a:pt x="239" y="540"/>
                  </a:lnTo>
                  <a:lnTo>
                    <a:pt x="239" y="540"/>
                  </a:lnTo>
                  <a:lnTo>
                    <a:pt x="239" y="540"/>
                  </a:lnTo>
                  <a:lnTo>
                    <a:pt x="235" y="545"/>
                  </a:lnTo>
                  <a:lnTo>
                    <a:pt x="235" y="545"/>
                  </a:lnTo>
                  <a:lnTo>
                    <a:pt x="235" y="545"/>
                  </a:lnTo>
                  <a:lnTo>
                    <a:pt x="235" y="545"/>
                  </a:lnTo>
                  <a:lnTo>
                    <a:pt x="235" y="545"/>
                  </a:lnTo>
                  <a:lnTo>
                    <a:pt x="235" y="549"/>
                  </a:lnTo>
                  <a:lnTo>
                    <a:pt x="235" y="549"/>
                  </a:lnTo>
                  <a:lnTo>
                    <a:pt x="235" y="549"/>
                  </a:lnTo>
                  <a:lnTo>
                    <a:pt x="235" y="549"/>
                  </a:lnTo>
                  <a:lnTo>
                    <a:pt x="235" y="549"/>
                  </a:lnTo>
                  <a:lnTo>
                    <a:pt x="235" y="553"/>
                  </a:lnTo>
                  <a:lnTo>
                    <a:pt x="235" y="553"/>
                  </a:lnTo>
                  <a:lnTo>
                    <a:pt x="239" y="558"/>
                  </a:lnTo>
                  <a:lnTo>
                    <a:pt x="239" y="558"/>
                  </a:lnTo>
                  <a:lnTo>
                    <a:pt x="239" y="558"/>
                  </a:lnTo>
                  <a:lnTo>
                    <a:pt x="243" y="558"/>
                  </a:lnTo>
                  <a:lnTo>
                    <a:pt x="243" y="558"/>
                  </a:lnTo>
                  <a:lnTo>
                    <a:pt x="239" y="562"/>
                  </a:lnTo>
                  <a:lnTo>
                    <a:pt x="239" y="562"/>
                  </a:lnTo>
                  <a:lnTo>
                    <a:pt x="239" y="562"/>
                  </a:lnTo>
                  <a:lnTo>
                    <a:pt x="239" y="562"/>
                  </a:lnTo>
                  <a:lnTo>
                    <a:pt x="239" y="562"/>
                  </a:lnTo>
                  <a:lnTo>
                    <a:pt x="239" y="562"/>
                  </a:lnTo>
                  <a:lnTo>
                    <a:pt x="239" y="562"/>
                  </a:lnTo>
                  <a:lnTo>
                    <a:pt x="235" y="567"/>
                  </a:lnTo>
                  <a:lnTo>
                    <a:pt x="235" y="567"/>
                  </a:lnTo>
                  <a:lnTo>
                    <a:pt x="235" y="567"/>
                  </a:lnTo>
                  <a:lnTo>
                    <a:pt x="235" y="571"/>
                  </a:lnTo>
                  <a:lnTo>
                    <a:pt x="239" y="576"/>
                  </a:lnTo>
                  <a:lnTo>
                    <a:pt x="239" y="576"/>
                  </a:lnTo>
                  <a:lnTo>
                    <a:pt x="239" y="576"/>
                  </a:lnTo>
                  <a:lnTo>
                    <a:pt x="243" y="571"/>
                  </a:lnTo>
                  <a:lnTo>
                    <a:pt x="243" y="571"/>
                  </a:lnTo>
                  <a:lnTo>
                    <a:pt x="243" y="576"/>
                  </a:lnTo>
                  <a:lnTo>
                    <a:pt x="243" y="576"/>
                  </a:lnTo>
                  <a:lnTo>
                    <a:pt x="239" y="576"/>
                  </a:lnTo>
                  <a:lnTo>
                    <a:pt x="239" y="576"/>
                  </a:lnTo>
                  <a:lnTo>
                    <a:pt x="239" y="576"/>
                  </a:lnTo>
                  <a:lnTo>
                    <a:pt x="239" y="576"/>
                  </a:lnTo>
                  <a:lnTo>
                    <a:pt x="239" y="576"/>
                  </a:lnTo>
                  <a:lnTo>
                    <a:pt x="239" y="576"/>
                  </a:lnTo>
                  <a:lnTo>
                    <a:pt x="239" y="580"/>
                  </a:lnTo>
                  <a:lnTo>
                    <a:pt x="239" y="580"/>
                  </a:lnTo>
                  <a:lnTo>
                    <a:pt x="239" y="580"/>
                  </a:lnTo>
                  <a:lnTo>
                    <a:pt x="239" y="580"/>
                  </a:lnTo>
                  <a:lnTo>
                    <a:pt x="239" y="584"/>
                  </a:lnTo>
                  <a:lnTo>
                    <a:pt x="239" y="589"/>
                  </a:lnTo>
                  <a:lnTo>
                    <a:pt x="235" y="589"/>
                  </a:lnTo>
                  <a:lnTo>
                    <a:pt x="235" y="593"/>
                  </a:lnTo>
                  <a:lnTo>
                    <a:pt x="230" y="598"/>
                  </a:lnTo>
                  <a:lnTo>
                    <a:pt x="226" y="602"/>
                  </a:lnTo>
                  <a:lnTo>
                    <a:pt x="226" y="602"/>
                  </a:lnTo>
                  <a:lnTo>
                    <a:pt x="221" y="602"/>
                  </a:lnTo>
                  <a:lnTo>
                    <a:pt x="221" y="602"/>
                  </a:lnTo>
                  <a:lnTo>
                    <a:pt x="221" y="602"/>
                  </a:lnTo>
                  <a:lnTo>
                    <a:pt x="221" y="607"/>
                  </a:lnTo>
                  <a:lnTo>
                    <a:pt x="217" y="607"/>
                  </a:lnTo>
                  <a:lnTo>
                    <a:pt x="217" y="607"/>
                  </a:lnTo>
                  <a:lnTo>
                    <a:pt x="217" y="607"/>
                  </a:lnTo>
                  <a:lnTo>
                    <a:pt x="217" y="607"/>
                  </a:lnTo>
                  <a:lnTo>
                    <a:pt x="217" y="607"/>
                  </a:lnTo>
                  <a:lnTo>
                    <a:pt x="217" y="611"/>
                  </a:lnTo>
                  <a:lnTo>
                    <a:pt x="217" y="611"/>
                  </a:lnTo>
                  <a:lnTo>
                    <a:pt x="208" y="611"/>
                  </a:lnTo>
                  <a:lnTo>
                    <a:pt x="208" y="611"/>
                  </a:lnTo>
                  <a:lnTo>
                    <a:pt x="208" y="611"/>
                  </a:lnTo>
                  <a:lnTo>
                    <a:pt x="204" y="611"/>
                  </a:lnTo>
                  <a:lnTo>
                    <a:pt x="204" y="611"/>
                  </a:lnTo>
                  <a:lnTo>
                    <a:pt x="204" y="611"/>
                  </a:lnTo>
                  <a:lnTo>
                    <a:pt x="204" y="615"/>
                  </a:lnTo>
                  <a:lnTo>
                    <a:pt x="199" y="615"/>
                  </a:lnTo>
                  <a:lnTo>
                    <a:pt x="199" y="615"/>
                  </a:lnTo>
                  <a:lnTo>
                    <a:pt x="199" y="615"/>
                  </a:lnTo>
                  <a:lnTo>
                    <a:pt x="199" y="615"/>
                  </a:lnTo>
                  <a:lnTo>
                    <a:pt x="199" y="615"/>
                  </a:lnTo>
                  <a:lnTo>
                    <a:pt x="199" y="620"/>
                  </a:lnTo>
                  <a:lnTo>
                    <a:pt x="199" y="620"/>
                  </a:lnTo>
                  <a:lnTo>
                    <a:pt x="199" y="620"/>
                  </a:lnTo>
                  <a:lnTo>
                    <a:pt x="195" y="620"/>
                  </a:lnTo>
                  <a:lnTo>
                    <a:pt x="195" y="620"/>
                  </a:lnTo>
                  <a:lnTo>
                    <a:pt x="195" y="620"/>
                  </a:lnTo>
                  <a:lnTo>
                    <a:pt x="195" y="620"/>
                  </a:lnTo>
                  <a:lnTo>
                    <a:pt x="190" y="620"/>
                  </a:lnTo>
                  <a:lnTo>
                    <a:pt x="190" y="620"/>
                  </a:lnTo>
                  <a:lnTo>
                    <a:pt x="190" y="620"/>
                  </a:lnTo>
                  <a:lnTo>
                    <a:pt x="186" y="620"/>
                  </a:lnTo>
                  <a:lnTo>
                    <a:pt x="186" y="620"/>
                  </a:lnTo>
                  <a:lnTo>
                    <a:pt x="186" y="620"/>
                  </a:lnTo>
                  <a:lnTo>
                    <a:pt x="186" y="620"/>
                  </a:lnTo>
                  <a:lnTo>
                    <a:pt x="186" y="620"/>
                  </a:lnTo>
                  <a:lnTo>
                    <a:pt x="186" y="620"/>
                  </a:lnTo>
                  <a:lnTo>
                    <a:pt x="186" y="620"/>
                  </a:lnTo>
                  <a:lnTo>
                    <a:pt x="186" y="620"/>
                  </a:lnTo>
                  <a:lnTo>
                    <a:pt x="186" y="624"/>
                  </a:lnTo>
                  <a:lnTo>
                    <a:pt x="181" y="624"/>
                  </a:lnTo>
                  <a:lnTo>
                    <a:pt x="181" y="624"/>
                  </a:lnTo>
                  <a:lnTo>
                    <a:pt x="177" y="624"/>
                  </a:lnTo>
                  <a:lnTo>
                    <a:pt x="177" y="624"/>
                  </a:lnTo>
                  <a:lnTo>
                    <a:pt x="177" y="629"/>
                  </a:lnTo>
                  <a:lnTo>
                    <a:pt x="177" y="629"/>
                  </a:lnTo>
                  <a:lnTo>
                    <a:pt x="173" y="629"/>
                  </a:lnTo>
                  <a:lnTo>
                    <a:pt x="173" y="629"/>
                  </a:lnTo>
                  <a:lnTo>
                    <a:pt x="173" y="629"/>
                  </a:lnTo>
                  <a:lnTo>
                    <a:pt x="173" y="629"/>
                  </a:lnTo>
                  <a:lnTo>
                    <a:pt x="173" y="629"/>
                  </a:lnTo>
                  <a:lnTo>
                    <a:pt x="173" y="629"/>
                  </a:lnTo>
                  <a:lnTo>
                    <a:pt x="173" y="629"/>
                  </a:lnTo>
                  <a:lnTo>
                    <a:pt x="173" y="633"/>
                  </a:lnTo>
                  <a:lnTo>
                    <a:pt x="173" y="633"/>
                  </a:lnTo>
                  <a:lnTo>
                    <a:pt x="173" y="633"/>
                  </a:lnTo>
                  <a:lnTo>
                    <a:pt x="173" y="633"/>
                  </a:lnTo>
                  <a:lnTo>
                    <a:pt x="173" y="633"/>
                  </a:lnTo>
                  <a:lnTo>
                    <a:pt x="177" y="633"/>
                  </a:lnTo>
                  <a:lnTo>
                    <a:pt x="177" y="633"/>
                  </a:lnTo>
                  <a:lnTo>
                    <a:pt x="177" y="633"/>
                  </a:lnTo>
                  <a:lnTo>
                    <a:pt x="181" y="633"/>
                  </a:lnTo>
                  <a:lnTo>
                    <a:pt x="181" y="633"/>
                  </a:lnTo>
                  <a:lnTo>
                    <a:pt x="181" y="633"/>
                  </a:lnTo>
                  <a:lnTo>
                    <a:pt x="181" y="633"/>
                  </a:lnTo>
                  <a:lnTo>
                    <a:pt x="181" y="633"/>
                  </a:lnTo>
                  <a:lnTo>
                    <a:pt x="181" y="638"/>
                  </a:lnTo>
                  <a:lnTo>
                    <a:pt x="181" y="638"/>
                  </a:lnTo>
                  <a:lnTo>
                    <a:pt x="181" y="638"/>
                  </a:lnTo>
                  <a:lnTo>
                    <a:pt x="181" y="638"/>
                  </a:lnTo>
                  <a:lnTo>
                    <a:pt x="181" y="642"/>
                  </a:lnTo>
                  <a:lnTo>
                    <a:pt x="181" y="642"/>
                  </a:lnTo>
                  <a:lnTo>
                    <a:pt x="181" y="642"/>
                  </a:lnTo>
                  <a:lnTo>
                    <a:pt x="177" y="642"/>
                  </a:lnTo>
                  <a:lnTo>
                    <a:pt x="177" y="642"/>
                  </a:lnTo>
                  <a:lnTo>
                    <a:pt x="177" y="642"/>
                  </a:lnTo>
                  <a:lnTo>
                    <a:pt x="177" y="642"/>
                  </a:lnTo>
                  <a:lnTo>
                    <a:pt x="177" y="642"/>
                  </a:lnTo>
                  <a:lnTo>
                    <a:pt x="177" y="642"/>
                  </a:lnTo>
                  <a:lnTo>
                    <a:pt x="181" y="646"/>
                  </a:lnTo>
                  <a:lnTo>
                    <a:pt x="181" y="646"/>
                  </a:lnTo>
                  <a:lnTo>
                    <a:pt x="181" y="646"/>
                  </a:lnTo>
                  <a:lnTo>
                    <a:pt x="181" y="646"/>
                  </a:lnTo>
                  <a:lnTo>
                    <a:pt x="181" y="646"/>
                  </a:lnTo>
                  <a:lnTo>
                    <a:pt x="181" y="646"/>
                  </a:lnTo>
                  <a:lnTo>
                    <a:pt x="181" y="646"/>
                  </a:lnTo>
                  <a:lnTo>
                    <a:pt x="190" y="646"/>
                  </a:lnTo>
                  <a:lnTo>
                    <a:pt x="190" y="646"/>
                  </a:lnTo>
                  <a:lnTo>
                    <a:pt x="195" y="646"/>
                  </a:lnTo>
                  <a:lnTo>
                    <a:pt x="195" y="642"/>
                  </a:lnTo>
                  <a:lnTo>
                    <a:pt x="195" y="642"/>
                  </a:lnTo>
                  <a:lnTo>
                    <a:pt x="195" y="642"/>
                  </a:lnTo>
                  <a:lnTo>
                    <a:pt x="195" y="642"/>
                  </a:lnTo>
                  <a:lnTo>
                    <a:pt x="195" y="642"/>
                  </a:lnTo>
                  <a:lnTo>
                    <a:pt x="195" y="642"/>
                  </a:lnTo>
                  <a:lnTo>
                    <a:pt x="195" y="642"/>
                  </a:lnTo>
                  <a:lnTo>
                    <a:pt x="195" y="638"/>
                  </a:lnTo>
                  <a:lnTo>
                    <a:pt x="195" y="638"/>
                  </a:lnTo>
                  <a:lnTo>
                    <a:pt x="199" y="638"/>
                  </a:lnTo>
                  <a:lnTo>
                    <a:pt x="199" y="638"/>
                  </a:lnTo>
                  <a:lnTo>
                    <a:pt x="199" y="638"/>
                  </a:lnTo>
                  <a:lnTo>
                    <a:pt x="195" y="638"/>
                  </a:lnTo>
                  <a:lnTo>
                    <a:pt x="195" y="642"/>
                  </a:lnTo>
                  <a:lnTo>
                    <a:pt x="195" y="642"/>
                  </a:lnTo>
                  <a:lnTo>
                    <a:pt x="199" y="646"/>
                  </a:lnTo>
                  <a:lnTo>
                    <a:pt x="199" y="646"/>
                  </a:lnTo>
                  <a:lnTo>
                    <a:pt x="195" y="646"/>
                  </a:lnTo>
                  <a:lnTo>
                    <a:pt x="195" y="646"/>
                  </a:lnTo>
                  <a:lnTo>
                    <a:pt x="195" y="646"/>
                  </a:lnTo>
                  <a:lnTo>
                    <a:pt x="190" y="646"/>
                  </a:lnTo>
                  <a:lnTo>
                    <a:pt x="190" y="646"/>
                  </a:lnTo>
                  <a:lnTo>
                    <a:pt x="190" y="646"/>
                  </a:lnTo>
                  <a:lnTo>
                    <a:pt x="190" y="646"/>
                  </a:lnTo>
                  <a:lnTo>
                    <a:pt x="186" y="646"/>
                  </a:lnTo>
                  <a:lnTo>
                    <a:pt x="186" y="646"/>
                  </a:lnTo>
                  <a:lnTo>
                    <a:pt x="186" y="646"/>
                  </a:lnTo>
                  <a:lnTo>
                    <a:pt x="186" y="646"/>
                  </a:lnTo>
                  <a:lnTo>
                    <a:pt x="186" y="646"/>
                  </a:lnTo>
                  <a:lnTo>
                    <a:pt x="181" y="646"/>
                  </a:lnTo>
                  <a:lnTo>
                    <a:pt x="181" y="646"/>
                  </a:lnTo>
                  <a:lnTo>
                    <a:pt x="186" y="651"/>
                  </a:lnTo>
                  <a:lnTo>
                    <a:pt x="186" y="651"/>
                  </a:lnTo>
                  <a:lnTo>
                    <a:pt x="186" y="651"/>
                  </a:lnTo>
                  <a:lnTo>
                    <a:pt x="186" y="651"/>
                  </a:lnTo>
                  <a:lnTo>
                    <a:pt x="190" y="655"/>
                  </a:lnTo>
                  <a:lnTo>
                    <a:pt x="190" y="655"/>
                  </a:lnTo>
                  <a:lnTo>
                    <a:pt x="190" y="655"/>
                  </a:lnTo>
                  <a:lnTo>
                    <a:pt x="190" y="655"/>
                  </a:lnTo>
                  <a:lnTo>
                    <a:pt x="195" y="655"/>
                  </a:lnTo>
                  <a:lnTo>
                    <a:pt x="195" y="655"/>
                  </a:lnTo>
                  <a:lnTo>
                    <a:pt x="195" y="655"/>
                  </a:lnTo>
                  <a:lnTo>
                    <a:pt x="195" y="655"/>
                  </a:lnTo>
                  <a:lnTo>
                    <a:pt x="195" y="651"/>
                  </a:lnTo>
                  <a:lnTo>
                    <a:pt x="195" y="651"/>
                  </a:lnTo>
                  <a:lnTo>
                    <a:pt x="195" y="651"/>
                  </a:lnTo>
                  <a:lnTo>
                    <a:pt x="199" y="651"/>
                  </a:lnTo>
                  <a:lnTo>
                    <a:pt x="204" y="651"/>
                  </a:lnTo>
                  <a:lnTo>
                    <a:pt x="204" y="651"/>
                  </a:lnTo>
                  <a:lnTo>
                    <a:pt x="204" y="651"/>
                  </a:lnTo>
                  <a:lnTo>
                    <a:pt x="204" y="651"/>
                  </a:lnTo>
                  <a:lnTo>
                    <a:pt x="204" y="651"/>
                  </a:lnTo>
                  <a:lnTo>
                    <a:pt x="204" y="646"/>
                  </a:lnTo>
                  <a:lnTo>
                    <a:pt x="204" y="646"/>
                  </a:lnTo>
                  <a:lnTo>
                    <a:pt x="204" y="646"/>
                  </a:lnTo>
                  <a:lnTo>
                    <a:pt x="204" y="646"/>
                  </a:lnTo>
                  <a:lnTo>
                    <a:pt x="208" y="646"/>
                  </a:lnTo>
                  <a:lnTo>
                    <a:pt x="208" y="646"/>
                  </a:lnTo>
                  <a:lnTo>
                    <a:pt x="208" y="642"/>
                  </a:lnTo>
                  <a:lnTo>
                    <a:pt x="208" y="642"/>
                  </a:lnTo>
                  <a:lnTo>
                    <a:pt x="208" y="642"/>
                  </a:lnTo>
                  <a:lnTo>
                    <a:pt x="212" y="642"/>
                  </a:lnTo>
                  <a:lnTo>
                    <a:pt x="217" y="642"/>
                  </a:lnTo>
                  <a:lnTo>
                    <a:pt x="217" y="642"/>
                  </a:lnTo>
                  <a:lnTo>
                    <a:pt x="221" y="642"/>
                  </a:lnTo>
                  <a:lnTo>
                    <a:pt x="217" y="642"/>
                  </a:lnTo>
                  <a:lnTo>
                    <a:pt x="217" y="642"/>
                  </a:lnTo>
                  <a:lnTo>
                    <a:pt x="217" y="642"/>
                  </a:lnTo>
                  <a:lnTo>
                    <a:pt x="221" y="642"/>
                  </a:lnTo>
                  <a:lnTo>
                    <a:pt x="221" y="642"/>
                  </a:lnTo>
                  <a:lnTo>
                    <a:pt x="221" y="642"/>
                  </a:lnTo>
                  <a:lnTo>
                    <a:pt x="221" y="642"/>
                  </a:lnTo>
                  <a:lnTo>
                    <a:pt x="221" y="642"/>
                  </a:lnTo>
                  <a:lnTo>
                    <a:pt x="221" y="642"/>
                  </a:lnTo>
                  <a:lnTo>
                    <a:pt x="221" y="642"/>
                  </a:lnTo>
                  <a:lnTo>
                    <a:pt x="221" y="638"/>
                  </a:lnTo>
                  <a:lnTo>
                    <a:pt x="221" y="638"/>
                  </a:lnTo>
                  <a:lnTo>
                    <a:pt x="221" y="638"/>
                  </a:lnTo>
                  <a:lnTo>
                    <a:pt x="221" y="642"/>
                  </a:lnTo>
                  <a:lnTo>
                    <a:pt x="221" y="642"/>
                  </a:lnTo>
                  <a:lnTo>
                    <a:pt x="221" y="642"/>
                  </a:lnTo>
                  <a:lnTo>
                    <a:pt x="221" y="642"/>
                  </a:lnTo>
                  <a:lnTo>
                    <a:pt x="221" y="642"/>
                  </a:lnTo>
                  <a:lnTo>
                    <a:pt x="226" y="642"/>
                  </a:lnTo>
                  <a:lnTo>
                    <a:pt x="226" y="642"/>
                  </a:lnTo>
                  <a:lnTo>
                    <a:pt x="226" y="642"/>
                  </a:lnTo>
                  <a:lnTo>
                    <a:pt x="226" y="646"/>
                  </a:lnTo>
                  <a:lnTo>
                    <a:pt x="226" y="646"/>
                  </a:lnTo>
                  <a:lnTo>
                    <a:pt x="221" y="642"/>
                  </a:lnTo>
                  <a:lnTo>
                    <a:pt x="221" y="646"/>
                  </a:lnTo>
                  <a:lnTo>
                    <a:pt x="226" y="646"/>
                  </a:lnTo>
                  <a:lnTo>
                    <a:pt x="226" y="646"/>
                  </a:lnTo>
                  <a:lnTo>
                    <a:pt x="226" y="651"/>
                  </a:lnTo>
                  <a:lnTo>
                    <a:pt x="230" y="646"/>
                  </a:lnTo>
                  <a:lnTo>
                    <a:pt x="230" y="646"/>
                  </a:lnTo>
                  <a:lnTo>
                    <a:pt x="235" y="651"/>
                  </a:lnTo>
                  <a:lnTo>
                    <a:pt x="235" y="651"/>
                  </a:lnTo>
                  <a:lnTo>
                    <a:pt x="239" y="651"/>
                  </a:lnTo>
                  <a:lnTo>
                    <a:pt x="239" y="651"/>
                  </a:lnTo>
                  <a:lnTo>
                    <a:pt x="239" y="646"/>
                  </a:lnTo>
                  <a:lnTo>
                    <a:pt x="239" y="646"/>
                  </a:lnTo>
                  <a:lnTo>
                    <a:pt x="239" y="646"/>
                  </a:lnTo>
                  <a:lnTo>
                    <a:pt x="239" y="651"/>
                  </a:lnTo>
                  <a:lnTo>
                    <a:pt x="239" y="651"/>
                  </a:lnTo>
                  <a:lnTo>
                    <a:pt x="239" y="651"/>
                  </a:lnTo>
                  <a:lnTo>
                    <a:pt x="235" y="651"/>
                  </a:lnTo>
                  <a:lnTo>
                    <a:pt x="230" y="651"/>
                  </a:lnTo>
                  <a:lnTo>
                    <a:pt x="230" y="651"/>
                  </a:lnTo>
                  <a:lnTo>
                    <a:pt x="230" y="651"/>
                  </a:lnTo>
                  <a:lnTo>
                    <a:pt x="230" y="651"/>
                  </a:lnTo>
                  <a:lnTo>
                    <a:pt x="230" y="651"/>
                  </a:lnTo>
                  <a:lnTo>
                    <a:pt x="230" y="651"/>
                  </a:lnTo>
                  <a:lnTo>
                    <a:pt x="230" y="651"/>
                  </a:lnTo>
                  <a:lnTo>
                    <a:pt x="230" y="651"/>
                  </a:lnTo>
                  <a:lnTo>
                    <a:pt x="230" y="651"/>
                  </a:lnTo>
                  <a:lnTo>
                    <a:pt x="230" y="651"/>
                  </a:lnTo>
                  <a:lnTo>
                    <a:pt x="226" y="655"/>
                  </a:lnTo>
                  <a:lnTo>
                    <a:pt x="226" y="655"/>
                  </a:lnTo>
                  <a:lnTo>
                    <a:pt x="226" y="655"/>
                  </a:lnTo>
                  <a:lnTo>
                    <a:pt x="226" y="655"/>
                  </a:lnTo>
                  <a:lnTo>
                    <a:pt x="226" y="655"/>
                  </a:lnTo>
                  <a:lnTo>
                    <a:pt x="226" y="660"/>
                  </a:lnTo>
                  <a:lnTo>
                    <a:pt x="226" y="660"/>
                  </a:lnTo>
                  <a:lnTo>
                    <a:pt x="226" y="660"/>
                  </a:lnTo>
                  <a:lnTo>
                    <a:pt x="226" y="660"/>
                  </a:lnTo>
                  <a:lnTo>
                    <a:pt x="230" y="660"/>
                  </a:lnTo>
                  <a:lnTo>
                    <a:pt x="230" y="660"/>
                  </a:lnTo>
                  <a:lnTo>
                    <a:pt x="230" y="660"/>
                  </a:lnTo>
                  <a:lnTo>
                    <a:pt x="230" y="660"/>
                  </a:lnTo>
                  <a:lnTo>
                    <a:pt x="235" y="660"/>
                  </a:lnTo>
                  <a:lnTo>
                    <a:pt x="235" y="660"/>
                  </a:lnTo>
                  <a:lnTo>
                    <a:pt x="235" y="660"/>
                  </a:lnTo>
                  <a:lnTo>
                    <a:pt x="235" y="660"/>
                  </a:lnTo>
                  <a:lnTo>
                    <a:pt x="235" y="660"/>
                  </a:lnTo>
                  <a:lnTo>
                    <a:pt x="235" y="660"/>
                  </a:lnTo>
                  <a:lnTo>
                    <a:pt x="235" y="660"/>
                  </a:lnTo>
                  <a:lnTo>
                    <a:pt x="239" y="660"/>
                  </a:lnTo>
                  <a:lnTo>
                    <a:pt x="239" y="660"/>
                  </a:lnTo>
                  <a:lnTo>
                    <a:pt x="239" y="660"/>
                  </a:lnTo>
                  <a:lnTo>
                    <a:pt x="239" y="660"/>
                  </a:lnTo>
                  <a:lnTo>
                    <a:pt x="239" y="660"/>
                  </a:lnTo>
                  <a:lnTo>
                    <a:pt x="239" y="655"/>
                  </a:lnTo>
                  <a:lnTo>
                    <a:pt x="239" y="660"/>
                  </a:lnTo>
                  <a:lnTo>
                    <a:pt x="239" y="660"/>
                  </a:lnTo>
                  <a:lnTo>
                    <a:pt x="239" y="660"/>
                  </a:lnTo>
                  <a:lnTo>
                    <a:pt x="239" y="660"/>
                  </a:lnTo>
                  <a:lnTo>
                    <a:pt x="239" y="660"/>
                  </a:lnTo>
                  <a:lnTo>
                    <a:pt x="239" y="660"/>
                  </a:lnTo>
                  <a:lnTo>
                    <a:pt x="239" y="660"/>
                  </a:lnTo>
                  <a:lnTo>
                    <a:pt x="239" y="660"/>
                  </a:lnTo>
                  <a:lnTo>
                    <a:pt x="243" y="660"/>
                  </a:lnTo>
                  <a:lnTo>
                    <a:pt x="243" y="655"/>
                  </a:lnTo>
                  <a:lnTo>
                    <a:pt x="243" y="655"/>
                  </a:lnTo>
                  <a:lnTo>
                    <a:pt x="243" y="655"/>
                  </a:lnTo>
                  <a:lnTo>
                    <a:pt x="243" y="655"/>
                  </a:lnTo>
                  <a:lnTo>
                    <a:pt x="243" y="655"/>
                  </a:lnTo>
                  <a:lnTo>
                    <a:pt x="243" y="655"/>
                  </a:lnTo>
                  <a:lnTo>
                    <a:pt x="243" y="655"/>
                  </a:lnTo>
                  <a:lnTo>
                    <a:pt x="248" y="651"/>
                  </a:lnTo>
                  <a:lnTo>
                    <a:pt x="248" y="651"/>
                  </a:lnTo>
                  <a:lnTo>
                    <a:pt x="252" y="651"/>
                  </a:lnTo>
                  <a:lnTo>
                    <a:pt x="252" y="655"/>
                  </a:lnTo>
                  <a:lnTo>
                    <a:pt x="252" y="655"/>
                  </a:lnTo>
                  <a:lnTo>
                    <a:pt x="252" y="655"/>
                  </a:lnTo>
                  <a:lnTo>
                    <a:pt x="252" y="655"/>
                  </a:lnTo>
                  <a:lnTo>
                    <a:pt x="252" y="655"/>
                  </a:lnTo>
                  <a:lnTo>
                    <a:pt x="252" y="660"/>
                  </a:lnTo>
                  <a:lnTo>
                    <a:pt x="257" y="660"/>
                  </a:lnTo>
                  <a:lnTo>
                    <a:pt x="257" y="660"/>
                  </a:lnTo>
                  <a:lnTo>
                    <a:pt x="257" y="660"/>
                  </a:lnTo>
                  <a:lnTo>
                    <a:pt x="257" y="664"/>
                  </a:lnTo>
                  <a:lnTo>
                    <a:pt x="257" y="664"/>
                  </a:lnTo>
                  <a:lnTo>
                    <a:pt x="257" y="664"/>
                  </a:lnTo>
                  <a:lnTo>
                    <a:pt x="257" y="664"/>
                  </a:lnTo>
                  <a:lnTo>
                    <a:pt x="257" y="664"/>
                  </a:lnTo>
                  <a:lnTo>
                    <a:pt x="257" y="664"/>
                  </a:lnTo>
                  <a:lnTo>
                    <a:pt x="257" y="664"/>
                  </a:lnTo>
                  <a:lnTo>
                    <a:pt x="257" y="664"/>
                  </a:lnTo>
                  <a:lnTo>
                    <a:pt x="261" y="664"/>
                  </a:lnTo>
                  <a:lnTo>
                    <a:pt x="261" y="664"/>
                  </a:lnTo>
                  <a:lnTo>
                    <a:pt x="261" y="669"/>
                  </a:lnTo>
                  <a:lnTo>
                    <a:pt x="266" y="669"/>
                  </a:lnTo>
                  <a:lnTo>
                    <a:pt x="266" y="673"/>
                  </a:lnTo>
                  <a:lnTo>
                    <a:pt x="266" y="673"/>
                  </a:lnTo>
                  <a:lnTo>
                    <a:pt x="279" y="673"/>
                  </a:lnTo>
                  <a:lnTo>
                    <a:pt x="283" y="673"/>
                  </a:lnTo>
                  <a:lnTo>
                    <a:pt x="283" y="673"/>
                  </a:lnTo>
                  <a:lnTo>
                    <a:pt x="283" y="673"/>
                  </a:lnTo>
                  <a:lnTo>
                    <a:pt x="288" y="673"/>
                  </a:lnTo>
                  <a:lnTo>
                    <a:pt x="288" y="669"/>
                  </a:lnTo>
                  <a:lnTo>
                    <a:pt x="288" y="669"/>
                  </a:lnTo>
                  <a:lnTo>
                    <a:pt x="288" y="669"/>
                  </a:lnTo>
                  <a:lnTo>
                    <a:pt x="288" y="669"/>
                  </a:lnTo>
                  <a:lnTo>
                    <a:pt x="288" y="669"/>
                  </a:lnTo>
                  <a:lnTo>
                    <a:pt x="288" y="669"/>
                  </a:lnTo>
                  <a:lnTo>
                    <a:pt x="288" y="664"/>
                  </a:lnTo>
                  <a:lnTo>
                    <a:pt x="288" y="664"/>
                  </a:lnTo>
                  <a:lnTo>
                    <a:pt x="288" y="664"/>
                  </a:lnTo>
                  <a:lnTo>
                    <a:pt x="288" y="664"/>
                  </a:lnTo>
                  <a:lnTo>
                    <a:pt x="292" y="664"/>
                  </a:lnTo>
                  <a:lnTo>
                    <a:pt x="292" y="664"/>
                  </a:lnTo>
                  <a:lnTo>
                    <a:pt x="292" y="664"/>
                  </a:lnTo>
                  <a:lnTo>
                    <a:pt x="292" y="660"/>
                  </a:lnTo>
                  <a:lnTo>
                    <a:pt x="292" y="660"/>
                  </a:lnTo>
                  <a:lnTo>
                    <a:pt x="297" y="660"/>
                  </a:lnTo>
                  <a:lnTo>
                    <a:pt x="297" y="660"/>
                  </a:lnTo>
                  <a:lnTo>
                    <a:pt x="297" y="660"/>
                  </a:lnTo>
                  <a:lnTo>
                    <a:pt x="297" y="660"/>
                  </a:lnTo>
                  <a:lnTo>
                    <a:pt x="297" y="660"/>
                  </a:lnTo>
                  <a:lnTo>
                    <a:pt x="297" y="660"/>
                  </a:lnTo>
                  <a:lnTo>
                    <a:pt x="301" y="660"/>
                  </a:lnTo>
                  <a:lnTo>
                    <a:pt x="305" y="660"/>
                  </a:lnTo>
                  <a:lnTo>
                    <a:pt x="305" y="660"/>
                  </a:lnTo>
                  <a:lnTo>
                    <a:pt x="305" y="655"/>
                  </a:lnTo>
                  <a:lnTo>
                    <a:pt x="310" y="655"/>
                  </a:lnTo>
                  <a:lnTo>
                    <a:pt x="310" y="655"/>
                  </a:lnTo>
                  <a:lnTo>
                    <a:pt x="314" y="655"/>
                  </a:lnTo>
                  <a:lnTo>
                    <a:pt x="314" y="655"/>
                  </a:lnTo>
                  <a:lnTo>
                    <a:pt x="314" y="651"/>
                  </a:lnTo>
                  <a:lnTo>
                    <a:pt x="314" y="646"/>
                  </a:lnTo>
                  <a:lnTo>
                    <a:pt x="319" y="646"/>
                  </a:lnTo>
                  <a:lnTo>
                    <a:pt x="319" y="646"/>
                  </a:lnTo>
                  <a:lnTo>
                    <a:pt x="319" y="646"/>
                  </a:lnTo>
                  <a:lnTo>
                    <a:pt x="323" y="642"/>
                  </a:lnTo>
                  <a:lnTo>
                    <a:pt x="323" y="642"/>
                  </a:lnTo>
                  <a:lnTo>
                    <a:pt x="323" y="642"/>
                  </a:lnTo>
                  <a:lnTo>
                    <a:pt x="323" y="642"/>
                  </a:lnTo>
                  <a:lnTo>
                    <a:pt x="323" y="642"/>
                  </a:lnTo>
                  <a:lnTo>
                    <a:pt x="328" y="642"/>
                  </a:lnTo>
                  <a:lnTo>
                    <a:pt x="328" y="638"/>
                  </a:lnTo>
                  <a:lnTo>
                    <a:pt x="328" y="642"/>
                  </a:lnTo>
                  <a:lnTo>
                    <a:pt x="328" y="642"/>
                  </a:lnTo>
                  <a:lnTo>
                    <a:pt x="328" y="642"/>
                  </a:lnTo>
                  <a:lnTo>
                    <a:pt x="328" y="642"/>
                  </a:lnTo>
                  <a:lnTo>
                    <a:pt x="323" y="642"/>
                  </a:lnTo>
                  <a:lnTo>
                    <a:pt x="323" y="642"/>
                  </a:lnTo>
                  <a:lnTo>
                    <a:pt x="323" y="646"/>
                  </a:lnTo>
                  <a:lnTo>
                    <a:pt x="319" y="651"/>
                  </a:lnTo>
                  <a:lnTo>
                    <a:pt x="319" y="651"/>
                  </a:lnTo>
                  <a:lnTo>
                    <a:pt x="319" y="651"/>
                  </a:lnTo>
                  <a:lnTo>
                    <a:pt x="319" y="651"/>
                  </a:lnTo>
                  <a:lnTo>
                    <a:pt x="319" y="651"/>
                  </a:lnTo>
                  <a:lnTo>
                    <a:pt x="319" y="655"/>
                  </a:lnTo>
                  <a:lnTo>
                    <a:pt x="314" y="655"/>
                  </a:lnTo>
                  <a:lnTo>
                    <a:pt x="314" y="655"/>
                  </a:lnTo>
                  <a:lnTo>
                    <a:pt x="314" y="655"/>
                  </a:lnTo>
                  <a:lnTo>
                    <a:pt x="310" y="664"/>
                  </a:lnTo>
                  <a:lnTo>
                    <a:pt x="310" y="664"/>
                  </a:lnTo>
                  <a:lnTo>
                    <a:pt x="310" y="664"/>
                  </a:lnTo>
                  <a:lnTo>
                    <a:pt x="305" y="664"/>
                  </a:lnTo>
                  <a:lnTo>
                    <a:pt x="305" y="664"/>
                  </a:lnTo>
                  <a:lnTo>
                    <a:pt x="305" y="664"/>
                  </a:lnTo>
                  <a:lnTo>
                    <a:pt x="305" y="664"/>
                  </a:lnTo>
                  <a:lnTo>
                    <a:pt x="301" y="669"/>
                  </a:lnTo>
                  <a:lnTo>
                    <a:pt x="301" y="673"/>
                  </a:lnTo>
                  <a:lnTo>
                    <a:pt x="297" y="673"/>
                  </a:lnTo>
                  <a:lnTo>
                    <a:pt x="297" y="673"/>
                  </a:lnTo>
                  <a:lnTo>
                    <a:pt x="297" y="673"/>
                  </a:lnTo>
                  <a:lnTo>
                    <a:pt x="297" y="673"/>
                  </a:lnTo>
                  <a:lnTo>
                    <a:pt x="297" y="677"/>
                  </a:lnTo>
                  <a:lnTo>
                    <a:pt x="297" y="677"/>
                  </a:lnTo>
                  <a:lnTo>
                    <a:pt x="297" y="677"/>
                  </a:lnTo>
                  <a:lnTo>
                    <a:pt x="297" y="677"/>
                  </a:lnTo>
                  <a:lnTo>
                    <a:pt x="297" y="677"/>
                  </a:lnTo>
                  <a:lnTo>
                    <a:pt x="297" y="677"/>
                  </a:lnTo>
                  <a:lnTo>
                    <a:pt x="292" y="677"/>
                  </a:lnTo>
                  <a:lnTo>
                    <a:pt x="292" y="677"/>
                  </a:lnTo>
                  <a:lnTo>
                    <a:pt x="292" y="682"/>
                  </a:lnTo>
                  <a:lnTo>
                    <a:pt x="292" y="682"/>
                  </a:lnTo>
                  <a:lnTo>
                    <a:pt x="297" y="686"/>
                  </a:lnTo>
                  <a:lnTo>
                    <a:pt x="297" y="686"/>
                  </a:lnTo>
                  <a:lnTo>
                    <a:pt x="297" y="686"/>
                  </a:lnTo>
                  <a:lnTo>
                    <a:pt x="297" y="686"/>
                  </a:lnTo>
                  <a:lnTo>
                    <a:pt x="297" y="686"/>
                  </a:lnTo>
                  <a:lnTo>
                    <a:pt x="292" y="691"/>
                  </a:lnTo>
                  <a:lnTo>
                    <a:pt x="292" y="691"/>
                  </a:lnTo>
                  <a:lnTo>
                    <a:pt x="292" y="686"/>
                  </a:lnTo>
                  <a:lnTo>
                    <a:pt x="292" y="686"/>
                  </a:lnTo>
                  <a:lnTo>
                    <a:pt x="292" y="686"/>
                  </a:lnTo>
                  <a:lnTo>
                    <a:pt x="288" y="686"/>
                  </a:lnTo>
                  <a:lnTo>
                    <a:pt x="288" y="686"/>
                  </a:lnTo>
                  <a:lnTo>
                    <a:pt x="283" y="686"/>
                  </a:lnTo>
                  <a:lnTo>
                    <a:pt x="279" y="691"/>
                  </a:lnTo>
                  <a:lnTo>
                    <a:pt x="274" y="691"/>
                  </a:lnTo>
                  <a:lnTo>
                    <a:pt x="274" y="691"/>
                  </a:lnTo>
                  <a:lnTo>
                    <a:pt x="270" y="686"/>
                  </a:lnTo>
                  <a:lnTo>
                    <a:pt x="266" y="686"/>
                  </a:lnTo>
                  <a:lnTo>
                    <a:pt x="261" y="686"/>
                  </a:lnTo>
                  <a:lnTo>
                    <a:pt x="252" y="686"/>
                  </a:lnTo>
                  <a:lnTo>
                    <a:pt x="252" y="686"/>
                  </a:lnTo>
                  <a:lnTo>
                    <a:pt x="252" y="686"/>
                  </a:lnTo>
                  <a:lnTo>
                    <a:pt x="252" y="686"/>
                  </a:lnTo>
                  <a:lnTo>
                    <a:pt x="248" y="686"/>
                  </a:lnTo>
                  <a:lnTo>
                    <a:pt x="243" y="686"/>
                  </a:lnTo>
                  <a:lnTo>
                    <a:pt x="243" y="686"/>
                  </a:lnTo>
                  <a:lnTo>
                    <a:pt x="235" y="686"/>
                  </a:lnTo>
                  <a:lnTo>
                    <a:pt x="230" y="691"/>
                  </a:lnTo>
                  <a:lnTo>
                    <a:pt x="230" y="691"/>
                  </a:lnTo>
                  <a:lnTo>
                    <a:pt x="230" y="691"/>
                  </a:lnTo>
                  <a:lnTo>
                    <a:pt x="230" y="691"/>
                  </a:lnTo>
                  <a:lnTo>
                    <a:pt x="230" y="691"/>
                  </a:lnTo>
                  <a:lnTo>
                    <a:pt x="230" y="691"/>
                  </a:lnTo>
                  <a:lnTo>
                    <a:pt x="230" y="691"/>
                  </a:lnTo>
                  <a:lnTo>
                    <a:pt x="230" y="691"/>
                  </a:lnTo>
                  <a:lnTo>
                    <a:pt x="230" y="695"/>
                  </a:lnTo>
                  <a:lnTo>
                    <a:pt x="230" y="695"/>
                  </a:lnTo>
                  <a:lnTo>
                    <a:pt x="230" y="695"/>
                  </a:lnTo>
                  <a:lnTo>
                    <a:pt x="230" y="695"/>
                  </a:lnTo>
                  <a:lnTo>
                    <a:pt x="230" y="700"/>
                  </a:lnTo>
                  <a:lnTo>
                    <a:pt x="230" y="700"/>
                  </a:lnTo>
                  <a:lnTo>
                    <a:pt x="230" y="700"/>
                  </a:lnTo>
                  <a:lnTo>
                    <a:pt x="230" y="700"/>
                  </a:lnTo>
                  <a:lnTo>
                    <a:pt x="230" y="700"/>
                  </a:lnTo>
                  <a:lnTo>
                    <a:pt x="230" y="700"/>
                  </a:lnTo>
                  <a:lnTo>
                    <a:pt x="226" y="704"/>
                  </a:lnTo>
                  <a:lnTo>
                    <a:pt x="226" y="704"/>
                  </a:lnTo>
                  <a:lnTo>
                    <a:pt x="226" y="704"/>
                  </a:lnTo>
                  <a:lnTo>
                    <a:pt x="221" y="704"/>
                  </a:lnTo>
                  <a:lnTo>
                    <a:pt x="221" y="704"/>
                  </a:lnTo>
                  <a:lnTo>
                    <a:pt x="221" y="704"/>
                  </a:lnTo>
                  <a:lnTo>
                    <a:pt x="217" y="704"/>
                  </a:lnTo>
                  <a:lnTo>
                    <a:pt x="212" y="704"/>
                  </a:lnTo>
                  <a:lnTo>
                    <a:pt x="212" y="704"/>
                  </a:lnTo>
                  <a:lnTo>
                    <a:pt x="212" y="704"/>
                  </a:lnTo>
                  <a:lnTo>
                    <a:pt x="212" y="708"/>
                  </a:lnTo>
                  <a:lnTo>
                    <a:pt x="212" y="708"/>
                  </a:lnTo>
                  <a:lnTo>
                    <a:pt x="212" y="708"/>
                  </a:lnTo>
                  <a:lnTo>
                    <a:pt x="212" y="708"/>
                  </a:lnTo>
                  <a:lnTo>
                    <a:pt x="212" y="713"/>
                  </a:lnTo>
                  <a:lnTo>
                    <a:pt x="212" y="722"/>
                  </a:lnTo>
                  <a:lnTo>
                    <a:pt x="212" y="726"/>
                  </a:lnTo>
                  <a:lnTo>
                    <a:pt x="208" y="726"/>
                  </a:lnTo>
                  <a:lnTo>
                    <a:pt x="208" y="726"/>
                  </a:lnTo>
                  <a:lnTo>
                    <a:pt x="208" y="731"/>
                  </a:lnTo>
                  <a:lnTo>
                    <a:pt x="208" y="731"/>
                  </a:lnTo>
                  <a:lnTo>
                    <a:pt x="204" y="731"/>
                  </a:lnTo>
                  <a:lnTo>
                    <a:pt x="204" y="731"/>
                  </a:lnTo>
                  <a:lnTo>
                    <a:pt x="204" y="735"/>
                  </a:lnTo>
                  <a:lnTo>
                    <a:pt x="204" y="735"/>
                  </a:lnTo>
                  <a:lnTo>
                    <a:pt x="204" y="735"/>
                  </a:lnTo>
                  <a:lnTo>
                    <a:pt x="204" y="735"/>
                  </a:lnTo>
                  <a:lnTo>
                    <a:pt x="199" y="739"/>
                  </a:lnTo>
                  <a:lnTo>
                    <a:pt x="199" y="739"/>
                  </a:lnTo>
                  <a:lnTo>
                    <a:pt x="199" y="739"/>
                  </a:lnTo>
                  <a:lnTo>
                    <a:pt x="195" y="739"/>
                  </a:lnTo>
                  <a:lnTo>
                    <a:pt x="195" y="739"/>
                  </a:lnTo>
                  <a:lnTo>
                    <a:pt x="195" y="739"/>
                  </a:lnTo>
                  <a:lnTo>
                    <a:pt x="195" y="739"/>
                  </a:lnTo>
                  <a:lnTo>
                    <a:pt x="195" y="739"/>
                  </a:lnTo>
                  <a:lnTo>
                    <a:pt x="195" y="744"/>
                  </a:lnTo>
                  <a:lnTo>
                    <a:pt x="195" y="744"/>
                  </a:lnTo>
                  <a:lnTo>
                    <a:pt x="195" y="744"/>
                  </a:lnTo>
                  <a:lnTo>
                    <a:pt x="195" y="744"/>
                  </a:lnTo>
                  <a:lnTo>
                    <a:pt x="199" y="744"/>
                  </a:lnTo>
                  <a:lnTo>
                    <a:pt x="195" y="744"/>
                  </a:lnTo>
                  <a:lnTo>
                    <a:pt x="195" y="744"/>
                  </a:lnTo>
                  <a:lnTo>
                    <a:pt x="195" y="744"/>
                  </a:lnTo>
                  <a:lnTo>
                    <a:pt x="195" y="744"/>
                  </a:lnTo>
                  <a:lnTo>
                    <a:pt x="195" y="744"/>
                  </a:lnTo>
                  <a:lnTo>
                    <a:pt x="195" y="744"/>
                  </a:lnTo>
                  <a:lnTo>
                    <a:pt x="195" y="744"/>
                  </a:lnTo>
                  <a:lnTo>
                    <a:pt x="195" y="744"/>
                  </a:lnTo>
                  <a:lnTo>
                    <a:pt x="190" y="744"/>
                  </a:lnTo>
                  <a:lnTo>
                    <a:pt x="190" y="744"/>
                  </a:lnTo>
                  <a:lnTo>
                    <a:pt x="190" y="744"/>
                  </a:lnTo>
                  <a:lnTo>
                    <a:pt x="190" y="744"/>
                  </a:lnTo>
                  <a:lnTo>
                    <a:pt x="190" y="744"/>
                  </a:lnTo>
                  <a:lnTo>
                    <a:pt x="190" y="744"/>
                  </a:lnTo>
                  <a:lnTo>
                    <a:pt x="190" y="744"/>
                  </a:lnTo>
                  <a:lnTo>
                    <a:pt x="186" y="744"/>
                  </a:lnTo>
                  <a:lnTo>
                    <a:pt x="186" y="748"/>
                  </a:lnTo>
                  <a:lnTo>
                    <a:pt x="186" y="748"/>
                  </a:lnTo>
                  <a:lnTo>
                    <a:pt x="186" y="753"/>
                  </a:lnTo>
                  <a:lnTo>
                    <a:pt x="186" y="753"/>
                  </a:lnTo>
                  <a:lnTo>
                    <a:pt x="186" y="753"/>
                  </a:lnTo>
                  <a:lnTo>
                    <a:pt x="181" y="753"/>
                  </a:lnTo>
                  <a:lnTo>
                    <a:pt x="181" y="753"/>
                  </a:lnTo>
                  <a:lnTo>
                    <a:pt x="181" y="753"/>
                  </a:lnTo>
                  <a:lnTo>
                    <a:pt x="181" y="757"/>
                  </a:lnTo>
                  <a:lnTo>
                    <a:pt x="181" y="757"/>
                  </a:lnTo>
                  <a:lnTo>
                    <a:pt x="181" y="757"/>
                  </a:lnTo>
                  <a:lnTo>
                    <a:pt x="181" y="757"/>
                  </a:lnTo>
                  <a:lnTo>
                    <a:pt x="181" y="757"/>
                  </a:lnTo>
                  <a:lnTo>
                    <a:pt x="181" y="762"/>
                  </a:lnTo>
                  <a:lnTo>
                    <a:pt x="177" y="762"/>
                  </a:lnTo>
                  <a:lnTo>
                    <a:pt x="173" y="766"/>
                  </a:lnTo>
                  <a:lnTo>
                    <a:pt x="173" y="770"/>
                  </a:lnTo>
                  <a:lnTo>
                    <a:pt x="168" y="770"/>
                  </a:lnTo>
                  <a:lnTo>
                    <a:pt x="168" y="770"/>
                  </a:lnTo>
                  <a:lnTo>
                    <a:pt x="168" y="770"/>
                  </a:lnTo>
                  <a:lnTo>
                    <a:pt x="168" y="770"/>
                  </a:lnTo>
                  <a:lnTo>
                    <a:pt x="168" y="770"/>
                  </a:lnTo>
                  <a:lnTo>
                    <a:pt x="168" y="770"/>
                  </a:lnTo>
                  <a:lnTo>
                    <a:pt x="164" y="770"/>
                  </a:lnTo>
                  <a:lnTo>
                    <a:pt x="164" y="770"/>
                  </a:lnTo>
                  <a:lnTo>
                    <a:pt x="164" y="770"/>
                  </a:lnTo>
                  <a:lnTo>
                    <a:pt x="159" y="770"/>
                  </a:lnTo>
                  <a:lnTo>
                    <a:pt x="159" y="770"/>
                  </a:lnTo>
                  <a:lnTo>
                    <a:pt x="155" y="775"/>
                  </a:lnTo>
                  <a:lnTo>
                    <a:pt x="155" y="775"/>
                  </a:lnTo>
                  <a:lnTo>
                    <a:pt x="155" y="775"/>
                  </a:lnTo>
                  <a:lnTo>
                    <a:pt x="150" y="775"/>
                  </a:lnTo>
                  <a:lnTo>
                    <a:pt x="150" y="775"/>
                  </a:lnTo>
                  <a:lnTo>
                    <a:pt x="150" y="779"/>
                  </a:lnTo>
                  <a:lnTo>
                    <a:pt x="150" y="779"/>
                  </a:lnTo>
                  <a:lnTo>
                    <a:pt x="150" y="779"/>
                  </a:lnTo>
                  <a:lnTo>
                    <a:pt x="150" y="779"/>
                  </a:lnTo>
                  <a:lnTo>
                    <a:pt x="150" y="779"/>
                  </a:lnTo>
                  <a:lnTo>
                    <a:pt x="150" y="779"/>
                  </a:lnTo>
                  <a:lnTo>
                    <a:pt x="150" y="779"/>
                  </a:lnTo>
                  <a:lnTo>
                    <a:pt x="150" y="779"/>
                  </a:lnTo>
                  <a:lnTo>
                    <a:pt x="150" y="779"/>
                  </a:lnTo>
                  <a:lnTo>
                    <a:pt x="150" y="779"/>
                  </a:lnTo>
                  <a:lnTo>
                    <a:pt x="150" y="784"/>
                  </a:lnTo>
                  <a:lnTo>
                    <a:pt x="155" y="784"/>
                  </a:lnTo>
                  <a:lnTo>
                    <a:pt x="155" y="784"/>
                  </a:lnTo>
                  <a:lnTo>
                    <a:pt x="159" y="784"/>
                  </a:lnTo>
                  <a:lnTo>
                    <a:pt x="159" y="784"/>
                  </a:lnTo>
                  <a:lnTo>
                    <a:pt x="159" y="784"/>
                  </a:lnTo>
                  <a:lnTo>
                    <a:pt x="159" y="779"/>
                  </a:lnTo>
                  <a:lnTo>
                    <a:pt x="159" y="779"/>
                  </a:lnTo>
                  <a:lnTo>
                    <a:pt x="159" y="779"/>
                  </a:lnTo>
                  <a:lnTo>
                    <a:pt x="164" y="779"/>
                  </a:lnTo>
                  <a:lnTo>
                    <a:pt x="164" y="779"/>
                  </a:lnTo>
                  <a:lnTo>
                    <a:pt x="164" y="779"/>
                  </a:lnTo>
                  <a:lnTo>
                    <a:pt x="164" y="779"/>
                  </a:lnTo>
                  <a:lnTo>
                    <a:pt x="168" y="779"/>
                  </a:lnTo>
                  <a:lnTo>
                    <a:pt x="168" y="779"/>
                  </a:lnTo>
                  <a:lnTo>
                    <a:pt x="173" y="779"/>
                  </a:lnTo>
                  <a:lnTo>
                    <a:pt x="173" y="779"/>
                  </a:lnTo>
                  <a:lnTo>
                    <a:pt x="173" y="784"/>
                  </a:lnTo>
                  <a:lnTo>
                    <a:pt x="177" y="784"/>
                  </a:lnTo>
                  <a:lnTo>
                    <a:pt x="177" y="784"/>
                  </a:lnTo>
                  <a:lnTo>
                    <a:pt x="177" y="788"/>
                  </a:lnTo>
                  <a:lnTo>
                    <a:pt x="177" y="788"/>
                  </a:lnTo>
                  <a:lnTo>
                    <a:pt x="177" y="788"/>
                  </a:lnTo>
                  <a:lnTo>
                    <a:pt x="177" y="788"/>
                  </a:lnTo>
                  <a:lnTo>
                    <a:pt x="177" y="788"/>
                  </a:lnTo>
                  <a:lnTo>
                    <a:pt x="177" y="793"/>
                  </a:lnTo>
                  <a:lnTo>
                    <a:pt x="177" y="793"/>
                  </a:lnTo>
                  <a:lnTo>
                    <a:pt x="177" y="793"/>
                  </a:lnTo>
                  <a:lnTo>
                    <a:pt x="181" y="793"/>
                  </a:lnTo>
                  <a:lnTo>
                    <a:pt x="181" y="788"/>
                  </a:lnTo>
                  <a:lnTo>
                    <a:pt x="181" y="788"/>
                  </a:lnTo>
                  <a:lnTo>
                    <a:pt x="181" y="788"/>
                  </a:lnTo>
                  <a:lnTo>
                    <a:pt x="181" y="788"/>
                  </a:lnTo>
                  <a:lnTo>
                    <a:pt x="181" y="788"/>
                  </a:lnTo>
                  <a:lnTo>
                    <a:pt x="186" y="788"/>
                  </a:lnTo>
                  <a:lnTo>
                    <a:pt x="186" y="784"/>
                  </a:lnTo>
                  <a:lnTo>
                    <a:pt x="186" y="784"/>
                  </a:lnTo>
                  <a:lnTo>
                    <a:pt x="186" y="784"/>
                  </a:lnTo>
                  <a:lnTo>
                    <a:pt x="186" y="784"/>
                  </a:lnTo>
                  <a:lnTo>
                    <a:pt x="186" y="779"/>
                  </a:lnTo>
                  <a:lnTo>
                    <a:pt x="186" y="779"/>
                  </a:lnTo>
                  <a:lnTo>
                    <a:pt x="186" y="779"/>
                  </a:lnTo>
                  <a:lnTo>
                    <a:pt x="186" y="779"/>
                  </a:lnTo>
                  <a:lnTo>
                    <a:pt x="186" y="779"/>
                  </a:lnTo>
                  <a:lnTo>
                    <a:pt x="186" y="779"/>
                  </a:lnTo>
                  <a:lnTo>
                    <a:pt x="181" y="779"/>
                  </a:lnTo>
                  <a:lnTo>
                    <a:pt x="181" y="779"/>
                  </a:lnTo>
                  <a:lnTo>
                    <a:pt x="186" y="779"/>
                  </a:lnTo>
                  <a:lnTo>
                    <a:pt x="186" y="779"/>
                  </a:lnTo>
                  <a:lnTo>
                    <a:pt x="186" y="779"/>
                  </a:lnTo>
                  <a:lnTo>
                    <a:pt x="186" y="779"/>
                  </a:lnTo>
                  <a:lnTo>
                    <a:pt x="186" y="779"/>
                  </a:lnTo>
                  <a:lnTo>
                    <a:pt x="186" y="775"/>
                  </a:lnTo>
                  <a:lnTo>
                    <a:pt x="186" y="775"/>
                  </a:lnTo>
                  <a:lnTo>
                    <a:pt x="186" y="775"/>
                  </a:lnTo>
                  <a:lnTo>
                    <a:pt x="186" y="775"/>
                  </a:lnTo>
                  <a:lnTo>
                    <a:pt x="186" y="775"/>
                  </a:lnTo>
                  <a:lnTo>
                    <a:pt x="186" y="775"/>
                  </a:lnTo>
                  <a:lnTo>
                    <a:pt x="186" y="775"/>
                  </a:lnTo>
                  <a:lnTo>
                    <a:pt x="186" y="775"/>
                  </a:lnTo>
                  <a:lnTo>
                    <a:pt x="186" y="775"/>
                  </a:lnTo>
                  <a:lnTo>
                    <a:pt x="186" y="770"/>
                  </a:lnTo>
                  <a:lnTo>
                    <a:pt x="186" y="770"/>
                  </a:lnTo>
                  <a:lnTo>
                    <a:pt x="190" y="770"/>
                  </a:lnTo>
                  <a:lnTo>
                    <a:pt x="190" y="775"/>
                  </a:lnTo>
                  <a:lnTo>
                    <a:pt x="190" y="775"/>
                  </a:lnTo>
                  <a:lnTo>
                    <a:pt x="190" y="770"/>
                  </a:lnTo>
                  <a:lnTo>
                    <a:pt x="190" y="770"/>
                  </a:lnTo>
                  <a:lnTo>
                    <a:pt x="195" y="770"/>
                  </a:lnTo>
                  <a:lnTo>
                    <a:pt x="195" y="770"/>
                  </a:lnTo>
                  <a:lnTo>
                    <a:pt x="195" y="770"/>
                  </a:lnTo>
                  <a:lnTo>
                    <a:pt x="199" y="770"/>
                  </a:lnTo>
                  <a:lnTo>
                    <a:pt x="199" y="770"/>
                  </a:lnTo>
                  <a:lnTo>
                    <a:pt x="199" y="770"/>
                  </a:lnTo>
                  <a:lnTo>
                    <a:pt x="199" y="766"/>
                  </a:lnTo>
                  <a:lnTo>
                    <a:pt x="199" y="766"/>
                  </a:lnTo>
                  <a:lnTo>
                    <a:pt x="199" y="766"/>
                  </a:lnTo>
                  <a:lnTo>
                    <a:pt x="199" y="766"/>
                  </a:lnTo>
                  <a:lnTo>
                    <a:pt x="199" y="766"/>
                  </a:lnTo>
                  <a:lnTo>
                    <a:pt x="199" y="766"/>
                  </a:lnTo>
                  <a:lnTo>
                    <a:pt x="199" y="766"/>
                  </a:lnTo>
                  <a:lnTo>
                    <a:pt x="204" y="762"/>
                  </a:lnTo>
                  <a:lnTo>
                    <a:pt x="204" y="762"/>
                  </a:lnTo>
                  <a:lnTo>
                    <a:pt x="204" y="762"/>
                  </a:lnTo>
                  <a:lnTo>
                    <a:pt x="204" y="762"/>
                  </a:lnTo>
                  <a:lnTo>
                    <a:pt x="204" y="762"/>
                  </a:lnTo>
                  <a:lnTo>
                    <a:pt x="204" y="762"/>
                  </a:lnTo>
                  <a:lnTo>
                    <a:pt x="204" y="762"/>
                  </a:lnTo>
                  <a:lnTo>
                    <a:pt x="204" y="762"/>
                  </a:lnTo>
                  <a:lnTo>
                    <a:pt x="204" y="762"/>
                  </a:lnTo>
                  <a:lnTo>
                    <a:pt x="204" y="762"/>
                  </a:lnTo>
                  <a:lnTo>
                    <a:pt x="204" y="762"/>
                  </a:lnTo>
                  <a:lnTo>
                    <a:pt x="208" y="762"/>
                  </a:lnTo>
                  <a:lnTo>
                    <a:pt x="208" y="762"/>
                  </a:lnTo>
                  <a:lnTo>
                    <a:pt x="208" y="762"/>
                  </a:lnTo>
                  <a:lnTo>
                    <a:pt x="208" y="762"/>
                  </a:lnTo>
                  <a:lnTo>
                    <a:pt x="208" y="762"/>
                  </a:lnTo>
                  <a:lnTo>
                    <a:pt x="217" y="762"/>
                  </a:lnTo>
                  <a:lnTo>
                    <a:pt x="217" y="762"/>
                  </a:lnTo>
                  <a:lnTo>
                    <a:pt x="221" y="757"/>
                  </a:lnTo>
                  <a:lnTo>
                    <a:pt x="226" y="757"/>
                  </a:lnTo>
                  <a:lnTo>
                    <a:pt x="230" y="757"/>
                  </a:lnTo>
                  <a:lnTo>
                    <a:pt x="230" y="757"/>
                  </a:lnTo>
                  <a:lnTo>
                    <a:pt x="230" y="762"/>
                  </a:lnTo>
                  <a:lnTo>
                    <a:pt x="230" y="762"/>
                  </a:lnTo>
                  <a:lnTo>
                    <a:pt x="230" y="762"/>
                  </a:lnTo>
                  <a:lnTo>
                    <a:pt x="230" y="762"/>
                  </a:lnTo>
                  <a:lnTo>
                    <a:pt x="230" y="762"/>
                  </a:lnTo>
                  <a:lnTo>
                    <a:pt x="230" y="762"/>
                  </a:lnTo>
                  <a:lnTo>
                    <a:pt x="230" y="762"/>
                  </a:lnTo>
                  <a:lnTo>
                    <a:pt x="235" y="757"/>
                  </a:lnTo>
                  <a:lnTo>
                    <a:pt x="235" y="757"/>
                  </a:lnTo>
                  <a:lnTo>
                    <a:pt x="230" y="757"/>
                  </a:lnTo>
                  <a:lnTo>
                    <a:pt x="230" y="757"/>
                  </a:lnTo>
                  <a:lnTo>
                    <a:pt x="230" y="757"/>
                  </a:lnTo>
                  <a:lnTo>
                    <a:pt x="230" y="757"/>
                  </a:lnTo>
                  <a:lnTo>
                    <a:pt x="230" y="757"/>
                  </a:lnTo>
                  <a:lnTo>
                    <a:pt x="230" y="757"/>
                  </a:lnTo>
                  <a:lnTo>
                    <a:pt x="230" y="757"/>
                  </a:lnTo>
                  <a:lnTo>
                    <a:pt x="226" y="757"/>
                  </a:lnTo>
                  <a:lnTo>
                    <a:pt x="226" y="757"/>
                  </a:lnTo>
                  <a:lnTo>
                    <a:pt x="230" y="757"/>
                  </a:lnTo>
                  <a:lnTo>
                    <a:pt x="230" y="757"/>
                  </a:lnTo>
                  <a:lnTo>
                    <a:pt x="230" y="753"/>
                  </a:lnTo>
                  <a:lnTo>
                    <a:pt x="230" y="753"/>
                  </a:lnTo>
                  <a:lnTo>
                    <a:pt x="230" y="753"/>
                  </a:lnTo>
                  <a:lnTo>
                    <a:pt x="230" y="753"/>
                  </a:lnTo>
                  <a:lnTo>
                    <a:pt x="230" y="753"/>
                  </a:lnTo>
                  <a:lnTo>
                    <a:pt x="230" y="753"/>
                  </a:lnTo>
                  <a:lnTo>
                    <a:pt x="230" y="753"/>
                  </a:lnTo>
                  <a:lnTo>
                    <a:pt x="230" y="753"/>
                  </a:lnTo>
                  <a:lnTo>
                    <a:pt x="230" y="753"/>
                  </a:lnTo>
                  <a:lnTo>
                    <a:pt x="230" y="748"/>
                  </a:lnTo>
                  <a:lnTo>
                    <a:pt x="230" y="753"/>
                  </a:lnTo>
                  <a:lnTo>
                    <a:pt x="235" y="753"/>
                  </a:lnTo>
                  <a:lnTo>
                    <a:pt x="235" y="748"/>
                  </a:lnTo>
                  <a:lnTo>
                    <a:pt x="235" y="753"/>
                  </a:lnTo>
                  <a:lnTo>
                    <a:pt x="230" y="753"/>
                  </a:lnTo>
                  <a:lnTo>
                    <a:pt x="230" y="753"/>
                  </a:lnTo>
                  <a:lnTo>
                    <a:pt x="230" y="757"/>
                  </a:lnTo>
                  <a:lnTo>
                    <a:pt x="235" y="757"/>
                  </a:lnTo>
                  <a:lnTo>
                    <a:pt x="235" y="757"/>
                  </a:lnTo>
                  <a:lnTo>
                    <a:pt x="235" y="757"/>
                  </a:lnTo>
                  <a:lnTo>
                    <a:pt x="235" y="757"/>
                  </a:lnTo>
                  <a:lnTo>
                    <a:pt x="235" y="757"/>
                  </a:lnTo>
                  <a:lnTo>
                    <a:pt x="235" y="757"/>
                  </a:lnTo>
                  <a:lnTo>
                    <a:pt x="235" y="757"/>
                  </a:lnTo>
                  <a:lnTo>
                    <a:pt x="235" y="762"/>
                  </a:lnTo>
                  <a:lnTo>
                    <a:pt x="239" y="762"/>
                  </a:lnTo>
                  <a:lnTo>
                    <a:pt x="239" y="762"/>
                  </a:lnTo>
                  <a:lnTo>
                    <a:pt x="239" y="762"/>
                  </a:lnTo>
                  <a:lnTo>
                    <a:pt x="239" y="762"/>
                  </a:lnTo>
                  <a:lnTo>
                    <a:pt x="239" y="762"/>
                  </a:lnTo>
                  <a:lnTo>
                    <a:pt x="239" y="762"/>
                  </a:lnTo>
                  <a:lnTo>
                    <a:pt x="239" y="766"/>
                  </a:lnTo>
                  <a:lnTo>
                    <a:pt x="239" y="762"/>
                  </a:lnTo>
                  <a:lnTo>
                    <a:pt x="243" y="762"/>
                  </a:lnTo>
                  <a:lnTo>
                    <a:pt x="243" y="762"/>
                  </a:lnTo>
                  <a:lnTo>
                    <a:pt x="243" y="762"/>
                  </a:lnTo>
                  <a:lnTo>
                    <a:pt x="243" y="762"/>
                  </a:lnTo>
                  <a:lnTo>
                    <a:pt x="243" y="762"/>
                  </a:lnTo>
                  <a:lnTo>
                    <a:pt x="243" y="762"/>
                  </a:lnTo>
                  <a:lnTo>
                    <a:pt x="248" y="766"/>
                  </a:lnTo>
                  <a:lnTo>
                    <a:pt x="252" y="770"/>
                  </a:lnTo>
                  <a:lnTo>
                    <a:pt x="252" y="770"/>
                  </a:lnTo>
                  <a:lnTo>
                    <a:pt x="252" y="770"/>
                  </a:lnTo>
                  <a:lnTo>
                    <a:pt x="257" y="770"/>
                  </a:lnTo>
                  <a:lnTo>
                    <a:pt x="257" y="770"/>
                  </a:lnTo>
                  <a:lnTo>
                    <a:pt x="257" y="770"/>
                  </a:lnTo>
                  <a:lnTo>
                    <a:pt x="257" y="770"/>
                  </a:lnTo>
                  <a:lnTo>
                    <a:pt x="261" y="770"/>
                  </a:lnTo>
                  <a:lnTo>
                    <a:pt x="261" y="770"/>
                  </a:lnTo>
                  <a:lnTo>
                    <a:pt x="261" y="766"/>
                  </a:lnTo>
                  <a:lnTo>
                    <a:pt x="261" y="766"/>
                  </a:lnTo>
                  <a:lnTo>
                    <a:pt x="261" y="766"/>
                  </a:lnTo>
                  <a:lnTo>
                    <a:pt x="261" y="762"/>
                  </a:lnTo>
                  <a:lnTo>
                    <a:pt x="261" y="762"/>
                  </a:lnTo>
                  <a:lnTo>
                    <a:pt x="261" y="762"/>
                  </a:lnTo>
                  <a:lnTo>
                    <a:pt x="266" y="762"/>
                  </a:lnTo>
                  <a:lnTo>
                    <a:pt x="266" y="757"/>
                  </a:lnTo>
                  <a:lnTo>
                    <a:pt x="266" y="762"/>
                  </a:lnTo>
                  <a:lnTo>
                    <a:pt x="266" y="762"/>
                  </a:lnTo>
                  <a:lnTo>
                    <a:pt x="266" y="757"/>
                  </a:lnTo>
                  <a:lnTo>
                    <a:pt x="266" y="757"/>
                  </a:lnTo>
                  <a:lnTo>
                    <a:pt x="266" y="757"/>
                  </a:lnTo>
                  <a:lnTo>
                    <a:pt x="270" y="757"/>
                  </a:lnTo>
                  <a:lnTo>
                    <a:pt x="270" y="757"/>
                  </a:lnTo>
                  <a:lnTo>
                    <a:pt x="270" y="757"/>
                  </a:lnTo>
                  <a:lnTo>
                    <a:pt x="270" y="753"/>
                  </a:lnTo>
                  <a:lnTo>
                    <a:pt x="270" y="753"/>
                  </a:lnTo>
                  <a:lnTo>
                    <a:pt x="266" y="753"/>
                  </a:lnTo>
                  <a:lnTo>
                    <a:pt x="266" y="753"/>
                  </a:lnTo>
                  <a:lnTo>
                    <a:pt x="266" y="753"/>
                  </a:lnTo>
                  <a:lnTo>
                    <a:pt x="266" y="753"/>
                  </a:lnTo>
                  <a:lnTo>
                    <a:pt x="266" y="753"/>
                  </a:lnTo>
                  <a:lnTo>
                    <a:pt x="270" y="748"/>
                  </a:lnTo>
                  <a:lnTo>
                    <a:pt x="270" y="748"/>
                  </a:lnTo>
                  <a:lnTo>
                    <a:pt x="270" y="748"/>
                  </a:lnTo>
                  <a:lnTo>
                    <a:pt x="270" y="744"/>
                  </a:lnTo>
                  <a:lnTo>
                    <a:pt x="270" y="744"/>
                  </a:lnTo>
                  <a:lnTo>
                    <a:pt x="270" y="739"/>
                  </a:lnTo>
                  <a:lnTo>
                    <a:pt x="270" y="739"/>
                  </a:lnTo>
                  <a:lnTo>
                    <a:pt x="270" y="739"/>
                  </a:lnTo>
                  <a:lnTo>
                    <a:pt x="270" y="739"/>
                  </a:lnTo>
                  <a:lnTo>
                    <a:pt x="270" y="735"/>
                  </a:lnTo>
                  <a:lnTo>
                    <a:pt x="270" y="735"/>
                  </a:lnTo>
                  <a:lnTo>
                    <a:pt x="270" y="735"/>
                  </a:lnTo>
                  <a:lnTo>
                    <a:pt x="270" y="731"/>
                  </a:lnTo>
                  <a:lnTo>
                    <a:pt x="270" y="731"/>
                  </a:lnTo>
                  <a:lnTo>
                    <a:pt x="270" y="731"/>
                  </a:lnTo>
                  <a:lnTo>
                    <a:pt x="270" y="731"/>
                  </a:lnTo>
                  <a:lnTo>
                    <a:pt x="270" y="731"/>
                  </a:lnTo>
                  <a:lnTo>
                    <a:pt x="270" y="731"/>
                  </a:lnTo>
                  <a:lnTo>
                    <a:pt x="270" y="731"/>
                  </a:lnTo>
                  <a:lnTo>
                    <a:pt x="270" y="735"/>
                  </a:lnTo>
                  <a:lnTo>
                    <a:pt x="270" y="735"/>
                  </a:lnTo>
                  <a:lnTo>
                    <a:pt x="274" y="735"/>
                  </a:lnTo>
                  <a:lnTo>
                    <a:pt x="274" y="735"/>
                  </a:lnTo>
                  <a:lnTo>
                    <a:pt x="274" y="735"/>
                  </a:lnTo>
                  <a:lnTo>
                    <a:pt x="274" y="739"/>
                  </a:lnTo>
                  <a:lnTo>
                    <a:pt x="279" y="735"/>
                  </a:lnTo>
                  <a:lnTo>
                    <a:pt x="279" y="735"/>
                  </a:lnTo>
                  <a:lnTo>
                    <a:pt x="279" y="735"/>
                  </a:lnTo>
                  <a:lnTo>
                    <a:pt x="279" y="731"/>
                  </a:lnTo>
                  <a:lnTo>
                    <a:pt x="283" y="731"/>
                  </a:lnTo>
                  <a:lnTo>
                    <a:pt x="283" y="731"/>
                  </a:lnTo>
                  <a:lnTo>
                    <a:pt x="288" y="731"/>
                  </a:lnTo>
                  <a:lnTo>
                    <a:pt x="288" y="731"/>
                  </a:lnTo>
                  <a:lnTo>
                    <a:pt x="288" y="731"/>
                  </a:lnTo>
                  <a:lnTo>
                    <a:pt x="288" y="731"/>
                  </a:lnTo>
                  <a:lnTo>
                    <a:pt x="288" y="731"/>
                  </a:lnTo>
                  <a:lnTo>
                    <a:pt x="288" y="731"/>
                  </a:lnTo>
                  <a:lnTo>
                    <a:pt x="288" y="731"/>
                  </a:lnTo>
                  <a:lnTo>
                    <a:pt x="292" y="731"/>
                  </a:lnTo>
                  <a:lnTo>
                    <a:pt x="292" y="731"/>
                  </a:lnTo>
                  <a:lnTo>
                    <a:pt x="292" y="731"/>
                  </a:lnTo>
                  <a:lnTo>
                    <a:pt x="297" y="731"/>
                  </a:lnTo>
                  <a:lnTo>
                    <a:pt x="297" y="731"/>
                  </a:lnTo>
                  <a:lnTo>
                    <a:pt x="297" y="726"/>
                  </a:lnTo>
                  <a:lnTo>
                    <a:pt x="301" y="726"/>
                  </a:lnTo>
                  <a:lnTo>
                    <a:pt x="301" y="726"/>
                  </a:lnTo>
                  <a:lnTo>
                    <a:pt x="310" y="731"/>
                  </a:lnTo>
                  <a:lnTo>
                    <a:pt x="323" y="739"/>
                  </a:lnTo>
                  <a:lnTo>
                    <a:pt x="323" y="739"/>
                  </a:lnTo>
                  <a:lnTo>
                    <a:pt x="323" y="744"/>
                  </a:lnTo>
                  <a:lnTo>
                    <a:pt x="323" y="744"/>
                  </a:lnTo>
                  <a:lnTo>
                    <a:pt x="323" y="744"/>
                  </a:lnTo>
                  <a:lnTo>
                    <a:pt x="323" y="744"/>
                  </a:lnTo>
                  <a:lnTo>
                    <a:pt x="323" y="739"/>
                  </a:lnTo>
                  <a:lnTo>
                    <a:pt x="323" y="739"/>
                  </a:lnTo>
                  <a:lnTo>
                    <a:pt x="323" y="739"/>
                  </a:lnTo>
                  <a:lnTo>
                    <a:pt x="323" y="739"/>
                  </a:lnTo>
                  <a:lnTo>
                    <a:pt x="323" y="735"/>
                  </a:lnTo>
                  <a:lnTo>
                    <a:pt x="323" y="735"/>
                  </a:lnTo>
                  <a:lnTo>
                    <a:pt x="328" y="735"/>
                  </a:lnTo>
                  <a:lnTo>
                    <a:pt x="328" y="735"/>
                  </a:lnTo>
                  <a:lnTo>
                    <a:pt x="328" y="735"/>
                  </a:lnTo>
                  <a:lnTo>
                    <a:pt x="341" y="735"/>
                  </a:lnTo>
                  <a:lnTo>
                    <a:pt x="345" y="739"/>
                  </a:lnTo>
                  <a:lnTo>
                    <a:pt x="345" y="739"/>
                  </a:lnTo>
                  <a:lnTo>
                    <a:pt x="350" y="739"/>
                  </a:lnTo>
                  <a:lnTo>
                    <a:pt x="350" y="739"/>
                  </a:lnTo>
                  <a:lnTo>
                    <a:pt x="350" y="739"/>
                  </a:lnTo>
                  <a:lnTo>
                    <a:pt x="350" y="735"/>
                  </a:lnTo>
                  <a:lnTo>
                    <a:pt x="350" y="735"/>
                  </a:lnTo>
                  <a:lnTo>
                    <a:pt x="350" y="735"/>
                  </a:lnTo>
                  <a:lnTo>
                    <a:pt x="350" y="735"/>
                  </a:lnTo>
                  <a:lnTo>
                    <a:pt x="350" y="731"/>
                  </a:lnTo>
                  <a:lnTo>
                    <a:pt x="350" y="731"/>
                  </a:lnTo>
                  <a:lnTo>
                    <a:pt x="350" y="731"/>
                  </a:lnTo>
                  <a:lnTo>
                    <a:pt x="345" y="731"/>
                  </a:lnTo>
                  <a:lnTo>
                    <a:pt x="345" y="731"/>
                  </a:lnTo>
                  <a:lnTo>
                    <a:pt x="345" y="731"/>
                  </a:lnTo>
                  <a:lnTo>
                    <a:pt x="345" y="731"/>
                  </a:lnTo>
                  <a:lnTo>
                    <a:pt x="345" y="731"/>
                  </a:lnTo>
                  <a:lnTo>
                    <a:pt x="345" y="731"/>
                  </a:lnTo>
                  <a:lnTo>
                    <a:pt x="345" y="731"/>
                  </a:lnTo>
                  <a:lnTo>
                    <a:pt x="345" y="726"/>
                  </a:lnTo>
                  <a:lnTo>
                    <a:pt x="345" y="726"/>
                  </a:lnTo>
                  <a:lnTo>
                    <a:pt x="345" y="726"/>
                  </a:lnTo>
                  <a:lnTo>
                    <a:pt x="345" y="726"/>
                  </a:lnTo>
                  <a:lnTo>
                    <a:pt x="345" y="726"/>
                  </a:lnTo>
                  <a:lnTo>
                    <a:pt x="345" y="731"/>
                  </a:lnTo>
                  <a:lnTo>
                    <a:pt x="345" y="731"/>
                  </a:lnTo>
                  <a:lnTo>
                    <a:pt x="350" y="731"/>
                  </a:lnTo>
                  <a:lnTo>
                    <a:pt x="350" y="731"/>
                  </a:lnTo>
                  <a:lnTo>
                    <a:pt x="350" y="731"/>
                  </a:lnTo>
                  <a:lnTo>
                    <a:pt x="350" y="731"/>
                  </a:lnTo>
                  <a:lnTo>
                    <a:pt x="350" y="731"/>
                  </a:lnTo>
                  <a:lnTo>
                    <a:pt x="350" y="731"/>
                  </a:lnTo>
                  <a:lnTo>
                    <a:pt x="354" y="731"/>
                  </a:lnTo>
                  <a:lnTo>
                    <a:pt x="354" y="731"/>
                  </a:lnTo>
                  <a:lnTo>
                    <a:pt x="354" y="731"/>
                  </a:lnTo>
                  <a:lnTo>
                    <a:pt x="354" y="731"/>
                  </a:lnTo>
                  <a:lnTo>
                    <a:pt x="354" y="726"/>
                  </a:lnTo>
                  <a:lnTo>
                    <a:pt x="354" y="726"/>
                  </a:lnTo>
                  <a:lnTo>
                    <a:pt x="359" y="731"/>
                  </a:lnTo>
                  <a:lnTo>
                    <a:pt x="359" y="731"/>
                  </a:lnTo>
                  <a:lnTo>
                    <a:pt x="359" y="731"/>
                  </a:lnTo>
                  <a:lnTo>
                    <a:pt x="363" y="726"/>
                  </a:lnTo>
                  <a:lnTo>
                    <a:pt x="363" y="726"/>
                  </a:lnTo>
                  <a:lnTo>
                    <a:pt x="363" y="726"/>
                  </a:lnTo>
                  <a:lnTo>
                    <a:pt x="363" y="726"/>
                  </a:lnTo>
                  <a:lnTo>
                    <a:pt x="367" y="726"/>
                  </a:lnTo>
                  <a:lnTo>
                    <a:pt x="367" y="731"/>
                  </a:lnTo>
                  <a:lnTo>
                    <a:pt x="372" y="731"/>
                  </a:lnTo>
                  <a:lnTo>
                    <a:pt x="372" y="731"/>
                  </a:lnTo>
                  <a:lnTo>
                    <a:pt x="372" y="731"/>
                  </a:lnTo>
                  <a:lnTo>
                    <a:pt x="372" y="726"/>
                  </a:lnTo>
                  <a:lnTo>
                    <a:pt x="376" y="726"/>
                  </a:lnTo>
                  <a:lnTo>
                    <a:pt x="376" y="726"/>
                  </a:lnTo>
                  <a:lnTo>
                    <a:pt x="376" y="726"/>
                  </a:lnTo>
                  <a:lnTo>
                    <a:pt x="376" y="726"/>
                  </a:lnTo>
                  <a:lnTo>
                    <a:pt x="381" y="726"/>
                  </a:lnTo>
                  <a:lnTo>
                    <a:pt x="381" y="722"/>
                  </a:lnTo>
                  <a:lnTo>
                    <a:pt x="381" y="722"/>
                  </a:lnTo>
                  <a:lnTo>
                    <a:pt x="376" y="722"/>
                  </a:lnTo>
                  <a:lnTo>
                    <a:pt x="381" y="722"/>
                  </a:lnTo>
                  <a:lnTo>
                    <a:pt x="381" y="722"/>
                  </a:lnTo>
                  <a:lnTo>
                    <a:pt x="385" y="722"/>
                  </a:lnTo>
                  <a:lnTo>
                    <a:pt x="385" y="722"/>
                  </a:lnTo>
                  <a:lnTo>
                    <a:pt x="385" y="722"/>
                  </a:lnTo>
                  <a:lnTo>
                    <a:pt x="381" y="717"/>
                  </a:lnTo>
                  <a:lnTo>
                    <a:pt x="376" y="713"/>
                  </a:lnTo>
                  <a:lnTo>
                    <a:pt x="376" y="713"/>
                  </a:lnTo>
                  <a:lnTo>
                    <a:pt x="376" y="713"/>
                  </a:lnTo>
                  <a:lnTo>
                    <a:pt x="376" y="713"/>
                  </a:lnTo>
                  <a:lnTo>
                    <a:pt x="376" y="713"/>
                  </a:lnTo>
                  <a:lnTo>
                    <a:pt x="376" y="713"/>
                  </a:lnTo>
                  <a:lnTo>
                    <a:pt x="381" y="717"/>
                  </a:lnTo>
                  <a:lnTo>
                    <a:pt x="385" y="717"/>
                  </a:lnTo>
                  <a:lnTo>
                    <a:pt x="385" y="717"/>
                  </a:lnTo>
                  <a:lnTo>
                    <a:pt x="385" y="717"/>
                  </a:lnTo>
                  <a:lnTo>
                    <a:pt x="385" y="717"/>
                  </a:lnTo>
                  <a:lnTo>
                    <a:pt x="389" y="722"/>
                  </a:lnTo>
                  <a:lnTo>
                    <a:pt x="389" y="722"/>
                  </a:lnTo>
                  <a:lnTo>
                    <a:pt x="389" y="722"/>
                  </a:lnTo>
                  <a:lnTo>
                    <a:pt x="389" y="722"/>
                  </a:lnTo>
                  <a:lnTo>
                    <a:pt x="389" y="722"/>
                  </a:lnTo>
                  <a:lnTo>
                    <a:pt x="394" y="722"/>
                  </a:lnTo>
                  <a:lnTo>
                    <a:pt x="394" y="722"/>
                  </a:lnTo>
                  <a:lnTo>
                    <a:pt x="394" y="722"/>
                  </a:lnTo>
                  <a:lnTo>
                    <a:pt x="394" y="722"/>
                  </a:lnTo>
                  <a:lnTo>
                    <a:pt x="394" y="722"/>
                  </a:lnTo>
                  <a:lnTo>
                    <a:pt x="394" y="722"/>
                  </a:lnTo>
                  <a:lnTo>
                    <a:pt x="389" y="717"/>
                  </a:lnTo>
                  <a:lnTo>
                    <a:pt x="394" y="717"/>
                  </a:lnTo>
                  <a:lnTo>
                    <a:pt x="394" y="717"/>
                  </a:lnTo>
                  <a:lnTo>
                    <a:pt x="394" y="717"/>
                  </a:lnTo>
                  <a:lnTo>
                    <a:pt x="398" y="717"/>
                  </a:lnTo>
                  <a:lnTo>
                    <a:pt x="398" y="722"/>
                  </a:lnTo>
                  <a:lnTo>
                    <a:pt x="394" y="722"/>
                  </a:lnTo>
                  <a:lnTo>
                    <a:pt x="394" y="722"/>
                  </a:lnTo>
                  <a:lnTo>
                    <a:pt x="394" y="722"/>
                  </a:lnTo>
                  <a:lnTo>
                    <a:pt x="398" y="722"/>
                  </a:lnTo>
                  <a:lnTo>
                    <a:pt x="398" y="722"/>
                  </a:lnTo>
                  <a:lnTo>
                    <a:pt x="398" y="722"/>
                  </a:lnTo>
                  <a:lnTo>
                    <a:pt x="398" y="717"/>
                  </a:lnTo>
                  <a:lnTo>
                    <a:pt x="398" y="717"/>
                  </a:lnTo>
                  <a:lnTo>
                    <a:pt x="398" y="717"/>
                  </a:lnTo>
                  <a:lnTo>
                    <a:pt x="403" y="717"/>
                  </a:lnTo>
                  <a:lnTo>
                    <a:pt x="403" y="717"/>
                  </a:lnTo>
                  <a:lnTo>
                    <a:pt x="403" y="717"/>
                  </a:lnTo>
                  <a:lnTo>
                    <a:pt x="403" y="717"/>
                  </a:lnTo>
                  <a:lnTo>
                    <a:pt x="403" y="722"/>
                  </a:lnTo>
                  <a:lnTo>
                    <a:pt x="403" y="722"/>
                  </a:lnTo>
                  <a:lnTo>
                    <a:pt x="403" y="722"/>
                  </a:lnTo>
                  <a:lnTo>
                    <a:pt x="407" y="722"/>
                  </a:lnTo>
                  <a:lnTo>
                    <a:pt x="407" y="722"/>
                  </a:lnTo>
                  <a:lnTo>
                    <a:pt x="407" y="722"/>
                  </a:lnTo>
                  <a:lnTo>
                    <a:pt x="407" y="722"/>
                  </a:lnTo>
                  <a:lnTo>
                    <a:pt x="407" y="722"/>
                  </a:lnTo>
                  <a:lnTo>
                    <a:pt x="407" y="722"/>
                  </a:lnTo>
                  <a:lnTo>
                    <a:pt x="407" y="722"/>
                  </a:lnTo>
                  <a:lnTo>
                    <a:pt x="403" y="722"/>
                  </a:lnTo>
                  <a:lnTo>
                    <a:pt x="407" y="726"/>
                  </a:lnTo>
                  <a:lnTo>
                    <a:pt x="412" y="726"/>
                  </a:lnTo>
                  <a:lnTo>
                    <a:pt x="412" y="726"/>
                  </a:lnTo>
                  <a:lnTo>
                    <a:pt x="412" y="726"/>
                  </a:lnTo>
                  <a:lnTo>
                    <a:pt x="412" y="726"/>
                  </a:lnTo>
                  <a:lnTo>
                    <a:pt x="412" y="726"/>
                  </a:lnTo>
                  <a:lnTo>
                    <a:pt x="412" y="726"/>
                  </a:lnTo>
                  <a:lnTo>
                    <a:pt x="412" y="726"/>
                  </a:lnTo>
                  <a:lnTo>
                    <a:pt x="412" y="726"/>
                  </a:lnTo>
                  <a:lnTo>
                    <a:pt x="412" y="726"/>
                  </a:lnTo>
                  <a:lnTo>
                    <a:pt x="416" y="726"/>
                  </a:lnTo>
                  <a:lnTo>
                    <a:pt x="425" y="722"/>
                  </a:lnTo>
                  <a:lnTo>
                    <a:pt x="434" y="722"/>
                  </a:lnTo>
                  <a:lnTo>
                    <a:pt x="438" y="717"/>
                  </a:lnTo>
                  <a:lnTo>
                    <a:pt x="443" y="722"/>
                  </a:lnTo>
                  <a:lnTo>
                    <a:pt x="443" y="722"/>
                  </a:lnTo>
                  <a:lnTo>
                    <a:pt x="443" y="717"/>
                  </a:lnTo>
                  <a:lnTo>
                    <a:pt x="443" y="722"/>
                  </a:lnTo>
                  <a:lnTo>
                    <a:pt x="456" y="722"/>
                  </a:lnTo>
                  <a:lnTo>
                    <a:pt x="456" y="722"/>
                  </a:lnTo>
                  <a:lnTo>
                    <a:pt x="456" y="722"/>
                  </a:lnTo>
                  <a:lnTo>
                    <a:pt x="456" y="726"/>
                  </a:lnTo>
                  <a:lnTo>
                    <a:pt x="460" y="726"/>
                  </a:lnTo>
                  <a:lnTo>
                    <a:pt x="460" y="726"/>
                  </a:lnTo>
                  <a:lnTo>
                    <a:pt x="460" y="726"/>
                  </a:lnTo>
                  <a:lnTo>
                    <a:pt x="460" y="726"/>
                  </a:lnTo>
                  <a:lnTo>
                    <a:pt x="465" y="726"/>
                  </a:lnTo>
                  <a:lnTo>
                    <a:pt x="465" y="726"/>
                  </a:lnTo>
                  <a:lnTo>
                    <a:pt x="469" y="726"/>
                  </a:lnTo>
                  <a:lnTo>
                    <a:pt x="469" y="722"/>
                  </a:lnTo>
                  <a:lnTo>
                    <a:pt x="469" y="722"/>
                  </a:lnTo>
                  <a:lnTo>
                    <a:pt x="469" y="722"/>
                  </a:lnTo>
                  <a:lnTo>
                    <a:pt x="474" y="722"/>
                  </a:lnTo>
                  <a:lnTo>
                    <a:pt x="474" y="722"/>
                  </a:lnTo>
                  <a:lnTo>
                    <a:pt x="474" y="722"/>
                  </a:lnTo>
                  <a:lnTo>
                    <a:pt x="474" y="722"/>
                  </a:lnTo>
                  <a:lnTo>
                    <a:pt x="487" y="717"/>
                  </a:lnTo>
                  <a:lnTo>
                    <a:pt x="487" y="717"/>
                  </a:lnTo>
                  <a:lnTo>
                    <a:pt x="491" y="713"/>
                  </a:lnTo>
                  <a:lnTo>
                    <a:pt x="496" y="708"/>
                  </a:lnTo>
                  <a:lnTo>
                    <a:pt x="500" y="713"/>
                  </a:lnTo>
                  <a:lnTo>
                    <a:pt x="505" y="713"/>
                  </a:lnTo>
                  <a:lnTo>
                    <a:pt x="505" y="713"/>
                  </a:lnTo>
                  <a:lnTo>
                    <a:pt x="505" y="708"/>
                  </a:lnTo>
                  <a:lnTo>
                    <a:pt x="505" y="708"/>
                  </a:lnTo>
                  <a:lnTo>
                    <a:pt x="505" y="704"/>
                  </a:lnTo>
                  <a:lnTo>
                    <a:pt x="509" y="704"/>
                  </a:lnTo>
                  <a:lnTo>
                    <a:pt x="509" y="700"/>
                  </a:lnTo>
                  <a:lnTo>
                    <a:pt x="509" y="700"/>
                  </a:lnTo>
                  <a:lnTo>
                    <a:pt x="509" y="700"/>
                  </a:lnTo>
                  <a:lnTo>
                    <a:pt x="513" y="700"/>
                  </a:lnTo>
                  <a:lnTo>
                    <a:pt x="518" y="700"/>
                  </a:lnTo>
                  <a:lnTo>
                    <a:pt x="518" y="700"/>
                  </a:lnTo>
                  <a:lnTo>
                    <a:pt x="518" y="700"/>
                  </a:lnTo>
                  <a:lnTo>
                    <a:pt x="518" y="695"/>
                  </a:lnTo>
                  <a:lnTo>
                    <a:pt x="518" y="695"/>
                  </a:lnTo>
                  <a:lnTo>
                    <a:pt x="518" y="695"/>
                  </a:lnTo>
                  <a:lnTo>
                    <a:pt x="518" y="695"/>
                  </a:lnTo>
                  <a:lnTo>
                    <a:pt x="522" y="695"/>
                  </a:lnTo>
                  <a:lnTo>
                    <a:pt x="522" y="695"/>
                  </a:lnTo>
                  <a:lnTo>
                    <a:pt x="527" y="691"/>
                  </a:lnTo>
                  <a:lnTo>
                    <a:pt x="527" y="691"/>
                  </a:lnTo>
                  <a:lnTo>
                    <a:pt x="527" y="686"/>
                  </a:lnTo>
                  <a:lnTo>
                    <a:pt x="527" y="682"/>
                  </a:lnTo>
                  <a:lnTo>
                    <a:pt x="527" y="682"/>
                  </a:lnTo>
                  <a:lnTo>
                    <a:pt x="527" y="682"/>
                  </a:lnTo>
                  <a:lnTo>
                    <a:pt x="527" y="677"/>
                  </a:lnTo>
                  <a:lnTo>
                    <a:pt x="527" y="677"/>
                  </a:lnTo>
                  <a:lnTo>
                    <a:pt x="527" y="677"/>
                  </a:lnTo>
                  <a:lnTo>
                    <a:pt x="527" y="677"/>
                  </a:lnTo>
                  <a:lnTo>
                    <a:pt x="527" y="677"/>
                  </a:lnTo>
                  <a:lnTo>
                    <a:pt x="527" y="677"/>
                  </a:lnTo>
                  <a:lnTo>
                    <a:pt x="527" y="677"/>
                  </a:lnTo>
                  <a:lnTo>
                    <a:pt x="531" y="673"/>
                  </a:lnTo>
                  <a:lnTo>
                    <a:pt x="527" y="673"/>
                  </a:lnTo>
                  <a:lnTo>
                    <a:pt x="509" y="673"/>
                  </a:lnTo>
                  <a:lnTo>
                    <a:pt x="505" y="677"/>
                  </a:lnTo>
                  <a:lnTo>
                    <a:pt x="491" y="673"/>
                  </a:lnTo>
                  <a:lnTo>
                    <a:pt x="491" y="673"/>
                  </a:lnTo>
                  <a:lnTo>
                    <a:pt x="491" y="673"/>
                  </a:lnTo>
                  <a:lnTo>
                    <a:pt x="491" y="673"/>
                  </a:lnTo>
                  <a:lnTo>
                    <a:pt x="491" y="669"/>
                  </a:lnTo>
                  <a:lnTo>
                    <a:pt x="491" y="669"/>
                  </a:lnTo>
                  <a:lnTo>
                    <a:pt x="491" y="673"/>
                  </a:lnTo>
                  <a:lnTo>
                    <a:pt x="491" y="673"/>
                  </a:lnTo>
                  <a:lnTo>
                    <a:pt x="491" y="673"/>
                  </a:lnTo>
                  <a:lnTo>
                    <a:pt x="487" y="673"/>
                  </a:lnTo>
                  <a:lnTo>
                    <a:pt x="482" y="673"/>
                  </a:lnTo>
                  <a:lnTo>
                    <a:pt x="482" y="673"/>
                  </a:lnTo>
                  <a:lnTo>
                    <a:pt x="482" y="673"/>
                  </a:lnTo>
                  <a:lnTo>
                    <a:pt x="482" y="673"/>
                  </a:lnTo>
                  <a:lnTo>
                    <a:pt x="482" y="669"/>
                  </a:lnTo>
                  <a:lnTo>
                    <a:pt x="482" y="669"/>
                  </a:lnTo>
                  <a:lnTo>
                    <a:pt x="487" y="669"/>
                  </a:lnTo>
                  <a:lnTo>
                    <a:pt x="487" y="669"/>
                  </a:lnTo>
                  <a:lnTo>
                    <a:pt x="487" y="669"/>
                  </a:lnTo>
                  <a:lnTo>
                    <a:pt x="491" y="669"/>
                  </a:lnTo>
                  <a:lnTo>
                    <a:pt x="491" y="669"/>
                  </a:lnTo>
                  <a:lnTo>
                    <a:pt x="491" y="669"/>
                  </a:lnTo>
                  <a:lnTo>
                    <a:pt x="491" y="669"/>
                  </a:lnTo>
                  <a:lnTo>
                    <a:pt x="491" y="664"/>
                  </a:lnTo>
                  <a:lnTo>
                    <a:pt x="491" y="664"/>
                  </a:lnTo>
                  <a:lnTo>
                    <a:pt x="482" y="664"/>
                  </a:lnTo>
                  <a:lnTo>
                    <a:pt x="478" y="664"/>
                  </a:lnTo>
                  <a:lnTo>
                    <a:pt x="478" y="664"/>
                  </a:lnTo>
                  <a:lnTo>
                    <a:pt x="478" y="664"/>
                  </a:lnTo>
                  <a:lnTo>
                    <a:pt x="478" y="669"/>
                  </a:lnTo>
                  <a:lnTo>
                    <a:pt x="478" y="669"/>
                  </a:lnTo>
                  <a:lnTo>
                    <a:pt x="474" y="669"/>
                  </a:lnTo>
                  <a:lnTo>
                    <a:pt x="474" y="669"/>
                  </a:lnTo>
                  <a:lnTo>
                    <a:pt x="474" y="669"/>
                  </a:lnTo>
                  <a:lnTo>
                    <a:pt x="474" y="664"/>
                  </a:lnTo>
                  <a:lnTo>
                    <a:pt x="478" y="664"/>
                  </a:lnTo>
                  <a:lnTo>
                    <a:pt x="478" y="664"/>
                  </a:lnTo>
                  <a:lnTo>
                    <a:pt x="478" y="664"/>
                  </a:lnTo>
                  <a:lnTo>
                    <a:pt x="478" y="664"/>
                  </a:lnTo>
                  <a:lnTo>
                    <a:pt x="482" y="660"/>
                  </a:lnTo>
                  <a:lnTo>
                    <a:pt x="482" y="660"/>
                  </a:lnTo>
                  <a:lnTo>
                    <a:pt x="482" y="660"/>
                  </a:lnTo>
                  <a:lnTo>
                    <a:pt x="482" y="664"/>
                  </a:lnTo>
                  <a:lnTo>
                    <a:pt x="482" y="664"/>
                  </a:lnTo>
                  <a:lnTo>
                    <a:pt x="482" y="660"/>
                  </a:lnTo>
                  <a:lnTo>
                    <a:pt x="487" y="660"/>
                  </a:lnTo>
                  <a:lnTo>
                    <a:pt x="487" y="660"/>
                  </a:lnTo>
                  <a:lnTo>
                    <a:pt x="487" y="660"/>
                  </a:lnTo>
                  <a:lnTo>
                    <a:pt x="487" y="660"/>
                  </a:lnTo>
                  <a:lnTo>
                    <a:pt x="487" y="660"/>
                  </a:lnTo>
                  <a:lnTo>
                    <a:pt x="487" y="660"/>
                  </a:lnTo>
                  <a:lnTo>
                    <a:pt x="487" y="660"/>
                  </a:lnTo>
                  <a:lnTo>
                    <a:pt x="487" y="660"/>
                  </a:lnTo>
                  <a:lnTo>
                    <a:pt x="491" y="660"/>
                  </a:lnTo>
                  <a:lnTo>
                    <a:pt x="491" y="660"/>
                  </a:lnTo>
                  <a:lnTo>
                    <a:pt x="496" y="660"/>
                  </a:lnTo>
                  <a:lnTo>
                    <a:pt x="496" y="660"/>
                  </a:lnTo>
                  <a:lnTo>
                    <a:pt x="500" y="660"/>
                  </a:lnTo>
                  <a:lnTo>
                    <a:pt x="500" y="655"/>
                  </a:lnTo>
                  <a:lnTo>
                    <a:pt x="505" y="655"/>
                  </a:lnTo>
                  <a:lnTo>
                    <a:pt x="505" y="651"/>
                  </a:lnTo>
                  <a:lnTo>
                    <a:pt x="500" y="651"/>
                  </a:lnTo>
                  <a:lnTo>
                    <a:pt x="500" y="651"/>
                  </a:lnTo>
                  <a:lnTo>
                    <a:pt x="500" y="651"/>
                  </a:lnTo>
                  <a:lnTo>
                    <a:pt x="500" y="651"/>
                  </a:lnTo>
                  <a:lnTo>
                    <a:pt x="500" y="651"/>
                  </a:lnTo>
                  <a:lnTo>
                    <a:pt x="500" y="651"/>
                  </a:lnTo>
                  <a:lnTo>
                    <a:pt x="505" y="651"/>
                  </a:lnTo>
                  <a:lnTo>
                    <a:pt x="505" y="646"/>
                  </a:lnTo>
                  <a:lnTo>
                    <a:pt x="505" y="646"/>
                  </a:lnTo>
                  <a:lnTo>
                    <a:pt x="505" y="646"/>
                  </a:lnTo>
                  <a:lnTo>
                    <a:pt x="500" y="646"/>
                  </a:lnTo>
                  <a:lnTo>
                    <a:pt x="505" y="646"/>
                  </a:lnTo>
                  <a:lnTo>
                    <a:pt x="505" y="646"/>
                  </a:lnTo>
                  <a:lnTo>
                    <a:pt x="505" y="646"/>
                  </a:lnTo>
                  <a:lnTo>
                    <a:pt x="505" y="642"/>
                  </a:lnTo>
                  <a:lnTo>
                    <a:pt x="500" y="642"/>
                  </a:lnTo>
                  <a:lnTo>
                    <a:pt x="500" y="642"/>
                  </a:lnTo>
                  <a:lnTo>
                    <a:pt x="500" y="642"/>
                  </a:lnTo>
                  <a:lnTo>
                    <a:pt x="496" y="646"/>
                  </a:lnTo>
                  <a:lnTo>
                    <a:pt x="496" y="646"/>
                  </a:lnTo>
                  <a:lnTo>
                    <a:pt x="491" y="646"/>
                  </a:lnTo>
                  <a:lnTo>
                    <a:pt x="491" y="646"/>
                  </a:lnTo>
                  <a:lnTo>
                    <a:pt x="491" y="646"/>
                  </a:lnTo>
                  <a:lnTo>
                    <a:pt x="491" y="646"/>
                  </a:lnTo>
                  <a:lnTo>
                    <a:pt x="491" y="646"/>
                  </a:lnTo>
                  <a:lnTo>
                    <a:pt x="491" y="642"/>
                  </a:lnTo>
                  <a:lnTo>
                    <a:pt x="491" y="642"/>
                  </a:lnTo>
                  <a:lnTo>
                    <a:pt x="496" y="642"/>
                  </a:lnTo>
                  <a:lnTo>
                    <a:pt x="496" y="642"/>
                  </a:lnTo>
                  <a:lnTo>
                    <a:pt x="496" y="642"/>
                  </a:lnTo>
                  <a:lnTo>
                    <a:pt x="496" y="642"/>
                  </a:lnTo>
                  <a:lnTo>
                    <a:pt x="496" y="642"/>
                  </a:lnTo>
                  <a:lnTo>
                    <a:pt x="500" y="642"/>
                  </a:lnTo>
                  <a:lnTo>
                    <a:pt x="500" y="642"/>
                  </a:lnTo>
                  <a:lnTo>
                    <a:pt x="500" y="642"/>
                  </a:lnTo>
                  <a:lnTo>
                    <a:pt x="500" y="642"/>
                  </a:lnTo>
                  <a:lnTo>
                    <a:pt x="500" y="642"/>
                  </a:lnTo>
                  <a:lnTo>
                    <a:pt x="500" y="638"/>
                  </a:lnTo>
                  <a:lnTo>
                    <a:pt x="500" y="638"/>
                  </a:lnTo>
                  <a:lnTo>
                    <a:pt x="500" y="638"/>
                  </a:lnTo>
                  <a:lnTo>
                    <a:pt x="505" y="638"/>
                  </a:lnTo>
                  <a:lnTo>
                    <a:pt x="505" y="638"/>
                  </a:lnTo>
                  <a:lnTo>
                    <a:pt x="505" y="633"/>
                  </a:lnTo>
                  <a:lnTo>
                    <a:pt x="505" y="633"/>
                  </a:lnTo>
                  <a:lnTo>
                    <a:pt x="505" y="638"/>
                  </a:lnTo>
                  <a:lnTo>
                    <a:pt x="509" y="638"/>
                  </a:lnTo>
                  <a:lnTo>
                    <a:pt x="509" y="642"/>
                  </a:lnTo>
                  <a:lnTo>
                    <a:pt x="509" y="642"/>
                  </a:lnTo>
                  <a:lnTo>
                    <a:pt x="513" y="638"/>
                  </a:lnTo>
                  <a:lnTo>
                    <a:pt x="513" y="638"/>
                  </a:lnTo>
                  <a:lnTo>
                    <a:pt x="518" y="638"/>
                  </a:lnTo>
                  <a:lnTo>
                    <a:pt x="522" y="633"/>
                  </a:lnTo>
                  <a:lnTo>
                    <a:pt x="522" y="633"/>
                  </a:lnTo>
                  <a:lnTo>
                    <a:pt x="522" y="633"/>
                  </a:lnTo>
                  <a:lnTo>
                    <a:pt x="522" y="633"/>
                  </a:lnTo>
                  <a:lnTo>
                    <a:pt x="518" y="633"/>
                  </a:lnTo>
                  <a:lnTo>
                    <a:pt x="518" y="633"/>
                  </a:lnTo>
                  <a:lnTo>
                    <a:pt x="518" y="633"/>
                  </a:lnTo>
                  <a:lnTo>
                    <a:pt x="518" y="633"/>
                  </a:lnTo>
                  <a:lnTo>
                    <a:pt x="518" y="633"/>
                  </a:lnTo>
                  <a:lnTo>
                    <a:pt x="522" y="629"/>
                  </a:lnTo>
                  <a:lnTo>
                    <a:pt x="522" y="624"/>
                  </a:lnTo>
                  <a:lnTo>
                    <a:pt x="518" y="624"/>
                  </a:lnTo>
                  <a:lnTo>
                    <a:pt x="509" y="624"/>
                  </a:lnTo>
                  <a:lnTo>
                    <a:pt x="509" y="624"/>
                  </a:lnTo>
                  <a:lnTo>
                    <a:pt x="509" y="624"/>
                  </a:lnTo>
                  <a:lnTo>
                    <a:pt x="513" y="624"/>
                  </a:lnTo>
                  <a:lnTo>
                    <a:pt x="513" y="624"/>
                  </a:lnTo>
                  <a:lnTo>
                    <a:pt x="518" y="624"/>
                  </a:lnTo>
                  <a:lnTo>
                    <a:pt x="518" y="624"/>
                  </a:lnTo>
                  <a:lnTo>
                    <a:pt x="518" y="624"/>
                  </a:lnTo>
                  <a:lnTo>
                    <a:pt x="518" y="624"/>
                  </a:lnTo>
                  <a:lnTo>
                    <a:pt x="518" y="624"/>
                  </a:lnTo>
                  <a:lnTo>
                    <a:pt x="518" y="624"/>
                  </a:lnTo>
                  <a:lnTo>
                    <a:pt x="518" y="624"/>
                  </a:lnTo>
                  <a:lnTo>
                    <a:pt x="522" y="624"/>
                  </a:lnTo>
                  <a:lnTo>
                    <a:pt x="518" y="624"/>
                  </a:lnTo>
                  <a:lnTo>
                    <a:pt x="518" y="624"/>
                  </a:lnTo>
                  <a:lnTo>
                    <a:pt x="518" y="620"/>
                  </a:lnTo>
                  <a:lnTo>
                    <a:pt x="518" y="620"/>
                  </a:lnTo>
                  <a:lnTo>
                    <a:pt x="513" y="620"/>
                  </a:lnTo>
                  <a:lnTo>
                    <a:pt x="513" y="620"/>
                  </a:lnTo>
                  <a:lnTo>
                    <a:pt x="513" y="620"/>
                  </a:lnTo>
                  <a:lnTo>
                    <a:pt x="518" y="620"/>
                  </a:lnTo>
                  <a:lnTo>
                    <a:pt x="518" y="620"/>
                  </a:lnTo>
                  <a:lnTo>
                    <a:pt x="522" y="624"/>
                  </a:lnTo>
                  <a:lnTo>
                    <a:pt x="522" y="624"/>
                  </a:lnTo>
                  <a:lnTo>
                    <a:pt x="522" y="624"/>
                  </a:lnTo>
                  <a:lnTo>
                    <a:pt x="527" y="620"/>
                  </a:lnTo>
                  <a:lnTo>
                    <a:pt x="531" y="620"/>
                  </a:lnTo>
                  <a:lnTo>
                    <a:pt x="531" y="620"/>
                  </a:lnTo>
                  <a:lnTo>
                    <a:pt x="531" y="620"/>
                  </a:lnTo>
                  <a:lnTo>
                    <a:pt x="531" y="615"/>
                  </a:lnTo>
                  <a:lnTo>
                    <a:pt x="531" y="615"/>
                  </a:lnTo>
                  <a:lnTo>
                    <a:pt x="531" y="615"/>
                  </a:lnTo>
                  <a:lnTo>
                    <a:pt x="531" y="615"/>
                  </a:lnTo>
                  <a:lnTo>
                    <a:pt x="536" y="615"/>
                  </a:lnTo>
                  <a:lnTo>
                    <a:pt x="536" y="615"/>
                  </a:lnTo>
                  <a:lnTo>
                    <a:pt x="536" y="611"/>
                  </a:lnTo>
                  <a:lnTo>
                    <a:pt x="536" y="611"/>
                  </a:lnTo>
                  <a:lnTo>
                    <a:pt x="536" y="607"/>
                  </a:lnTo>
                  <a:lnTo>
                    <a:pt x="540" y="607"/>
                  </a:lnTo>
                  <a:lnTo>
                    <a:pt x="540" y="602"/>
                  </a:lnTo>
                  <a:lnTo>
                    <a:pt x="540" y="598"/>
                  </a:lnTo>
                  <a:lnTo>
                    <a:pt x="540" y="598"/>
                  </a:lnTo>
                  <a:lnTo>
                    <a:pt x="540" y="598"/>
                  </a:lnTo>
                  <a:lnTo>
                    <a:pt x="540" y="598"/>
                  </a:lnTo>
                  <a:lnTo>
                    <a:pt x="540" y="593"/>
                  </a:lnTo>
                  <a:lnTo>
                    <a:pt x="544" y="589"/>
                  </a:lnTo>
                  <a:lnTo>
                    <a:pt x="544" y="584"/>
                  </a:lnTo>
                  <a:lnTo>
                    <a:pt x="544" y="584"/>
                  </a:lnTo>
                  <a:lnTo>
                    <a:pt x="544" y="580"/>
                  </a:lnTo>
                  <a:lnTo>
                    <a:pt x="544" y="580"/>
                  </a:lnTo>
                  <a:lnTo>
                    <a:pt x="544" y="580"/>
                  </a:lnTo>
                  <a:lnTo>
                    <a:pt x="544" y="576"/>
                  </a:lnTo>
                  <a:close/>
                  <a:moveTo>
                    <a:pt x="328" y="832"/>
                  </a:moveTo>
                  <a:lnTo>
                    <a:pt x="328" y="832"/>
                  </a:lnTo>
                  <a:lnTo>
                    <a:pt x="328" y="832"/>
                  </a:lnTo>
                  <a:lnTo>
                    <a:pt x="328" y="832"/>
                  </a:lnTo>
                  <a:lnTo>
                    <a:pt x="328" y="832"/>
                  </a:lnTo>
                  <a:lnTo>
                    <a:pt x="328" y="832"/>
                  </a:lnTo>
                  <a:lnTo>
                    <a:pt x="328" y="837"/>
                  </a:lnTo>
                  <a:lnTo>
                    <a:pt x="328" y="837"/>
                  </a:lnTo>
                  <a:lnTo>
                    <a:pt x="328" y="837"/>
                  </a:lnTo>
                  <a:lnTo>
                    <a:pt x="328" y="837"/>
                  </a:lnTo>
                  <a:lnTo>
                    <a:pt x="328" y="837"/>
                  </a:lnTo>
                  <a:lnTo>
                    <a:pt x="328" y="832"/>
                  </a:lnTo>
                  <a:lnTo>
                    <a:pt x="328" y="832"/>
                  </a:lnTo>
                  <a:lnTo>
                    <a:pt x="328" y="832"/>
                  </a:lnTo>
                  <a:close/>
                  <a:moveTo>
                    <a:pt x="319" y="828"/>
                  </a:moveTo>
                  <a:lnTo>
                    <a:pt x="319" y="828"/>
                  </a:lnTo>
                  <a:lnTo>
                    <a:pt x="319" y="828"/>
                  </a:lnTo>
                  <a:lnTo>
                    <a:pt x="314" y="832"/>
                  </a:lnTo>
                  <a:lnTo>
                    <a:pt x="314" y="832"/>
                  </a:lnTo>
                  <a:lnTo>
                    <a:pt x="314" y="832"/>
                  </a:lnTo>
                  <a:lnTo>
                    <a:pt x="314" y="832"/>
                  </a:lnTo>
                  <a:lnTo>
                    <a:pt x="314" y="832"/>
                  </a:lnTo>
                  <a:lnTo>
                    <a:pt x="314" y="832"/>
                  </a:lnTo>
                  <a:lnTo>
                    <a:pt x="314" y="832"/>
                  </a:lnTo>
                  <a:lnTo>
                    <a:pt x="310" y="832"/>
                  </a:lnTo>
                  <a:lnTo>
                    <a:pt x="314" y="832"/>
                  </a:lnTo>
                  <a:lnTo>
                    <a:pt x="319" y="832"/>
                  </a:lnTo>
                  <a:lnTo>
                    <a:pt x="319" y="832"/>
                  </a:lnTo>
                  <a:lnTo>
                    <a:pt x="319" y="832"/>
                  </a:lnTo>
                  <a:lnTo>
                    <a:pt x="319" y="837"/>
                  </a:lnTo>
                  <a:lnTo>
                    <a:pt x="319" y="832"/>
                  </a:lnTo>
                  <a:lnTo>
                    <a:pt x="319" y="832"/>
                  </a:lnTo>
                  <a:lnTo>
                    <a:pt x="319" y="832"/>
                  </a:lnTo>
                  <a:lnTo>
                    <a:pt x="319" y="832"/>
                  </a:lnTo>
                  <a:lnTo>
                    <a:pt x="319" y="832"/>
                  </a:lnTo>
                  <a:lnTo>
                    <a:pt x="319" y="832"/>
                  </a:lnTo>
                  <a:lnTo>
                    <a:pt x="319" y="828"/>
                  </a:lnTo>
                  <a:lnTo>
                    <a:pt x="323" y="828"/>
                  </a:lnTo>
                  <a:lnTo>
                    <a:pt x="319" y="828"/>
                  </a:lnTo>
                  <a:lnTo>
                    <a:pt x="319" y="828"/>
                  </a:lnTo>
                  <a:close/>
                  <a:moveTo>
                    <a:pt x="336" y="810"/>
                  </a:moveTo>
                  <a:lnTo>
                    <a:pt x="336" y="810"/>
                  </a:lnTo>
                  <a:lnTo>
                    <a:pt x="336" y="810"/>
                  </a:lnTo>
                  <a:lnTo>
                    <a:pt x="336" y="810"/>
                  </a:lnTo>
                  <a:lnTo>
                    <a:pt x="336" y="810"/>
                  </a:lnTo>
                  <a:lnTo>
                    <a:pt x="336" y="810"/>
                  </a:lnTo>
                  <a:lnTo>
                    <a:pt x="336" y="810"/>
                  </a:lnTo>
                  <a:lnTo>
                    <a:pt x="336" y="810"/>
                  </a:lnTo>
                  <a:lnTo>
                    <a:pt x="336" y="810"/>
                  </a:lnTo>
                  <a:lnTo>
                    <a:pt x="336" y="810"/>
                  </a:lnTo>
                  <a:lnTo>
                    <a:pt x="336" y="810"/>
                  </a:lnTo>
                  <a:lnTo>
                    <a:pt x="336" y="810"/>
                  </a:lnTo>
                  <a:close/>
                  <a:moveTo>
                    <a:pt x="199" y="438"/>
                  </a:moveTo>
                  <a:lnTo>
                    <a:pt x="199" y="438"/>
                  </a:lnTo>
                  <a:lnTo>
                    <a:pt x="199" y="438"/>
                  </a:lnTo>
                  <a:lnTo>
                    <a:pt x="199" y="438"/>
                  </a:lnTo>
                  <a:lnTo>
                    <a:pt x="204" y="443"/>
                  </a:lnTo>
                  <a:lnTo>
                    <a:pt x="204" y="438"/>
                  </a:lnTo>
                  <a:lnTo>
                    <a:pt x="204" y="438"/>
                  </a:lnTo>
                  <a:lnTo>
                    <a:pt x="204" y="438"/>
                  </a:lnTo>
                  <a:lnTo>
                    <a:pt x="204" y="438"/>
                  </a:lnTo>
                  <a:lnTo>
                    <a:pt x="208" y="438"/>
                  </a:lnTo>
                  <a:lnTo>
                    <a:pt x="208" y="438"/>
                  </a:lnTo>
                  <a:lnTo>
                    <a:pt x="208" y="438"/>
                  </a:lnTo>
                  <a:lnTo>
                    <a:pt x="208" y="438"/>
                  </a:lnTo>
                  <a:lnTo>
                    <a:pt x="208" y="438"/>
                  </a:lnTo>
                  <a:lnTo>
                    <a:pt x="208" y="443"/>
                  </a:lnTo>
                  <a:lnTo>
                    <a:pt x="212" y="438"/>
                  </a:lnTo>
                  <a:lnTo>
                    <a:pt x="212" y="438"/>
                  </a:lnTo>
                  <a:lnTo>
                    <a:pt x="212" y="438"/>
                  </a:lnTo>
                  <a:lnTo>
                    <a:pt x="212" y="438"/>
                  </a:lnTo>
                  <a:lnTo>
                    <a:pt x="212" y="438"/>
                  </a:lnTo>
                  <a:lnTo>
                    <a:pt x="212" y="438"/>
                  </a:lnTo>
                  <a:lnTo>
                    <a:pt x="212" y="434"/>
                  </a:lnTo>
                  <a:lnTo>
                    <a:pt x="217" y="434"/>
                  </a:lnTo>
                  <a:lnTo>
                    <a:pt x="217" y="434"/>
                  </a:lnTo>
                  <a:lnTo>
                    <a:pt x="217" y="429"/>
                  </a:lnTo>
                  <a:lnTo>
                    <a:pt x="221" y="429"/>
                  </a:lnTo>
                  <a:lnTo>
                    <a:pt x="221" y="429"/>
                  </a:lnTo>
                  <a:lnTo>
                    <a:pt x="221" y="425"/>
                  </a:lnTo>
                  <a:lnTo>
                    <a:pt x="221" y="425"/>
                  </a:lnTo>
                  <a:lnTo>
                    <a:pt x="221" y="425"/>
                  </a:lnTo>
                  <a:lnTo>
                    <a:pt x="221" y="425"/>
                  </a:lnTo>
                  <a:lnTo>
                    <a:pt x="221" y="425"/>
                  </a:lnTo>
                  <a:lnTo>
                    <a:pt x="226" y="421"/>
                  </a:lnTo>
                  <a:lnTo>
                    <a:pt x="226" y="421"/>
                  </a:lnTo>
                  <a:lnTo>
                    <a:pt x="226" y="421"/>
                  </a:lnTo>
                  <a:lnTo>
                    <a:pt x="226" y="421"/>
                  </a:lnTo>
                  <a:lnTo>
                    <a:pt x="226" y="421"/>
                  </a:lnTo>
                  <a:lnTo>
                    <a:pt x="226" y="421"/>
                  </a:lnTo>
                  <a:lnTo>
                    <a:pt x="226" y="421"/>
                  </a:lnTo>
                  <a:lnTo>
                    <a:pt x="226" y="416"/>
                  </a:lnTo>
                  <a:lnTo>
                    <a:pt x="226" y="416"/>
                  </a:lnTo>
                  <a:lnTo>
                    <a:pt x="226" y="416"/>
                  </a:lnTo>
                  <a:lnTo>
                    <a:pt x="221" y="416"/>
                  </a:lnTo>
                  <a:lnTo>
                    <a:pt x="221" y="416"/>
                  </a:lnTo>
                  <a:lnTo>
                    <a:pt x="221" y="416"/>
                  </a:lnTo>
                  <a:lnTo>
                    <a:pt x="221" y="416"/>
                  </a:lnTo>
                  <a:lnTo>
                    <a:pt x="221" y="412"/>
                  </a:lnTo>
                  <a:lnTo>
                    <a:pt x="221" y="412"/>
                  </a:lnTo>
                  <a:lnTo>
                    <a:pt x="221" y="407"/>
                  </a:lnTo>
                  <a:lnTo>
                    <a:pt x="221" y="407"/>
                  </a:lnTo>
                  <a:lnTo>
                    <a:pt x="221" y="407"/>
                  </a:lnTo>
                  <a:lnTo>
                    <a:pt x="221" y="407"/>
                  </a:lnTo>
                  <a:lnTo>
                    <a:pt x="217" y="412"/>
                  </a:lnTo>
                  <a:lnTo>
                    <a:pt x="217" y="412"/>
                  </a:lnTo>
                  <a:lnTo>
                    <a:pt x="212" y="412"/>
                  </a:lnTo>
                  <a:lnTo>
                    <a:pt x="212" y="416"/>
                  </a:lnTo>
                  <a:lnTo>
                    <a:pt x="212" y="421"/>
                  </a:lnTo>
                  <a:lnTo>
                    <a:pt x="208" y="421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4" y="425"/>
                  </a:lnTo>
                  <a:lnTo>
                    <a:pt x="204" y="425"/>
                  </a:lnTo>
                  <a:lnTo>
                    <a:pt x="204" y="425"/>
                  </a:lnTo>
                  <a:lnTo>
                    <a:pt x="204" y="425"/>
                  </a:lnTo>
                  <a:lnTo>
                    <a:pt x="204" y="429"/>
                  </a:lnTo>
                  <a:lnTo>
                    <a:pt x="204" y="429"/>
                  </a:lnTo>
                  <a:lnTo>
                    <a:pt x="204" y="429"/>
                  </a:lnTo>
                  <a:lnTo>
                    <a:pt x="204" y="434"/>
                  </a:lnTo>
                  <a:lnTo>
                    <a:pt x="204" y="434"/>
                  </a:lnTo>
                  <a:lnTo>
                    <a:pt x="199" y="438"/>
                  </a:lnTo>
                  <a:lnTo>
                    <a:pt x="204" y="438"/>
                  </a:lnTo>
                  <a:lnTo>
                    <a:pt x="199" y="438"/>
                  </a:lnTo>
                  <a:lnTo>
                    <a:pt x="199" y="438"/>
                  </a:lnTo>
                  <a:close/>
                  <a:moveTo>
                    <a:pt x="345" y="850"/>
                  </a:moveTo>
                  <a:lnTo>
                    <a:pt x="345" y="850"/>
                  </a:lnTo>
                  <a:lnTo>
                    <a:pt x="345" y="850"/>
                  </a:lnTo>
                  <a:lnTo>
                    <a:pt x="345" y="850"/>
                  </a:lnTo>
                  <a:lnTo>
                    <a:pt x="345" y="850"/>
                  </a:lnTo>
                  <a:lnTo>
                    <a:pt x="341" y="850"/>
                  </a:lnTo>
                  <a:lnTo>
                    <a:pt x="341" y="850"/>
                  </a:lnTo>
                  <a:lnTo>
                    <a:pt x="341" y="850"/>
                  </a:lnTo>
                  <a:lnTo>
                    <a:pt x="341" y="850"/>
                  </a:lnTo>
                  <a:lnTo>
                    <a:pt x="341" y="850"/>
                  </a:lnTo>
                  <a:lnTo>
                    <a:pt x="341" y="846"/>
                  </a:lnTo>
                  <a:lnTo>
                    <a:pt x="341" y="850"/>
                  </a:lnTo>
                  <a:lnTo>
                    <a:pt x="336" y="850"/>
                  </a:lnTo>
                  <a:lnTo>
                    <a:pt x="336" y="850"/>
                  </a:lnTo>
                  <a:lnTo>
                    <a:pt x="336" y="850"/>
                  </a:lnTo>
                  <a:lnTo>
                    <a:pt x="336" y="850"/>
                  </a:lnTo>
                  <a:lnTo>
                    <a:pt x="336" y="846"/>
                  </a:lnTo>
                  <a:lnTo>
                    <a:pt x="336" y="850"/>
                  </a:lnTo>
                  <a:lnTo>
                    <a:pt x="336" y="850"/>
                  </a:lnTo>
                  <a:lnTo>
                    <a:pt x="336" y="850"/>
                  </a:lnTo>
                  <a:lnTo>
                    <a:pt x="336" y="855"/>
                  </a:lnTo>
                  <a:lnTo>
                    <a:pt x="336" y="855"/>
                  </a:lnTo>
                  <a:lnTo>
                    <a:pt x="336" y="855"/>
                  </a:lnTo>
                  <a:lnTo>
                    <a:pt x="336" y="855"/>
                  </a:lnTo>
                  <a:lnTo>
                    <a:pt x="336" y="855"/>
                  </a:lnTo>
                  <a:lnTo>
                    <a:pt x="336" y="855"/>
                  </a:lnTo>
                  <a:lnTo>
                    <a:pt x="336" y="855"/>
                  </a:lnTo>
                  <a:lnTo>
                    <a:pt x="336" y="855"/>
                  </a:lnTo>
                  <a:lnTo>
                    <a:pt x="341" y="855"/>
                  </a:lnTo>
                  <a:lnTo>
                    <a:pt x="341" y="855"/>
                  </a:lnTo>
                  <a:lnTo>
                    <a:pt x="341" y="855"/>
                  </a:lnTo>
                  <a:lnTo>
                    <a:pt x="341" y="855"/>
                  </a:lnTo>
                  <a:lnTo>
                    <a:pt x="341" y="855"/>
                  </a:lnTo>
                  <a:lnTo>
                    <a:pt x="341" y="855"/>
                  </a:lnTo>
                  <a:lnTo>
                    <a:pt x="341" y="855"/>
                  </a:lnTo>
                  <a:lnTo>
                    <a:pt x="345" y="855"/>
                  </a:lnTo>
                  <a:lnTo>
                    <a:pt x="345" y="855"/>
                  </a:lnTo>
                  <a:lnTo>
                    <a:pt x="345" y="855"/>
                  </a:lnTo>
                  <a:lnTo>
                    <a:pt x="345" y="855"/>
                  </a:lnTo>
                  <a:lnTo>
                    <a:pt x="345" y="855"/>
                  </a:lnTo>
                  <a:lnTo>
                    <a:pt x="345" y="855"/>
                  </a:lnTo>
                  <a:lnTo>
                    <a:pt x="345" y="855"/>
                  </a:lnTo>
                  <a:lnTo>
                    <a:pt x="345" y="855"/>
                  </a:lnTo>
                  <a:lnTo>
                    <a:pt x="345" y="855"/>
                  </a:lnTo>
                  <a:lnTo>
                    <a:pt x="345" y="850"/>
                  </a:lnTo>
                  <a:lnTo>
                    <a:pt x="345" y="850"/>
                  </a:lnTo>
                  <a:lnTo>
                    <a:pt x="345" y="850"/>
                  </a:lnTo>
                  <a:close/>
                </a:path>
              </a:pathLst>
            </a:custGeom>
            <a:solidFill>
              <a:srgbClr val="565A5C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09" name="Freeform 41"/>
            <p:cNvSpPr>
              <a:spLocks/>
            </p:cNvSpPr>
            <p:nvPr/>
          </p:nvSpPr>
          <p:spPr bwMode="auto">
            <a:xfrm>
              <a:off x="2038350" y="6221413"/>
              <a:ext cx="7937" cy="0"/>
            </a:xfrm>
            <a:custGeom>
              <a:avLst/>
              <a:gdLst>
                <a:gd name="T0" fmla="*/ 5 w 5"/>
                <a:gd name="T1" fmla="*/ 0 w 5"/>
                <a:gd name="T2" fmla="*/ 5 w 5"/>
                <a:gd name="T3" fmla="*/ 5 w 5"/>
                <a:gd name="T4" fmla="*/ 5 w 5"/>
                <a:gd name="T5" fmla="*/ 5 w 5"/>
                <a:gd name="T6" fmla="*/ 5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5">
                  <a:moveTo>
                    <a:pt x="5" y="0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10" name="Freeform 42"/>
            <p:cNvSpPr>
              <a:spLocks/>
            </p:cNvSpPr>
            <p:nvPr/>
          </p:nvSpPr>
          <p:spPr bwMode="auto">
            <a:xfrm>
              <a:off x="3051175" y="4133851"/>
              <a:ext cx="6350" cy="14288"/>
            </a:xfrm>
            <a:custGeom>
              <a:avLst/>
              <a:gdLst>
                <a:gd name="T0" fmla="*/ 0 w 4"/>
                <a:gd name="T1" fmla="*/ 5 h 9"/>
                <a:gd name="T2" fmla="*/ 0 w 4"/>
                <a:gd name="T3" fmla="*/ 5 h 9"/>
                <a:gd name="T4" fmla="*/ 0 w 4"/>
                <a:gd name="T5" fmla="*/ 5 h 9"/>
                <a:gd name="T6" fmla="*/ 0 w 4"/>
                <a:gd name="T7" fmla="*/ 5 h 9"/>
                <a:gd name="T8" fmla="*/ 0 w 4"/>
                <a:gd name="T9" fmla="*/ 5 h 9"/>
                <a:gd name="T10" fmla="*/ 4 w 4"/>
                <a:gd name="T11" fmla="*/ 5 h 9"/>
                <a:gd name="T12" fmla="*/ 4 w 4"/>
                <a:gd name="T13" fmla="*/ 5 h 9"/>
                <a:gd name="T14" fmla="*/ 4 w 4"/>
                <a:gd name="T15" fmla="*/ 9 h 9"/>
                <a:gd name="T16" fmla="*/ 4 w 4"/>
                <a:gd name="T17" fmla="*/ 5 h 9"/>
                <a:gd name="T18" fmla="*/ 4 w 4"/>
                <a:gd name="T19" fmla="*/ 5 h 9"/>
                <a:gd name="T20" fmla="*/ 4 w 4"/>
                <a:gd name="T21" fmla="*/ 5 h 9"/>
                <a:gd name="T22" fmla="*/ 0 w 4"/>
                <a:gd name="T23" fmla="*/ 5 h 9"/>
                <a:gd name="T24" fmla="*/ 0 w 4"/>
                <a:gd name="T25" fmla="*/ 5 h 9"/>
                <a:gd name="T26" fmla="*/ 4 w 4"/>
                <a:gd name="T27" fmla="*/ 5 h 9"/>
                <a:gd name="T28" fmla="*/ 4 w 4"/>
                <a:gd name="T29" fmla="*/ 5 h 9"/>
                <a:gd name="T30" fmla="*/ 4 w 4"/>
                <a:gd name="T31" fmla="*/ 5 h 9"/>
                <a:gd name="T32" fmla="*/ 4 w 4"/>
                <a:gd name="T33" fmla="*/ 0 h 9"/>
                <a:gd name="T34" fmla="*/ 4 w 4"/>
                <a:gd name="T35" fmla="*/ 0 h 9"/>
                <a:gd name="T36" fmla="*/ 0 w 4"/>
                <a:gd name="T37" fmla="*/ 5 h 9"/>
                <a:gd name="T38" fmla="*/ 0 w 4"/>
                <a:gd name="T39" fmla="*/ 5 h 9"/>
                <a:gd name="T40" fmla="*/ 0 w 4"/>
                <a:gd name="T41" fmla="*/ 5 h 9"/>
                <a:gd name="T42" fmla="*/ 0 w 4"/>
                <a:gd name="T4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" h="9"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9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11" name="Freeform 43"/>
            <p:cNvSpPr>
              <a:spLocks/>
            </p:cNvSpPr>
            <p:nvPr/>
          </p:nvSpPr>
          <p:spPr bwMode="auto">
            <a:xfrm>
              <a:off x="3063875" y="4127501"/>
              <a:ext cx="22225" cy="0"/>
            </a:xfrm>
            <a:custGeom>
              <a:avLst/>
              <a:gdLst>
                <a:gd name="T0" fmla="*/ 9 w 14"/>
                <a:gd name="T1" fmla="*/ 5 w 14"/>
                <a:gd name="T2" fmla="*/ 0 w 14"/>
                <a:gd name="T3" fmla="*/ 14 w 14"/>
                <a:gd name="T4" fmla="*/ 9 w 1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4">
                  <a:moveTo>
                    <a:pt x="9" y="0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12" name="Freeform 44"/>
            <p:cNvSpPr>
              <a:spLocks/>
            </p:cNvSpPr>
            <p:nvPr/>
          </p:nvSpPr>
          <p:spPr bwMode="auto">
            <a:xfrm>
              <a:off x="3086100" y="4119563"/>
              <a:ext cx="20637" cy="7938"/>
            </a:xfrm>
            <a:custGeom>
              <a:avLst/>
              <a:gdLst>
                <a:gd name="T0" fmla="*/ 9 w 13"/>
                <a:gd name="T1" fmla="*/ 5 h 5"/>
                <a:gd name="T2" fmla="*/ 13 w 13"/>
                <a:gd name="T3" fmla="*/ 0 h 5"/>
                <a:gd name="T4" fmla="*/ 13 w 13"/>
                <a:gd name="T5" fmla="*/ 0 h 5"/>
                <a:gd name="T6" fmla="*/ 13 w 13"/>
                <a:gd name="T7" fmla="*/ 0 h 5"/>
                <a:gd name="T8" fmla="*/ 13 w 13"/>
                <a:gd name="T9" fmla="*/ 0 h 5"/>
                <a:gd name="T10" fmla="*/ 4 w 13"/>
                <a:gd name="T11" fmla="*/ 0 h 5"/>
                <a:gd name="T12" fmla="*/ 4 w 13"/>
                <a:gd name="T13" fmla="*/ 0 h 5"/>
                <a:gd name="T14" fmla="*/ 0 w 13"/>
                <a:gd name="T15" fmla="*/ 5 h 5"/>
                <a:gd name="T16" fmla="*/ 4 w 13"/>
                <a:gd name="T17" fmla="*/ 5 h 5"/>
                <a:gd name="T18" fmla="*/ 9 w 13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5">
                  <a:moveTo>
                    <a:pt x="9" y="5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5"/>
                  </a:lnTo>
                  <a:lnTo>
                    <a:pt x="4" y="5"/>
                  </a:lnTo>
                  <a:lnTo>
                    <a:pt x="9" y="5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13" name="Freeform 45"/>
            <p:cNvSpPr>
              <a:spLocks/>
            </p:cNvSpPr>
            <p:nvPr/>
          </p:nvSpPr>
          <p:spPr bwMode="auto">
            <a:xfrm>
              <a:off x="3106738" y="4119563"/>
              <a:ext cx="6350" cy="0"/>
            </a:xfrm>
            <a:custGeom>
              <a:avLst/>
              <a:gdLst>
                <a:gd name="T0" fmla="*/ 4 w 4"/>
                <a:gd name="T1" fmla="*/ 4 w 4"/>
                <a:gd name="T2" fmla="*/ 4 w 4"/>
                <a:gd name="T3" fmla="*/ 4 w 4"/>
                <a:gd name="T4" fmla="*/ 4 w 4"/>
                <a:gd name="T5" fmla="*/ 0 w 4"/>
                <a:gd name="T6" fmla="*/ 0 w 4"/>
                <a:gd name="T7" fmla="*/ 0 w 4"/>
                <a:gd name="T8" fmla="*/ 0 w 4"/>
                <a:gd name="T9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14" name="Freeform 46"/>
            <p:cNvSpPr>
              <a:spLocks/>
            </p:cNvSpPr>
            <p:nvPr/>
          </p:nvSpPr>
          <p:spPr bwMode="auto">
            <a:xfrm>
              <a:off x="3170238" y="4119563"/>
              <a:ext cx="6350" cy="0"/>
            </a:xfrm>
            <a:custGeom>
              <a:avLst/>
              <a:gdLst>
                <a:gd name="T0" fmla="*/ 0 w 4"/>
                <a:gd name="T1" fmla="*/ 0 w 4"/>
                <a:gd name="T2" fmla="*/ 0 w 4"/>
                <a:gd name="T3" fmla="*/ 0 w 4"/>
                <a:gd name="T4" fmla="*/ 4 w 4"/>
                <a:gd name="T5" fmla="*/ 4 w 4"/>
                <a:gd name="T6" fmla="*/ 4 w 4"/>
                <a:gd name="T7" fmla="*/ 4 w 4"/>
                <a:gd name="T8" fmla="*/ 0 w 4"/>
                <a:gd name="T9" fmla="*/ 0 w 4"/>
                <a:gd name="T10" fmla="*/ 0 w 4"/>
                <a:gd name="T11" fmla="*/ 0 w 4"/>
                <a:gd name="T12" fmla="*/ 0 w 4"/>
                <a:gd name="T13" fmla="*/ 0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</a:cxnLst>
              <a:rect l="0" t="0" r="r" b="b"/>
              <a:pathLst>
                <a:path w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15" name="Freeform 47"/>
            <p:cNvSpPr>
              <a:spLocks/>
            </p:cNvSpPr>
            <p:nvPr/>
          </p:nvSpPr>
          <p:spPr bwMode="auto">
            <a:xfrm>
              <a:off x="3113088" y="4119563"/>
              <a:ext cx="14287" cy="0"/>
            </a:xfrm>
            <a:custGeom>
              <a:avLst/>
              <a:gdLst>
                <a:gd name="T0" fmla="*/ 0 w 9"/>
                <a:gd name="T1" fmla="*/ 5 w 9"/>
                <a:gd name="T2" fmla="*/ 5 w 9"/>
                <a:gd name="T3" fmla="*/ 5 w 9"/>
                <a:gd name="T4" fmla="*/ 9 w 9"/>
                <a:gd name="T5" fmla="*/ 9 w 9"/>
                <a:gd name="T6" fmla="*/ 9 w 9"/>
                <a:gd name="T7" fmla="*/ 9 w 9"/>
                <a:gd name="T8" fmla="*/ 9 w 9"/>
                <a:gd name="T9" fmla="*/ 9 w 9"/>
                <a:gd name="T10" fmla="*/ 5 w 9"/>
                <a:gd name="T11" fmla="*/ 0 w 9"/>
                <a:gd name="T12" fmla="*/ 0 w 9"/>
                <a:gd name="T13" fmla="*/ 0 w 9"/>
                <a:gd name="T14" fmla="*/ 0 w 9"/>
                <a:gd name="T15" fmla="*/ 0 w 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</a:cxnLst>
              <a:rect l="0" t="0" r="r" b="b"/>
              <a:pathLst>
                <a:path w="9">
                  <a:moveTo>
                    <a:pt x="0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16" name="Freeform 48"/>
            <p:cNvSpPr>
              <a:spLocks/>
            </p:cNvSpPr>
            <p:nvPr/>
          </p:nvSpPr>
          <p:spPr bwMode="auto">
            <a:xfrm>
              <a:off x="3135313" y="4113213"/>
              <a:ext cx="6350" cy="6350"/>
            </a:xfrm>
            <a:custGeom>
              <a:avLst/>
              <a:gdLst>
                <a:gd name="T0" fmla="*/ 0 w 4"/>
                <a:gd name="T1" fmla="*/ 4 h 4"/>
                <a:gd name="T2" fmla="*/ 0 w 4"/>
                <a:gd name="T3" fmla="*/ 4 h 4"/>
                <a:gd name="T4" fmla="*/ 0 w 4"/>
                <a:gd name="T5" fmla="*/ 0 h 4"/>
                <a:gd name="T6" fmla="*/ 0 w 4"/>
                <a:gd name="T7" fmla="*/ 4 h 4"/>
                <a:gd name="T8" fmla="*/ 4 w 4"/>
                <a:gd name="T9" fmla="*/ 4 h 4"/>
                <a:gd name="T10" fmla="*/ 4 w 4"/>
                <a:gd name="T11" fmla="*/ 0 h 4"/>
                <a:gd name="T12" fmla="*/ 4 w 4"/>
                <a:gd name="T13" fmla="*/ 0 h 4"/>
                <a:gd name="T14" fmla="*/ 4 w 4"/>
                <a:gd name="T15" fmla="*/ 0 h 4"/>
                <a:gd name="T16" fmla="*/ 4 w 4"/>
                <a:gd name="T17" fmla="*/ 0 h 4"/>
                <a:gd name="T18" fmla="*/ 0 w 4"/>
                <a:gd name="T19" fmla="*/ 0 h 4"/>
                <a:gd name="T20" fmla="*/ 0 w 4"/>
                <a:gd name="T21" fmla="*/ 0 h 4"/>
                <a:gd name="T22" fmla="*/ 0 w 4"/>
                <a:gd name="T23" fmla="*/ 4 h 4"/>
                <a:gd name="T24" fmla="*/ 0 w 4"/>
                <a:gd name="T25" fmla="*/ 4 h 4"/>
                <a:gd name="T26" fmla="*/ 0 w 4"/>
                <a:gd name="T2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17" name="Freeform 49"/>
            <p:cNvSpPr>
              <a:spLocks/>
            </p:cNvSpPr>
            <p:nvPr/>
          </p:nvSpPr>
          <p:spPr bwMode="auto">
            <a:xfrm>
              <a:off x="3149600" y="4113213"/>
              <a:ext cx="6350" cy="0"/>
            </a:xfrm>
            <a:custGeom>
              <a:avLst/>
              <a:gdLst>
                <a:gd name="T0" fmla="*/ 0 w 4"/>
                <a:gd name="T1" fmla="*/ 0 w 4"/>
                <a:gd name="T2" fmla="*/ 4 w 4"/>
                <a:gd name="T3" fmla="*/ 4 w 4"/>
                <a:gd name="T4" fmla="*/ 4 w 4"/>
                <a:gd name="T5" fmla="*/ 4 w 4"/>
                <a:gd name="T6" fmla="*/ 4 w 4"/>
                <a:gd name="T7" fmla="*/ 0 w 4"/>
                <a:gd name="T8" fmla="*/ 0 w 4"/>
                <a:gd name="T9" fmla="*/ 0 w 4"/>
                <a:gd name="T10" fmla="*/ 0 w 4"/>
                <a:gd name="T11" fmla="*/ 0 w 4"/>
                <a:gd name="T12" fmla="*/ 0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</a:cxnLst>
              <a:rect l="0" t="0" r="r" b="b"/>
              <a:pathLst>
                <a:path w="4">
                  <a:moveTo>
                    <a:pt x="0" y="0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18" name="Freeform 50"/>
            <p:cNvSpPr>
              <a:spLocks/>
            </p:cNvSpPr>
            <p:nvPr/>
          </p:nvSpPr>
          <p:spPr bwMode="auto">
            <a:xfrm>
              <a:off x="3443288" y="4078288"/>
              <a:ext cx="7937" cy="14288"/>
            </a:xfrm>
            <a:custGeom>
              <a:avLst/>
              <a:gdLst>
                <a:gd name="T0" fmla="*/ 0 w 5"/>
                <a:gd name="T1" fmla="*/ 4 h 9"/>
                <a:gd name="T2" fmla="*/ 0 w 5"/>
                <a:gd name="T3" fmla="*/ 4 h 9"/>
                <a:gd name="T4" fmla="*/ 5 w 5"/>
                <a:gd name="T5" fmla="*/ 4 h 9"/>
                <a:gd name="T6" fmla="*/ 0 w 5"/>
                <a:gd name="T7" fmla="*/ 4 h 9"/>
                <a:gd name="T8" fmla="*/ 5 w 5"/>
                <a:gd name="T9" fmla="*/ 4 h 9"/>
                <a:gd name="T10" fmla="*/ 5 w 5"/>
                <a:gd name="T11" fmla="*/ 4 h 9"/>
                <a:gd name="T12" fmla="*/ 5 w 5"/>
                <a:gd name="T13" fmla="*/ 4 h 9"/>
                <a:gd name="T14" fmla="*/ 5 w 5"/>
                <a:gd name="T15" fmla="*/ 4 h 9"/>
                <a:gd name="T16" fmla="*/ 5 w 5"/>
                <a:gd name="T17" fmla="*/ 9 h 9"/>
                <a:gd name="T18" fmla="*/ 5 w 5"/>
                <a:gd name="T19" fmla="*/ 9 h 9"/>
                <a:gd name="T20" fmla="*/ 5 w 5"/>
                <a:gd name="T21" fmla="*/ 4 h 9"/>
                <a:gd name="T22" fmla="*/ 5 w 5"/>
                <a:gd name="T23" fmla="*/ 0 h 9"/>
                <a:gd name="T24" fmla="*/ 5 w 5"/>
                <a:gd name="T25" fmla="*/ 0 h 9"/>
                <a:gd name="T26" fmla="*/ 0 w 5"/>
                <a:gd name="T27" fmla="*/ 0 h 9"/>
                <a:gd name="T28" fmla="*/ 0 w 5"/>
                <a:gd name="T29" fmla="*/ 4 h 9"/>
                <a:gd name="T30" fmla="*/ 0 w 5"/>
                <a:gd name="T31" fmla="*/ 4 h 9"/>
                <a:gd name="T32" fmla="*/ 0 w 5"/>
                <a:gd name="T33" fmla="*/ 4 h 9"/>
                <a:gd name="T34" fmla="*/ 0 w 5"/>
                <a:gd name="T3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" h="9">
                  <a:moveTo>
                    <a:pt x="0" y="4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0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4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19" name="Freeform 51"/>
            <p:cNvSpPr>
              <a:spLocks/>
            </p:cNvSpPr>
            <p:nvPr/>
          </p:nvSpPr>
          <p:spPr bwMode="auto">
            <a:xfrm>
              <a:off x="3457575" y="4064001"/>
              <a:ext cx="7937" cy="14288"/>
            </a:xfrm>
            <a:custGeom>
              <a:avLst/>
              <a:gdLst>
                <a:gd name="T0" fmla="*/ 0 w 5"/>
                <a:gd name="T1" fmla="*/ 9 h 9"/>
                <a:gd name="T2" fmla="*/ 0 w 5"/>
                <a:gd name="T3" fmla="*/ 4 h 9"/>
                <a:gd name="T4" fmla="*/ 0 w 5"/>
                <a:gd name="T5" fmla="*/ 4 h 9"/>
                <a:gd name="T6" fmla="*/ 5 w 5"/>
                <a:gd name="T7" fmla="*/ 0 h 9"/>
                <a:gd name="T8" fmla="*/ 0 w 5"/>
                <a:gd name="T9" fmla="*/ 4 h 9"/>
                <a:gd name="T10" fmla="*/ 0 w 5"/>
                <a:gd name="T11" fmla="*/ 4 h 9"/>
                <a:gd name="T12" fmla="*/ 0 w 5"/>
                <a:gd name="T13" fmla="*/ 4 h 9"/>
                <a:gd name="T14" fmla="*/ 0 w 5"/>
                <a:gd name="T15" fmla="*/ 4 h 9"/>
                <a:gd name="T16" fmla="*/ 0 w 5"/>
                <a:gd name="T17" fmla="*/ 9 h 9"/>
                <a:gd name="T18" fmla="*/ 0 w 5"/>
                <a:gd name="T1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9">
                  <a:moveTo>
                    <a:pt x="0" y="9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5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20" name="Freeform 52"/>
            <p:cNvSpPr>
              <a:spLocks/>
            </p:cNvSpPr>
            <p:nvPr/>
          </p:nvSpPr>
          <p:spPr bwMode="auto">
            <a:xfrm>
              <a:off x="3640138" y="4056063"/>
              <a:ext cx="42862" cy="49213"/>
            </a:xfrm>
            <a:custGeom>
              <a:avLst/>
              <a:gdLst>
                <a:gd name="T0" fmla="*/ 0 w 27"/>
                <a:gd name="T1" fmla="*/ 5 h 31"/>
                <a:gd name="T2" fmla="*/ 5 w 27"/>
                <a:gd name="T3" fmla="*/ 9 h 31"/>
                <a:gd name="T4" fmla="*/ 0 w 27"/>
                <a:gd name="T5" fmla="*/ 14 h 31"/>
                <a:gd name="T6" fmla="*/ 5 w 27"/>
                <a:gd name="T7" fmla="*/ 14 h 31"/>
                <a:gd name="T8" fmla="*/ 5 w 27"/>
                <a:gd name="T9" fmla="*/ 14 h 31"/>
                <a:gd name="T10" fmla="*/ 5 w 27"/>
                <a:gd name="T11" fmla="*/ 14 h 31"/>
                <a:gd name="T12" fmla="*/ 9 w 27"/>
                <a:gd name="T13" fmla="*/ 14 h 31"/>
                <a:gd name="T14" fmla="*/ 5 w 27"/>
                <a:gd name="T15" fmla="*/ 14 h 31"/>
                <a:gd name="T16" fmla="*/ 5 w 27"/>
                <a:gd name="T17" fmla="*/ 18 h 31"/>
                <a:gd name="T18" fmla="*/ 9 w 27"/>
                <a:gd name="T19" fmla="*/ 14 h 31"/>
                <a:gd name="T20" fmla="*/ 9 w 27"/>
                <a:gd name="T21" fmla="*/ 14 h 31"/>
                <a:gd name="T22" fmla="*/ 9 w 27"/>
                <a:gd name="T23" fmla="*/ 14 h 31"/>
                <a:gd name="T24" fmla="*/ 9 w 27"/>
                <a:gd name="T25" fmla="*/ 14 h 31"/>
                <a:gd name="T26" fmla="*/ 9 w 27"/>
                <a:gd name="T27" fmla="*/ 9 h 31"/>
                <a:gd name="T28" fmla="*/ 14 w 27"/>
                <a:gd name="T29" fmla="*/ 14 h 31"/>
                <a:gd name="T30" fmla="*/ 14 w 27"/>
                <a:gd name="T31" fmla="*/ 14 h 31"/>
                <a:gd name="T32" fmla="*/ 14 w 27"/>
                <a:gd name="T33" fmla="*/ 14 h 31"/>
                <a:gd name="T34" fmla="*/ 18 w 27"/>
                <a:gd name="T35" fmla="*/ 18 h 31"/>
                <a:gd name="T36" fmla="*/ 18 w 27"/>
                <a:gd name="T37" fmla="*/ 23 h 31"/>
                <a:gd name="T38" fmla="*/ 14 w 27"/>
                <a:gd name="T39" fmla="*/ 23 h 31"/>
                <a:gd name="T40" fmla="*/ 14 w 27"/>
                <a:gd name="T41" fmla="*/ 23 h 31"/>
                <a:gd name="T42" fmla="*/ 14 w 27"/>
                <a:gd name="T43" fmla="*/ 23 h 31"/>
                <a:gd name="T44" fmla="*/ 14 w 27"/>
                <a:gd name="T45" fmla="*/ 23 h 31"/>
                <a:gd name="T46" fmla="*/ 14 w 27"/>
                <a:gd name="T47" fmla="*/ 18 h 31"/>
                <a:gd name="T48" fmla="*/ 14 w 27"/>
                <a:gd name="T49" fmla="*/ 18 h 31"/>
                <a:gd name="T50" fmla="*/ 9 w 27"/>
                <a:gd name="T51" fmla="*/ 18 h 31"/>
                <a:gd name="T52" fmla="*/ 9 w 27"/>
                <a:gd name="T53" fmla="*/ 23 h 31"/>
                <a:gd name="T54" fmla="*/ 9 w 27"/>
                <a:gd name="T55" fmla="*/ 27 h 31"/>
                <a:gd name="T56" fmla="*/ 5 w 27"/>
                <a:gd name="T57" fmla="*/ 27 h 31"/>
                <a:gd name="T58" fmla="*/ 5 w 27"/>
                <a:gd name="T59" fmla="*/ 27 h 31"/>
                <a:gd name="T60" fmla="*/ 9 w 27"/>
                <a:gd name="T61" fmla="*/ 31 h 31"/>
                <a:gd name="T62" fmla="*/ 14 w 27"/>
                <a:gd name="T63" fmla="*/ 31 h 31"/>
                <a:gd name="T64" fmla="*/ 18 w 27"/>
                <a:gd name="T65" fmla="*/ 27 h 31"/>
                <a:gd name="T66" fmla="*/ 18 w 27"/>
                <a:gd name="T67" fmla="*/ 27 h 31"/>
                <a:gd name="T68" fmla="*/ 22 w 27"/>
                <a:gd name="T69" fmla="*/ 27 h 31"/>
                <a:gd name="T70" fmla="*/ 22 w 27"/>
                <a:gd name="T71" fmla="*/ 27 h 31"/>
                <a:gd name="T72" fmla="*/ 27 w 27"/>
                <a:gd name="T73" fmla="*/ 23 h 31"/>
                <a:gd name="T74" fmla="*/ 27 w 27"/>
                <a:gd name="T75" fmla="*/ 23 h 31"/>
                <a:gd name="T76" fmla="*/ 14 w 27"/>
                <a:gd name="T77" fmla="*/ 14 h 31"/>
                <a:gd name="T78" fmla="*/ 9 w 27"/>
                <a:gd name="T79" fmla="*/ 9 h 31"/>
                <a:gd name="T80" fmla="*/ 5 w 27"/>
                <a:gd name="T81" fmla="*/ 5 h 31"/>
                <a:gd name="T82" fmla="*/ 5 w 27"/>
                <a:gd name="T83" fmla="*/ 0 h 31"/>
                <a:gd name="T84" fmla="*/ 5 w 27"/>
                <a:gd name="T85" fmla="*/ 0 h 31"/>
                <a:gd name="T86" fmla="*/ 0 w 27"/>
                <a:gd name="T8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" h="31">
                  <a:moveTo>
                    <a:pt x="0" y="5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5" y="9"/>
                  </a:lnTo>
                  <a:lnTo>
                    <a:pt x="5" y="9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9"/>
                  </a:lnTo>
                  <a:lnTo>
                    <a:pt x="9" y="9"/>
                  </a:lnTo>
                  <a:lnTo>
                    <a:pt x="14" y="9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23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2" y="23"/>
                  </a:lnTo>
                  <a:lnTo>
                    <a:pt x="14" y="14"/>
                  </a:lnTo>
                  <a:lnTo>
                    <a:pt x="14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21" name="Freeform 53"/>
            <p:cNvSpPr>
              <a:spLocks/>
            </p:cNvSpPr>
            <p:nvPr/>
          </p:nvSpPr>
          <p:spPr bwMode="auto">
            <a:xfrm>
              <a:off x="3149600" y="40560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22" name="Rectangle 54"/>
            <p:cNvSpPr>
              <a:spLocks noChangeArrowheads="1"/>
            </p:cNvSpPr>
            <p:nvPr/>
          </p:nvSpPr>
          <p:spPr bwMode="auto">
            <a:xfrm>
              <a:off x="3155950" y="4056063"/>
              <a:ext cx="1587" cy="1588"/>
            </a:xfrm>
            <a:prstGeom prst="rect">
              <a:avLst/>
            </a:pr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23" name="Freeform 55"/>
            <p:cNvSpPr>
              <a:spLocks/>
            </p:cNvSpPr>
            <p:nvPr/>
          </p:nvSpPr>
          <p:spPr bwMode="auto">
            <a:xfrm>
              <a:off x="3225800" y="4006851"/>
              <a:ext cx="14287" cy="7938"/>
            </a:xfrm>
            <a:custGeom>
              <a:avLst/>
              <a:gdLst>
                <a:gd name="T0" fmla="*/ 0 w 9"/>
                <a:gd name="T1" fmla="*/ 5 h 5"/>
                <a:gd name="T2" fmla="*/ 0 w 9"/>
                <a:gd name="T3" fmla="*/ 5 h 5"/>
                <a:gd name="T4" fmla="*/ 5 w 9"/>
                <a:gd name="T5" fmla="*/ 5 h 5"/>
                <a:gd name="T6" fmla="*/ 5 w 9"/>
                <a:gd name="T7" fmla="*/ 5 h 5"/>
                <a:gd name="T8" fmla="*/ 5 w 9"/>
                <a:gd name="T9" fmla="*/ 5 h 5"/>
                <a:gd name="T10" fmla="*/ 9 w 9"/>
                <a:gd name="T11" fmla="*/ 5 h 5"/>
                <a:gd name="T12" fmla="*/ 9 w 9"/>
                <a:gd name="T13" fmla="*/ 5 h 5"/>
                <a:gd name="T14" fmla="*/ 9 w 9"/>
                <a:gd name="T15" fmla="*/ 0 h 5"/>
                <a:gd name="T16" fmla="*/ 9 w 9"/>
                <a:gd name="T17" fmla="*/ 0 h 5"/>
                <a:gd name="T18" fmla="*/ 9 w 9"/>
                <a:gd name="T19" fmla="*/ 0 h 5"/>
                <a:gd name="T20" fmla="*/ 9 w 9"/>
                <a:gd name="T21" fmla="*/ 0 h 5"/>
                <a:gd name="T22" fmla="*/ 9 w 9"/>
                <a:gd name="T23" fmla="*/ 0 h 5"/>
                <a:gd name="T24" fmla="*/ 9 w 9"/>
                <a:gd name="T25" fmla="*/ 0 h 5"/>
                <a:gd name="T26" fmla="*/ 5 w 9"/>
                <a:gd name="T27" fmla="*/ 0 h 5"/>
                <a:gd name="T28" fmla="*/ 5 w 9"/>
                <a:gd name="T29" fmla="*/ 0 h 5"/>
                <a:gd name="T30" fmla="*/ 0 w 9"/>
                <a:gd name="T31" fmla="*/ 5 h 5"/>
                <a:gd name="T32" fmla="*/ 0 w 9"/>
                <a:gd name="T33" fmla="*/ 5 h 5"/>
                <a:gd name="T34" fmla="*/ 0 w 9"/>
                <a:gd name="T35" fmla="*/ 5 h 5"/>
                <a:gd name="T36" fmla="*/ 0 w 9"/>
                <a:gd name="T37" fmla="*/ 5 h 5"/>
                <a:gd name="T38" fmla="*/ 0 w 9"/>
                <a:gd name="T3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" h="5">
                  <a:moveTo>
                    <a:pt x="0" y="5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24" name="Freeform 56"/>
            <p:cNvSpPr>
              <a:spLocks/>
            </p:cNvSpPr>
            <p:nvPr/>
          </p:nvSpPr>
          <p:spPr bwMode="auto">
            <a:xfrm>
              <a:off x="3408363" y="4006851"/>
              <a:ext cx="28575" cy="14288"/>
            </a:xfrm>
            <a:custGeom>
              <a:avLst/>
              <a:gdLst>
                <a:gd name="T0" fmla="*/ 5 w 18"/>
                <a:gd name="T1" fmla="*/ 5 h 9"/>
                <a:gd name="T2" fmla="*/ 5 w 18"/>
                <a:gd name="T3" fmla="*/ 5 h 9"/>
                <a:gd name="T4" fmla="*/ 5 w 18"/>
                <a:gd name="T5" fmla="*/ 5 h 9"/>
                <a:gd name="T6" fmla="*/ 5 w 18"/>
                <a:gd name="T7" fmla="*/ 9 h 9"/>
                <a:gd name="T8" fmla="*/ 5 w 18"/>
                <a:gd name="T9" fmla="*/ 9 h 9"/>
                <a:gd name="T10" fmla="*/ 5 w 18"/>
                <a:gd name="T11" fmla="*/ 9 h 9"/>
                <a:gd name="T12" fmla="*/ 5 w 18"/>
                <a:gd name="T13" fmla="*/ 5 h 9"/>
                <a:gd name="T14" fmla="*/ 5 w 18"/>
                <a:gd name="T15" fmla="*/ 5 h 9"/>
                <a:gd name="T16" fmla="*/ 5 w 18"/>
                <a:gd name="T17" fmla="*/ 9 h 9"/>
                <a:gd name="T18" fmla="*/ 9 w 18"/>
                <a:gd name="T19" fmla="*/ 9 h 9"/>
                <a:gd name="T20" fmla="*/ 9 w 18"/>
                <a:gd name="T21" fmla="*/ 9 h 9"/>
                <a:gd name="T22" fmla="*/ 9 w 18"/>
                <a:gd name="T23" fmla="*/ 9 h 9"/>
                <a:gd name="T24" fmla="*/ 9 w 18"/>
                <a:gd name="T25" fmla="*/ 9 h 9"/>
                <a:gd name="T26" fmla="*/ 9 w 18"/>
                <a:gd name="T27" fmla="*/ 9 h 9"/>
                <a:gd name="T28" fmla="*/ 9 w 18"/>
                <a:gd name="T29" fmla="*/ 9 h 9"/>
                <a:gd name="T30" fmla="*/ 9 w 18"/>
                <a:gd name="T31" fmla="*/ 9 h 9"/>
                <a:gd name="T32" fmla="*/ 14 w 18"/>
                <a:gd name="T33" fmla="*/ 9 h 9"/>
                <a:gd name="T34" fmla="*/ 18 w 18"/>
                <a:gd name="T35" fmla="*/ 9 h 9"/>
                <a:gd name="T36" fmla="*/ 14 w 18"/>
                <a:gd name="T37" fmla="*/ 5 h 9"/>
                <a:gd name="T38" fmla="*/ 14 w 18"/>
                <a:gd name="T39" fmla="*/ 5 h 9"/>
                <a:gd name="T40" fmla="*/ 14 w 18"/>
                <a:gd name="T41" fmla="*/ 5 h 9"/>
                <a:gd name="T42" fmla="*/ 14 w 18"/>
                <a:gd name="T43" fmla="*/ 0 h 9"/>
                <a:gd name="T44" fmla="*/ 9 w 18"/>
                <a:gd name="T45" fmla="*/ 0 h 9"/>
                <a:gd name="T46" fmla="*/ 5 w 18"/>
                <a:gd name="T47" fmla="*/ 0 h 9"/>
                <a:gd name="T48" fmla="*/ 5 w 18"/>
                <a:gd name="T49" fmla="*/ 0 h 9"/>
                <a:gd name="T50" fmla="*/ 0 w 18"/>
                <a:gd name="T51" fmla="*/ 5 h 9"/>
                <a:gd name="T52" fmla="*/ 0 w 18"/>
                <a:gd name="T53" fmla="*/ 5 h 9"/>
                <a:gd name="T54" fmla="*/ 5 w 18"/>
                <a:gd name="T5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" h="9">
                  <a:moveTo>
                    <a:pt x="5" y="5"/>
                  </a:moveTo>
                  <a:lnTo>
                    <a:pt x="5" y="5"/>
                  </a:lnTo>
                  <a:lnTo>
                    <a:pt x="5" y="5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4" y="9"/>
                  </a:lnTo>
                  <a:lnTo>
                    <a:pt x="18" y="9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25" name="Freeform 57"/>
            <p:cNvSpPr>
              <a:spLocks/>
            </p:cNvSpPr>
            <p:nvPr/>
          </p:nvSpPr>
          <p:spPr bwMode="auto">
            <a:xfrm>
              <a:off x="3211513" y="4000501"/>
              <a:ext cx="7937" cy="14288"/>
            </a:xfrm>
            <a:custGeom>
              <a:avLst/>
              <a:gdLst>
                <a:gd name="T0" fmla="*/ 0 w 5"/>
                <a:gd name="T1" fmla="*/ 4 h 9"/>
                <a:gd name="T2" fmla="*/ 0 w 5"/>
                <a:gd name="T3" fmla="*/ 4 h 9"/>
                <a:gd name="T4" fmla="*/ 0 w 5"/>
                <a:gd name="T5" fmla="*/ 4 h 9"/>
                <a:gd name="T6" fmla="*/ 0 w 5"/>
                <a:gd name="T7" fmla="*/ 9 h 9"/>
                <a:gd name="T8" fmla="*/ 0 w 5"/>
                <a:gd name="T9" fmla="*/ 9 h 9"/>
                <a:gd name="T10" fmla="*/ 0 w 5"/>
                <a:gd name="T11" fmla="*/ 9 h 9"/>
                <a:gd name="T12" fmla="*/ 5 w 5"/>
                <a:gd name="T13" fmla="*/ 9 h 9"/>
                <a:gd name="T14" fmla="*/ 5 w 5"/>
                <a:gd name="T15" fmla="*/ 4 h 9"/>
                <a:gd name="T16" fmla="*/ 5 w 5"/>
                <a:gd name="T17" fmla="*/ 4 h 9"/>
                <a:gd name="T18" fmla="*/ 5 w 5"/>
                <a:gd name="T19" fmla="*/ 0 h 9"/>
                <a:gd name="T20" fmla="*/ 0 w 5"/>
                <a:gd name="T21" fmla="*/ 4 h 9"/>
                <a:gd name="T22" fmla="*/ 0 w 5"/>
                <a:gd name="T23" fmla="*/ 4 h 9"/>
                <a:gd name="T24" fmla="*/ 0 w 5"/>
                <a:gd name="T2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9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5" y="9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26" name="Freeform 58"/>
            <p:cNvSpPr>
              <a:spLocks/>
            </p:cNvSpPr>
            <p:nvPr/>
          </p:nvSpPr>
          <p:spPr bwMode="auto">
            <a:xfrm>
              <a:off x="3584575" y="3994151"/>
              <a:ext cx="6350" cy="20638"/>
            </a:xfrm>
            <a:custGeom>
              <a:avLst/>
              <a:gdLst>
                <a:gd name="T0" fmla="*/ 0 w 4"/>
                <a:gd name="T1" fmla="*/ 13 h 13"/>
                <a:gd name="T2" fmla="*/ 0 w 4"/>
                <a:gd name="T3" fmla="*/ 13 h 13"/>
                <a:gd name="T4" fmla="*/ 0 w 4"/>
                <a:gd name="T5" fmla="*/ 8 h 13"/>
                <a:gd name="T6" fmla="*/ 0 w 4"/>
                <a:gd name="T7" fmla="*/ 8 h 13"/>
                <a:gd name="T8" fmla="*/ 0 w 4"/>
                <a:gd name="T9" fmla="*/ 8 h 13"/>
                <a:gd name="T10" fmla="*/ 0 w 4"/>
                <a:gd name="T11" fmla="*/ 8 h 13"/>
                <a:gd name="T12" fmla="*/ 0 w 4"/>
                <a:gd name="T13" fmla="*/ 8 h 13"/>
                <a:gd name="T14" fmla="*/ 0 w 4"/>
                <a:gd name="T15" fmla="*/ 4 h 13"/>
                <a:gd name="T16" fmla="*/ 4 w 4"/>
                <a:gd name="T17" fmla="*/ 4 h 13"/>
                <a:gd name="T18" fmla="*/ 4 w 4"/>
                <a:gd name="T19" fmla="*/ 4 h 13"/>
                <a:gd name="T20" fmla="*/ 4 w 4"/>
                <a:gd name="T21" fmla="*/ 4 h 13"/>
                <a:gd name="T22" fmla="*/ 4 w 4"/>
                <a:gd name="T23" fmla="*/ 4 h 13"/>
                <a:gd name="T24" fmla="*/ 4 w 4"/>
                <a:gd name="T25" fmla="*/ 4 h 13"/>
                <a:gd name="T26" fmla="*/ 4 w 4"/>
                <a:gd name="T27" fmla="*/ 4 h 13"/>
                <a:gd name="T28" fmla="*/ 4 w 4"/>
                <a:gd name="T29" fmla="*/ 4 h 13"/>
                <a:gd name="T30" fmla="*/ 4 w 4"/>
                <a:gd name="T31" fmla="*/ 4 h 13"/>
                <a:gd name="T32" fmla="*/ 4 w 4"/>
                <a:gd name="T33" fmla="*/ 4 h 13"/>
                <a:gd name="T34" fmla="*/ 4 w 4"/>
                <a:gd name="T35" fmla="*/ 0 h 13"/>
                <a:gd name="T36" fmla="*/ 4 w 4"/>
                <a:gd name="T37" fmla="*/ 0 h 13"/>
                <a:gd name="T38" fmla="*/ 4 w 4"/>
                <a:gd name="T39" fmla="*/ 0 h 13"/>
                <a:gd name="T40" fmla="*/ 0 w 4"/>
                <a:gd name="T41" fmla="*/ 0 h 13"/>
                <a:gd name="T42" fmla="*/ 0 w 4"/>
                <a:gd name="T43" fmla="*/ 4 h 13"/>
                <a:gd name="T44" fmla="*/ 0 w 4"/>
                <a:gd name="T45" fmla="*/ 4 h 13"/>
                <a:gd name="T46" fmla="*/ 0 w 4"/>
                <a:gd name="T47" fmla="*/ 8 h 13"/>
                <a:gd name="T48" fmla="*/ 0 w 4"/>
                <a:gd name="T49" fmla="*/ 13 h 13"/>
                <a:gd name="T50" fmla="*/ 0 w 4"/>
                <a:gd name="T51" fmla="*/ 13 h 13"/>
                <a:gd name="T52" fmla="*/ 0 w 4"/>
                <a:gd name="T53" fmla="*/ 13 h 13"/>
                <a:gd name="T54" fmla="*/ 0 w 4"/>
                <a:gd name="T5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" h="13">
                  <a:moveTo>
                    <a:pt x="0" y="13"/>
                  </a:moveTo>
                  <a:lnTo>
                    <a:pt x="0" y="13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27" name="Freeform 59"/>
            <p:cNvSpPr>
              <a:spLocks/>
            </p:cNvSpPr>
            <p:nvPr/>
          </p:nvSpPr>
          <p:spPr bwMode="auto">
            <a:xfrm>
              <a:off x="3590925" y="3986213"/>
              <a:ext cx="49212" cy="63500"/>
            </a:xfrm>
            <a:custGeom>
              <a:avLst/>
              <a:gdLst>
                <a:gd name="T0" fmla="*/ 5 w 31"/>
                <a:gd name="T1" fmla="*/ 13 h 40"/>
                <a:gd name="T2" fmla="*/ 0 w 31"/>
                <a:gd name="T3" fmla="*/ 13 h 40"/>
                <a:gd name="T4" fmla="*/ 0 w 31"/>
                <a:gd name="T5" fmla="*/ 13 h 40"/>
                <a:gd name="T6" fmla="*/ 0 w 31"/>
                <a:gd name="T7" fmla="*/ 13 h 40"/>
                <a:gd name="T8" fmla="*/ 5 w 31"/>
                <a:gd name="T9" fmla="*/ 13 h 40"/>
                <a:gd name="T10" fmla="*/ 5 w 31"/>
                <a:gd name="T11" fmla="*/ 18 h 40"/>
                <a:gd name="T12" fmla="*/ 5 w 31"/>
                <a:gd name="T13" fmla="*/ 18 h 40"/>
                <a:gd name="T14" fmla="*/ 5 w 31"/>
                <a:gd name="T15" fmla="*/ 18 h 40"/>
                <a:gd name="T16" fmla="*/ 0 w 31"/>
                <a:gd name="T17" fmla="*/ 22 h 40"/>
                <a:gd name="T18" fmla="*/ 5 w 31"/>
                <a:gd name="T19" fmla="*/ 22 h 40"/>
                <a:gd name="T20" fmla="*/ 5 w 31"/>
                <a:gd name="T21" fmla="*/ 27 h 40"/>
                <a:gd name="T22" fmla="*/ 5 w 31"/>
                <a:gd name="T23" fmla="*/ 27 h 40"/>
                <a:gd name="T24" fmla="*/ 0 w 31"/>
                <a:gd name="T25" fmla="*/ 27 h 40"/>
                <a:gd name="T26" fmla="*/ 0 w 31"/>
                <a:gd name="T27" fmla="*/ 36 h 40"/>
                <a:gd name="T28" fmla="*/ 0 w 31"/>
                <a:gd name="T29" fmla="*/ 36 h 40"/>
                <a:gd name="T30" fmla="*/ 5 w 31"/>
                <a:gd name="T31" fmla="*/ 36 h 40"/>
                <a:gd name="T32" fmla="*/ 5 w 31"/>
                <a:gd name="T33" fmla="*/ 36 h 40"/>
                <a:gd name="T34" fmla="*/ 9 w 31"/>
                <a:gd name="T35" fmla="*/ 36 h 40"/>
                <a:gd name="T36" fmla="*/ 9 w 31"/>
                <a:gd name="T37" fmla="*/ 36 h 40"/>
                <a:gd name="T38" fmla="*/ 9 w 31"/>
                <a:gd name="T39" fmla="*/ 36 h 40"/>
                <a:gd name="T40" fmla="*/ 14 w 31"/>
                <a:gd name="T41" fmla="*/ 40 h 40"/>
                <a:gd name="T42" fmla="*/ 14 w 31"/>
                <a:gd name="T43" fmla="*/ 36 h 40"/>
                <a:gd name="T44" fmla="*/ 14 w 31"/>
                <a:gd name="T45" fmla="*/ 36 h 40"/>
                <a:gd name="T46" fmla="*/ 9 w 31"/>
                <a:gd name="T47" fmla="*/ 36 h 40"/>
                <a:gd name="T48" fmla="*/ 14 w 31"/>
                <a:gd name="T49" fmla="*/ 31 h 40"/>
                <a:gd name="T50" fmla="*/ 22 w 31"/>
                <a:gd name="T51" fmla="*/ 31 h 40"/>
                <a:gd name="T52" fmla="*/ 27 w 31"/>
                <a:gd name="T53" fmla="*/ 31 h 40"/>
                <a:gd name="T54" fmla="*/ 27 w 31"/>
                <a:gd name="T55" fmla="*/ 31 h 40"/>
                <a:gd name="T56" fmla="*/ 31 w 31"/>
                <a:gd name="T57" fmla="*/ 31 h 40"/>
                <a:gd name="T58" fmla="*/ 27 w 31"/>
                <a:gd name="T59" fmla="*/ 36 h 40"/>
                <a:gd name="T60" fmla="*/ 31 w 31"/>
                <a:gd name="T61" fmla="*/ 36 h 40"/>
                <a:gd name="T62" fmla="*/ 31 w 31"/>
                <a:gd name="T63" fmla="*/ 36 h 40"/>
                <a:gd name="T64" fmla="*/ 31 w 31"/>
                <a:gd name="T65" fmla="*/ 36 h 40"/>
                <a:gd name="T66" fmla="*/ 31 w 31"/>
                <a:gd name="T67" fmla="*/ 31 h 40"/>
                <a:gd name="T68" fmla="*/ 27 w 31"/>
                <a:gd name="T69" fmla="*/ 27 h 40"/>
                <a:gd name="T70" fmla="*/ 22 w 31"/>
                <a:gd name="T71" fmla="*/ 22 h 40"/>
                <a:gd name="T72" fmla="*/ 22 w 31"/>
                <a:gd name="T73" fmla="*/ 18 h 40"/>
                <a:gd name="T74" fmla="*/ 27 w 31"/>
                <a:gd name="T75" fmla="*/ 9 h 40"/>
                <a:gd name="T76" fmla="*/ 14 w 31"/>
                <a:gd name="T77" fmla="*/ 9 h 40"/>
                <a:gd name="T78" fmla="*/ 14 w 31"/>
                <a:gd name="T79" fmla="*/ 5 h 40"/>
                <a:gd name="T80" fmla="*/ 14 w 31"/>
                <a:gd name="T81" fmla="*/ 0 h 40"/>
                <a:gd name="T82" fmla="*/ 5 w 31"/>
                <a:gd name="T83" fmla="*/ 0 h 40"/>
                <a:gd name="T84" fmla="*/ 5 w 31"/>
                <a:gd name="T85" fmla="*/ 5 h 40"/>
                <a:gd name="T86" fmla="*/ 9 w 31"/>
                <a:gd name="T87" fmla="*/ 5 h 40"/>
                <a:gd name="T88" fmla="*/ 5 w 31"/>
                <a:gd name="T89" fmla="*/ 5 h 40"/>
                <a:gd name="T90" fmla="*/ 5 w 31"/>
                <a:gd name="T91" fmla="*/ 9 h 40"/>
                <a:gd name="T92" fmla="*/ 9 w 31"/>
                <a:gd name="T93" fmla="*/ 5 h 40"/>
                <a:gd name="T94" fmla="*/ 14 w 31"/>
                <a:gd name="T95" fmla="*/ 9 h 40"/>
                <a:gd name="T96" fmla="*/ 14 w 31"/>
                <a:gd name="T97" fmla="*/ 9 h 40"/>
                <a:gd name="T98" fmla="*/ 14 w 31"/>
                <a:gd name="T99" fmla="*/ 9 h 40"/>
                <a:gd name="T100" fmla="*/ 18 w 31"/>
                <a:gd name="T101" fmla="*/ 9 h 40"/>
                <a:gd name="T102" fmla="*/ 18 w 31"/>
                <a:gd name="T103" fmla="*/ 9 h 40"/>
                <a:gd name="T104" fmla="*/ 18 w 31"/>
                <a:gd name="T105" fmla="*/ 13 h 40"/>
                <a:gd name="T106" fmla="*/ 18 w 31"/>
                <a:gd name="T107" fmla="*/ 13 h 40"/>
                <a:gd name="T108" fmla="*/ 18 w 31"/>
                <a:gd name="T109" fmla="*/ 18 h 40"/>
                <a:gd name="T110" fmla="*/ 14 w 31"/>
                <a:gd name="T111" fmla="*/ 13 h 40"/>
                <a:gd name="T112" fmla="*/ 9 w 31"/>
                <a:gd name="T113" fmla="*/ 9 h 40"/>
                <a:gd name="T114" fmla="*/ 14 w 31"/>
                <a:gd name="T115" fmla="*/ 13 h 40"/>
                <a:gd name="T116" fmla="*/ 9 w 31"/>
                <a:gd name="T117" fmla="*/ 13 h 40"/>
                <a:gd name="T118" fmla="*/ 9 w 31"/>
                <a:gd name="T119" fmla="*/ 13 h 40"/>
                <a:gd name="T120" fmla="*/ 9 w 31"/>
                <a:gd name="T121" fmla="*/ 9 h 40"/>
                <a:gd name="T122" fmla="*/ 9 w 31"/>
                <a:gd name="T123" fmla="*/ 9 h 40"/>
                <a:gd name="T124" fmla="*/ 9 w 31"/>
                <a:gd name="T125" fmla="*/ 1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" h="40">
                  <a:moveTo>
                    <a:pt x="9" y="13"/>
                  </a:moveTo>
                  <a:lnTo>
                    <a:pt x="9" y="13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9"/>
                  </a:lnTo>
                  <a:lnTo>
                    <a:pt x="5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6"/>
                  </a:lnTo>
                  <a:lnTo>
                    <a:pt x="0" y="31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40"/>
                  </a:lnTo>
                  <a:lnTo>
                    <a:pt x="5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40"/>
                  </a:lnTo>
                  <a:lnTo>
                    <a:pt x="9" y="40"/>
                  </a:lnTo>
                  <a:lnTo>
                    <a:pt x="9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27" y="31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27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2" y="9"/>
                  </a:lnTo>
                  <a:lnTo>
                    <a:pt x="18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5" y="5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5"/>
                  </a:lnTo>
                  <a:lnTo>
                    <a:pt x="9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4" y="18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9"/>
                  </a:lnTo>
                  <a:lnTo>
                    <a:pt x="9" y="9"/>
                  </a:lnTo>
                  <a:lnTo>
                    <a:pt x="9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9"/>
                  </a:lnTo>
                  <a:lnTo>
                    <a:pt x="9" y="9"/>
                  </a:lnTo>
                  <a:lnTo>
                    <a:pt x="14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28" name="Freeform 60"/>
            <p:cNvSpPr>
              <a:spLocks/>
            </p:cNvSpPr>
            <p:nvPr/>
          </p:nvSpPr>
          <p:spPr bwMode="auto">
            <a:xfrm>
              <a:off x="3184525" y="3979863"/>
              <a:ext cx="6350" cy="14288"/>
            </a:xfrm>
            <a:custGeom>
              <a:avLst/>
              <a:gdLst>
                <a:gd name="T0" fmla="*/ 4 w 4"/>
                <a:gd name="T1" fmla="*/ 0 h 9"/>
                <a:gd name="T2" fmla="*/ 4 w 4"/>
                <a:gd name="T3" fmla="*/ 0 h 9"/>
                <a:gd name="T4" fmla="*/ 4 w 4"/>
                <a:gd name="T5" fmla="*/ 0 h 9"/>
                <a:gd name="T6" fmla="*/ 4 w 4"/>
                <a:gd name="T7" fmla="*/ 0 h 9"/>
                <a:gd name="T8" fmla="*/ 4 w 4"/>
                <a:gd name="T9" fmla="*/ 0 h 9"/>
                <a:gd name="T10" fmla="*/ 4 w 4"/>
                <a:gd name="T11" fmla="*/ 0 h 9"/>
                <a:gd name="T12" fmla="*/ 0 w 4"/>
                <a:gd name="T13" fmla="*/ 0 h 9"/>
                <a:gd name="T14" fmla="*/ 0 w 4"/>
                <a:gd name="T15" fmla="*/ 4 h 9"/>
                <a:gd name="T16" fmla="*/ 0 w 4"/>
                <a:gd name="T17" fmla="*/ 4 h 9"/>
                <a:gd name="T18" fmla="*/ 4 w 4"/>
                <a:gd name="T19" fmla="*/ 9 h 9"/>
                <a:gd name="T20" fmla="*/ 4 w 4"/>
                <a:gd name="T21" fmla="*/ 9 h 9"/>
                <a:gd name="T22" fmla="*/ 4 w 4"/>
                <a:gd name="T23" fmla="*/ 9 h 9"/>
                <a:gd name="T24" fmla="*/ 4 w 4"/>
                <a:gd name="T25" fmla="*/ 9 h 9"/>
                <a:gd name="T26" fmla="*/ 4 w 4"/>
                <a:gd name="T27" fmla="*/ 9 h 9"/>
                <a:gd name="T28" fmla="*/ 4 w 4"/>
                <a:gd name="T29" fmla="*/ 4 h 9"/>
                <a:gd name="T30" fmla="*/ 4 w 4"/>
                <a:gd name="T31" fmla="*/ 0 h 9"/>
                <a:gd name="T32" fmla="*/ 4 w 4"/>
                <a:gd name="T3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" h="9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29" name="Freeform 61"/>
            <p:cNvSpPr>
              <a:spLocks/>
            </p:cNvSpPr>
            <p:nvPr/>
          </p:nvSpPr>
          <p:spPr bwMode="auto">
            <a:xfrm>
              <a:off x="3190875" y="3971926"/>
              <a:ext cx="20637" cy="14288"/>
            </a:xfrm>
            <a:custGeom>
              <a:avLst/>
              <a:gdLst>
                <a:gd name="T0" fmla="*/ 4 w 13"/>
                <a:gd name="T1" fmla="*/ 9 h 9"/>
                <a:gd name="T2" fmla="*/ 9 w 13"/>
                <a:gd name="T3" fmla="*/ 9 h 9"/>
                <a:gd name="T4" fmla="*/ 9 w 13"/>
                <a:gd name="T5" fmla="*/ 9 h 9"/>
                <a:gd name="T6" fmla="*/ 9 w 13"/>
                <a:gd name="T7" fmla="*/ 9 h 9"/>
                <a:gd name="T8" fmla="*/ 9 w 13"/>
                <a:gd name="T9" fmla="*/ 9 h 9"/>
                <a:gd name="T10" fmla="*/ 9 w 13"/>
                <a:gd name="T11" fmla="*/ 9 h 9"/>
                <a:gd name="T12" fmla="*/ 9 w 13"/>
                <a:gd name="T13" fmla="*/ 9 h 9"/>
                <a:gd name="T14" fmla="*/ 13 w 13"/>
                <a:gd name="T15" fmla="*/ 5 h 9"/>
                <a:gd name="T16" fmla="*/ 13 w 13"/>
                <a:gd name="T17" fmla="*/ 5 h 9"/>
                <a:gd name="T18" fmla="*/ 13 w 13"/>
                <a:gd name="T19" fmla="*/ 5 h 9"/>
                <a:gd name="T20" fmla="*/ 9 w 13"/>
                <a:gd name="T21" fmla="*/ 5 h 9"/>
                <a:gd name="T22" fmla="*/ 9 w 13"/>
                <a:gd name="T23" fmla="*/ 0 h 9"/>
                <a:gd name="T24" fmla="*/ 9 w 13"/>
                <a:gd name="T25" fmla="*/ 0 h 9"/>
                <a:gd name="T26" fmla="*/ 4 w 13"/>
                <a:gd name="T27" fmla="*/ 0 h 9"/>
                <a:gd name="T28" fmla="*/ 4 w 13"/>
                <a:gd name="T29" fmla="*/ 0 h 9"/>
                <a:gd name="T30" fmla="*/ 4 w 13"/>
                <a:gd name="T31" fmla="*/ 5 h 9"/>
                <a:gd name="T32" fmla="*/ 0 w 13"/>
                <a:gd name="T33" fmla="*/ 5 h 9"/>
                <a:gd name="T34" fmla="*/ 4 w 13"/>
                <a:gd name="T35" fmla="*/ 9 h 9"/>
                <a:gd name="T36" fmla="*/ 4 w 13"/>
                <a:gd name="T3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" h="9">
                  <a:moveTo>
                    <a:pt x="4" y="9"/>
                  </a:move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9" y="5"/>
                  </a:lnTo>
                  <a:lnTo>
                    <a:pt x="9" y="0"/>
                  </a:lnTo>
                  <a:lnTo>
                    <a:pt x="9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5"/>
                  </a:lnTo>
                  <a:lnTo>
                    <a:pt x="0" y="5"/>
                  </a:lnTo>
                  <a:lnTo>
                    <a:pt x="4" y="9"/>
                  </a:lnTo>
                  <a:lnTo>
                    <a:pt x="4" y="9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30" name="Freeform 62"/>
            <p:cNvSpPr>
              <a:spLocks/>
            </p:cNvSpPr>
            <p:nvPr/>
          </p:nvSpPr>
          <p:spPr bwMode="auto">
            <a:xfrm>
              <a:off x="2979738" y="3951288"/>
              <a:ext cx="766762" cy="1019175"/>
            </a:xfrm>
            <a:custGeom>
              <a:avLst/>
              <a:gdLst>
                <a:gd name="T0" fmla="*/ 461 w 483"/>
                <a:gd name="T1" fmla="*/ 275 h 642"/>
                <a:gd name="T2" fmla="*/ 465 w 483"/>
                <a:gd name="T3" fmla="*/ 208 h 642"/>
                <a:gd name="T4" fmla="*/ 452 w 483"/>
                <a:gd name="T5" fmla="*/ 151 h 642"/>
                <a:gd name="T6" fmla="*/ 434 w 483"/>
                <a:gd name="T7" fmla="*/ 106 h 642"/>
                <a:gd name="T8" fmla="*/ 421 w 483"/>
                <a:gd name="T9" fmla="*/ 84 h 642"/>
                <a:gd name="T10" fmla="*/ 394 w 483"/>
                <a:gd name="T11" fmla="*/ 66 h 642"/>
                <a:gd name="T12" fmla="*/ 368 w 483"/>
                <a:gd name="T13" fmla="*/ 49 h 642"/>
                <a:gd name="T14" fmla="*/ 354 w 483"/>
                <a:gd name="T15" fmla="*/ 49 h 642"/>
                <a:gd name="T16" fmla="*/ 354 w 483"/>
                <a:gd name="T17" fmla="*/ 49 h 642"/>
                <a:gd name="T18" fmla="*/ 350 w 483"/>
                <a:gd name="T19" fmla="*/ 40 h 642"/>
                <a:gd name="T20" fmla="*/ 306 w 483"/>
                <a:gd name="T21" fmla="*/ 75 h 642"/>
                <a:gd name="T22" fmla="*/ 284 w 483"/>
                <a:gd name="T23" fmla="*/ 89 h 642"/>
                <a:gd name="T24" fmla="*/ 266 w 483"/>
                <a:gd name="T25" fmla="*/ 75 h 642"/>
                <a:gd name="T26" fmla="*/ 235 w 483"/>
                <a:gd name="T27" fmla="*/ 44 h 642"/>
                <a:gd name="T28" fmla="*/ 222 w 483"/>
                <a:gd name="T29" fmla="*/ 31 h 642"/>
                <a:gd name="T30" fmla="*/ 204 w 483"/>
                <a:gd name="T31" fmla="*/ 9 h 642"/>
                <a:gd name="T32" fmla="*/ 151 w 483"/>
                <a:gd name="T33" fmla="*/ 13 h 642"/>
                <a:gd name="T34" fmla="*/ 151 w 483"/>
                <a:gd name="T35" fmla="*/ 49 h 642"/>
                <a:gd name="T36" fmla="*/ 164 w 483"/>
                <a:gd name="T37" fmla="*/ 71 h 642"/>
                <a:gd name="T38" fmla="*/ 195 w 483"/>
                <a:gd name="T39" fmla="*/ 111 h 642"/>
                <a:gd name="T40" fmla="*/ 151 w 483"/>
                <a:gd name="T41" fmla="*/ 93 h 642"/>
                <a:gd name="T42" fmla="*/ 133 w 483"/>
                <a:gd name="T43" fmla="*/ 120 h 642"/>
                <a:gd name="T44" fmla="*/ 124 w 483"/>
                <a:gd name="T45" fmla="*/ 124 h 642"/>
                <a:gd name="T46" fmla="*/ 62 w 483"/>
                <a:gd name="T47" fmla="*/ 133 h 642"/>
                <a:gd name="T48" fmla="*/ 62 w 483"/>
                <a:gd name="T49" fmla="*/ 204 h 642"/>
                <a:gd name="T50" fmla="*/ 62 w 483"/>
                <a:gd name="T51" fmla="*/ 235 h 642"/>
                <a:gd name="T52" fmla="*/ 36 w 483"/>
                <a:gd name="T53" fmla="*/ 270 h 642"/>
                <a:gd name="T54" fmla="*/ 5 w 483"/>
                <a:gd name="T55" fmla="*/ 279 h 642"/>
                <a:gd name="T56" fmla="*/ 14 w 483"/>
                <a:gd name="T57" fmla="*/ 332 h 642"/>
                <a:gd name="T58" fmla="*/ 9 w 483"/>
                <a:gd name="T59" fmla="*/ 359 h 642"/>
                <a:gd name="T60" fmla="*/ 18 w 483"/>
                <a:gd name="T61" fmla="*/ 381 h 642"/>
                <a:gd name="T62" fmla="*/ 22 w 483"/>
                <a:gd name="T63" fmla="*/ 403 h 642"/>
                <a:gd name="T64" fmla="*/ 18 w 483"/>
                <a:gd name="T65" fmla="*/ 434 h 642"/>
                <a:gd name="T66" fmla="*/ 31 w 483"/>
                <a:gd name="T67" fmla="*/ 452 h 642"/>
                <a:gd name="T68" fmla="*/ 40 w 483"/>
                <a:gd name="T69" fmla="*/ 487 h 642"/>
                <a:gd name="T70" fmla="*/ 67 w 483"/>
                <a:gd name="T71" fmla="*/ 496 h 642"/>
                <a:gd name="T72" fmla="*/ 98 w 483"/>
                <a:gd name="T73" fmla="*/ 505 h 642"/>
                <a:gd name="T74" fmla="*/ 107 w 483"/>
                <a:gd name="T75" fmla="*/ 531 h 642"/>
                <a:gd name="T76" fmla="*/ 93 w 483"/>
                <a:gd name="T77" fmla="*/ 580 h 642"/>
                <a:gd name="T78" fmla="*/ 93 w 483"/>
                <a:gd name="T79" fmla="*/ 620 h 642"/>
                <a:gd name="T80" fmla="*/ 129 w 483"/>
                <a:gd name="T81" fmla="*/ 615 h 642"/>
                <a:gd name="T82" fmla="*/ 137 w 483"/>
                <a:gd name="T83" fmla="*/ 611 h 642"/>
                <a:gd name="T84" fmla="*/ 151 w 483"/>
                <a:gd name="T85" fmla="*/ 602 h 642"/>
                <a:gd name="T86" fmla="*/ 204 w 483"/>
                <a:gd name="T87" fmla="*/ 620 h 642"/>
                <a:gd name="T88" fmla="*/ 226 w 483"/>
                <a:gd name="T89" fmla="*/ 633 h 642"/>
                <a:gd name="T90" fmla="*/ 244 w 483"/>
                <a:gd name="T91" fmla="*/ 620 h 642"/>
                <a:gd name="T92" fmla="*/ 270 w 483"/>
                <a:gd name="T93" fmla="*/ 629 h 642"/>
                <a:gd name="T94" fmla="*/ 306 w 483"/>
                <a:gd name="T95" fmla="*/ 615 h 642"/>
                <a:gd name="T96" fmla="*/ 346 w 483"/>
                <a:gd name="T97" fmla="*/ 611 h 642"/>
                <a:gd name="T98" fmla="*/ 377 w 483"/>
                <a:gd name="T99" fmla="*/ 629 h 642"/>
                <a:gd name="T100" fmla="*/ 377 w 483"/>
                <a:gd name="T101" fmla="*/ 598 h 642"/>
                <a:gd name="T102" fmla="*/ 399 w 483"/>
                <a:gd name="T103" fmla="*/ 553 h 642"/>
                <a:gd name="T104" fmla="*/ 421 w 483"/>
                <a:gd name="T105" fmla="*/ 531 h 642"/>
                <a:gd name="T106" fmla="*/ 390 w 483"/>
                <a:gd name="T107" fmla="*/ 496 h 642"/>
                <a:gd name="T108" fmla="*/ 354 w 483"/>
                <a:gd name="T109" fmla="*/ 461 h 642"/>
                <a:gd name="T110" fmla="*/ 346 w 483"/>
                <a:gd name="T111" fmla="*/ 425 h 642"/>
                <a:gd name="T112" fmla="*/ 337 w 483"/>
                <a:gd name="T113" fmla="*/ 403 h 642"/>
                <a:gd name="T114" fmla="*/ 350 w 483"/>
                <a:gd name="T115" fmla="*/ 394 h 642"/>
                <a:gd name="T116" fmla="*/ 381 w 483"/>
                <a:gd name="T117" fmla="*/ 385 h 642"/>
                <a:gd name="T118" fmla="*/ 421 w 483"/>
                <a:gd name="T119" fmla="*/ 368 h 642"/>
                <a:gd name="T120" fmla="*/ 443 w 483"/>
                <a:gd name="T121" fmla="*/ 341 h 642"/>
                <a:gd name="T122" fmla="*/ 469 w 483"/>
                <a:gd name="T123" fmla="*/ 359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3" h="642">
                  <a:moveTo>
                    <a:pt x="483" y="323"/>
                  </a:moveTo>
                  <a:lnTo>
                    <a:pt x="483" y="323"/>
                  </a:lnTo>
                  <a:lnTo>
                    <a:pt x="483" y="319"/>
                  </a:lnTo>
                  <a:lnTo>
                    <a:pt x="483" y="319"/>
                  </a:lnTo>
                  <a:lnTo>
                    <a:pt x="483" y="314"/>
                  </a:lnTo>
                  <a:lnTo>
                    <a:pt x="483" y="314"/>
                  </a:lnTo>
                  <a:lnTo>
                    <a:pt x="478" y="314"/>
                  </a:lnTo>
                  <a:lnTo>
                    <a:pt x="478" y="314"/>
                  </a:lnTo>
                  <a:lnTo>
                    <a:pt x="478" y="314"/>
                  </a:lnTo>
                  <a:lnTo>
                    <a:pt x="478" y="310"/>
                  </a:lnTo>
                  <a:lnTo>
                    <a:pt x="478" y="306"/>
                  </a:lnTo>
                  <a:lnTo>
                    <a:pt x="478" y="306"/>
                  </a:lnTo>
                  <a:lnTo>
                    <a:pt x="478" y="306"/>
                  </a:lnTo>
                  <a:lnTo>
                    <a:pt x="478" y="306"/>
                  </a:lnTo>
                  <a:lnTo>
                    <a:pt x="478" y="301"/>
                  </a:lnTo>
                  <a:lnTo>
                    <a:pt x="478" y="301"/>
                  </a:lnTo>
                  <a:lnTo>
                    <a:pt x="474" y="301"/>
                  </a:lnTo>
                  <a:lnTo>
                    <a:pt x="474" y="301"/>
                  </a:lnTo>
                  <a:lnTo>
                    <a:pt x="474" y="301"/>
                  </a:lnTo>
                  <a:lnTo>
                    <a:pt x="474" y="301"/>
                  </a:lnTo>
                  <a:lnTo>
                    <a:pt x="469" y="301"/>
                  </a:lnTo>
                  <a:lnTo>
                    <a:pt x="469" y="297"/>
                  </a:lnTo>
                  <a:lnTo>
                    <a:pt x="465" y="297"/>
                  </a:lnTo>
                  <a:lnTo>
                    <a:pt x="465" y="297"/>
                  </a:lnTo>
                  <a:lnTo>
                    <a:pt x="469" y="297"/>
                  </a:lnTo>
                  <a:lnTo>
                    <a:pt x="469" y="292"/>
                  </a:lnTo>
                  <a:lnTo>
                    <a:pt x="469" y="292"/>
                  </a:lnTo>
                  <a:lnTo>
                    <a:pt x="469" y="288"/>
                  </a:lnTo>
                  <a:lnTo>
                    <a:pt x="469" y="288"/>
                  </a:lnTo>
                  <a:lnTo>
                    <a:pt x="469" y="283"/>
                  </a:lnTo>
                  <a:lnTo>
                    <a:pt x="465" y="283"/>
                  </a:lnTo>
                  <a:lnTo>
                    <a:pt x="465" y="283"/>
                  </a:lnTo>
                  <a:lnTo>
                    <a:pt x="465" y="279"/>
                  </a:lnTo>
                  <a:lnTo>
                    <a:pt x="465" y="279"/>
                  </a:lnTo>
                  <a:lnTo>
                    <a:pt x="461" y="275"/>
                  </a:lnTo>
                  <a:lnTo>
                    <a:pt x="461" y="275"/>
                  </a:lnTo>
                  <a:lnTo>
                    <a:pt x="461" y="275"/>
                  </a:lnTo>
                  <a:lnTo>
                    <a:pt x="461" y="275"/>
                  </a:lnTo>
                  <a:lnTo>
                    <a:pt x="461" y="270"/>
                  </a:lnTo>
                  <a:lnTo>
                    <a:pt x="465" y="270"/>
                  </a:lnTo>
                  <a:lnTo>
                    <a:pt x="465" y="266"/>
                  </a:lnTo>
                  <a:lnTo>
                    <a:pt x="465" y="266"/>
                  </a:lnTo>
                  <a:lnTo>
                    <a:pt x="465" y="266"/>
                  </a:lnTo>
                  <a:lnTo>
                    <a:pt x="465" y="257"/>
                  </a:lnTo>
                  <a:lnTo>
                    <a:pt x="465" y="257"/>
                  </a:lnTo>
                  <a:lnTo>
                    <a:pt x="469" y="257"/>
                  </a:lnTo>
                  <a:lnTo>
                    <a:pt x="469" y="257"/>
                  </a:lnTo>
                  <a:lnTo>
                    <a:pt x="469" y="252"/>
                  </a:lnTo>
                  <a:lnTo>
                    <a:pt x="469" y="252"/>
                  </a:lnTo>
                  <a:lnTo>
                    <a:pt x="469" y="252"/>
                  </a:lnTo>
                  <a:lnTo>
                    <a:pt x="469" y="252"/>
                  </a:lnTo>
                  <a:lnTo>
                    <a:pt x="465" y="248"/>
                  </a:lnTo>
                  <a:lnTo>
                    <a:pt x="465" y="248"/>
                  </a:lnTo>
                  <a:lnTo>
                    <a:pt x="465" y="244"/>
                  </a:lnTo>
                  <a:lnTo>
                    <a:pt x="465" y="244"/>
                  </a:lnTo>
                  <a:lnTo>
                    <a:pt x="465" y="244"/>
                  </a:lnTo>
                  <a:lnTo>
                    <a:pt x="465" y="239"/>
                  </a:lnTo>
                  <a:lnTo>
                    <a:pt x="465" y="239"/>
                  </a:lnTo>
                  <a:lnTo>
                    <a:pt x="469" y="239"/>
                  </a:lnTo>
                  <a:lnTo>
                    <a:pt x="469" y="239"/>
                  </a:lnTo>
                  <a:lnTo>
                    <a:pt x="465" y="235"/>
                  </a:lnTo>
                  <a:lnTo>
                    <a:pt x="465" y="235"/>
                  </a:lnTo>
                  <a:lnTo>
                    <a:pt x="465" y="235"/>
                  </a:lnTo>
                  <a:lnTo>
                    <a:pt x="461" y="235"/>
                  </a:lnTo>
                  <a:lnTo>
                    <a:pt x="461" y="235"/>
                  </a:lnTo>
                  <a:lnTo>
                    <a:pt x="461" y="230"/>
                  </a:lnTo>
                  <a:lnTo>
                    <a:pt x="461" y="230"/>
                  </a:lnTo>
                  <a:lnTo>
                    <a:pt x="461" y="226"/>
                  </a:lnTo>
                  <a:lnTo>
                    <a:pt x="456" y="221"/>
                  </a:lnTo>
                  <a:lnTo>
                    <a:pt x="461" y="217"/>
                  </a:lnTo>
                  <a:lnTo>
                    <a:pt x="461" y="217"/>
                  </a:lnTo>
                  <a:lnTo>
                    <a:pt x="465" y="217"/>
                  </a:lnTo>
                  <a:lnTo>
                    <a:pt x="465" y="213"/>
                  </a:lnTo>
                  <a:lnTo>
                    <a:pt x="461" y="213"/>
                  </a:lnTo>
                  <a:lnTo>
                    <a:pt x="461" y="213"/>
                  </a:lnTo>
                  <a:lnTo>
                    <a:pt x="465" y="208"/>
                  </a:lnTo>
                  <a:lnTo>
                    <a:pt x="461" y="208"/>
                  </a:lnTo>
                  <a:lnTo>
                    <a:pt x="461" y="208"/>
                  </a:lnTo>
                  <a:lnTo>
                    <a:pt x="461" y="204"/>
                  </a:lnTo>
                  <a:lnTo>
                    <a:pt x="456" y="204"/>
                  </a:lnTo>
                  <a:lnTo>
                    <a:pt x="456" y="199"/>
                  </a:lnTo>
                  <a:lnTo>
                    <a:pt x="452" y="199"/>
                  </a:lnTo>
                  <a:lnTo>
                    <a:pt x="452" y="199"/>
                  </a:lnTo>
                  <a:lnTo>
                    <a:pt x="452" y="195"/>
                  </a:lnTo>
                  <a:lnTo>
                    <a:pt x="452" y="195"/>
                  </a:lnTo>
                  <a:lnTo>
                    <a:pt x="443" y="190"/>
                  </a:lnTo>
                  <a:lnTo>
                    <a:pt x="443" y="190"/>
                  </a:lnTo>
                  <a:lnTo>
                    <a:pt x="443" y="186"/>
                  </a:lnTo>
                  <a:lnTo>
                    <a:pt x="438" y="186"/>
                  </a:lnTo>
                  <a:lnTo>
                    <a:pt x="438" y="186"/>
                  </a:lnTo>
                  <a:lnTo>
                    <a:pt x="438" y="186"/>
                  </a:lnTo>
                  <a:lnTo>
                    <a:pt x="438" y="186"/>
                  </a:lnTo>
                  <a:lnTo>
                    <a:pt x="438" y="186"/>
                  </a:lnTo>
                  <a:lnTo>
                    <a:pt x="438" y="182"/>
                  </a:lnTo>
                  <a:lnTo>
                    <a:pt x="438" y="182"/>
                  </a:lnTo>
                  <a:lnTo>
                    <a:pt x="438" y="182"/>
                  </a:lnTo>
                  <a:lnTo>
                    <a:pt x="438" y="182"/>
                  </a:lnTo>
                  <a:lnTo>
                    <a:pt x="438" y="177"/>
                  </a:lnTo>
                  <a:lnTo>
                    <a:pt x="438" y="177"/>
                  </a:lnTo>
                  <a:lnTo>
                    <a:pt x="438" y="173"/>
                  </a:lnTo>
                  <a:lnTo>
                    <a:pt x="438" y="173"/>
                  </a:lnTo>
                  <a:lnTo>
                    <a:pt x="443" y="173"/>
                  </a:lnTo>
                  <a:lnTo>
                    <a:pt x="447" y="168"/>
                  </a:lnTo>
                  <a:lnTo>
                    <a:pt x="447" y="168"/>
                  </a:lnTo>
                  <a:lnTo>
                    <a:pt x="447" y="164"/>
                  </a:lnTo>
                  <a:lnTo>
                    <a:pt x="447" y="164"/>
                  </a:lnTo>
                  <a:lnTo>
                    <a:pt x="452" y="159"/>
                  </a:lnTo>
                  <a:lnTo>
                    <a:pt x="452" y="159"/>
                  </a:lnTo>
                  <a:lnTo>
                    <a:pt x="452" y="159"/>
                  </a:lnTo>
                  <a:lnTo>
                    <a:pt x="452" y="155"/>
                  </a:lnTo>
                  <a:lnTo>
                    <a:pt x="452" y="155"/>
                  </a:lnTo>
                  <a:lnTo>
                    <a:pt x="452" y="155"/>
                  </a:lnTo>
                  <a:lnTo>
                    <a:pt x="452" y="155"/>
                  </a:lnTo>
                  <a:lnTo>
                    <a:pt x="452" y="151"/>
                  </a:lnTo>
                  <a:lnTo>
                    <a:pt x="452" y="151"/>
                  </a:lnTo>
                  <a:lnTo>
                    <a:pt x="452" y="151"/>
                  </a:lnTo>
                  <a:lnTo>
                    <a:pt x="452" y="151"/>
                  </a:lnTo>
                  <a:lnTo>
                    <a:pt x="452" y="146"/>
                  </a:lnTo>
                  <a:lnTo>
                    <a:pt x="452" y="146"/>
                  </a:lnTo>
                  <a:lnTo>
                    <a:pt x="452" y="146"/>
                  </a:lnTo>
                  <a:lnTo>
                    <a:pt x="452" y="146"/>
                  </a:lnTo>
                  <a:lnTo>
                    <a:pt x="452" y="146"/>
                  </a:lnTo>
                  <a:lnTo>
                    <a:pt x="452" y="142"/>
                  </a:lnTo>
                  <a:lnTo>
                    <a:pt x="452" y="142"/>
                  </a:lnTo>
                  <a:lnTo>
                    <a:pt x="447" y="137"/>
                  </a:lnTo>
                  <a:lnTo>
                    <a:pt x="447" y="133"/>
                  </a:lnTo>
                  <a:lnTo>
                    <a:pt x="447" y="128"/>
                  </a:lnTo>
                  <a:lnTo>
                    <a:pt x="447" y="128"/>
                  </a:lnTo>
                  <a:lnTo>
                    <a:pt x="447" y="128"/>
                  </a:lnTo>
                  <a:lnTo>
                    <a:pt x="447" y="124"/>
                  </a:lnTo>
                  <a:lnTo>
                    <a:pt x="447" y="124"/>
                  </a:lnTo>
                  <a:lnTo>
                    <a:pt x="447" y="120"/>
                  </a:lnTo>
                  <a:lnTo>
                    <a:pt x="447" y="120"/>
                  </a:lnTo>
                  <a:lnTo>
                    <a:pt x="443" y="115"/>
                  </a:lnTo>
                  <a:lnTo>
                    <a:pt x="443" y="115"/>
                  </a:lnTo>
                  <a:lnTo>
                    <a:pt x="443" y="111"/>
                  </a:lnTo>
                  <a:lnTo>
                    <a:pt x="443" y="111"/>
                  </a:lnTo>
                  <a:lnTo>
                    <a:pt x="443" y="111"/>
                  </a:lnTo>
                  <a:lnTo>
                    <a:pt x="443" y="111"/>
                  </a:lnTo>
                  <a:lnTo>
                    <a:pt x="443" y="111"/>
                  </a:lnTo>
                  <a:lnTo>
                    <a:pt x="443" y="111"/>
                  </a:lnTo>
                  <a:lnTo>
                    <a:pt x="443" y="111"/>
                  </a:lnTo>
                  <a:lnTo>
                    <a:pt x="443" y="106"/>
                  </a:lnTo>
                  <a:lnTo>
                    <a:pt x="443" y="106"/>
                  </a:lnTo>
                  <a:lnTo>
                    <a:pt x="443" y="106"/>
                  </a:lnTo>
                  <a:lnTo>
                    <a:pt x="443" y="106"/>
                  </a:lnTo>
                  <a:lnTo>
                    <a:pt x="443" y="106"/>
                  </a:lnTo>
                  <a:lnTo>
                    <a:pt x="443" y="106"/>
                  </a:lnTo>
                  <a:lnTo>
                    <a:pt x="443" y="106"/>
                  </a:lnTo>
                  <a:lnTo>
                    <a:pt x="438" y="106"/>
                  </a:lnTo>
                  <a:lnTo>
                    <a:pt x="434" y="106"/>
                  </a:lnTo>
                  <a:lnTo>
                    <a:pt x="434" y="106"/>
                  </a:lnTo>
                  <a:lnTo>
                    <a:pt x="434" y="106"/>
                  </a:lnTo>
                  <a:lnTo>
                    <a:pt x="434" y="106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2"/>
                  </a:lnTo>
                  <a:lnTo>
                    <a:pt x="430" y="102"/>
                  </a:lnTo>
                  <a:lnTo>
                    <a:pt x="425" y="102"/>
                  </a:lnTo>
                  <a:lnTo>
                    <a:pt x="425" y="102"/>
                  </a:lnTo>
                  <a:lnTo>
                    <a:pt x="425" y="97"/>
                  </a:lnTo>
                  <a:lnTo>
                    <a:pt x="421" y="97"/>
                  </a:lnTo>
                  <a:lnTo>
                    <a:pt x="421" y="97"/>
                  </a:lnTo>
                  <a:lnTo>
                    <a:pt x="421" y="97"/>
                  </a:lnTo>
                  <a:lnTo>
                    <a:pt x="421" y="97"/>
                  </a:lnTo>
                  <a:lnTo>
                    <a:pt x="421" y="97"/>
                  </a:lnTo>
                  <a:lnTo>
                    <a:pt x="421" y="93"/>
                  </a:lnTo>
                  <a:lnTo>
                    <a:pt x="421" y="93"/>
                  </a:lnTo>
                  <a:lnTo>
                    <a:pt x="425" y="89"/>
                  </a:lnTo>
                  <a:lnTo>
                    <a:pt x="425" y="89"/>
                  </a:lnTo>
                  <a:lnTo>
                    <a:pt x="425" y="89"/>
                  </a:lnTo>
                  <a:lnTo>
                    <a:pt x="425" y="89"/>
                  </a:lnTo>
                  <a:lnTo>
                    <a:pt x="425" y="89"/>
                  </a:lnTo>
                  <a:lnTo>
                    <a:pt x="425" y="89"/>
                  </a:lnTo>
                  <a:lnTo>
                    <a:pt x="425" y="89"/>
                  </a:lnTo>
                  <a:lnTo>
                    <a:pt x="425" y="89"/>
                  </a:lnTo>
                  <a:lnTo>
                    <a:pt x="425" y="89"/>
                  </a:lnTo>
                  <a:lnTo>
                    <a:pt x="421" y="89"/>
                  </a:lnTo>
                  <a:lnTo>
                    <a:pt x="421" y="89"/>
                  </a:lnTo>
                  <a:lnTo>
                    <a:pt x="421" y="89"/>
                  </a:lnTo>
                  <a:lnTo>
                    <a:pt x="421" y="89"/>
                  </a:lnTo>
                  <a:lnTo>
                    <a:pt x="421" y="84"/>
                  </a:lnTo>
                  <a:lnTo>
                    <a:pt x="421" y="84"/>
                  </a:lnTo>
                  <a:lnTo>
                    <a:pt x="421" y="84"/>
                  </a:lnTo>
                  <a:lnTo>
                    <a:pt x="421" y="84"/>
                  </a:lnTo>
                  <a:lnTo>
                    <a:pt x="421" y="84"/>
                  </a:lnTo>
                  <a:lnTo>
                    <a:pt x="421" y="84"/>
                  </a:lnTo>
                  <a:lnTo>
                    <a:pt x="421" y="84"/>
                  </a:lnTo>
                  <a:lnTo>
                    <a:pt x="421" y="84"/>
                  </a:lnTo>
                  <a:lnTo>
                    <a:pt x="421" y="84"/>
                  </a:lnTo>
                  <a:lnTo>
                    <a:pt x="416" y="80"/>
                  </a:lnTo>
                  <a:lnTo>
                    <a:pt x="416" y="80"/>
                  </a:lnTo>
                  <a:lnTo>
                    <a:pt x="416" y="80"/>
                  </a:lnTo>
                  <a:lnTo>
                    <a:pt x="416" y="75"/>
                  </a:lnTo>
                  <a:lnTo>
                    <a:pt x="421" y="75"/>
                  </a:lnTo>
                  <a:lnTo>
                    <a:pt x="421" y="75"/>
                  </a:lnTo>
                  <a:lnTo>
                    <a:pt x="421" y="75"/>
                  </a:lnTo>
                  <a:lnTo>
                    <a:pt x="416" y="71"/>
                  </a:lnTo>
                  <a:lnTo>
                    <a:pt x="412" y="71"/>
                  </a:lnTo>
                  <a:lnTo>
                    <a:pt x="412" y="71"/>
                  </a:lnTo>
                  <a:lnTo>
                    <a:pt x="416" y="66"/>
                  </a:lnTo>
                  <a:lnTo>
                    <a:pt x="416" y="66"/>
                  </a:lnTo>
                  <a:lnTo>
                    <a:pt x="416" y="66"/>
                  </a:lnTo>
                  <a:lnTo>
                    <a:pt x="416" y="66"/>
                  </a:lnTo>
                  <a:lnTo>
                    <a:pt x="412" y="66"/>
                  </a:lnTo>
                  <a:lnTo>
                    <a:pt x="412" y="71"/>
                  </a:lnTo>
                  <a:lnTo>
                    <a:pt x="407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5"/>
                  </a:lnTo>
                  <a:lnTo>
                    <a:pt x="403" y="75"/>
                  </a:lnTo>
                  <a:lnTo>
                    <a:pt x="403" y="75"/>
                  </a:lnTo>
                  <a:lnTo>
                    <a:pt x="403" y="75"/>
                  </a:lnTo>
                  <a:lnTo>
                    <a:pt x="403" y="75"/>
                  </a:lnTo>
                  <a:lnTo>
                    <a:pt x="403" y="71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9" y="71"/>
                  </a:lnTo>
                  <a:lnTo>
                    <a:pt x="399" y="66"/>
                  </a:lnTo>
                  <a:lnTo>
                    <a:pt x="399" y="66"/>
                  </a:lnTo>
                  <a:lnTo>
                    <a:pt x="399" y="66"/>
                  </a:lnTo>
                  <a:lnTo>
                    <a:pt x="394" y="66"/>
                  </a:lnTo>
                  <a:lnTo>
                    <a:pt x="394" y="66"/>
                  </a:lnTo>
                  <a:lnTo>
                    <a:pt x="394" y="66"/>
                  </a:lnTo>
                  <a:lnTo>
                    <a:pt x="394" y="66"/>
                  </a:lnTo>
                  <a:lnTo>
                    <a:pt x="394" y="66"/>
                  </a:lnTo>
                  <a:lnTo>
                    <a:pt x="394" y="62"/>
                  </a:lnTo>
                  <a:lnTo>
                    <a:pt x="390" y="62"/>
                  </a:lnTo>
                  <a:lnTo>
                    <a:pt x="390" y="62"/>
                  </a:lnTo>
                  <a:lnTo>
                    <a:pt x="385" y="58"/>
                  </a:lnTo>
                  <a:lnTo>
                    <a:pt x="385" y="58"/>
                  </a:lnTo>
                  <a:lnTo>
                    <a:pt x="385" y="58"/>
                  </a:lnTo>
                  <a:lnTo>
                    <a:pt x="385" y="58"/>
                  </a:lnTo>
                  <a:lnTo>
                    <a:pt x="385" y="58"/>
                  </a:lnTo>
                  <a:lnTo>
                    <a:pt x="385" y="58"/>
                  </a:lnTo>
                  <a:lnTo>
                    <a:pt x="385" y="58"/>
                  </a:lnTo>
                  <a:lnTo>
                    <a:pt x="385" y="58"/>
                  </a:lnTo>
                  <a:lnTo>
                    <a:pt x="381" y="58"/>
                  </a:lnTo>
                  <a:lnTo>
                    <a:pt x="381" y="58"/>
                  </a:lnTo>
                  <a:lnTo>
                    <a:pt x="381" y="53"/>
                  </a:lnTo>
                  <a:lnTo>
                    <a:pt x="381" y="53"/>
                  </a:lnTo>
                  <a:lnTo>
                    <a:pt x="381" y="53"/>
                  </a:lnTo>
                  <a:lnTo>
                    <a:pt x="381" y="49"/>
                  </a:lnTo>
                  <a:lnTo>
                    <a:pt x="381" y="49"/>
                  </a:lnTo>
                  <a:lnTo>
                    <a:pt x="381" y="49"/>
                  </a:lnTo>
                  <a:lnTo>
                    <a:pt x="377" y="49"/>
                  </a:lnTo>
                  <a:lnTo>
                    <a:pt x="377" y="44"/>
                  </a:lnTo>
                  <a:lnTo>
                    <a:pt x="377" y="44"/>
                  </a:lnTo>
                  <a:lnTo>
                    <a:pt x="381" y="44"/>
                  </a:lnTo>
                  <a:lnTo>
                    <a:pt x="377" y="44"/>
                  </a:lnTo>
                  <a:lnTo>
                    <a:pt x="377" y="44"/>
                  </a:lnTo>
                  <a:lnTo>
                    <a:pt x="372" y="44"/>
                  </a:lnTo>
                  <a:lnTo>
                    <a:pt x="372" y="49"/>
                  </a:lnTo>
                  <a:lnTo>
                    <a:pt x="372" y="49"/>
                  </a:lnTo>
                  <a:lnTo>
                    <a:pt x="372" y="49"/>
                  </a:lnTo>
                  <a:lnTo>
                    <a:pt x="372" y="49"/>
                  </a:lnTo>
                  <a:lnTo>
                    <a:pt x="372" y="49"/>
                  </a:lnTo>
                  <a:lnTo>
                    <a:pt x="368" y="49"/>
                  </a:lnTo>
                  <a:lnTo>
                    <a:pt x="368" y="49"/>
                  </a:lnTo>
                  <a:lnTo>
                    <a:pt x="368" y="49"/>
                  </a:lnTo>
                  <a:lnTo>
                    <a:pt x="368" y="49"/>
                  </a:lnTo>
                  <a:lnTo>
                    <a:pt x="368" y="49"/>
                  </a:lnTo>
                  <a:lnTo>
                    <a:pt x="368" y="49"/>
                  </a:lnTo>
                  <a:lnTo>
                    <a:pt x="368" y="49"/>
                  </a:lnTo>
                  <a:lnTo>
                    <a:pt x="368" y="49"/>
                  </a:lnTo>
                  <a:lnTo>
                    <a:pt x="368" y="49"/>
                  </a:lnTo>
                  <a:lnTo>
                    <a:pt x="368" y="49"/>
                  </a:lnTo>
                  <a:lnTo>
                    <a:pt x="363" y="49"/>
                  </a:lnTo>
                  <a:lnTo>
                    <a:pt x="363" y="49"/>
                  </a:lnTo>
                  <a:lnTo>
                    <a:pt x="363" y="49"/>
                  </a:lnTo>
                  <a:lnTo>
                    <a:pt x="363" y="49"/>
                  </a:lnTo>
                  <a:lnTo>
                    <a:pt x="363" y="49"/>
                  </a:lnTo>
                  <a:lnTo>
                    <a:pt x="363" y="49"/>
                  </a:lnTo>
                  <a:lnTo>
                    <a:pt x="363" y="49"/>
                  </a:lnTo>
                  <a:lnTo>
                    <a:pt x="363" y="49"/>
                  </a:lnTo>
                  <a:lnTo>
                    <a:pt x="363" y="49"/>
                  </a:lnTo>
                  <a:lnTo>
                    <a:pt x="359" y="49"/>
                  </a:lnTo>
                  <a:lnTo>
                    <a:pt x="359" y="49"/>
                  </a:lnTo>
                  <a:lnTo>
                    <a:pt x="359" y="49"/>
                  </a:lnTo>
                  <a:lnTo>
                    <a:pt x="363" y="49"/>
                  </a:lnTo>
                  <a:lnTo>
                    <a:pt x="363" y="44"/>
                  </a:lnTo>
                  <a:lnTo>
                    <a:pt x="363" y="44"/>
                  </a:lnTo>
                  <a:lnTo>
                    <a:pt x="363" y="44"/>
                  </a:lnTo>
                  <a:lnTo>
                    <a:pt x="359" y="44"/>
                  </a:lnTo>
                  <a:lnTo>
                    <a:pt x="359" y="44"/>
                  </a:lnTo>
                  <a:lnTo>
                    <a:pt x="359" y="44"/>
                  </a:lnTo>
                  <a:lnTo>
                    <a:pt x="359" y="49"/>
                  </a:lnTo>
                  <a:lnTo>
                    <a:pt x="359" y="49"/>
                  </a:lnTo>
                  <a:lnTo>
                    <a:pt x="359" y="49"/>
                  </a:lnTo>
                  <a:lnTo>
                    <a:pt x="359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0" y="53"/>
                  </a:lnTo>
                  <a:lnTo>
                    <a:pt x="350" y="53"/>
                  </a:lnTo>
                  <a:lnTo>
                    <a:pt x="350" y="53"/>
                  </a:lnTo>
                  <a:lnTo>
                    <a:pt x="350" y="53"/>
                  </a:lnTo>
                  <a:lnTo>
                    <a:pt x="350" y="53"/>
                  </a:lnTo>
                  <a:lnTo>
                    <a:pt x="350" y="53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46" y="58"/>
                  </a:lnTo>
                  <a:lnTo>
                    <a:pt x="346" y="58"/>
                  </a:lnTo>
                  <a:lnTo>
                    <a:pt x="346" y="58"/>
                  </a:lnTo>
                  <a:lnTo>
                    <a:pt x="346" y="58"/>
                  </a:lnTo>
                  <a:lnTo>
                    <a:pt x="350" y="62"/>
                  </a:lnTo>
                  <a:lnTo>
                    <a:pt x="350" y="62"/>
                  </a:lnTo>
                  <a:lnTo>
                    <a:pt x="346" y="62"/>
                  </a:lnTo>
                  <a:lnTo>
                    <a:pt x="346" y="62"/>
                  </a:lnTo>
                  <a:lnTo>
                    <a:pt x="346" y="58"/>
                  </a:lnTo>
                  <a:lnTo>
                    <a:pt x="346" y="58"/>
                  </a:lnTo>
                  <a:lnTo>
                    <a:pt x="346" y="58"/>
                  </a:lnTo>
                  <a:lnTo>
                    <a:pt x="346" y="58"/>
                  </a:lnTo>
                  <a:lnTo>
                    <a:pt x="346" y="53"/>
                  </a:lnTo>
                  <a:lnTo>
                    <a:pt x="346" y="53"/>
                  </a:lnTo>
                  <a:lnTo>
                    <a:pt x="346" y="53"/>
                  </a:lnTo>
                  <a:lnTo>
                    <a:pt x="346" y="53"/>
                  </a:lnTo>
                  <a:lnTo>
                    <a:pt x="346" y="53"/>
                  </a:lnTo>
                  <a:lnTo>
                    <a:pt x="346" y="53"/>
                  </a:lnTo>
                  <a:lnTo>
                    <a:pt x="346" y="53"/>
                  </a:lnTo>
                  <a:lnTo>
                    <a:pt x="346" y="53"/>
                  </a:lnTo>
                  <a:lnTo>
                    <a:pt x="346" y="53"/>
                  </a:lnTo>
                  <a:lnTo>
                    <a:pt x="346" y="49"/>
                  </a:lnTo>
                  <a:lnTo>
                    <a:pt x="346" y="49"/>
                  </a:lnTo>
                  <a:lnTo>
                    <a:pt x="346" y="49"/>
                  </a:lnTo>
                  <a:lnTo>
                    <a:pt x="350" y="49"/>
                  </a:lnTo>
                  <a:lnTo>
                    <a:pt x="350" y="49"/>
                  </a:lnTo>
                  <a:lnTo>
                    <a:pt x="350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9"/>
                  </a:lnTo>
                  <a:lnTo>
                    <a:pt x="354" y="44"/>
                  </a:lnTo>
                  <a:lnTo>
                    <a:pt x="354" y="44"/>
                  </a:lnTo>
                  <a:lnTo>
                    <a:pt x="354" y="44"/>
                  </a:lnTo>
                  <a:lnTo>
                    <a:pt x="354" y="44"/>
                  </a:lnTo>
                  <a:lnTo>
                    <a:pt x="354" y="44"/>
                  </a:lnTo>
                  <a:lnTo>
                    <a:pt x="359" y="44"/>
                  </a:lnTo>
                  <a:lnTo>
                    <a:pt x="359" y="44"/>
                  </a:lnTo>
                  <a:lnTo>
                    <a:pt x="359" y="44"/>
                  </a:lnTo>
                  <a:lnTo>
                    <a:pt x="359" y="44"/>
                  </a:lnTo>
                  <a:lnTo>
                    <a:pt x="359" y="44"/>
                  </a:lnTo>
                  <a:lnTo>
                    <a:pt x="359" y="44"/>
                  </a:lnTo>
                  <a:lnTo>
                    <a:pt x="363" y="44"/>
                  </a:lnTo>
                  <a:lnTo>
                    <a:pt x="363" y="44"/>
                  </a:lnTo>
                  <a:lnTo>
                    <a:pt x="363" y="44"/>
                  </a:lnTo>
                  <a:lnTo>
                    <a:pt x="372" y="44"/>
                  </a:lnTo>
                  <a:lnTo>
                    <a:pt x="372" y="44"/>
                  </a:lnTo>
                  <a:lnTo>
                    <a:pt x="372" y="44"/>
                  </a:lnTo>
                  <a:lnTo>
                    <a:pt x="372" y="44"/>
                  </a:lnTo>
                  <a:lnTo>
                    <a:pt x="372" y="44"/>
                  </a:lnTo>
                  <a:lnTo>
                    <a:pt x="368" y="44"/>
                  </a:lnTo>
                  <a:lnTo>
                    <a:pt x="368" y="44"/>
                  </a:lnTo>
                  <a:lnTo>
                    <a:pt x="354" y="44"/>
                  </a:lnTo>
                  <a:lnTo>
                    <a:pt x="354" y="40"/>
                  </a:lnTo>
                  <a:lnTo>
                    <a:pt x="354" y="40"/>
                  </a:lnTo>
                  <a:lnTo>
                    <a:pt x="354" y="40"/>
                  </a:lnTo>
                  <a:lnTo>
                    <a:pt x="354" y="40"/>
                  </a:lnTo>
                  <a:lnTo>
                    <a:pt x="350" y="40"/>
                  </a:lnTo>
                  <a:lnTo>
                    <a:pt x="350" y="40"/>
                  </a:lnTo>
                  <a:lnTo>
                    <a:pt x="350" y="44"/>
                  </a:lnTo>
                  <a:lnTo>
                    <a:pt x="350" y="44"/>
                  </a:lnTo>
                  <a:lnTo>
                    <a:pt x="346" y="49"/>
                  </a:lnTo>
                  <a:lnTo>
                    <a:pt x="346" y="53"/>
                  </a:lnTo>
                  <a:lnTo>
                    <a:pt x="341" y="58"/>
                  </a:lnTo>
                  <a:lnTo>
                    <a:pt x="341" y="58"/>
                  </a:lnTo>
                  <a:lnTo>
                    <a:pt x="341" y="58"/>
                  </a:lnTo>
                  <a:lnTo>
                    <a:pt x="337" y="62"/>
                  </a:lnTo>
                  <a:lnTo>
                    <a:pt x="337" y="62"/>
                  </a:lnTo>
                  <a:lnTo>
                    <a:pt x="332" y="62"/>
                  </a:lnTo>
                  <a:lnTo>
                    <a:pt x="332" y="62"/>
                  </a:lnTo>
                  <a:lnTo>
                    <a:pt x="332" y="62"/>
                  </a:lnTo>
                  <a:lnTo>
                    <a:pt x="332" y="66"/>
                  </a:lnTo>
                  <a:lnTo>
                    <a:pt x="328" y="66"/>
                  </a:lnTo>
                  <a:lnTo>
                    <a:pt x="332" y="66"/>
                  </a:lnTo>
                  <a:lnTo>
                    <a:pt x="332" y="66"/>
                  </a:lnTo>
                  <a:lnTo>
                    <a:pt x="332" y="66"/>
                  </a:lnTo>
                  <a:lnTo>
                    <a:pt x="332" y="66"/>
                  </a:lnTo>
                  <a:lnTo>
                    <a:pt x="332" y="66"/>
                  </a:lnTo>
                  <a:lnTo>
                    <a:pt x="328" y="71"/>
                  </a:lnTo>
                  <a:lnTo>
                    <a:pt x="328" y="71"/>
                  </a:lnTo>
                  <a:lnTo>
                    <a:pt x="328" y="71"/>
                  </a:lnTo>
                  <a:lnTo>
                    <a:pt x="328" y="75"/>
                  </a:lnTo>
                  <a:lnTo>
                    <a:pt x="332" y="75"/>
                  </a:lnTo>
                  <a:lnTo>
                    <a:pt x="328" y="71"/>
                  </a:lnTo>
                  <a:lnTo>
                    <a:pt x="328" y="71"/>
                  </a:lnTo>
                  <a:lnTo>
                    <a:pt x="328" y="66"/>
                  </a:lnTo>
                  <a:lnTo>
                    <a:pt x="328" y="66"/>
                  </a:lnTo>
                  <a:lnTo>
                    <a:pt x="328" y="66"/>
                  </a:lnTo>
                  <a:lnTo>
                    <a:pt x="315" y="71"/>
                  </a:lnTo>
                  <a:lnTo>
                    <a:pt x="310" y="71"/>
                  </a:lnTo>
                  <a:lnTo>
                    <a:pt x="310" y="71"/>
                  </a:lnTo>
                  <a:lnTo>
                    <a:pt x="306" y="71"/>
                  </a:lnTo>
                  <a:lnTo>
                    <a:pt x="306" y="71"/>
                  </a:lnTo>
                  <a:lnTo>
                    <a:pt x="306" y="71"/>
                  </a:lnTo>
                  <a:lnTo>
                    <a:pt x="306" y="75"/>
                  </a:lnTo>
                  <a:lnTo>
                    <a:pt x="306" y="75"/>
                  </a:lnTo>
                  <a:lnTo>
                    <a:pt x="306" y="75"/>
                  </a:lnTo>
                  <a:lnTo>
                    <a:pt x="306" y="75"/>
                  </a:lnTo>
                  <a:lnTo>
                    <a:pt x="306" y="75"/>
                  </a:lnTo>
                  <a:lnTo>
                    <a:pt x="306" y="75"/>
                  </a:lnTo>
                  <a:lnTo>
                    <a:pt x="306" y="75"/>
                  </a:lnTo>
                  <a:lnTo>
                    <a:pt x="306" y="75"/>
                  </a:lnTo>
                  <a:lnTo>
                    <a:pt x="306" y="75"/>
                  </a:lnTo>
                  <a:lnTo>
                    <a:pt x="301" y="75"/>
                  </a:lnTo>
                  <a:lnTo>
                    <a:pt x="301" y="80"/>
                  </a:lnTo>
                  <a:lnTo>
                    <a:pt x="301" y="80"/>
                  </a:lnTo>
                  <a:lnTo>
                    <a:pt x="301" y="80"/>
                  </a:lnTo>
                  <a:lnTo>
                    <a:pt x="301" y="80"/>
                  </a:lnTo>
                  <a:lnTo>
                    <a:pt x="301" y="80"/>
                  </a:lnTo>
                  <a:lnTo>
                    <a:pt x="301" y="80"/>
                  </a:lnTo>
                  <a:lnTo>
                    <a:pt x="301" y="80"/>
                  </a:lnTo>
                  <a:lnTo>
                    <a:pt x="297" y="84"/>
                  </a:lnTo>
                  <a:lnTo>
                    <a:pt x="297" y="84"/>
                  </a:lnTo>
                  <a:lnTo>
                    <a:pt x="297" y="84"/>
                  </a:lnTo>
                  <a:lnTo>
                    <a:pt x="297" y="84"/>
                  </a:lnTo>
                  <a:lnTo>
                    <a:pt x="297" y="84"/>
                  </a:lnTo>
                  <a:lnTo>
                    <a:pt x="297" y="84"/>
                  </a:lnTo>
                  <a:lnTo>
                    <a:pt x="297" y="84"/>
                  </a:lnTo>
                  <a:lnTo>
                    <a:pt x="297" y="89"/>
                  </a:lnTo>
                  <a:lnTo>
                    <a:pt x="297" y="89"/>
                  </a:lnTo>
                  <a:lnTo>
                    <a:pt x="297" y="89"/>
                  </a:lnTo>
                  <a:lnTo>
                    <a:pt x="297" y="93"/>
                  </a:lnTo>
                  <a:lnTo>
                    <a:pt x="297" y="93"/>
                  </a:lnTo>
                  <a:lnTo>
                    <a:pt x="297" y="93"/>
                  </a:lnTo>
                  <a:lnTo>
                    <a:pt x="292" y="89"/>
                  </a:lnTo>
                  <a:lnTo>
                    <a:pt x="292" y="89"/>
                  </a:lnTo>
                  <a:lnTo>
                    <a:pt x="292" y="89"/>
                  </a:lnTo>
                  <a:lnTo>
                    <a:pt x="292" y="89"/>
                  </a:lnTo>
                  <a:lnTo>
                    <a:pt x="288" y="89"/>
                  </a:lnTo>
                  <a:lnTo>
                    <a:pt x="288" y="89"/>
                  </a:lnTo>
                  <a:lnTo>
                    <a:pt x="288" y="89"/>
                  </a:lnTo>
                  <a:lnTo>
                    <a:pt x="288" y="89"/>
                  </a:lnTo>
                  <a:lnTo>
                    <a:pt x="284" y="89"/>
                  </a:lnTo>
                  <a:lnTo>
                    <a:pt x="284" y="89"/>
                  </a:lnTo>
                  <a:lnTo>
                    <a:pt x="284" y="89"/>
                  </a:lnTo>
                  <a:lnTo>
                    <a:pt x="284" y="84"/>
                  </a:lnTo>
                  <a:lnTo>
                    <a:pt x="284" y="84"/>
                  </a:lnTo>
                  <a:lnTo>
                    <a:pt x="284" y="84"/>
                  </a:lnTo>
                  <a:lnTo>
                    <a:pt x="284" y="84"/>
                  </a:lnTo>
                  <a:lnTo>
                    <a:pt x="284" y="84"/>
                  </a:lnTo>
                  <a:lnTo>
                    <a:pt x="284" y="80"/>
                  </a:lnTo>
                  <a:lnTo>
                    <a:pt x="279" y="80"/>
                  </a:lnTo>
                  <a:lnTo>
                    <a:pt x="275" y="84"/>
                  </a:lnTo>
                  <a:lnTo>
                    <a:pt x="270" y="84"/>
                  </a:lnTo>
                  <a:lnTo>
                    <a:pt x="270" y="84"/>
                  </a:lnTo>
                  <a:lnTo>
                    <a:pt x="270" y="84"/>
                  </a:lnTo>
                  <a:lnTo>
                    <a:pt x="270" y="84"/>
                  </a:lnTo>
                  <a:lnTo>
                    <a:pt x="266" y="89"/>
                  </a:lnTo>
                  <a:lnTo>
                    <a:pt x="266" y="89"/>
                  </a:lnTo>
                  <a:lnTo>
                    <a:pt x="266" y="89"/>
                  </a:lnTo>
                  <a:lnTo>
                    <a:pt x="266" y="89"/>
                  </a:lnTo>
                  <a:lnTo>
                    <a:pt x="266" y="84"/>
                  </a:lnTo>
                  <a:lnTo>
                    <a:pt x="266" y="84"/>
                  </a:lnTo>
                  <a:lnTo>
                    <a:pt x="266" y="84"/>
                  </a:lnTo>
                  <a:lnTo>
                    <a:pt x="266" y="84"/>
                  </a:lnTo>
                  <a:lnTo>
                    <a:pt x="266" y="84"/>
                  </a:lnTo>
                  <a:lnTo>
                    <a:pt x="261" y="84"/>
                  </a:lnTo>
                  <a:lnTo>
                    <a:pt x="261" y="84"/>
                  </a:lnTo>
                  <a:lnTo>
                    <a:pt x="261" y="84"/>
                  </a:lnTo>
                  <a:lnTo>
                    <a:pt x="261" y="80"/>
                  </a:lnTo>
                  <a:lnTo>
                    <a:pt x="257" y="80"/>
                  </a:lnTo>
                  <a:lnTo>
                    <a:pt x="257" y="80"/>
                  </a:lnTo>
                  <a:lnTo>
                    <a:pt x="257" y="80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6" y="75"/>
                  </a:lnTo>
                  <a:lnTo>
                    <a:pt x="266" y="75"/>
                  </a:lnTo>
                  <a:lnTo>
                    <a:pt x="266" y="75"/>
                  </a:lnTo>
                  <a:lnTo>
                    <a:pt x="270" y="71"/>
                  </a:lnTo>
                  <a:lnTo>
                    <a:pt x="275" y="66"/>
                  </a:lnTo>
                  <a:lnTo>
                    <a:pt x="275" y="66"/>
                  </a:lnTo>
                  <a:lnTo>
                    <a:pt x="275" y="66"/>
                  </a:lnTo>
                  <a:lnTo>
                    <a:pt x="275" y="66"/>
                  </a:lnTo>
                  <a:lnTo>
                    <a:pt x="275" y="62"/>
                  </a:lnTo>
                  <a:lnTo>
                    <a:pt x="275" y="62"/>
                  </a:lnTo>
                  <a:lnTo>
                    <a:pt x="275" y="58"/>
                  </a:lnTo>
                  <a:lnTo>
                    <a:pt x="275" y="58"/>
                  </a:lnTo>
                  <a:lnTo>
                    <a:pt x="275" y="58"/>
                  </a:lnTo>
                  <a:lnTo>
                    <a:pt x="275" y="53"/>
                  </a:lnTo>
                  <a:lnTo>
                    <a:pt x="275" y="49"/>
                  </a:lnTo>
                  <a:lnTo>
                    <a:pt x="275" y="53"/>
                  </a:lnTo>
                  <a:lnTo>
                    <a:pt x="275" y="53"/>
                  </a:lnTo>
                  <a:lnTo>
                    <a:pt x="275" y="49"/>
                  </a:lnTo>
                  <a:lnTo>
                    <a:pt x="279" y="49"/>
                  </a:lnTo>
                  <a:lnTo>
                    <a:pt x="279" y="49"/>
                  </a:lnTo>
                  <a:lnTo>
                    <a:pt x="275" y="49"/>
                  </a:lnTo>
                  <a:lnTo>
                    <a:pt x="270" y="49"/>
                  </a:lnTo>
                  <a:lnTo>
                    <a:pt x="270" y="49"/>
                  </a:lnTo>
                  <a:lnTo>
                    <a:pt x="270" y="49"/>
                  </a:lnTo>
                  <a:lnTo>
                    <a:pt x="270" y="49"/>
                  </a:lnTo>
                  <a:lnTo>
                    <a:pt x="275" y="49"/>
                  </a:lnTo>
                  <a:lnTo>
                    <a:pt x="275" y="49"/>
                  </a:lnTo>
                  <a:lnTo>
                    <a:pt x="270" y="49"/>
                  </a:lnTo>
                  <a:lnTo>
                    <a:pt x="266" y="49"/>
                  </a:lnTo>
                  <a:lnTo>
                    <a:pt x="266" y="49"/>
                  </a:lnTo>
                  <a:lnTo>
                    <a:pt x="261" y="53"/>
                  </a:lnTo>
                  <a:lnTo>
                    <a:pt x="261" y="53"/>
                  </a:lnTo>
                  <a:lnTo>
                    <a:pt x="257" y="53"/>
                  </a:lnTo>
                  <a:lnTo>
                    <a:pt x="257" y="53"/>
                  </a:lnTo>
                  <a:lnTo>
                    <a:pt x="253" y="49"/>
                  </a:lnTo>
                  <a:lnTo>
                    <a:pt x="244" y="44"/>
                  </a:lnTo>
                  <a:lnTo>
                    <a:pt x="239" y="44"/>
                  </a:lnTo>
                  <a:lnTo>
                    <a:pt x="239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5" y="44"/>
                  </a:lnTo>
                  <a:lnTo>
                    <a:pt x="230" y="44"/>
                  </a:lnTo>
                  <a:lnTo>
                    <a:pt x="230" y="44"/>
                  </a:lnTo>
                  <a:lnTo>
                    <a:pt x="230" y="44"/>
                  </a:lnTo>
                  <a:lnTo>
                    <a:pt x="230" y="49"/>
                  </a:lnTo>
                  <a:lnTo>
                    <a:pt x="230" y="53"/>
                  </a:lnTo>
                  <a:lnTo>
                    <a:pt x="226" y="53"/>
                  </a:lnTo>
                  <a:lnTo>
                    <a:pt x="226" y="53"/>
                  </a:lnTo>
                  <a:lnTo>
                    <a:pt x="226" y="53"/>
                  </a:lnTo>
                  <a:lnTo>
                    <a:pt x="226" y="53"/>
                  </a:lnTo>
                  <a:lnTo>
                    <a:pt x="226" y="53"/>
                  </a:lnTo>
                  <a:lnTo>
                    <a:pt x="226" y="49"/>
                  </a:lnTo>
                  <a:lnTo>
                    <a:pt x="226" y="49"/>
                  </a:lnTo>
                  <a:lnTo>
                    <a:pt x="226" y="49"/>
                  </a:lnTo>
                  <a:lnTo>
                    <a:pt x="226" y="49"/>
                  </a:lnTo>
                  <a:lnTo>
                    <a:pt x="226" y="49"/>
                  </a:lnTo>
                  <a:lnTo>
                    <a:pt x="226" y="49"/>
                  </a:lnTo>
                  <a:lnTo>
                    <a:pt x="230" y="49"/>
                  </a:lnTo>
                  <a:lnTo>
                    <a:pt x="230" y="49"/>
                  </a:lnTo>
                  <a:lnTo>
                    <a:pt x="230" y="44"/>
                  </a:lnTo>
                  <a:lnTo>
                    <a:pt x="230" y="44"/>
                  </a:lnTo>
                  <a:lnTo>
                    <a:pt x="230" y="44"/>
                  </a:lnTo>
                  <a:lnTo>
                    <a:pt x="230" y="44"/>
                  </a:lnTo>
                  <a:lnTo>
                    <a:pt x="230" y="40"/>
                  </a:lnTo>
                  <a:lnTo>
                    <a:pt x="226" y="40"/>
                  </a:lnTo>
                  <a:lnTo>
                    <a:pt x="226" y="40"/>
                  </a:lnTo>
                  <a:lnTo>
                    <a:pt x="213" y="40"/>
                  </a:lnTo>
                  <a:lnTo>
                    <a:pt x="213" y="40"/>
                  </a:lnTo>
                  <a:lnTo>
                    <a:pt x="213" y="40"/>
                  </a:lnTo>
                  <a:lnTo>
                    <a:pt x="213" y="40"/>
                  </a:lnTo>
                  <a:lnTo>
                    <a:pt x="217" y="40"/>
                  </a:lnTo>
                  <a:lnTo>
                    <a:pt x="217" y="35"/>
                  </a:lnTo>
                  <a:lnTo>
                    <a:pt x="217" y="35"/>
                  </a:lnTo>
                  <a:lnTo>
                    <a:pt x="222" y="35"/>
                  </a:lnTo>
                  <a:lnTo>
                    <a:pt x="222" y="35"/>
                  </a:lnTo>
                  <a:lnTo>
                    <a:pt x="222" y="31"/>
                  </a:lnTo>
                  <a:lnTo>
                    <a:pt x="222" y="31"/>
                  </a:lnTo>
                  <a:lnTo>
                    <a:pt x="222" y="27"/>
                  </a:lnTo>
                  <a:lnTo>
                    <a:pt x="222" y="27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17" y="18"/>
                  </a:lnTo>
                  <a:lnTo>
                    <a:pt x="217" y="18"/>
                  </a:lnTo>
                  <a:lnTo>
                    <a:pt x="217" y="18"/>
                  </a:lnTo>
                  <a:lnTo>
                    <a:pt x="217" y="22"/>
                  </a:lnTo>
                  <a:lnTo>
                    <a:pt x="217" y="22"/>
                  </a:lnTo>
                  <a:lnTo>
                    <a:pt x="222" y="18"/>
                  </a:lnTo>
                  <a:lnTo>
                    <a:pt x="217" y="18"/>
                  </a:lnTo>
                  <a:lnTo>
                    <a:pt x="217" y="18"/>
                  </a:lnTo>
                  <a:lnTo>
                    <a:pt x="217" y="18"/>
                  </a:lnTo>
                  <a:lnTo>
                    <a:pt x="217" y="13"/>
                  </a:lnTo>
                  <a:lnTo>
                    <a:pt x="217" y="13"/>
                  </a:lnTo>
                  <a:lnTo>
                    <a:pt x="213" y="13"/>
                  </a:lnTo>
                  <a:lnTo>
                    <a:pt x="213" y="13"/>
                  </a:lnTo>
                  <a:lnTo>
                    <a:pt x="213" y="13"/>
                  </a:lnTo>
                  <a:lnTo>
                    <a:pt x="213" y="13"/>
                  </a:lnTo>
                  <a:lnTo>
                    <a:pt x="208" y="13"/>
                  </a:lnTo>
                  <a:lnTo>
                    <a:pt x="208" y="13"/>
                  </a:lnTo>
                  <a:lnTo>
                    <a:pt x="208" y="13"/>
                  </a:lnTo>
                  <a:lnTo>
                    <a:pt x="208" y="13"/>
                  </a:lnTo>
                  <a:lnTo>
                    <a:pt x="204" y="9"/>
                  </a:lnTo>
                  <a:lnTo>
                    <a:pt x="204" y="9"/>
                  </a:lnTo>
                  <a:lnTo>
                    <a:pt x="204" y="9"/>
                  </a:lnTo>
                  <a:lnTo>
                    <a:pt x="199" y="9"/>
                  </a:lnTo>
                  <a:lnTo>
                    <a:pt x="195" y="9"/>
                  </a:lnTo>
                  <a:lnTo>
                    <a:pt x="195" y="4"/>
                  </a:lnTo>
                  <a:lnTo>
                    <a:pt x="195" y="4"/>
                  </a:lnTo>
                  <a:lnTo>
                    <a:pt x="195" y="4"/>
                  </a:lnTo>
                  <a:lnTo>
                    <a:pt x="195" y="9"/>
                  </a:lnTo>
                  <a:lnTo>
                    <a:pt x="195" y="9"/>
                  </a:lnTo>
                  <a:lnTo>
                    <a:pt x="191" y="9"/>
                  </a:lnTo>
                  <a:lnTo>
                    <a:pt x="191" y="9"/>
                  </a:lnTo>
                  <a:lnTo>
                    <a:pt x="191" y="9"/>
                  </a:lnTo>
                  <a:lnTo>
                    <a:pt x="191" y="9"/>
                  </a:lnTo>
                  <a:lnTo>
                    <a:pt x="191" y="9"/>
                  </a:lnTo>
                  <a:lnTo>
                    <a:pt x="186" y="9"/>
                  </a:lnTo>
                  <a:lnTo>
                    <a:pt x="186" y="9"/>
                  </a:lnTo>
                  <a:lnTo>
                    <a:pt x="186" y="9"/>
                  </a:lnTo>
                  <a:lnTo>
                    <a:pt x="186" y="9"/>
                  </a:lnTo>
                  <a:lnTo>
                    <a:pt x="186" y="9"/>
                  </a:lnTo>
                  <a:lnTo>
                    <a:pt x="182" y="9"/>
                  </a:lnTo>
                  <a:lnTo>
                    <a:pt x="182" y="9"/>
                  </a:lnTo>
                  <a:lnTo>
                    <a:pt x="177" y="9"/>
                  </a:lnTo>
                  <a:lnTo>
                    <a:pt x="177" y="9"/>
                  </a:lnTo>
                  <a:lnTo>
                    <a:pt x="177" y="9"/>
                  </a:lnTo>
                  <a:lnTo>
                    <a:pt x="177" y="9"/>
                  </a:lnTo>
                  <a:lnTo>
                    <a:pt x="177" y="9"/>
                  </a:lnTo>
                  <a:lnTo>
                    <a:pt x="177" y="4"/>
                  </a:lnTo>
                  <a:lnTo>
                    <a:pt x="164" y="4"/>
                  </a:lnTo>
                  <a:lnTo>
                    <a:pt x="160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1" y="4"/>
                  </a:lnTo>
                  <a:lnTo>
                    <a:pt x="151" y="4"/>
                  </a:lnTo>
                  <a:lnTo>
                    <a:pt x="146" y="0"/>
                  </a:lnTo>
                  <a:lnTo>
                    <a:pt x="146" y="4"/>
                  </a:lnTo>
                  <a:lnTo>
                    <a:pt x="146" y="4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5" y="18"/>
                  </a:lnTo>
                  <a:lnTo>
                    <a:pt x="155" y="22"/>
                  </a:lnTo>
                  <a:lnTo>
                    <a:pt x="155" y="22"/>
                  </a:lnTo>
                  <a:lnTo>
                    <a:pt x="160" y="27"/>
                  </a:lnTo>
                  <a:lnTo>
                    <a:pt x="155" y="27"/>
                  </a:lnTo>
                  <a:lnTo>
                    <a:pt x="155" y="31"/>
                  </a:lnTo>
                  <a:lnTo>
                    <a:pt x="160" y="27"/>
                  </a:lnTo>
                  <a:lnTo>
                    <a:pt x="160" y="27"/>
                  </a:lnTo>
                  <a:lnTo>
                    <a:pt x="160" y="27"/>
                  </a:lnTo>
                  <a:lnTo>
                    <a:pt x="160" y="27"/>
                  </a:lnTo>
                  <a:lnTo>
                    <a:pt x="160" y="31"/>
                  </a:lnTo>
                  <a:lnTo>
                    <a:pt x="160" y="31"/>
                  </a:lnTo>
                  <a:lnTo>
                    <a:pt x="164" y="35"/>
                  </a:lnTo>
                  <a:lnTo>
                    <a:pt x="168" y="35"/>
                  </a:lnTo>
                  <a:lnTo>
                    <a:pt x="168" y="40"/>
                  </a:lnTo>
                  <a:lnTo>
                    <a:pt x="168" y="40"/>
                  </a:lnTo>
                  <a:lnTo>
                    <a:pt x="164" y="40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55" y="44"/>
                  </a:lnTo>
                  <a:lnTo>
                    <a:pt x="151" y="49"/>
                  </a:lnTo>
                  <a:lnTo>
                    <a:pt x="146" y="44"/>
                  </a:lnTo>
                  <a:lnTo>
                    <a:pt x="146" y="49"/>
                  </a:lnTo>
                  <a:lnTo>
                    <a:pt x="146" y="49"/>
                  </a:lnTo>
                  <a:lnTo>
                    <a:pt x="146" y="49"/>
                  </a:lnTo>
                  <a:lnTo>
                    <a:pt x="146" y="49"/>
                  </a:lnTo>
                  <a:lnTo>
                    <a:pt x="146" y="49"/>
                  </a:lnTo>
                  <a:lnTo>
                    <a:pt x="146" y="49"/>
                  </a:lnTo>
                  <a:lnTo>
                    <a:pt x="151" y="49"/>
                  </a:lnTo>
                  <a:lnTo>
                    <a:pt x="151" y="49"/>
                  </a:lnTo>
                  <a:lnTo>
                    <a:pt x="151" y="49"/>
                  </a:lnTo>
                  <a:lnTo>
                    <a:pt x="151" y="49"/>
                  </a:lnTo>
                  <a:lnTo>
                    <a:pt x="146" y="53"/>
                  </a:lnTo>
                  <a:lnTo>
                    <a:pt x="146" y="53"/>
                  </a:lnTo>
                  <a:lnTo>
                    <a:pt x="146" y="53"/>
                  </a:lnTo>
                  <a:lnTo>
                    <a:pt x="146" y="53"/>
                  </a:lnTo>
                  <a:lnTo>
                    <a:pt x="146" y="58"/>
                  </a:lnTo>
                  <a:lnTo>
                    <a:pt x="146" y="58"/>
                  </a:lnTo>
                  <a:lnTo>
                    <a:pt x="151" y="58"/>
                  </a:lnTo>
                  <a:lnTo>
                    <a:pt x="151" y="58"/>
                  </a:lnTo>
                  <a:lnTo>
                    <a:pt x="151" y="58"/>
                  </a:lnTo>
                  <a:lnTo>
                    <a:pt x="151" y="58"/>
                  </a:lnTo>
                  <a:lnTo>
                    <a:pt x="155" y="58"/>
                  </a:lnTo>
                  <a:lnTo>
                    <a:pt x="155" y="58"/>
                  </a:lnTo>
                  <a:lnTo>
                    <a:pt x="160" y="58"/>
                  </a:lnTo>
                  <a:lnTo>
                    <a:pt x="160" y="58"/>
                  </a:lnTo>
                  <a:lnTo>
                    <a:pt x="160" y="58"/>
                  </a:lnTo>
                  <a:lnTo>
                    <a:pt x="160" y="58"/>
                  </a:lnTo>
                  <a:lnTo>
                    <a:pt x="160" y="58"/>
                  </a:lnTo>
                  <a:lnTo>
                    <a:pt x="160" y="58"/>
                  </a:lnTo>
                  <a:lnTo>
                    <a:pt x="164" y="53"/>
                  </a:lnTo>
                  <a:lnTo>
                    <a:pt x="164" y="53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0" y="58"/>
                  </a:lnTo>
                  <a:lnTo>
                    <a:pt x="160" y="58"/>
                  </a:lnTo>
                  <a:lnTo>
                    <a:pt x="160" y="58"/>
                  </a:lnTo>
                  <a:lnTo>
                    <a:pt x="160" y="62"/>
                  </a:lnTo>
                  <a:lnTo>
                    <a:pt x="160" y="62"/>
                  </a:lnTo>
                  <a:lnTo>
                    <a:pt x="160" y="62"/>
                  </a:lnTo>
                  <a:lnTo>
                    <a:pt x="160" y="62"/>
                  </a:lnTo>
                  <a:lnTo>
                    <a:pt x="155" y="66"/>
                  </a:lnTo>
                  <a:lnTo>
                    <a:pt x="155" y="66"/>
                  </a:lnTo>
                  <a:lnTo>
                    <a:pt x="155" y="66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4" y="71"/>
                  </a:lnTo>
                  <a:lnTo>
                    <a:pt x="164" y="71"/>
                  </a:lnTo>
                  <a:lnTo>
                    <a:pt x="164" y="71"/>
                  </a:lnTo>
                  <a:lnTo>
                    <a:pt x="164" y="71"/>
                  </a:lnTo>
                  <a:lnTo>
                    <a:pt x="164" y="71"/>
                  </a:lnTo>
                  <a:lnTo>
                    <a:pt x="164" y="71"/>
                  </a:lnTo>
                  <a:lnTo>
                    <a:pt x="168" y="75"/>
                  </a:lnTo>
                  <a:lnTo>
                    <a:pt x="168" y="75"/>
                  </a:lnTo>
                  <a:lnTo>
                    <a:pt x="168" y="75"/>
                  </a:lnTo>
                  <a:lnTo>
                    <a:pt x="168" y="75"/>
                  </a:lnTo>
                  <a:lnTo>
                    <a:pt x="168" y="80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60" y="80"/>
                  </a:lnTo>
                  <a:lnTo>
                    <a:pt x="160" y="80"/>
                  </a:lnTo>
                  <a:lnTo>
                    <a:pt x="160" y="80"/>
                  </a:lnTo>
                  <a:lnTo>
                    <a:pt x="160" y="80"/>
                  </a:lnTo>
                  <a:lnTo>
                    <a:pt x="164" y="89"/>
                  </a:lnTo>
                  <a:lnTo>
                    <a:pt x="164" y="89"/>
                  </a:lnTo>
                  <a:lnTo>
                    <a:pt x="164" y="93"/>
                  </a:lnTo>
                  <a:lnTo>
                    <a:pt x="168" y="93"/>
                  </a:lnTo>
                  <a:lnTo>
                    <a:pt x="168" y="93"/>
                  </a:lnTo>
                  <a:lnTo>
                    <a:pt x="168" y="93"/>
                  </a:lnTo>
                  <a:lnTo>
                    <a:pt x="168" y="93"/>
                  </a:lnTo>
                  <a:lnTo>
                    <a:pt x="173" y="93"/>
                  </a:lnTo>
                  <a:lnTo>
                    <a:pt x="177" y="93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91" y="106"/>
                  </a:lnTo>
                  <a:lnTo>
                    <a:pt x="191" y="106"/>
                  </a:lnTo>
                  <a:lnTo>
                    <a:pt x="191" y="106"/>
                  </a:lnTo>
                  <a:lnTo>
                    <a:pt x="195" y="106"/>
                  </a:lnTo>
                  <a:lnTo>
                    <a:pt x="195" y="111"/>
                  </a:lnTo>
                  <a:lnTo>
                    <a:pt x="195" y="111"/>
                  </a:lnTo>
                  <a:lnTo>
                    <a:pt x="195" y="111"/>
                  </a:lnTo>
                  <a:lnTo>
                    <a:pt x="195" y="115"/>
                  </a:lnTo>
                  <a:lnTo>
                    <a:pt x="195" y="120"/>
                  </a:lnTo>
                  <a:lnTo>
                    <a:pt x="199" y="120"/>
                  </a:lnTo>
                  <a:lnTo>
                    <a:pt x="204" y="120"/>
                  </a:lnTo>
                  <a:lnTo>
                    <a:pt x="208" y="120"/>
                  </a:lnTo>
                  <a:lnTo>
                    <a:pt x="208" y="124"/>
                  </a:lnTo>
                  <a:lnTo>
                    <a:pt x="208" y="124"/>
                  </a:lnTo>
                  <a:lnTo>
                    <a:pt x="208" y="124"/>
                  </a:lnTo>
                  <a:lnTo>
                    <a:pt x="208" y="124"/>
                  </a:lnTo>
                  <a:lnTo>
                    <a:pt x="204" y="124"/>
                  </a:lnTo>
                  <a:lnTo>
                    <a:pt x="199" y="120"/>
                  </a:lnTo>
                  <a:lnTo>
                    <a:pt x="199" y="120"/>
                  </a:lnTo>
                  <a:lnTo>
                    <a:pt x="199" y="120"/>
                  </a:lnTo>
                  <a:lnTo>
                    <a:pt x="195" y="120"/>
                  </a:lnTo>
                  <a:lnTo>
                    <a:pt x="195" y="120"/>
                  </a:lnTo>
                  <a:lnTo>
                    <a:pt x="191" y="115"/>
                  </a:lnTo>
                  <a:lnTo>
                    <a:pt x="191" y="111"/>
                  </a:lnTo>
                  <a:lnTo>
                    <a:pt x="191" y="111"/>
                  </a:lnTo>
                  <a:lnTo>
                    <a:pt x="191" y="106"/>
                  </a:lnTo>
                  <a:lnTo>
                    <a:pt x="186" y="106"/>
                  </a:lnTo>
                  <a:lnTo>
                    <a:pt x="182" y="97"/>
                  </a:lnTo>
                  <a:lnTo>
                    <a:pt x="182" y="97"/>
                  </a:lnTo>
                  <a:lnTo>
                    <a:pt x="182" y="93"/>
                  </a:lnTo>
                  <a:lnTo>
                    <a:pt x="177" y="93"/>
                  </a:lnTo>
                  <a:lnTo>
                    <a:pt x="177" y="93"/>
                  </a:lnTo>
                  <a:lnTo>
                    <a:pt x="177" y="93"/>
                  </a:lnTo>
                  <a:lnTo>
                    <a:pt x="177" y="93"/>
                  </a:lnTo>
                  <a:lnTo>
                    <a:pt x="173" y="93"/>
                  </a:lnTo>
                  <a:lnTo>
                    <a:pt x="168" y="97"/>
                  </a:lnTo>
                  <a:lnTo>
                    <a:pt x="168" y="97"/>
                  </a:lnTo>
                  <a:lnTo>
                    <a:pt x="164" y="97"/>
                  </a:lnTo>
                  <a:lnTo>
                    <a:pt x="160" y="97"/>
                  </a:lnTo>
                  <a:lnTo>
                    <a:pt x="160" y="97"/>
                  </a:lnTo>
                  <a:lnTo>
                    <a:pt x="155" y="97"/>
                  </a:lnTo>
                  <a:lnTo>
                    <a:pt x="151" y="97"/>
                  </a:lnTo>
                  <a:lnTo>
                    <a:pt x="151" y="93"/>
                  </a:lnTo>
                  <a:lnTo>
                    <a:pt x="151" y="93"/>
                  </a:lnTo>
                  <a:lnTo>
                    <a:pt x="151" y="93"/>
                  </a:lnTo>
                  <a:lnTo>
                    <a:pt x="146" y="93"/>
                  </a:lnTo>
                  <a:lnTo>
                    <a:pt x="146" y="93"/>
                  </a:lnTo>
                  <a:lnTo>
                    <a:pt x="146" y="93"/>
                  </a:lnTo>
                  <a:lnTo>
                    <a:pt x="146" y="93"/>
                  </a:lnTo>
                  <a:lnTo>
                    <a:pt x="142" y="97"/>
                  </a:lnTo>
                  <a:lnTo>
                    <a:pt x="142" y="97"/>
                  </a:lnTo>
                  <a:lnTo>
                    <a:pt x="142" y="102"/>
                  </a:lnTo>
                  <a:lnTo>
                    <a:pt x="137" y="106"/>
                  </a:lnTo>
                  <a:lnTo>
                    <a:pt x="137" y="111"/>
                  </a:lnTo>
                  <a:lnTo>
                    <a:pt x="137" y="111"/>
                  </a:lnTo>
                  <a:lnTo>
                    <a:pt x="137" y="111"/>
                  </a:lnTo>
                  <a:lnTo>
                    <a:pt x="142" y="115"/>
                  </a:lnTo>
                  <a:lnTo>
                    <a:pt x="142" y="115"/>
                  </a:lnTo>
                  <a:lnTo>
                    <a:pt x="142" y="120"/>
                  </a:lnTo>
                  <a:lnTo>
                    <a:pt x="142" y="120"/>
                  </a:lnTo>
                  <a:lnTo>
                    <a:pt x="142" y="120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42" y="128"/>
                  </a:lnTo>
                  <a:lnTo>
                    <a:pt x="142" y="128"/>
                  </a:lnTo>
                  <a:lnTo>
                    <a:pt x="142" y="128"/>
                  </a:lnTo>
                  <a:lnTo>
                    <a:pt x="142" y="133"/>
                  </a:lnTo>
                  <a:lnTo>
                    <a:pt x="142" y="137"/>
                  </a:lnTo>
                  <a:lnTo>
                    <a:pt x="142" y="142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3"/>
                  </a:lnTo>
                  <a:lnTo>
                    <a:pt x="137" y="128"/>
                  </a:lnTo>
                  <a:lnTo>
                    <a:pt x="142" y="128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37" y="120"/>
                  </a:lnTo>
                  <a:lnTo>
                    <a:pt x="133" y="120"/>
                  </a:lnTo>
                  <a:lnTo>
                    <a:pt x="133" y="120"/>
                  </a:lnTo>
                  <a:lnTo>
                    <a:pt x="133" y="120"/>
                  </a:lnTo>
                  <a:lnTo>
                    <a:pt x="133" y="120"/>
                  </a:lnTo>
                  <a:lnTo>
                    <a:pt x="133" y="115"/>
                  </a:lnTo>
                  <a:lnTo>
                    <a:pt x="129" y="115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29" y="120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9" y="124"/>
                  </a:lnTo>
                  <a:lnTo>
                    <a:pt x="129" y="124"/>
                  </a:lnTo>
                  <a:lnTo>
                    <a:pt x="129" y="128"/>
                  </a:lnTo>
                  <a:lnTo>
                    <a:pt x="129" y="128"/>
                  </a:lnTo>
                  <a:lnTo>
                    <a:pt x="129" y="133"/>
                  </a:lnTo>
                  <a:lnTo>
                    <a:pt x="129" y="133"/>
                  </a:lnTo>
                  <a:lnTo>
                    <a:pt x="129" y="137"/>
                  </a:lnTo>
                  <a:lnTo>
                    <a:pt x="129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3"/>
                  </a:lnTo>
                  <a:lnTo>
                    <a:pt x="124" y="133"/>
                  </a:lnTo>
                  <a:lnTo>
                    <a:pt x="124" y="133"/>
                  </a:lnTo>
                  <a:lnTo>
                    <a:pt x="124" y="133"/>
                  </a:lnTo>
                  <a:lnTo>
                    <a:pt x="120" y="133"/>
                  </a:lnTo>
                  <a:lnTo>
                    <a:pt x="120" y="133"/>
                  </a:lnTo>
                  <a:lnTo>
                    <a:pt x="120" y="133"/>
                  </a:lnTo>
                  <a:lnTo>
                    <a:pt x="120" y="133"/>
                  </a:lnTo>
                  <a:lnTo>
                    <a:pt x="120" y="133"/>
                  </a:lnTo>
                  <a:lnTo>
                    <a:pt x="120" y="133"/>
                  </a:lnTo>
                  <a:lnTo>
                    <a:pt x="120" y="128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20" y="128"/>
                  </a:lnTo>
                  <a:lnTo>
                    <a:pt x="120" y="124"/>
                  </a:lnTo>
                  <a:lnTo>
                    <a:pt x="120" y="124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15" y="115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1" y="106"/>
                  </a:lnTo>
                  <a:lnTo>
                    <a:pt x="93" y="111"/>
                  </a:lnTo>
                  <a:lnTo>
                    <a:pt x="89" y="111"/>
                  </a:lnTo>
                  <a:lnTo>
                    <a:pt x="84" y="111"/>
                  </a:lnTo>
                  <a:lnTo>
                    <a:pt x="84" y="111"/>
                  </a:lnTo>
                  <a:lnTo>
                    <a:pt x="84" y="111"/>
                  </a:lnTo>
                  <a:lnTo>
                    <a:pt x="76" y="111"/>
                  </a:lnTo>
                  <a:lnTo>
                    <a:pt x="71" y="111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67" y="120"/>
                  </a:lnTo>
                  <a:lnTo>
                    <a:pt x="67" y="120"/>
                  </a:lnTo>
                  <a:lnTo>
                    <a:pt x="67" y="120"/>
                  </a:lnTo>
                  <a:lnTo>
                    <a:pt x="67" y="120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2" y="124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2" y="133"/>
                  </a:lnTo>
                  <a:lnTo>
                    <a:pt x="62" y="137"/>
                  </a:lnTo>
                  <a:lnTo>
                    <a:pt x="62" y="142"/>
                  </a:lnTo>
                  <a:lnTo>
                    <a:pt x="67" y="142"/>
                  </a:lnTo>
                  <a:lnTo>
                    <a:pt x="76" y="142"/>
                  </a:lnTo>
                  <a:lnTo>
                    <a:pt x="80" y="142"/>
                  </a:lnTo>
                  <a:lnTo>
                    <a:pt x="80" y="146"/>
                  </a:lnTo>
                  <a:lnTo>
                    <a:pt x="80" y="146"/>
                  </a:lnTo>
                  <a:lnTo>
                    <a:pt x="76" y="142"/>
                  </a:lnTo>
                  <a:lnTo>
                    <a:pt x="76" y="142"/>
                  </a:lnTo>
                  <a:lnTo>
                    <a:pt x="76" y="142"/>
                  </a:lnTo>
                  <a:lnTo>
                    <a:pt x="76" y="142"/>
                  </a:lnTo>
                  <a:lnTo>
                    <a:pt x="71" y="146"/>
                  </a:lnTo>
                  <a:lnTo>
                    <a:pt x="76" y="146"/>
                  </a:lnTo>
                  <a:lnTo>
                    <a:pt x="71" y="146"/>
                  </a:lnTo>
                  <a:lnTo>
                    <a:pt x="71" y="146"/>
                  </a:lnTo>
                  <a:lnTo>
                    <a:pt x="71" y="151"/>
                  </a:lnTo>
                  <a:lnTo>
                    <a:pt x="71" y="151"/>
                  </a:lnTo>
                  <a:lnTo>
                    <a:pt x="71" y="151"/>
                  </a:lnTo>
                  <a:lnTo>
                    <a:pt x="71" y="151"/>
                  </a:lnTo>
                  <a:lnTo>
                    <a:pt x="71" y="155"/>
                  </a:lnTo>
                  <a:lnTo>
                    <a:pt x="71" y="155"/>
                  </a:lnTo>
                  <a:lnTo>
                    <a:pt x="71" y="155"/>
                  </a:lnTo>
                  <a:lnTo>
                    <a:pt x="71" y="159"/>
                  </a:lnTo>
                  <a:lnTo>
                    <a:pt x="71" y="159"/>
                  </a:lnTo>
                  <a:lnTo>
                    <a:pt x="71" y="159"/>
                  </a:lnTo>
                  <a:lnTo>
                    <a:pt x="71" y="159"/>
                  </a:lnTo>
                  <a:lnTo>
                    <a:pt x="71" y="159"/>
                  </a:lnTo>
                  <a:lnTo>
                    <a:pt x="71" y="164"/>
                  </a:lnTo>
                  <a:lnTo>
                    <a:pt x="71" y="168"/>
                  </a:lnTo>
                  <a:lnTo>
                    <a:pt x="71" y="173"/>
                  </a:lnTo>
                  <a:lnTo>
                    <a:pt x="71" y="173"/>
                  </a:lnTo>
                  <a:lnTo>
                    <a:pt x="71" y="177"/>
                  </a:lnTo>
                  <a:lnTo>
                    <a:pt x="67" y="186"/>
                  </a:lnTo>
                  <a:lnTo>
                    <a:pt x="67" y="186"/>
                  </a:lnTo>
                  <a:lnTo>
                    <a:pt x="62" y="186"/>
                  </a:lnTo>
                  <a:lnTo>
                    <a:pt x="62" y="190"/>
                  </a:lnTo>
                  <a:lnTo>
                    <a:pt x="62" y="199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53" y="204"/>
                  </a:lnTo>
                  <a:lnTo>
                    <a:pt x="49" y="204"/>
                  </a:lnTo>
                  <a:lnTo>
                    <a:pt x="49" y="204"/>
                  </a:lnTo>
                  <a:lnTo>
                    <a:pt x="45" y="204"/>
                  </a:lnTo>
                  <a:lnTo>
                    <a:pt x="45" y="204"/>
                  </a:lnTo>
                  <a:lnTo>
                    <a:pt x="45" y="204"/>
                  </a:lnTo>
                  <a:lnTo>
                    <a:pt x="45" y="208"/>
                  </a:lnTo>
                  <a:lnTo>
                    <a:pt x="45" y="208"/>
                  </a:lnTo>
                  <a:lnTo>
                    <a:pt x="45" y="208"/>
                  </a:lnTo>
                  <a:lnTo>
                    <a:pt x="45" y="208"/>
                  </a:lnTo>
                  <a:lnTo>
                    <a:pt x="49" y="208"/>
                  </a:lnTo>
                  <a:lnTo>
                    <a:pt x="45" y="213"/>
                  </a:lnTo>
                  <a:lnTo>
                    <a:pt x="45" y="213"/>
                  </a:lnTo>
                  <a:lnTo>
                    <a:pt x="45" y="213"/>
                  </a:lnTo>
                  <a:lnTo>
                    <a:pt x="45" y="213"/>
                  </a:lnTo>
                  <a:lnTo>
                    <a:pt x="45" y="217"/>
                  </a:lnTo>
                  <a:lnTo>
                    <a:pt x="45" y="217"/>
                  </a:lnTo>
                  <a:lnTo>
                    <a:pt x="45" y="217"/>
                  </a:lnTo>
                  <a:lnTo>
                    <a:pt x="49" y="217"/>
                  </a:lnTo>
                  <a:lnTo>
                    <a:pt x="53" y="221"/>
                  </a:lnTo>
                  <a:lnTo>
                    <a:pt x="53" y="221"/>
                  </a:lnTo>
                  <a:lnTo>
                    <a:pt x="53" y="221"/>
                  </a:lnTo>
                  <a:lnTo>
                    <a:pt x="58" y="221"/>
                  </a:lnTo>
                  <a:lnTo>
                    <a:pt x="58" y="221"/>
                  </a:lnTo>
                  <a:lnTo>
                    <a:pt x="58" y="221"/>
                  </a:lnTo>
                  <a:lnTo>
                    <a:pt x="58" y="221"/>
                  </a:lnTo>
                  <a:lnTo>
                    <a:pt x="58" y="217"/>
                  </a:lnTo>
                  <a:lnTo>
                    <a:pt x="62" y="226"/>
                  </a:lnTo>
                  <a:lnTo>
                    <a:pt x="62" y="226"/>
                  </a:lnTo>
                  <a:lnTo>
                    <a:pt x="62" y="230"/>
                  </a:lnTo>
                  <a:lnTo>
                    <a:pt x="62" y="230"/>
                  </a:lnTo>
                  <a:lnTo>
                    <a:pt x="62" y="235"/>
                  </a:lnTo>
                  <a:lnTo>
                    <a:pt x="62" y="235"/>
                  </a:lnTo>
                  <a:lnTo>
                    <a:pt x="62" y="235"/>
                  </a:lnTo>
                  <a:lnTo>
                    <a:pt x="62" y="239"/>
                  </a:lnTo>
                  <a:lnTo>
                    <a:pt x="62" y="239"/>
                  </a:lnTo>
                  <a:lnTo>
                    <a:pt x="62" y="239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8"/>
                  </a:lnTo>
                  <a:lnTo>
                    <a:pt x="53" y="248"/>
                  </a:lnTo>
                  <a:lnTo>
                    <a:pt x="49" y="248"/>
                  </a:lnTo>
                  <a:lnTo>
                    <a:pt x="49" y="248"/>
                  </a:lnTo>
                  <a:lnTo>
                    <a:pt x="49" y="248"/>
                  </a:lnTo>
                  <a:lnTo>
                    <a:pt x="49" y="248"/>
                  </a:lnTo>
                  <a:lnTo>
                    <a:pt x="45" y="252"/>
                  </a:lnTo>
                  <a:lnTo>
                    <a:pt x="45" y="252"/>
                  </a:lnTo>
                  <a:lnTo>
                    <a:pt x="45" y="252"/>
                  </a:lnTo>
                  <a:lnTo>
                    <a:pt x="45" y="252"/>
                  </a:lnTo>
                  <a:lnTo>
                    <a:pt x="45" y="252"/>
                  </a:lnTo>
                  <a:lnTo>
                    <a:pt x="45" y="252"/>
                  </a:lnTo>
                  <a:lnTo>
                    <a:pt x="45" y="252"/>
                  </a:lnTo>
                  <a:lnTo>
                    <a:pt x="45" y="257"/>
                  </a:lnTo>
                  <a:lnTo>
                    <a:pt x="45" y="257"/>
                  </a:lnTo>
                  <a:lnTo>
                    <a:pt x="45" y="257"/>
                  </a:lnTo>
                  <a:lnTo>
                    <a:pt x="49" y="257"/>
                  </a:lnTo>
                  <a:lnTo>
                    <a:pt x="49" y="261"/>
                  </a:lnTo>
                  <a:lnTo>
                    <a:pt x="49" y="261"/>
                  </a:lnTo>
                  <a:lnTo>
                    <a:pt x="49" y="261"/>
                  </a:lnTo>
                  <a:lnTo>
                    <a:pt x="49" y="261"/>
                  </a:lnTo>
                  <a:lnTo>
                    <a:pt x="49" y="261"/>
                  </a:lnTo>
                  <a:lnTo>
                    <a:pt x="49" y="261"/>
                  </a:lnTo>
                  <a:lnTo>
                    <a:pt x="49" y="261"/>
                  </a:lnTo>
                  <a:lnTo>
                    <a:pt x="49" y="266"/>
                  </a:lnTo>
                  <a:lnTo>
                    <a:pt x="49" y="266"/>
                  </a:lnTo>
                  <a:lnTo>
                    <a:pt x="45" y="266"/>
                  </a:lnTo>
                  <a:lnTo>
                    <a:pt x="40" y="266"/>
                  </a:lnTo>
                  <a:lnTo>
                    <a:pt x="36" y="270"/>
                  </a:lnTo>
                  <a:lnTo>
                    <a:pt x="31" y="270"/>
                  </a:lnTo>
                  <a:lnTo>
                    <a:pt x="31" y="270"/>
                  </a:lnTo>
                  <a:lnTo>
                    <a:pt x="31" y="270"/>
                  </a:lnTo>
                  <a:lnTo>
                    <a:pt x="27" y="270"/>
                  </a:lnTo>
                  <a:lnTo>
                    <a:pt x="27" y="270"/>
                  </a:lnTo>
                  <a:lnTo>
                    <a:pt x="27" y="275"/>
                  </a:lnTo>
                  <a:lnTo>
                    <a:pt x="27" y="275"/>
                  </a:lnTo>
                  <a:lnTo>
                    <a:pt x="27" y="270"/>
                  </a:lnTo>
                  <a:lnTo>
                    <a:pt x="27" y="270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18" y="270"/>
                  </a:lnTo>
                  <a:lnTo>
                    <a:pt x="18" y="270"/>
                  </a:lnTo>
                  <a:lnTo>
                    <a:pt x="18" y="266"/>
                  </a:lnTo>
                  <a:lnTo>
                    <a:pt x="14" y="266"/>
                  </a:lnTo>
                  <a:lnTo>
                    <a:pt x="14" y="266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8" y="270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9" y="270"/>
                  </a:lnTo>
                  <a:lnTo>
                    <a:pt x="9" y="270"/>
                  </a:lnTo>
                  <a:lnTo>
                    <a:pt x="9" y="270"/>
                  </a:lnTo>
                  <a:lnTo>
                    <a:pt x="9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9" y="279"/>
                  </a:lnTo>
                  <a:lnTo>
                    <a:pt x="9" y="279"/>
                  </a:lnTo>
                  <a:lnTo>
                    <a:pt x="9" y="283"/>
                  </a:lnTo>
                  <a:lnTo>
                    <a:pt x="9" y="283"/>
                  </a:lnTo>
                  <a:lnTo>
                    <a:pt x="9" y="283"/>
                  </a:lnTo>
                  <a:lnTo>
                    <a:pt x="9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4" y="292"/>
                  </a:lnTo>
                  <a:lnTo>
                    <a:pt x="14" y="292"/>
                  </a:lnTo>
                  <a:lnTo>
                    <a:pt x="18" y="297"/>
                  </a:lnTo>
                  <a:lnTo>
                    <a:pt x="18" y="301"/>
                  </a:lnTo>
                  <a:lnTo>
                    <a:pt x="18" y="301"/>
                  </a:lnTo>
                  <a:lnTo>
                    <a:pt x="18" y="306"/>
                  </a:lnTo>
                  <a:lnTo>
                    <a:pt x="18" y="306"/>
                  </a:lnTo>
                  <a:lnTo>
                    <a:pt x="18" y="306"/>
                  </a:lnTo>
                  <a:lnTo>
                    <a:pt x="18" y="310"/>
                  </a:lnTo>
                  <a:lnTo>
                    <a:pt x="18" y="310"/>
                  </a:lnTo>
                  <a:lnTo>
                    <a:pt x="18" y="310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14" y="319"/>
                  </a:lnTo>
                  <a:lnTo>
                    <a:pt x="14" y="323"/>
                  </a:lnTo>
                  <a:lnTo>
                    <a:pt x="14" y="323"/>
                  </a:lnTo>
                  <a:lnTo>
                    <a:pt x="9" y="323"/>
                  </a:lnTo>
                  <a:lnTo>
                    <a:pt x="9" y="328"/>
                  </a:lnTo>
                  <a:lnTo>
                    <a:pt x="9" y="328"/>
                  </a:lnTo>
                  <a:lnTo>
                    <a:pt x="14" y="328"/>
                  </a:lnTo>
                  <a:lnTo>
                    <a:pt x="14" y="328"/>
                  </a:lnTo>
                  <a:lnTo>
                    <a:pt x="18" y="328"/>
                  </a:lnTo>
                  <a:lnTo>
                    <a:pt x="18" y="328"/>
                  </a:lnTo>
                  <a:lnTo>
                    <a:pt x="14" y="328"/>
                  </a:lnTo>
                  <a:lnTo>
                    <a:pt x="18" y="328"/>
                  </a:lnTo>
                  <a:lnTo>
                    <a:pt x="14" y="332"/>
                  </a:lnTo>
                  <a:lnTo>
                    <a:pt x="14" y="332"/>
                  </a:lnTo>
                  <a:lnTo>
                    <a:pt x="9" y="337"/>
                  </a:lnTo>
                  <a:lnTo>
                    <a:pt x="5" y="337"/>
                  </a:lnTo>
                  <a:lnTo>
                    <a:pt x="5" y="341"/>
                  </a:lnTo>
                  <a:lnTo>
                    <a:pt x="5" y="341"/>
                  </a:lnTo>
                  <a:lnTo>
                    <a:pt x="5" y="341"/>
                  </a:lnTo>
                  <a:lnTo>
                    <a:pt x="5" y="341"/>
                  </a:lnTo>
                  <a:lnTo>
                    <a:pt x="5" y="337"/>
                  </a:lnTo>
                  <a:lnTo>
                    <a:pt x="0" y="337"/>
                  </a:lnTo>
                  <a:lnTo>
                    <a:pt x="0" y="337"/>
                  </a:lnTo>
                  <a:lnTo>
                    <a:pt x="0" y="341"/>
                  </a:lnTo>
                  <a:lnTo>
                    <a:pt x="0" y="341"/>
                  </a:lnTo>
                  <a:lnTo>
                    <a:pt x="0" y="345"/>
                  </a:lnTo>
                  <a:lnTo>
                    <a:pt x="0" y="345"/>
                  </a:lnTo>
                  <a:lnTo>
                    <a:pt x="5" y="345"/>
                  </a:lnTo>
                  <a:lnTo>
                    <a:pt x="5" y="345"/>
                  </a:lnTo>
                  <a:lnTo>
                    <a:pt x="5" y="345"/>
                  </a:lnTo>
                  <a:lnTo>
                    <a:pt x="5" y="345"/>
                  </a:lnTo>
                  <a:lnTo>
                    <a:pt x="9" y="345"/>
                  </a:lnTo>
                  <a:lnTo>
                    <a:pt x="9" y="345"/>
                  </a:lnTo>
                  <a:lnTo>
                    <a:pt x="9" y="345"/>
                  </a:lnTo>
                  <a:lnTo>
                    <a:pt x="9" y="345"/>
                  </a:lnTo>
                  <a:lnTo>
                    <a:pt x="9" y="345"/>
                  </a:lnTo>
                  <a:lnTo>
                    <a:pt x="9" y="350"/>
                  </a:lnTo>
                  <a:lnTo>
                    <a:pt x="9" y="350"/>
                  </a:lnTo>
                  <a:lnTo>
                    <a:pt x="9" y="350"/>
                  </a:lnTo>
                  <a:lnTo>
                    <a:pt x="14" y="350"/>
                  </a:lnTo>
                  <a:lnTo>
                    <a:pt x="14" y="350"/>
                  </a:lnTo>
                  <a:lnTo>
                    <a:pt x="9" y="350"/>
                  </a:lnTo>
                  <a:lnTo>
                    <a:pt x="9" y="350"/>
                  </a:lnTo>
                  <a:lnTo>
                    <a:pt x="14" y="354"/>
                  </a:lnTo>
                  <a:lnTo>
                    <a:pt x="14" y="354"/>
                  </a:lnTo>
                  <a:lnTo>
                    <a:pt x="9" y="354"/>
                  </a:lnTo>
                  <a:lnTo>
                    <a:pt x="9" y="354"/>
                  </a:lnTo>
                  <a:lnTo>
                    <a:pt x="9" y="354"/>
                  </a:lnTo>
                  <a:lnTo>
                    <a:pt x="9" y="354"/>
                  </a:lnTo>
                  <a:lnTo>
                    <a:pt x="9" y="354"/>
                  </a:lnTo>
                  <a:lnTo>
                    <a:pt x="9" y="359"/>
                  </a:lnTo>
                  <a:lnTo>
                    <a:pt x="9" y="359"/>
                  </a:lnTo>
                  <a:lnTo>
                    <a:pt x="9" y="359"/>
                  </a:lnTo>
                  <a:lnTo>
                    <a:pt x="9" y="359"/>
                  </a:lnTo>
                  <a:lnTo>
                    <a:pt x="5" y="359"/>
                  </a:lnTo>
                  <a:lnTo>
                    <a:pt x="5" y="359"/>
                  </a:lnTo>
                  <a:lnTo>
                    <a:pt x="9" y="363"/>
                  </a:lnTo>
                  <a:lnTo>
                    <a:pt x="9" y="363"/>
                  </a:lnTo>
                  <a:lnTo>
                    <a:pt x="9" y="363"/>
                  </a:lnTo>
                  <a:lnTo>
                    <a:pt x="9" y="363"/>
                  </a:lnTo>
                  <a:lnTo>
                    <a:pt x="9" y="363"/>
                  </a:lnTo>
                  <a:lnTo>
                    <a:pt x="9" y="363"/>
                  </a:lnTo>
                  <a:lnTo>
                    <a:pt x="9" y="363"/>
                  </a:lnTo>
                  <a:lnTo>
                    <a:pt x="9" y="363"/>
                  </a:lnTo>
                  <a:lnTo>
                    <a:pt x="9" y="363"/>
                  </a:lnTo>
                  <a:lnTo>
                    <a:pt x="9" y="363"/>
                  </a:lnTo>
                  <a:lnTo>
                    <a:pt x="9" y="368"/>
                  </a:lnTo>
                  <a:lnTo>
                    <a:pt x="9" y="368"/>
                  </a:lnTo>
                  <a:lnTo>
                    <a:pt x="9" y="368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4" y="368"/>
                  </a:lnTo>
                  <a:lnTo>
                    <a:pt x="18" y="372"/>
                  </a:lnTo>
                  <a:lnTo>
                    <a:pt x="18" y="372"/>
                  </a:lnTo>
                  <a:lnTo>
                    <a:pt x="18" y="372"/>
                  </a:lnTo>
                  <a:lnTo>
                    <a:pt x="18" y="376"/>
                  </a:lnTo>
                  <a:lnTo>
                    <a:pt x="22" y="376"/>
                  </a:lnTo>
                  <a:lnTo>
                    <a:pt x="22" y="376"/>
                  </a:lnTo>
                  <a:lnTo>
                    <a:pt x="22" y="376"/>
                  </a:lnTo>
                  <a:lnTo>
                    <a:pt x="22" y="376"/>
                  </a:lnTo>
                  <a:lnTo>
                    <a:pt x="22" y="376"/>
                  </a:lnTo>
                  <a:lnTo>
                    <a:pt x="18" y="376"/>
                  </a:lnTo>
                  <a:lnTo>
                    <a:pt x="18" y="381"/>
                  </a:lnTo>
                  <a:lnTo>
                    <a:pt x="18" y="381"/>
                  </a:lnTo>
                  <a:lnTo>
                    <a:pt x="18" y="381"/>
                  </a:lnTo>
                  <a:lnTo>
                    <a:pt x="18" y="381"/>
                  </a:lnTo>
                  <a:lnTo>
                    <a:pt x="18" y="381"/>
                  </a:lnTo>
                  <a:lnTo>
                    <a:pt x="18" y="381"/>
                  </a:lnTo>
                  <a:lnTo>
                    <a:pt x="18" y="381"/>
                  </a:lnTo>
                  <a:lnTo>
                    <a:pt x="18" y="385"/>
                  </a:lnTo>
                  <a:lnTo>
                    <a:pt x="18" y="385"/>
                  </a:lnTo>
                  <a:lnTo>
                    <a:pt x="18" y="385"/>
                  </a:lnTo>
                  <a:lnTo>
                    <a:pt x="18" y="385"/>
                  </a:lnTo>
                  <a:lnTo>
                    <a:pt x="18" y="385"/>
                  </a:lnTo>
                  <a:lnTo>
                    <a:pt x="22" y="385"/>
                  </a:lnTo>
                  <a:lnTo>
                    <a:pt x="22" y="385"/>
                  </a:lnTo>
                  <a:lnTo>
                    <a:pt x="22" y="385"/>
                  </a:lnTo>
                  <a:lnTo>
                    <a:pt x="22" y="385"/>
                  </a:lnTo>
                  <a:lnTo>
                    <a:pt x="22" y="385"/>
                  </a:lnTo>
                  <a:lnTo>
                    <a:pt x="22" y="385"/>
                  </a:lnTo>
                  <a:lnTo>
                    <a:pt x="27" y="385"/>
                  </a:lnTo>
                  <a:lnTo>
                    <a:pt x="27" y="385"/>
                  </a:lnTo>
                  <a:lnTo>
                    <a:pt x="27" y="385"/>
                  </a:lnTo>
                  <a:lnTo>
                    <a:pt x="27" y="385"/>
                  </a:lnTo>
                  <a:lnTo>
                    <a:pt x="27" y="385"/>
                  </a:lnTo>
                  <a:lnTo>
                    <a:pt x="27" y="390"/>
                  </a:lnTo>
                  <a:lnTo>
                    <a:pt x="27" y="390"/>
                  </a:lnTo>
                  <a:lnTo>
                    <a:pt x="27" y="390"/>
                  </a:lnTo>
                  <a:lnTo>
                    <a:pt x="27" y="390"/>
                  </a:lnTo>
                  <a:lnTo>
                    <a:pt x="27" y="390"/>
                  </a:lnTo>
                  <a:lnTo>
                    <a:pt x="27" y="394"/>
                  </a:lnTo>
                  <a:lnTo>
                    <a:pt x="27" y="394"/>
                  </a:lnTo>
                  <a:lnTo>
                    <a:pt x="27" y="394"/>
                  </a:lnTo>
                  <a:lnTo>
                    <a:pt x="27" y="399"/>
                  </a:lnTo>
                  <a:lnTo>
                    <a:pt x="27" y="399"/>
                  </a:lnTo>
                  <a:lnTo>
                    <a:pt x="27" y="399"/>
                  </a:lnTo>
                  <a:lnTo>
                    <a:pt x="27" y="399"/>
                  </a:lnTo>
                  <a:lnTo>
                    <a:pt x="27" y="399"/>
                  </a:lnTo>
                  <a:lnTo>
                    <a:pt x="27" y="399"/>
                  </a:lnTo>
                  <a:lnTo>
                    <a:pt x="22" y="399"/>
                  </a:lnTo>
                  <a:lnTo>
                    <a:pt x="22" y="399"/>
                  </a:lnTo>
                  <a:lnTo>
                    <a:pt x="22" y="399"/>
                  </a:lnTo>
                  <a:lnTo>
                    <a:pt x="22" y="399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18" y="403"/>
                  </a:lnTo>
                  <a:lnTo>
                    <a:pt x="18" y="403"/>
                  </a:lnTo>
                  <a:lnTo>
                    <a:pt x="18" y="407"/>
                  </a:lnTo>
                  <a:lnTo>
                    <a:pt x="18" y="407"/>
                  </a:lnTo>
                  <a:lnTo>
                    <a:pt x="18" y="407"/>
                  </a:lnTo>
                  <a:lnTo>
                    <a:pt x="18" y="407"/>
                  </a:lnTo>
                  <a:lnTo>
                    <a:pt x="18" y="407"/>
                  </a:lnTo>
                  <a:lnTo>
                    <a:pt x="18" y="412"/>
                  </a:lnTo>
                  <a:lnTo>
                    <a:pt x="18" y="412"/>
                  </a:lnTo>
                  <a:lnTo>
                    <a:pt x="18" y="412"/>
                  </a:lnTo>
                  <a:lnTo>
                    <a:pt x="14" y="412"/>
                  </a:lnTo>
                  <a:lnTo>
                    <a:pt x="14" y="412"/>
                  </a:lnTo>
                  <a:lnTo>
                    <a:pt x="14" y="412"/>
                  </a:lnTo>
                  <a:lnTo>
                    <a:pt x="14" y="412"/>
                  </a:lnTo>
                  <a:lnTo>
                    <a:pt x="14" y="412"/>
                  </a:lnTo>
                  <a:lnTo>
                    <a:pt x="14" y="412"/>
                  </a:lnTo>
                  <a:lnTo>
                    <a:pt x="14" y="412"/>
                  </a:lnTo>
                  <a:lnTo>
                    <a:pt x="14" y="416"/>
                  </a:lnTo>
                  <a:lnTo>
                    <a:pt x="14" y="416"/>
                  </a:lnTo>
                  <a:lnTo>
                    <a:pt x="14" y="416"/>
                  </a:lnTo>
                  <a:lnTo>
                    <a:pt x="14" y="416"/>
                  </a:lnTo>
                  <a:lnTo>
                    <a:pt x="14" y="421"/>
                  </a:lnTo>
                  <a:lnTo>
                    <a:pt x="14" y="421"/>
                  </a:lnTo>
                  <a:lnTo>
                    <a:pt x="14" y="421"/>
                  </a:lnTo>
                  <a:lnTo>
                    <a:pt x="14" y="421"/>
                  </a:lnTo>
                  <a:lnTo>
                    <a:pt x="14" y="421"/>
                  </a:lnTo>
                  <a:lnTo>
                    <a:pt x="14" y="421"/>
                  </a:lnTo>
                  <a:lnTo>
                    <a:pt x="14" y="421"/>
                  </a:lnTo>
                  <a:lnTo>
                    <a:pt x="14" y="421"/>
                  </a:lnTo>
                  <a:lnTo>
                    <a:pt x="14" y="425"/>
                  </a:lnTo>
                  <a:lnTo>
                    <a:pt x="14" y="425"/>
                  </a:lnTo>
                  <a:lnTo>
                    <a:pt x="14" y="425"/>
                  </a:lnTo>
                  <a:lnTo>
                    <a:pt x="14" y="425"/>
                  </a:lnTo>
                  <a:lnTo>
                    <a:pt x="18" y="430"/>
                  </a:lnTo>
                  <a:lnTo>
                    <a:pt x="18" y="430"/>
                  </a:lnTo>
                  <a:lnTo>
                    <a:pt x="18" y="430"/>
                  </a:lnTo>
                  <a:lnTo>
                    <a:pt x="18" y="430"/>
                  </a:lnTo>
                  <a:lnTo>
                    <a:pt x="18" y="434"/>
                  </a:lnTo>
                  <a:lnTo>
                    <a:pt x="22" y="434"/>
                  </a:lnTo>
                  <a:lnTo>
                    <a:pt x="22" y="434"/>
                  </a:lnTo>
                  <a:lnTo>
                    <a:pt x="22" y="438"/>
                  </a:lnTo>
                  <a:lnTo>
                    <a:pt x="22" y="438"/>
                  </a:lnTo>
                  <a:lnTo>
                    <a:pt x="22" y="438"/>
                  </a:lnTo>
                  <a:lnTo>
                    <a:pt x="22" y="438"/>
                  </a:lnTo>
                  <a:lnTo>
                    <a:pt x="22" y="438"/>
                  </a:lnTo>
                  <a:lnTo>
                    <a:pt x="22" y="438"/>
                  </a:lnTo>
                  <a:lnTo>
                    <a:pt x="27" y="438"/>
                  </a:lnTo>
                  <a:lnTo>
                    <a:pt x="27" y="438"/>
                  </a:lnTo>
                  <a:lnTo>
                    <a:pt x="27" y="438"/>
                  </a:lnTo>
                  <a:lnTo>
                    <a:pt x="27" y="438"/>
                  </a:lnTo>
                  <a:lnTo>
                    <a:pt x="31" y="443"/>
                  </a:lnTo>
                  <a:lnTo>
                    <a:pt x="31" y="443"/>
                  </a:lnTo>
                  <a:lnTo>
                    <a:pt x="31" y="443"/>
                  </a:lnTo>
                  <a:lnTo>
                    <a:pt x="36" y="443"/>
                  </a:lnTo>
                  <a:lnTo>
                    <a:pt x="36" y="443"/>
                  </a:lnTo>
                  <a:lnTo>
                    <a:pt x="36" y="443"/>
                  </a:lnTo>
                  <a:lnTo>
                    <a:pt x="36" y="443"/>
                  </a:lnTo>
                  <a:lnTo>
                    <a:pt x="36" y="443"/>
                  </a:lnTo>
                  <a:lnTo>
                    <a:pt x="36" y="443"/>
                  </a:lnTo>
                  <a:lnTo>
                    <a:pt x="36" y="443"/>
                  </a:lnTo>
                  <a:lnTo>
                    <a:pt x="36" y="443"/>
                  </a:lnTo>
                  <a:lnTo>
                    <a:pt x="36" y="443"/>
                  </a:lnTo>
                  <a:lnTo>
                    <a:pt x="36" y="447"/>
                  </a:lnTo>
                  <a:lnTo>
                    <a:pt x="36" y="447"/>
                  </a:lnTo>
                  <a:lnTo>
                    <a:pt x="36" y="447"/>
                  </a:lnTo>
                  <a:lnTo>
                    <a:pt x="36" y="447"/>
                  </a:lnTo>
                  <a:lnTo>
                    <a:pt x="36" y="447"/>
                  </a:lnTo>
                  <a:lnTo>
                    <a:pt x="36" y="447"/>
                  </a:lnTo>
                  <a:lnTo>
                    <a:pt x="36" y="447"/>
                  </a:lnTo>
                  <a:lnTo>
                    <a:pt x="36" y="447"/>
                  </a:lnTo>
                  <a:lnTo>
                    <a:pt x="36" y="447"/>
                  </a:lnTo>
                  <a:lnTo>
                    <a:pt x="36" y="447"/>
                  </a:lnTo>
                  <a:lnTo>
                    <a:pt x="36" y="447"/>
                  </a:lnTo>
                  <a:lnTo>
                    <a:pt x="36" y="447"/>
                  </a:lnTo>
                  <a:lnTo>
                    <a:pt x="31" y="452"/>
                  </a:lnTo>
                  <a:lnTo>
                    <a:pt x="31" y="452"/>
                  </a:lnTo>
                  <a:lnTo>
                    <a:pt x="31" y="452"/>
                  </a:lnTo>
                  <a:lnTo>
                    <a:pt x="31" y="452"/>
                  </a:lnTo>
                  <a:lnTo>
                    <a:pt x="31" y="452"/>
                  </a:lnTo>
                  <a:lnTo>
                    <a:pt x="31" y="456"/>
                  </a:lnTo>
                  <a:lnTo>
                    <a:pt x="31" y="456"/>
                  </a:lnTo>
                  <a:lnTo>
                    <a:pt x="31" y="456"/>
                  </a:lnTo>
                  <a:lnTo>
                    <a:pt x="31" y="456"/>
                  </a:lnTo>
                  <a:lnTo>
                    <a:pt x="27" y="456"/>
                  </a:lnTo>
                  <a:lnTo>
                    <a:pt x="27" y="461"/>
                  </a:lnTo>
                  <a:lnTo>
                    <a:pt x="27" y="461"/>
                  </a:lnTo>
                  <a:lnTo>
                    <a:pt x="27" y="465"/>
                  </a:lnTo>
                  <a:lnTo>
                    <a:pt x="27" y="465"/>
                  </a:lnTo>
                  <a:lnTo>
                    <a:pt x="27" y="465"/>
                  </a:lnTo>
                  <a:lnTo>
                    <a:pt x="27" y="469"/>
                  </a:lnTo>
                  <a:lnTo>
                    <a:pt x="27" y="469"/>
                  </a:lnTo>
                  <a:lnTo>
                    <a:pt x="27" y="469"/>
                  </a:lnTo>
                  <a:lnTo>
                    <a:pt x="27" y="469"/>
                  </a:lnTo>
                  <a:lnTo>
                    <a:pt x="27" y="469"/>
                  </a:lnTo>
                  <a:lnTo>
                    <a:pt x="27" y="469"/>
                  </a:lnTo>
                  <a:lnTo>
                    <a:pt x="31" y="469"/>
                  </a:lnTo>
                  <a:lnTo>
                    <a:pt x="36" y="469"/>
                  </a:lnTo>
                  <a:lnTo>
                    <a:pt x="36" y="474"/>
                  </a:lnTo>
                  <a:lnTo>
                    <a:pt x="36" y="474"/>
                  </a:lnTo>
                  <a:lnTo>
                    <a:pt x="36" y="474"/>
                  </a:lnTo>
                  <a:lnTo>
                    <a:pt x="36" y="474"/>
                  </a:lnTo>
                  <a:lnTo>
                    <a:pt x="36" y="474"/>
                  </a:lnTo>
                  <a:lnTo>
                    <a:pt x="36" y="474"/>
                  </a:lnTo>
                  <a:lnTo>
                    <a:pt x="40" y="478"/>
                  </a:lnTo>
                  <a:lnTo>
                    <a:pt x="40" y="478"/>
                  </a:lnTo>
                  <a:lnTo>
                    <a:pt x="40" y="478"/>
                  </a:lnTo>
                  <a:lnTo>
                    <a:pt x="36" y="478"/>
                  </a:lnTo>
                  <a:lnTo>
                    <a:pt x="36" y="478"/>
                  </a:lnTo>
                  <a:lnTo>
                    <a:pt x="36" y="478"/>
                  </a:lnTo>
                  <a:lnTo>
                    <a:pt x="40" y="483"/>
                  </a:lnTo>
                  <a:lnTo>
                    <a:pt x="40" y="483"/>
                  </a:lnTo>
                  <a:lnTo>
                    <a:pt x="40" y="483"/>
                  </a:lnTo>
                  <a:lnTo>
                    <a:pt x="40" y="487"/>
                  </a:lnTo>
                  <a:lnTo>
                    <a:pt x="40" y="487"/>
                  </a:lnTo>
                  <a:lnTo>
                    <a:pt x="40" y="487"/>
                  </a:lnTo>
                  <a:lnTo>
                    <a:pt x="45" y="487"/>
                  </a:lnTo>
                  <a:lnTo>
                    <a:pt x="45" y="487"/>
                  </a:lnTo>
                  <a:lnTo>
                    <a:pt x="45" y="487"/>
                  </a:lnTo>
                  <a:lnTo>
                    <a:pt x="45" y="487"/>
                  </a:lnTo>
                  <a:lnTo>
                    <a:pt x="45" y="487"/>
                  </a:lnTo>
                  <a:lnTo>
                    <a:pt x="45" y="487"/>
                  </a:lnTo>
                  <a:lnTo>
                    <a:pt x="45" y="492"/>
                  </a:lnTo>
                  <a:lnTo>
                    <a:pt x="45" y="487"/>
                  </a:lnTo>
                  <a:lnTo>
                    <a:pt x="45" y="487"/>
                  </a:lnTo>
                  <a:lnTo>
                    <a:pt x="45" y="487"/>
                  </a:lnTo>
                  <a:lnTo>
                    <a:pt x="45" y="492"/>
                  </a:lnTo>
                  <a:lnTo>
                    <a:pt x="45" y="492"/>
                  </a:lnTo>
                  <a:lnTo>
                    <a:pt x="45" y="492"/>
                  </a:lnTo>
                  <a:lnTo>
                    <a:pt x="45" y="492"/>
                  </a:lnTo>
                  <a:lnTo>
                    <a:pt x="45" y="492"/>
                  </a:lnTo>
                  <a:lnTo>
                    <a:pt x="49" y="492"/>
                  </a:lnTo>
                  <a:lnTo>
                    <a:pt x="49" y="496"/>
                  </a:lnTo>
                  <a:lnTo>
                    <a:pt x="53" y="496"/>
                  </a:lnTo>
                  <a:lnTo>
                    <a:pt x="53" y="492"/>
                  </a:lnTo>
                  <a:lnTo>
                    <a:pt x="53" y="492"/>
                  </a:lnTo>
                  <a:lnTo>
                    <a:pt x="53" y="492"/>
                  </a:lnTo>
                  <a:lnTo>
                    <a:pt x="53" y="487"/>
                  </a:lnTo>
                  <a:lnTo>
                    <a:pt x="53" y="487"/>
                  </a:lnTo>
                  <a:lnTo>
                    <a:pt x="53" y="492"/>
                  </a:lnTo>
                  <a:lnTo>
                    <a:pt x="58" y="492"/>
                  </a:lnTo>
                  <a:lnTo>
                    <a:pt x="58" y="492"/>
                  </a:lnTo>
                  <a:lnTo>
                    <a:pt x="62" y="492"/>
                  </a:lnTo>
                  <a:lnTo>
                    <a:pt x="62" y="492"/>
                  </a:lnTo>
                  <a:lnTo>
                    <a:pt x="62" y="496"/>
                  </a:lnTo>
                  <a:lnTo>
                    <a:pt x="62" y="496"/>
                  </a:lnTo>
                  <a:lnTo>
                    <a:pt x="62" y="496"/>
                  </a:lnTo>
                  <a:lnTo>
                    <a:pt x="67" y="496"/>
                  </a:lnTo>
                  <a:lnTo>
                    <a:pt x="67" y="496"/>
                  </a:lnTo>
                  <a:lnTo>
                    <a:pt x="67" y="496"/>
                  </a:lnTo>
                  <a:lnTo>
                    <a:pt x="67" y="496"/>
                  </a:lnTo>
                  <a:lnTo>
                    <a:pt x="67" y="496"/>
                  </a:lnTo>
                  <a:lnTo>
                    <a:pt x="67" y="496"/>
                  </a:lnTo>
                  <a:lnTo>
                    <a:pt x="67" y="496"/>
                  </a:lnTo>
                  <a:lnTo>
                    <a:pt x="67" y="496"/>
                  </a:lnTo>
                  <a:lnTo>
                    <a:pt x="71" y="496"/>
                  </a:lnTo>
                  <a:lnTo>
                    <a:pt x="76" y="496"/>
                  </a:lnTo>
                  <a:lnTo>
                    <a:pt x="76" y="496"/>
                  </a:lnTo>
                  <a:lnTo>
                    <a:pt x="76" y="496"/>
                  </a:lnTo>
                  <a:lnTo>
                    <a:pt x="76" y="496"/>
                  </a:lnTo>
                  <a:lnTo>
                    <a:pt x="76" y="496"/>
                  </a:lnTo>
                  <a:lnTo>
                    <a:pt x="76" y="496"/>
                  </a:lnTo>
                  <a:lnTo>
                    <a:pt x="76" y="496"/>
                  </a:lnTo>
                  <a:lnTo>
                    <a:pt x="80" y="496"/>
                  </a:lnTo>
                  <a:lnTo>
                    <a:pt x="80" y="496"/>
                  </a:lnTo>
                  <a:lnTo>
                    <a:pt x="80" y="496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84" y="492"/>
                  </a:lnTo>
                  <a:lnTo>
                    <a:pt x="84" y="492"/>
                  </a:lnTo>
                  <a:lnTo>
                    <a:pt x="84" y="492"/>
                  </a:lnTo>
                  <a:lnTo>
                    <a:pt x="84" y="496"/>
                  </a:lnTo>
                  <a:lnTo>
                    <a:pt x="84" y="496"/>
                  </a:lnTo>
                  <a:lnTo>
                    <a:pt x="84" y="496"/>
                  </a:lnTo>
                  <a:lnTo>
                    <a:pt x="84" y="496"/>
                  </a:lnTo>
                  <a:lnTo>
                    <a:pt x="84" y="496"/>
                  </a:lnTo>
                  <a:lnTo>
                    <a:pt x="84" y="496"/>
                  </a:lnTo>
                  <a:lnTo>
                    <a:pt x="89" y="500"/>
                  </a:lnTo>
                  <a:lnTo>
                    <a:pt x="89" y="500"/>
                  </a:lnTo>
                  <a:lnTo>
                    <a:pt x="89" y="500"/>
                  </a:lnTo>
                  <a:lnTo>
                    <a:pt x="93" y="500"/>
                  </a:lnTo>
                  <a:lnTo>
                    <a:pt x="93" y="500"/>
                  </a:lnTo>
                  <a:lnTo>
                    <a:pt x="93" y="500"/>
                  </a:lnTo>
                  <a:lnTo>
                    <a:pt x="93" y="500"/>
                  </a:lnTo>
                  <a:lnTo>
                    <a:pt x="93" y="505"/>
                  </a:lnTo>
                  <a:lnTo>
                    <a:pt x="93" y="505"/>
                  </a:lnTo>
                  <a:lnTo>
                    <a:pt x="93" y="505"/>
                  </a:lnTo>
                  <a:lnTo>
                    <a:pt x="98" y="505"/>
                  </a:lnTo>
                  <a:lnTo>
                    <a:pt x="98" y="505"/>
                  </a:lnTo>
                  <a:lnTo>
                    <a:pt x="98" y="500"/>
                  </a:lnTo>
                  <a:lnTo>
                    <a:pt x="98" y="505"/>
                  </a:lnTo>
                  <a:lnTo>
                    <a:pt x="98" y="505"/>
                  </a:lnTo>
                  <a:lnTo>
                    <a:pt x="98" y="505"/>
                  </a:lnTo>
                  <a:lnTo>
                    <a:pt x="98" y="505"/>
                  </a:lnTo>
                  <a:lnTo>
                    <a:pt x="102" y="500"/>
                  </a:lnTo>
                  <a:lnTo>
                    <a:pt x="102" y="500"/>
                  </a:lnTo>
                  <a:lnTo>
                    <a:pt x="107" y="505"/>
                  </a:lnTo>
                  <a:lnTo>
                    <a:pt x="111" y="505"/>
                  </a:lnTo>
                  <a:lnTo>
                    <a:pt x="111" y="505"/>
                  </a:lnTo>
                  <a:lnTo>
                    <a:pt x="120" y="509"/>
                  </a:lnTo>
                  <a:lnTo>
                    <a:pt x="124" y="509"/>
                  </a:lnTo>
                  <a:lnTo>
                    <a:pt x="124" y="509"/>
                  </a:lnTo>
                  <a:lnTo>
                    <a:pt x="124" y="509"/>
                  </a:lnTo>
                  <a:lnTo>
                    <a:pt x="124" y="509"/>
                  </a:lnTo>
                  <a:lnTo>
                    <a:pt x="120" y="514"/>
                  </a:lnTo>
                  <a:lnTo>
                    <a:pt x="120" y="518"/>
                  </a:lnTo>
                  <a:lnTo>
                    <a:pt x="120" y="523"/>
                  </a:lnTo>
                  <a:lnTo>
                    <a:pt x="120" y="523"/>
                  </a:lnTo>
                  <a:lnTo>
                    <a:pt x="115" y="523"/>
                  </a:lnTo>
                  <a:lnTo>
                    <a:pt x="115" y="523"/>
                  </a:lnTo>
                  <a:lnTo>
                    <a:pt x="115" y="523"/>
                  </a:lnTo>
                  <a:lnTo>
                    <a:pt x="115" y="523"/>
                  </a:lnTo>
                  <a:lnTo>
                    <a:pt x="115" y="523"/>
                  </a:lnTo>
                  <a:lnTo>
                    <a:pt x="115" y="523"/>
                  </a:lnTo>
                  <a:lnTo>
                    <a:pt x="115" y="527"/>
                  </a:lnTo>
                  <a:lnTo>
                    <a:pt x="115" y="527"/>
                  </a:lnTo>
                  <a:lnTo>
                    <a:pt x="115" y="527"/>
                  </a:lnTo>
                  <a:lnTo>
                    <a:pt x="111" y="527"/>
                  </a:lnTo>
                  <a:lnTo>
                    <a:pt x="111" y="527"/>
                  </a:lnTo>
                  <a:lnTo>
                    <a:pt x="111" y="527"/>
                  </a:lnTo>
                  <a:lnTo>
                    <a:pt x="111" y="527"/>
                  </a:lnTo>
                  <a:lnTo>
                    <a:pt x="111" y="527"/>
                  </a:lnTo>
                  <a:lnTo>
                    <a:pt x="111" y="527"/>
                  </a:lnTo>
                  <a:lnTo>
                    <a:pt x="111" y="531"/>
                  </a:lnTo>
                  <a:lnTo>
                    <a:pt x="111" y="531"/>
                  </a:lnTo>
                  <a:lnTo>
                    <a:pt x="107" y="531"/>
                  </a:lnTo>
                  <a:lnTo>
                    <a:pt x="107" y="531"/>
                  </a:lnTo>
                  <a:lnTo>
                    <a:pt x="107" y="531"/>
                  </a:lnTo>
                  <a:lnTo>
                    <a:pt x="107" y="531"/>
                  </a:lnTo>
                  <a:lnTo>
                    <a:pt x="102" y="536"/>
                  </a:lnTo>
                  <a:lnTo>
                    <a:pt x="102" y="540"/>
                  </a:lnTo>
                  <a:lnTo>
                    <a:pt x="102" y="540"/>
                  </a:lnTo>
                  <a:lnTo>
                    <a:pt x="102" y="545"/>
                  </a:lnTo>
                  <a:lnTo>
                    <a:pt x="102" y="545"/>
                  </a:lnTo>
                  <a:lnTo>
                    <a:pt x="102" y="545"/>
                  </a:lnTo>
                  <a:lnTo>
                    <a:pt x="102" y="545"/>
                  </a:lnTo>
                  <a:lnTo>
                    <a:pt x="102" y="545"/>
                  </a:lnTo>
                  <a:lnTo>
                    <a:pt x="102" y="549"/>
                  </a:lnTo>
                  <a:lnTo>
                    <a:pt x="102" y="549"/>
                  </a:lnTo>
                  <a:lnTo>
                    <a:pt x="102" y="549"/>
                  </a:lnTo>
                  <a:lnTo>
                    <a:pt x="102" y="549"/>
                  </a:lnTo>
                  <a:lnTo>
                    <a:pt x="102" y="549"/>
                  </a:lnTo>
                  <a:lnTo>
                    <a:pt x="98" y="553"/>
                  </a:lnTo>
                  <a:lnTo>
                    <a:pt x="98" y="553"/>
                  </a:lnTo>
                  <a:lnTo>
                    <a:pt x="98" y="553"/>
                  </a:lnTo>
                  <a:lnTo>
                    <a:pt x="102" y="558"/>
                  </a:lnTo>
                  <a:lnTo>
                    <a:pt x="102" y="558"/>
                  </a:lnTo>
                  <a:lnTo>
                    <a:pt x="102" y="558"/>
                  </a:lnTo>
                  <a:lnTo>
                    <a:pt x="98" y="558"/>
                  </a:lnTo>
                  <a:lnTo>
                    <a:pt x="98" y="558"/>
                  </a:lnTo>
                  <a:lnTo>
                    <a:pt x="98" y="562"/>
                  </a:lnTo>
                  <a:lnTo>
                    <a:pt x="98" y="562"/>
                  </a:lnTo>
                  <a:lnTo>
                    <a:pt x="98" y="562"/>
                  </a:lnTo>
                  <a:lnTo>
                    <a:pt x="98" y="567"/>
                  </a:lnTo>
                  <a:lnTo>
                    <a:pt x="98" y="567"/>
                  </a:lnTo>
                  <a:lnTo>
                    <a:pt x="93" y="571"/>
                  </a:lnTo>
                  <a:lnTo>
                    <a:pt x="93" y="571"/>
                  </a:lnTo>
                  <a:lnTo>
                    <a:pt x="93" y="571"/>
                  </a:lnTo>
                  <a:lnTo>
                    <a:pt x="93" y="576"/>
                  </a:lnTo>
                  <a:lnTo>
                    <a:pt x="93" y="576"/>
                  </a:lnTo>
                  <a:lnTo>
                    <a:pt x="93" y="576"/>
                  </a:lnTo>
                  <a:lnTo>
                    <a:pt x="93" y="576"/>
                  </a:lnTo>
                  <a:lnTo>
                    <a:pt x="93" y="576"/>
                  </a:lnTo>
                  <a:lnTo>
                    <a:pt x="93" y="580"/>
                  </a:lnTo>
                  <a:lnTo>
                    <a:pt x="93" y="584"/>
                  </a:lnTo>
                  <a:lnTo>
                    <a:pt x="93" y="589"/>
                  </a:lnTo>
                  <a:lnTo>
                    <a:pt x="93" y="589"/>
                  </a:lnTo>
                  <a:lnTo>
                    <a:pt x="93" y="589"/>
                  </a:lnTo>
                  <a:lnTo>
                    <a:pt x="93" y="589"/>
                  </a:lnTo>
                  <a:lnTo>
                    <a:pt x="93" y="593"/>
                  </a:lnTo>
                  <a:lnTo>
                    <a:pt x="93" y="593"/>
                  </a:lnTo>
                  <a:lnTo>
                    <a:pt x="93" y="593"/>
                  </a:lnTo>
                  <a:lnTo>
                    <a:pt x="89" y="593"/>
                  </a:lnTo>
                  <a:lnTo>
                    <a:pt x="89" y="593"/>
                  </a:lnTo>
                  <a:lnTo>
                    <a:pt x="89" y="593"/>
                  </a:lnTo>
                  <a:lnTo>
                    <a:pt x="89" y="593"/>
                  </a:lnTo>
                  <a:lnTo>
                    <a:pt x="89" y="593"/>
                  </a:lnTo>
                  <a:lnTo>
                    <a:pt x="89" y="593"/>
                  </a:lnTo>
                  <a:lnTo>
                    <a:pt x="89" y="598"/>
                  </a:lnTo>
                  <a:lnTo>
                    <a:pt x="89" y="598"/>
                  </a:lnTo>
                  <a:lnTo>
                    <a:pt x="89" y="598"/>
                  </a:lnTo>
                  <a:lnTo>
                    <a:pt x="89" y="598"/>
                  </a:lnTo>
                  <a:lnTo>
                    <a:pt x="89" y="598"/>
                  </a:lnTo>
                  <a:lnTo>
                    <a:pt x="89" y="602"/>
                  </a:lnTo>
                  <a:lnTo>
                    <a:pt x="89" y="602"/>
                  </a:lnTo>
                  <a:lnTo>
                    <a:pt x="89" y="607"/>
                  </a:lnTo>
                  <a:lnTo>
                    <a:pt x="89" y="607"/>
                  </a:lnTo>
                  <a:lnTo>
                    <a:pt x="89" y="607"/>
                  </a:lnTo>
                  <a:lnTo>
                    <a:pt x="89" y="607"/>
                  </a:lnTo>
                  <a:lnTo>
                    <a:pt x="89" y="607"/>
                  </a:lnTo>
                  <a:lnTo>
                    <a:pt x="89" y="611"/>
                  </a:lnTo>
                  <a:lnTo>
                    <a:pt x="89" y="611"/>
                  </a:lnTo>
                  <a:lnTo>
                    <a:pt x="89" y="611"/>
                  </a:lnTo>
                  <a:lnTo>
                    <a:pt x="89" y="611"/>
                  </a:lnTo>
                  <a:lnTo>
                    <a:pt x="89" y="611"/>
                  </a:lnTo>
                  <a:lnTo>
                    <a:pt x="93" y="615"/>
                  </a:lnTo>
                  <a:lnTo>
                    <a:pt x="93" y="615"/>
                  </a:lnTo>
                  <a:lnTo>
                    <a:pt x="93" y="615"/>
                  </a:lnTo>
                  <a:lnTo>
                    <a:pt x="93" y="615"/>
                  </a:lnTo>
                  <a:lnTo>
                    <a:pt x="93" y="615"/>
                  </a:lnTo>
                  <a:lnTo>
                    <a:pt x="93" y="615"/>
                  </a:lnTo>
                  <a:lnTo>
                    <a:pt x="93" y="620"/>
                  </a:lnTo>
                  <a:lnTo>
                    <a:pt x="93" y="615"/>
                  </a:lnTo>
                  <a:lnTo>
                    <a:pt x="98" y="615"/>
                  </a:lnTo>
                  <a:lnTo>
                    <a:pt x="93" y="620"/>
                  </a:lnTo>
                  <a:lnTo>
                    <a:pt x="93" y="620"/>
                  </a:lnTo>
                  <a:lnTo>
                    <a:pt x="93" y="620"/>
                  </a:lnTo>
                  <a:lnTo>
                    <a:pt x="93" y="620"/>
                  </a:lnTo>
                  <a:lnTo>
                    <a:pt x="93" y="620"/>
                  </a:lnTo>
                  <a:lnTo>
                    <a:pt x="98" y="620"/>
                  </a:lnTo>
                  <a:lnTo>
                    <a:pt x="98" y="620"/>
                  </a:lnTo>
                  <a:lnTo>
                    <a:pt x="98" y="620"/>
                  </a:lnTo>
                  <a:lnTo>
                    <a:pt x="102" y="620"/>
                  </a:lnTo>
                  <a:lnTo>
                    <a:pt x="102" y="620"/>
                  </a:lnTo>
                  <a:lnTo>
                    <a:pt x="102" y="620"/>
                  </a:lnTo>
                  <a:lnTo>
                    <a:pt x="102" y="615"/>
                  </a:lnTo>
                  <a:lnTo>
                    <a:pt x="107" y="615"/>
                  </a:lnTo>
                  <a:lnTo>
                    <a:pt x="107" y="615"/>
                  </a:lnTo>
                  <a:lnTo>
                    <a:pt x="107" y="620"/>
                  </a:lnTo>
                  <a:lnTo>
                    <a:pt x="107" y="620"/>
                  </a:lnTo>
                  <a:lnTo>
                    <a:pt x="111" y="620"/>
                  </a:lnTo>
                  <a:lnTo>
                    <a:pt x="111" y="620"/>
                  </a:lnTo>
                  <a:lnTo>
                    <a:pt x="115" y="620"/>
                  </a:lnTo>
                  <a:lnTo>
                    <a:pt x="120" y="620"/>
                  </a:lnTo>
                  <a:lnTo>
                    <a:pt x="120" y="620"/>
                  </a:lnTo>
                  <a:lnTo>
                    <a:pt x="120" y="620"/>
                  </a:lnTo>
                  <a:lnTo>
                    <a:pt x="120" y="620"/>
                  </a:lnTo>
                  <a:lnTo>
                    <a:pt x="120" y="615"/>
                  </a:lnTo>
                  <a:lnTo>
                    <a:pt x="120" y="615"/>
                  </a:lnTo>
                  <a:lnTo>
                    <a:pt x="120" y="615"/>
                  </a:lnTo>
                  <a:lnTo>
                    <a:pt x="124" y="615"/>
                  </a:lnTo>
                  <a:lnTo>
                    <a:pt x="124" y="615"/>
                  </a:lnTo>
                  <a:lnTo>
                    <a:pt x="124" y="615"/>
                  </a:lnTo>
                  <a:lnTo>
                    <a:pt x="124" y="615"/>
                  </a:lnTo>
                  <a:lnTo>
                    <a:pt x="124" y="615"/>
                  </a:lnTo>
                  <a:lnTo>
                    <a:pt x="129" y="615"/>
                  </a:lnTo>
                  <a:lnTo>
                    <a:pt x="129" y="615"/>
                  </a:lnTo>
                  <a:lnTo>
                    <a:pt x="129" y="615"/>
                  </a:lnTo>
                  <a:lnTo>
                    <a:pt x="129" y="615"/>
                  </a:lnTo>
                  <a:lnTo>
                    <a:pt x="129" y="615"/>
                  </a:lnTo>
                  <a:lnTo>
                    <a:pt x="129" y="615"/>
                  </a:lnTo>
                  <a:lnTo>
                    <a:pt x="129" y="615"/>
                  </a:lnTo>
                  <a:lnTo>
                    <a:pt x="133" y="620"/>
                  </a:lnTo>
                  <a:lnTo>
                    <a:pt x="137" y="620"/>
                  </a:lnTo>
                  <a:lnTo>
                    <a:pt x="137" y="620"/>
                  </a:lnTo>
                  <a:lnTo>
                    <a:pt x="137" y="620"/>
                  </a:lnTo>
                  <a:lnTo>
                    <a:pt x="137" y="615"/>
                  </a:lnTo>
                  <a:lnTo>
                    <a:pt x="137" y="615"/>
                  </a:lnTo>
                  <a:lnTo>
                    <a:pt x="137" y="615"/>
                  </a:lnTo>
                  <a:lnTo>
                    <a:pt x="142" y="615"/>
                  </a:lnTo>
                  <a:lnTo>
                    <a:pt x="142" y="615"/>
                  </a:lnTo>
                  <a:lnTo>
                    <a:pt x="142" y="615"/>
                  </a:lnTo>
                  <a:lnTo>
                    <a:pt x="142" y="615"/>
                  </a:lnTo>
                  <a:lnTo>
                    <a:pt x="142" y="615"/>
                  </a:lnTo>
                  <a:lnTo>
                    <a:pt x="142" y="615"/>
                  </a:lnTo>
                  <a:lnTo>
                    <a:pt x="142" y="615"/>
                  </a:lnTo>
                  <a:lnTo>
                    <a:pt x="146" y="615"/>
                  </a:lnTo>
                  <a:lnTo>
                    <a:pt x="146" y="615"/>
                  </a:lnTo>
                  <a:lnTo>
                    <a:pt x="146" y="615"/>
                  </a:lnTo>
                  <a:lnTo>
                    <a:pt x="146" y="615"/>
                  </a:lnTo>
                  <a:lnTo>
                    <a:pt x="146" y="615"/>
                  </a:lnTo>
                  <a:lnTo>
                    <a:pt x="142" y="615"/>
                  </a:lnTo>
                  <a:lnTo>
                    <a:pt x="142" y="615"/>
                  </a:lnTo>
                  <a:lnTo>
                    <a:pt x="146" y="615"/>
                  </a:lnTo>
                  <a:lnTo>
                    <a:pt x="146" y="615"/>
                  </a:lnTo>
                  <a:lnTo>
                    <a:pt x="146" y="615"/>
                  </a:lnTo>
                  <a:lnTo>
                    <a:pt x="146" y="615"/>
                  </a:lnTo>
                  <a:lnTo>
                    <a:pt x="146" y="615"/>
                  </a:lnTo>
                  <a:lnTo>
                    <a:pt x="146" y="615"/>
                  </a:lnTo>
                  <a:lnTo>
                    <a:pt x="146" y="615"/>
                  </a:lnTo>
                  <a:lnTo>
                    <a:pt x="146" y="611"/>
                  </a:lnTo>
                  <a:lnTo>
                    <a:pt x="146" y="611"/>
                  </a:lnTo>
                  <a:lnTo>
                    <a:pt x="146" y="611"/>
                  </a:lnTo>
                  <a:lnTo>
                    <a:pt x="146" y="611"/>
                  </a:lnTo>
                  <a:lnTo>
                    <a:pt x="142" y="611"/>
                  </a:lnTo>
                  <a:lnTo>
                    <a:pt x="142" y="611"/>
                  </a:lnTo>
                  <a:lnTo>
                    <a:pt x="142" y="611"/>
                  </a:lnTo>
                  <a:lnTo>
                    <a:pt x="137" y="611"/>
                  </a:lnTo>
                  <a:lnTo>
                    <a:pt x="137" y="615"/>
                  </a:lnTo>
                  <a:lnTo>
                    <a:pt x="137" y="615"/>
                  </a:lnTo>
                  <a:lnTo>
                    <a:pt x="137" y="611"/>
                  </a:lnTo>
                  <a:lnTo>
                    <a:pt x="133" y="611"/>
                  </a:lnTo>
                  <a:lnTo>
                    <a:pt x="133" y="611"/>
                  </a:lnTo>
                  <a:lnTo>
                    <a:pt x="133" y="611"/>
                  </a:lnTo>
                  <a:lnTo>
                    <a:pt x="133" y="611"/>
                  </a:lnTo>
                  <a:lnTo>
                    <a:pt x="133" y="611"/>
                  </a:lnTo>
                  <a:lnTo>
                    <a:pt x="133" y="611"/>
                  </a:lnTo>
                  <a:lnTo>
                    <a:pt x="133" y="611"/>
                  </a:lnTo>
                  <a:lnTo>
                    <a:pt x="133" y="607"/>
                  </a:lnTo>
                  <a:lnTo>
                    <a:pt x="137" y="607"/>
                  </a:lnTo>
                  <a:lnTo>
                    <a:pt x="137" y="607"/>
                  </a:lnTo>
                  <a:lnTo>
                    <a:pt x="137" y="607"/>
                  </a:lnTo>
                  <a:lnTo>
                    <a:pt x="137" y="607"/>
                  </a:lnTo>
                  <a:lnTo>
                    <a:pt x="137" y="602"/>
                  </a:lnTo>
                  <a:lnTo>
                    <a:pt x="137" y="602"/>
                  </a:lnTo>
                  <a:lnTo>
                    <a:pt x="137" y="602"/>
                  </a:lnTo>
                  <a:lnTo>
                    <a:pt x="142" y="602"/>
                  </a:lnTo>
                  <a:lnTo>
                    <a:pt x="142" y="602"/>
                  </a:lnTo>
                  <a:lnTo>
                    <a:pt x="142" y="602"/>
                  </a:lnTo>
                  <a:lnTo>
                    <a:pt x="142" y="602"/>
                  </a:lnTo>
                  <a:lnTo>
                    <a:pt x="146" y="602"/>
                  </a:lnTo>
                  <a:lnTo>
                    <a:pt x="146" y="602"/>
                  </a:lnTo>
                  <a:lnTo>
                    <a:pt x="146" y="602"/>
                  </a:lnTo>
                  <a:lnTo>
                    <a:pt x="146" y="602"/>
                  </a:lnTo>
                  <a:lnTo>
                    <a:pt x="146" y="602"/>
                  </a:lnTo>
                  <a:lnTo>
                    <a:pt x="146" y="602"/>
                  </a:lnTo>
                  <a:lnTo>
                    <a:pt x="146" y="602"/>
                  </a:lnTo>
                  <a:lnTo>
                    <a:pt x="146" y="602"/>
                  </a:lnTo>
                  <a:lnTo>
                    <a:pt x="146" y="602"/>
                  </a:lnTo>
                  <a:lnTo>
                    <a:pt x="146" y="602"/>
                  </a:lnTo>
                  <a:lnTo>
                    <a:pt x="151" y="602"/>
                  </a:lnTo>
                  <a:lnTo>
                    <a:pt x="151" y="602"/>
                  </a:lnTo>
                  <a:lnTo>
                    <a:pt x="151" y="602"/>
                  </a:lnTo>
                  <a:lnTo>
                    <a:pt x="151" y="602"/>
                  </a:lnTo>
                  <a:lnTo>
                    <a:pt x="151" y="602"/>
                  </a:lnTo>
                  <a:lnTo>
                    <a:pt x="151" y="602"/>
                  </a:lnTo>
                  <a:lnTo>
                    <a:pt x="151" y="607"/>
                  </a:lnTo>
                  <a:lnTo>
                    <a:pt x="151" y="607"/>
                  </a:lnTo>
                  <a:lnTo>
                    <a:pt x="151" y="607"/>
                  </a:lnTo>
                  <a:lnTo>
                    <a:pt x="151" y="607"/>
                  </a:lnTo>
                  <a:lnTo>
                    <a:pt x="151" y="607"/>
                  </a:lnTo>
                  <a:lnTo>
                    <a:pt x="151" y="607"/>
                  </a:lnTo>
                  <a:lnTo>
                    <a:pt x="151" y="607"/>
                  </a:lnTo>
                  <a:lnTo>
                    <a:pt x="151" y="611"/>
                  </a:lnTo>
                  <a:lnTo>
                    <a:pt x="155" y="611"/>
                  </a:lnTo>
                  <a:lnTo>
                    <a:pt x="155" y="607"/>
                  </a:lnTo>
                  <a:lnTo>
                    <a:pt x="155" y="607"/>
                  </a:lnTo>
                  <a:lnTo>
                    <a:pt x="155" y="607"/>
                  </a:lnTo>
                  <a:lnTo>
                    <a:pt x="155" y="607"/>
                  </a:lnTo>
                  <a:lnTo>
                    <a:pt x="160" y="611"/>
                  </a:lnTo>
                  <a:lnTo>
                    <a:pt x="160" y="611"/>
                  </a:lnTo>
                  <a:lnTo>
                    <a:pt x="160" y="611"/>
                  </a:lnTo>
                  <a:lnTo>
                    <a:pt x="160" y="611"/>
                  </a:lnTo>
                  <a:lnTo>
                    <a:pt x="160" y="611"/>
                  </a:lnTo>
                  <a:lnTo>
                    <a:pt x="160" y="611"/>
                  </a:lnTo>
                  <a:lnTo>
                    <a:pt x="160" y="611"/>
                  </a:lnTo>
                  <a:lnTo>
                    <a:pt x="164" y="611"/>
                  </a:lnTo>
                  <a:lnTo>
                    <a:pt x="164" y="611"/>
                  </a:lnTo>
                  <a:lnTo>
                    <a:pt x="164" y="611"/>
                  </a:lnTo>
                  <a:lnTo>
                    <a:pt x="168" y="611"/>
                  </a:lnTo>
                  <a:lnTo>
                    <a:pt x="173" y="611"/>
                  </a:lnTo>
                  <a:lnTo>
                    <a:pt x="177" y="611"/>
                  </a:lnTo>
                  <a:lnTo>
                    <a:pt x="177" y="611"/>
                  </a:lnTo>
                  <a:lnTo>
                    <a:pt x="177" y="611"/>
                  </a:lnTo>
                  <a:lnTo>
                    <a:pt x="182" y="611"/>
                  </a:lnTo>
                  <a:lnTo>
                    <a:pt x="195" y="620"/>
                  </a:lnTo>
                  <a:lnTo>
                    <a:pt x="195" y="620"/>
                  </a:lnTo>
                  <a:lnTo>
                    <a:pt x="195" y="620"/>
                  </a:lnTo>
                  <a:lnTo>
                    <a:pt x="199" y="624"/>
                  </a:lnTo>
                  <a:lnTo>
                    <a:pt x="204" y="624"/>
                  </a:lnTo>
                  <a:lnTo>
                    <a:pt x="204" y="620"/>
                  </a:lnTo>
                  <a:lnTo>
                    <a:pt x="204" y="620"/>
                  </a:lnTo>
                  <a:lnTo>
                    <a:pt x="204" y="620"/>
                  </a:lnTo>
                  <a:lnTo>
                    <a:pt x="204" y="620"/>
                  </a:lnTo>
                  <a:lnTo>
                    <a:pt x="208" y="615"/>
                  </a:lnTo>
                  <a:lnTo>
                    <a:pt x="208" y="615"/>
                  </a:lnTo>
                  <a:lnTo>
                    <a:pt x="208" y="620"/>
                  </a:lnTo>
                  <a:lnTo>
                    <a:pt x="208" y="620"/>
                  </a:lnTo>
                  <a:lnTo>
                    <a:pt x="208" y="620"/>
                  </a:lnTo>
                  <a:lnTo>
                    <a:pt x="208" y="620"/>
                  </a:lnTo>
                  <a:lnTo>
                    <a:pt x="208" y="620"/>
                  </a:lnTo>
                  <a:lnTo>
                    <a:pt x="208" y="620"/>
                  </a:lnTo>
                  <a:lnTo>
                    <a:pt x="213" y="620"/>
                  </a:lnTo>
                  <a:lnTo>
                    <a:pt x="213" y="620"/>
                  </a:lnTo>
                  <a:lnTo>
                    <a:pt x="213" y="620"/>
                  </a:lnTo>
                  <a:lnTo>
                    <a:pt x="213" y="620"/>
                  </a:lnTo>
                  <a:lnTo>
                    <a:pt x="213" y="620"/>
                  </a:lnTo>
                  <a:lnTo>
                    <a:pt x="217" y="620"/>
                  </a:lnTo>
                  <a:lnTo>
                    <a:pt x="217" y="620"/>
                  </a:lnTo>
                  <a:lnTo>
                    <a:pt x="217" y="624"/>
                  </a:lnTo>
                  <a:lnTo>
                    <a:pt x="217" y="624"/>
                  </a:lnTo>
                  <a:lnTo>
                    <a:pt x="217" y="624"/>
                  </a:lnTo>
                  <a:lnTo>
                    <a:pt x="217" y="624"/>
                  </a:lnTo>
                  <a:lnTo>
                    <a:pt x="217" y="624"/>
                  </a:lnTo>
                  <a:lnTo>
                    <a:pt x="217" y="624"/>
                  </a:lnTo>
                  <a:lnTo>
                    <a:pt x="217" y="624"/>
                  </a:lnTo>
                  <a:lnTo>
                    <a:pt x="217" y="624"/>
                  </a:lnTo>
                  <a:lnTo>
                    <a:pt x="217" y="624"/>
                  </a:lnTo>
                  <a:lnTo>
                    <a:pt x="222" y="624"/>
                  </a:lnTo>
                  <a:lnTo>
                    <a:pt x="222" y="624"/>
                  </a:lnTo>
                  <a:lnTo>
                    <a:pt x="222" y="629"/>
                  </a:lnTo>
                  <a:lnTo>
                    <a:pt x="222" y="629"/>
                  </a:lnTo>
                  <a:lnTo>
                    <a:pt x="222" y="629"/>
                  </a:lnTo>
                  <a:lnTo>
                    <a:pt x="222" y="633"/>
                  </a:lnTo>
                  <a:lnTo>
                    <a:pt x="222" y="633"/>
                  </a:lnTo>
                  <a:lnTo>
                    <a:pt x="222" y="633"/>
                  </a:lnTo>
                  <a:lnTo>
                    <a:pt x="222" y="633"/>
                  </a:lnTo>
                  <a:lnTo>
                    <a:pt x="222" y="633"/>
                  </a:lnTo>
                  <a:lnTo>
                    <a:pt x="222" y="633"/>
                  </a:lnTo>
                  <a:lnTo>
                    <a:pt x="222" y="633"/>
                  </a:lnTo>
                  <a:lnTo>
                    <a:pt x="226" y="633"/>
                  </a:lnTo>
                  <a:lnTo>
                    <a:pt x="226" y="633"/>
                  </a:lnTo>
                  <a:lnTo>
                    <a:pt x="226" y="633"/>
                  </a:lnTo>
                  <a:lnTo>
                    <a:pt x="226" y="633"/>
                  </a:lnTo>
                  <a:lnTo>
                    <a:pt x="226" y="633"/>
                  </a:lnTo>
                  <a:lnTo>
                    <a:pt x="226" y="633"/>
                  </a:lnTo>
                  <a:lnTo>
                    <a:pt x="226" y="633"/>
                  </a:lnTo>
                  <a:lnTo>
                    <a:pt x="230" y="633"/>
                  </a:lnTo>
                  <a:lnTo>
                    <a:pt x="230" y="633"/>
                  </a:lnTo>
                  <a:lnTo>
                    <a:pt x="230" y="638"/>
                  </a:lnTo>
                  <a:lnTo>
                    <a:pt x="230" y="638"/>
                  </a:lnTo>
                  <a:lnTo>
                    <a:pt x="230" y="638"/>
                  </a:lnTo>
                  <a:lnTo>
                    <a:pt x="230" y="638"/>
                  </a:lnTo>
                  <a:lnTo>
                    <a:pt x="230" y="642"/>
                  </a:lnTo>
                  <a:lnTo>
                    <a:pt x="230" y="642"/>
                  </a:lnTo>
                  <a:lnTo>
                    <a:pt x="226" y="642"/>
                  </a:lnTo>
                  <a:lnTo>
                    <a:pt x="226" y="642"/>
                  </a:lnTo>
                  <a:lnTo>
                    <a:pt x="226" y="642"/>
                  </a:lnTo>
                  <a:lnTo>
                    <a:pt x="226" y="642"/>
                  </a:lnTo>
                  <a:lnTo>
                    <a:pt x="226" y="642"/>
                  </a:lnTo>
                  <a:lnTo>
                    <a:pt x="226" y="642"/>
                  </a:lnTo>
                  <a:lnTo>
                    <a:pt x="230" y="642"/>
                  </a:lnTo>
                  <a:lnTo>
                    <a:pt x="235" y="642"/>
                  </a:lnTo>
                  <a:lnTo>
                    <a:pt x="235" y="638"/>
                  </a:lnTo>
                  <a:lnTo>
                    <a:pt x="235" y="638"/>
                  </a:lnTo>
                  <a:lnTo>
                    <a:pt x="239" y="638"/>
                  </a:lnTo>
                  <a:lnTo>
                    <a:pt x="239" y="633"/>
                  </a:lnTo>
                  <a:lnTo>
                    <a:pt x="239" y="633"/>
                  </a:lnTo>
                  <a:lnTo>
                    <a:pt x="239" y="633"/>
                  </a:lnTo>
                  <a:lnTo>
                    <a:pt x="239" y="633"/>
                  </a:lnTo>
                  <a:lnTo>
                    <a:pt x="239" y="633"/>
                  </a:lnTo>
                  <a:lnTo>
                    <a:pt x="244" y="633"/>
                  </a:lnTo>
                  <a:lnTo>
                    <a:pt x="244" y="629"/>
                  </a:lnTo>
                  <a:lnTo>
                    <a:pt x="244" y="629"/>
                  </a:lnTo>
                  <a:lnTo>
                    <a:pt x="244" y="629"/>
                  </a:lnTo>
                  <a:lnTo>
                    <a:pt x="244" y="624"/>
                  </a:lnTo>
                  <a:lnTo>
                    <a:pt x="244" y="624"/>
                  </a:lnTo>
                  <a:lnTo>
                    <a:pt x="244" y="624"/>
                  </a:lnTo>
                  <a:lnTo>
                    <a:pt x="239" y="624"/>
                  </a:lnTo>
                  <a:lnTo>
                    <a:pt x="244" y="620"/>
                  </a:lnTo>
                  <a:lnTo>
                    <a:pt x="244" y="620"/>
                  </a:lnTo>
                  <a:lnTo>
                    <a:pt x="239" y="620"/>
                  </a:lnTo>
                  <a:lnTo>
                    <a:pt x="239" y="620"/>
                  </a:lnTo>
                  <a:lnTo>
                    <a:pt x="239" y="620"/>
                  </a:lnTo>
                  <a:lnTo>
                    <a:pt x="244" y="620"/>
                  </a:lnTo>
                  <a:lnTo>
                    <a:pt x="244" y="620"/>
                  </a:lnTo>
                  <a:lnTo>
                    <a:pt x="244" y="620"/>
                  </a:lnTo>
                  <a:lnTo>
                    <a:pt x="244" y="620"/>
                  </a:lnTo>
                  <a:lnTo>
                    <a:pt x="244" y="620"/>
                  </a:lnTo>
                  <a:lnTo>
                    <a:pt x="244" y="620"/>
                  </a:lnTo>
                  <a:lnTo>
                    <a:pt x="244" y="620"/>
                  </a:lnTo>
                  <a:lnTo>
                    <a:pt x="244" y="620"/>
                  </a:lnTo>
                  <a:lnTo>
                    <a:pt x="244" y="620"/>
                  </a:lnTo>
                  <a:lnTo>
                    <a:pt x="244" y="620"/>
                  </a:lnTo>
                  <a:lnTo>
                    <a:pt x="244" y="620"/>
                  </a:lnTo>
                  <a:lnTo>
                    <a:pt x="244" y="620"/>
                  </a:lnTo>
                  <a:lnTo>
                    <a:pt x="248" y="624"/>
                  </a:lnTo>
                  <a:lnTo>
                    <a:pt x="248" y="620"/>
                  </a:lnTo>
                  <a:lnTo>
                    <a:pt x="248" y="620"/>
                  </a:lnTo>
                  <a:lnTo>
                    <a:pt x="248" y="620"/>
                  </a:lnTo>
                  <a:lnTo>
                    <a:pt x="248" y="620"/>
                  </a:lnTo>
                  <a:lnTo>
                    <a:pt x="253" y="620"/>
                  </a:lnTo>
                  <a:lnTo>
                    <a:pt x="257" y="624"/>
                  </a:lnTo>
                  <a:lnTo>
                    <a:pt x="257" y="624"/>
                  </a:lnTo>
                  <a:lnTo>
                    <a:pt x="257" y="624"/>
                  </a:lnTo>
                  <a:lnTo>
                    <a:pt x="257" y="624"/>
                  </a:lnTo>
                  <a:lnTo>
                    <a:pt x="257" y="624"/>
                  </a:lnTo>
                  <a:lnTo>
                    <a:pt x="261" y="624"/>
                  </a:lnTo>
                  <a:lnTo>
                    <a:pt x="261" y="624"/>
                  </a:lnTo>
                  <a:lnTo>
                    <a:pt x="261" y="620"/>
                  </a:lnTo>
                  <a:lnTo>
                    <a:pt x="266" y="620"/>
                  </a:lnTo>
                  <a:lnTo>
                    <a:pt x="266" y="624"/>
                  </a:lnTo>
                  <a:lnTo>
                    <a:pt x="266" y="624"/>
                  </a:lnTo>
                  <a:lnTo>
                    <a:pt x="266" y="624"/>
                  </a:lnTo>
                  <a:lnTo>
                    <a:pt x="266" y="624"/>
                  </a:lnTo>
                  <a:lnTo>
                    <a:pt x="266" y="624"/>
                  </a:lnTo>
                  <a:lnTo>
                    <a:pt x="266" y="629"/>
                  </a:lnTo>
                  <a:lnTo>
                    <a:pt x="270" y="629"/>
                  </a:lnTo>
                  <a:lnTo>
                    <a:pt x="270" y="629"/>
                  </a:lnTo>
                  <a:lnTo>
                    <a:pt x="270" y="629"/>
                  </a:lnTo>
                  <a:lnTo>
                    <a:pt x="270" y="633"/>
                  </a:lnTo>
                  <a:lnTo>
                    <a:pt x="270" y="633"/>
                  </a:lnTo>
                  <a:lnTo>
                    <a:pt x="270" y="633"/>
                  </a:lnTo>
                  <a:lnTo>
                    <a:pt x="270" y="633"/>
                  </a:lnTo>
                  <a:lnTo>
                    <a:pt x="270" y="633"/>
                  </a:lnTo>
                  <a:lnTo>
                    <a:pt x="275" y="633"/>
                  </a:lnTo>
                  <a:lnTo>
                    <a:pt x="279" y="633"/>
                  </a:lnTo>
                  <a:lnTo>
                    <a:pt x="279" y="629"/>
                  </a:lnTo>
                  <a:lnTo>
                    <a:pt x="284" y="629"/>
                  </a:lnTo>
                  <a:lnTo>
                    <a:pt x="284" y="629"/>
                  </a:lnTo>
                  <a:lnTo>
                    <a:pt x="284" y="633"/>
                  </a:lnTo>
                  <a:lnTo>
                    <a:pt x="284" y="633"/>
                  </a:lnTo>
                  <a:lnTo>
                    <a:pt x="284" y="633"/>
                  </a:lnTo>
                  <a:lnTo>
                    <a:pt x="288" y="633"/>
                  </a:lnTo>
                  <a:lnTo>
                    <a:pt x="288" y="629"/>
                  </a:lnTo>
                  <a:lnTo>
                    <a:pt x="288" y="629"/>
                  </a:lnTo>
                  <a:lnTo>
                    <a:pt x="288" y="629"/>
                  </a:lnTo>
                  <a:lnTo>
                    <a:pt x="292" y="629"/>
                  </a:lnTo>
                  <a:lnTo>
                    <a:pt x="292" y="629"/>
                  </a:lnTo>
                  <a:lnTo>
                    <a:pt x="292" y="629"/>
                  </a:lnTo>
                  <a:lnTo>
                    <a:pt x="292" y="629"/>
                  </a:lnTo>
                  <a:lnTo>
                    <a:pt x="292" y="629"/>
                  </a:lnTo>
                  <a:lnTo>
                    <a:pt x="292" y="629"/>
                  </a:lnTo>
                  <a:lnTo>
                    <a:pt x="292" y="624"/>
                  </a:lnTo>
                  <a:lnTo>
                    <a:pt x="297" y="624"/>
                  </a:lnTo>
                  <a:lnTo>
                    <a:pt x="297" y="624"/>
                  </a:lnTo>
                  <a:lnTo>
                    <a:pt x="297" y="624"/>
                  </a:lnTo>
                  <a:lnTo>
                    <a:pt x="301" y="624"/>
                  </a:lnTo>
                  <a:lnTo>
                    <a:pt x="301" y="624"/>
                  </a:lnTo>
                  <a:lnTo>
                    <a:pt x="301" y="624"/>
                  </a:lnTo>
                  <a:lnTo>
                    <a:pt x="301" y="620"/>
                  </a:lnTo>
                  <a:lnTo>
                    <a:pt x="301" y="620"/>
                  </a:lnTo>
                  <a:lnTo>
                    <a:pt x="301" y="620"/>
                  </a:lnTo>
                  <a:lnTo>
                    <a:pt x="306" y="615"/>
                  </a:lnTo>
                  <a:lnTo>
                    <a:pt x="306" y="615"/>
                  </a:lnTo>
                  <a:lnTo>
                    <a:pt x="306" y="615"/>
                  </a:lnTo>
                  <a:lnTo>
                    <a:pt x="306" y="620"/>
                  </a:lnTo>
                  <a:lnTo>
                    <a:pt x="310" y="620"/>
                  </a:lnTo>
                  <a:lnTo>
                    <a:pt x="315" y="620"/>
                  </a:lnTo>
                  <a:lnTo>
                    <a:pt x="315" y="620"/>
                  </a:lnTo>
                  <a:lnTo>
                    <a:pt x="315" y="615"/>
                  </a:lnTo>
                  <a:lnTo>
                    <a:pt x="315" y="615"/>
                  </a:lnTo>
                  <a:lnTo>
                    <a:pt x="319" y="615"/>
                  </a:lnTo>
                  <a:lnTo>
                    <a:pt x="332" y="615"/>
                  </a:lnTo>
                  <a:lnTo>
                    <a:pt x="332" y="615"/>
                  </a:lnTo>
                  <a:lnTo>
                    <a:pt x="337" y="615"/>
                  </a:lnTo>
                  <a:lnTo>
                    <a:pt x="337" y="615"/>
                  </a:lnTo>
                  <a:lnTo>
                    <a:pt x="337" y="611"/>
                  </a:lnTo>
                  <a:lnTo>
                    <a:pt x="337" y="611"/>
                  </a:lnTo>
                  <a:lnTo>
                    <a:pt x="337" y="611"/>
                  </a:lnTo>
                  <a:lnTo>
                    <a:pt x="337" y="611"/>
                  </a:lnTo>
                  <a:lnTo>
                    <a:pt x="332" y="611"/>
                  </a:lnTo>
                  <a:lnTo>
                    <a:pt x="332" y="611"/>
                  </a:lnTo>
                  <a:lnTo>
                    <a:pt x="332" y="611"/>
                  </a:lnTo>
                  <a:lnTo>
                    <a:pt x="332" y="607"/>
                  </a:lnTo>
                  <a:lnTo>
                    <a:pt x="337" y="607"/>
                  </a:lnTo>
                  <a:lnTo>
                    <a:pt x="337" y="607"/>
                  </a:lnTo>
                  <a:lnTo>
                    <a:pt x="337" y="607"/>
                  </a:lnTo>
                  <a:lnTo>
                    <a:pt x="337" y="607"/>
                  </a:lnTo>
                  <a:lnTo>
                    <a:pt x="337" y="607"/>
                  </a:lnTo>
                  <a:lnTo>
                    <a:pt x="337" y="607"/>
                  </a:lnTo>
                  <a:lnTo>
                    <a:pt x="337" y="607"/>
                  </a:lnTo>
                  <a:lnTo>
                    <a:pt x="337" y="607"/>
                  </a:lnTo>
                  <a:lnTo>
                    <a:pt x="337" y="607"/>
                  </a:lnTo>
                  <a:lnTo>
                    <a:pt x="337" y="611"/>
                  </a:lnTo>
                  <a:lnTo>
                    <a:pt x="337" y="611"/>
                  </a:lnTo>
                  <a:lnTo>
                    <a:pt x="337" y="611"/>
                  </a:lnTo>
                  <a:lnTo>
                    <a:pt x="337" y="611"/>
                  </a:lnTo>
                  <a:lnTo>
                    <a:pt x="337" y="611"/>
                  </a:lnTo>
                  <a:lnTo>
                    <a:pt x="341" y="611"/>
                  </a:lnTo>
                  <a:lnTo>
                    <a:pt x="341" y="611"/>
                  </a:lnTo>
                  <a:lnTo>
                    <a:pt x="346" y="611"/>
                  </a:lnTo>
                  <a:lnTo>
                    <a:pt x="346" y="611"/>
                  </a:lnTo>
                  <a:lnTo>
                    <a:pt x="346" y="611"/>
                  </a:lnTo>
                  <a:lnTo>
                    <a:pt x="346" y="611"/>
                  </a:lnTo>
                  <a:lnTo>
                    <a:pt x="346" y="611"/>
                  </a:lnTo>
                  <a:lnTo>
                    <a:pt x="350" y="611"/>
                  </a:lnTo>
                  <a:lnTo>
                    <a:pt x="350" y="611"/>
                  </a:lnTo>
                  <a:lnTo>
                    <a:pt x="350" y="615"/>
                  </a:lnTo>
                  <a:lnTo>
                    <a:pt x="350" y="615"/>
                  </a:lnTo>
                  <a:lnTo>
                    <a:pt x="350" y="615"/>
                  </a:lnTo>
                  <a:lnTo>
                    <a:pt x="354" y="615"/>
                  </a:lnTo>
                  <a:lnTo>
                    <a:pt x="354" y="615"/>
                  </a:lnTo>
                  <a:lnTo>
                    <a:pt x="354" y="615"/>
                  </a:lnTo>
                  <a:lnTo>
                    <a:pt x="354" y="611"/>
                  </a:lnTo>
                  <a:lnTo>
                    <a:pt x="359" y="611"/>
                  </a:lnTo>
                  <a:lnTo>
                    <a:pt x="359" y="611"/>
                  </a:lnTo>
                  <a:lnTo>
                    <a:pt x="359" y="611"/>
                  </a:lnTo>
                  <a:lnTo>
                    <a:pt x="363" y="611"/>
                  </a:lnTo>
                  <a:lnTo>
                    <a:pt x="363" y="611"/>
                  </a:lnTo>
                  <a:lnTo>
                    <a:pt x="363" y="611"/>
                  </a:lnTo>
                  <a:lnTo>
                    <a:pt x="363" y="615"/>
                  </a:lnTo>
                  <a:lnTo>
                    <a:pt x="368" y="615"/>
                  </a:lnTo>
                  <a:lnTo>
                    <a:pt x="368" y="615"/>
                  </a:lnTo>
                  <a:lnTo>
                    <a:pt x="368" y="615"/>
                  </a:lnTo>
                  <a:lnTo>
                    <a:pt x="363" y="620"/>
                  </a:lnTo>
                  <a:lnTo>
                    <a:pt x="368" y="620"/>
                  </a:lnTo>
                  <a:lnTo>
                    <a:pt x="368" y="620"/>
                  </a:lnTo>
                  <a:lnTo>
                    <a:pt x="368" y="620"/>
                  </a:lnTo>
                  <a:lnTo>
                    <a:pt x="368" y="620"/>
                  </a:lnTo>
                  <a:lnTo>
                    <a:pt x="368" y="620"/>
                  </a:lnTo>
                  <a:lnTo>
                    <a:pt x="372" y="624"/>
                  </a:lnTo>
                  <a:lnTo>
                    <a:pt x="372" y="624"/>
                  </a:lnTo>
                  <a:lnTo>
                    <a:pt x="372" y="629"/>
                  </a:lnTo>
                  <a:lnTo>
                    <a:pt x="377" y="624"/>
                  </a:lnTo>
                  <a:lnTo>
                    <a:pt x="377" y="624"/>
                  </a:lnTo>
                  <a:lnTo>
                    <a:pt x="377" y="624"/>
                  </a:lnTo>
                  <a:lnTo>
                    <a:pt x="377" y="629"/>
                  </a:lnTo>
                  <a:lnTo>
                    <a:pt x="377" y="629"/>
                  </a:lnTo>
                  <a:lnTo>
                    <a:pt x="377" y="629"/>
                  </a:lnTo>
                  <a:lnTo>
                    <a:pt x="377" y="629"/>
                  </a:lnTo>
                  <a:lnTo>
                    <a:pt x="377" y="629"/>
                  </a:lnTo>
                  <a:lnTo>
                    <a:pt x="381" y="624"/>
                  </a:lnTo>
                  <a:lnTo>
                    <a:pt x="381" y="624"/>
                  </a:lnTo>
                  <a:lnTo>
                    <a:pt x="381" y="624"/>
                  </a:lnTo>
                  <a:lnTo>
                    <a:pt x="381" y="624"/>
                  </a:lnTo>
                  <a:lnTo>
                    <a:pt x="377" y="624"/>
                  </a:lnTo>
                  <a:lnTo>
                    <a:pt x="377" y="624"/>
                  </a:lnTo>
                  <a:lnTo>
                    <a:pt x="377" y="620"/>
                  </a:lnTo>
                  <a:lnTo>
                    <a:pt x="381" y="620"/>
                  </a:lnTo>
                  <a:lnTo>
                    <a:pt x="381" y="620"/>
                  </a:lnTo>
                  <a:lnTo>
                    <a:pt x="381" y="620"/>
                  </a:lnTo>
                  <a:lnTo>
                    <a:pt x="381" y="620"/>
                  </a:lnTo>
                  <a:lnTo>
                    <a:pt x="381" y="620"/>
                  </a:lnTo>
                  <a:lnTo>
                    <a:pt x="381" y="620"/>
                  </a:lnTo>
                  <a:lnTo>
                    <a:pt x="381" y="615"/>
                  </a:lnTo>
                  <a:lnTo>
                    <a:pt x="381" y="615"/>
                  </a:lnTo>
                  <a:lnTo>
                    <a:pt x="381" y="615"/>
                  </a:lnTo>
                  <a:lnTo>
                    <a:pt x="381" y="615"/>
                  </a:lnTo>
                  <a:lnTo>
                    <a:pt x="381" y="615"/>
                  </a:lnTo>
                  <a:lnTo>
                    <a:pt x="381" y="611"/>
                  </a:lnTo>
                  <a:lnTo>
                    <a:pt x="381" y="611"/>
                  </a:lnTo>
                  <a:lnTo>
                    <a:pt x="381" y="611"/>
                  </a:lnTo>
                  <a:lnTo>
                    <a:pt x="381" y="611"/>
                  </a:lnTo>
                  <a:lnTo>
                    <a:pt x="381" y="607"/>
                  </a:lnTo>
                  <a:lnTo>
                    <a:pt x="377" y="607"/>
                  </a:lnTo>
                  <a:lnTo>
                    <a:pt x="377" y="607"/>
                  </a:lnTo>
                  <a:lnTo>
                    <a:pt x="377" y="607"/>
                  </a:lnTo>
                  <a:lnTo>
                    <a:pt x="377" y="607"/>
                  </a:lnTo>
                  <a:lnTo>
                    <a:pt x="372" y="607"/>
                  </a:lnTo>
                  <a:lnTo>
                    <a:pt x="372" y="607"/>
                  </a:lnTo>
                  <a:lnTo>
                    <a:pt x="372" y="607"/>
                  </a:lnTo>
                  <a:lnTo>
                    <a:pt x="372" y="607"/>
                  </a:lnTo>
                  <a:lnTo>
                    <a:pt x="372" y="607"/>
                  </a:lnTo>
                  <a:lnTo>
                    <a:pt x="372" y="607"/>
                  </a:lnTo>
                  <a:lnTo>
                    <a:pt x="372" y="602"/>
                  </a:lnTo>
                  <a:lnTo>
                    <a:pt x="372" y="602"/>
                  </a:lnTo>
                  <a:lnTo>
                    <a:pt x="372" y="602"/>
                  </a:lnTo>
                  <a:lnTo>
                    <a:pt x="372" y="602"/>
                  </a:lnTo>
                  <a:lnTo>
                    <a:pt x="377" y="598"/>
                  </a:lnTo>
                  <a:lnTo>
                    <a:pt x="377" y="598"/>
                  </a:lnTo>
                  <a:lnTo>
                    <a:pt x="377" y="593"/>
                  </a:lnTo>
                  <a:lnTo>
                    <a:pt x="372" y="593"/>
                  </a:lnTo>
                  <a:lnTo>
                    <a:pt x="372" y="589"/>
                  </a:lnTo>
                  <a:lnTo>
                    <a:pt x="372" y="589"/>
                  </a:lnTo>
                  <a:lnTo>
                    <a:pt x="372" y="589"/>
                  </a:lnTo>
                  <a:lnTo>
                    <a:pt x="368" y="589"/>
                  </a:lnTo>
                  <a:lnTo>
                    <a:pt x="368" y="589"/>
                  </a:lnTo>
                  <a:lnTo>
                    <a:pt x="368" y="589"/>
                  </a:lnTo>
                  <a:lnTo>
                    <a:pt x="368" y="584"/>
                  </a:lnTo>
                  <a:lnTo>
                    <a:pt x="368" y="584"/>
                  </a:lnTo>
                  <a:lnTo>
                    <a:pt x="368" y="584"/>
                  </a:lnTo>
                  <a:lnTo>
                    <a:pt x="363" y="580"/>
                  </a:lnTo>
                  <a:lnTo>
                    <a:pt x="363" y="580"/>
                  </a:lnTo>
                  <a:lnTo>
                    <a:pt x="363" y="580"/>
                  </a:lnTo>
                  <a:lnTo>
                    <a:pt x="363" y="576"/>
                  </a:lnTo>
                  <a:lnTo>
                    <a:pt x="363" y="576"/>
                  </a:lnTo>
                  <a:lnTo>
                    <a:pt x="363" y="576"/>
                  </a:lnTo>
                  <a:lnTo>
                    <a:pt x="363" y="576"/>
                  </a:lnTo>
                  <a:lnTo>
                    <a:pt x="363" y="576"/>
                  </a:lnTo>
                  <a:lnTo>
                    <a:pt x="363" y="576"/>
                  </a:lnTo>
                  <a:lnTo>
                    <a:pt x="368" y="576"/>
                  </a:lnTo>
                  <a:lnTo>
                    <a:pt x="368" y="576"/>
                  </a:lnTo>
                  <a:lnTo>
                    <a:pt x="368" y="571"/>
                  </a:lnTo>
                  <a:lnTo>
                    <a:pt x="368" y="571"/>
                  </a:lnTo>
                  <a:lnTo>
                    <a:pt x="368" y="571"/>
                  </a:lnTo>
                  <a:lnTo>
                    <a:pt x="372" y="571"/>
                  </a:lnTo>
                  <a:lnTo>
                    <a:pt x="372" y="571"/>
                  </a:lnTo>
                  <a:lnTo>
                    <a:pt x="372" y="567"/>
                  </a:lnTo>
                  <a:lnTo>
                    <a:pt x="372" y="567"/>
                  </a:lnTo>
                  <a:lnTo>
                    <a:pt x="377" y="567"/>
                  </a:lnTo>
                  <a:lnTo>
                    <a:pt x="377" y="567"/>
                  </a:lnTo>
                  <a:lnTo>
                    <a:pt x="377" y="567"/>
                  </a:lnTo>
                  <a:lnTo>
                    <a:pt x="381" y="562"/>
                  </a:lnTo>
                  <a:lnTo>
                    <a:pt x="385" y="562"/>
                  </a:lnTo>
                  <a:lnTo>
                    <a:pt x="390" y="562"/>
                  </a:lnTo>
                  <a:lnTo>
                    <a:pt x="394" y="558"/>
                  </a:lnTo>
                  <a:lnTo>
                    <a:pt x="399" y="553"/>
                  </a:lnTo>
                  <a:lnTo>
                    <a:pt x="399" y="553"/>
                  </a:lnTo>
                  <a:lnTo>
                    <a:pt x="399" y="553"/>
                  </a:lnTo>
                  <a:lnTo>
                    <a:pt x="399" y="553"/>
                  </a:lnTo>
                  <a:lnTo>
                    <a:pt x="399" y="553"/>
                  </a:lnTo>
                  <a:lnTo>
                    <a:pt x="399" y="553"/>
                  </a:lnTo>
                  <a:lnTo>
                    <a:pt x="399" y="549"/>
                  </a:lnTo>
                  <a:lnTo>
                    <a:pt x="399" y="549"/>
                  </a:lnTo>
                  <a:lnTo>
                    <a:pt x="399" y="549"/>
                  </a:lnTo>
                  <a:lnTo>
                    <a:pt x="399" y="545"/>
                  </a:lnTo>
                  <a:lnTo>
                    <a:pt x="403" y="545"/>
                  </a:lnTo>
                  <a:lnTo>
                    <a:pt x="403" y="545"/>
                  </a:lnTo>
                  <a:lnTo>
                    <a:pt x="403" y="545"/>
                  </a:lnTo>
                  <a:lnTo>
                    <a:pt x="399" y="545"/>
                  </a:lnTo>
                  <a:lnTo>
                    <a:pt x="399" y="540"/>
                  </a:lnTo>
                  <a:lnTo>
                    <a:pt x="399" y="540"/>
                  </a:lnTo>
                  <a:lnTo>
                    <a:pt x="399" y="540"/>
                  </a:lnTo>
                  <a:lnTo>
                    <a:pt x="399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03" y="540"/>
                  </a:lnTo>
                  <a:lnTo>
                    <a:pt x="412" y="540"/>
                  </a:lnTo>
                  <a:lnTo>
                    <a:pt x="412" y="540"/>
                  </a:lnTo>
                  <a:lnTo>
                    <a:pt x="412" y="540"/>
                  </a:lnTo>
                  <a:lnTo>
                    <a:pt x="412" y="545"/>
                  </a:lnTo>
                  <a:lnTo>
                    <a:pt x="416" y="545"/>
                  </a:lnTo>
                  <a:lnTo>
                    <a:pt x="416" y="545"/>
                  </a:lnTo>
                  <a:lnTo>
                    <a:pt x="416" y="540"/>
                  </a:lnTo>
                  <a:lnTo>
                    <a:pt x="416" y="540"/>
                  </a:lnTo>
                  <a:lnTo>
                    <a:pt x="416" y="540"/>
                  </a:lnTo>
                  <a:lnTo>
                    <a:pt x="416" y="540"/>
                  </a:lnTo>
                  <a:lnTo>
                    <a:pt x="416" y="540"/>
                  </a:lnTo>
                  <a:lnTo>
                    <a:pt x="416" y="540"/>
                  </a:lnTo>
                  <a:lnTo>
                    <a:pt x="416" y="540"/>
                  </a:lnTo>
                  <a:lnTo>
                    <a:pt x="421" y="536"/>
                  </a:lnTo>
                  <a:lnTo>
                    <a:pt x="421" y="536"/>
                  </a:lnTo>
                  <a:lnTo>
                    <a:pt x="421" y="536"/>
                  </a:lnTo>
                  <a:lnTo>
                    <a:pt x="421" y="536"/>
                  </a:lnTo>
                  <a:lnTo>
                    <a:pt x="421" y="531"/>
                  </a:lnTo>
                  <a:lnTo>
                    <a:pt x="421" y="531"/>
                  </a:lnTo>
                  <a:lnTo>
                    <a:pt x="421" y="531"/>
                  </a:lnTo>
                  <a:lnTo>
                    <a:pt x="421" y="531"/>
                  </a:lnTo>
                  <a:lnTo>
                    <a:pt x="421" y="531"/>
                  </a:lnTo>
                  <a:lnTo>
                    <a:pt x="421" y="527"/>
                  </a:lnTo>
                  <a:lnTo>
                    <a:pt x="416" y="527"/>
                  </a:lnTo>
                  <a:lnTo>
                    <a:pt x="421" y="527"/>
                  </a:lnTo>
                  <a:lnTo>
                    <a:pt x="421" y="523"/>
                  </a:lnTo>
                  <a:lnTo>
                    <a:pt x="421" y="523"/>
                  </a:lnTo>
                  <a:lnTo>
                    <a:pt x="416" y="518"/>
                  </a:lnTo>
                  <a:lnTo>
                    <a:pt x="416" y="518"/>
                  </a:lnTo>
                  <a:lnTo>
                    <a:pt x="416" y="518"/>
                  </a:lnTo>
                  <a:lnTo>
                    <a:pt x="412" y="514"/>
                  </a:lnTo>
                  <a:lnTo>
                    <a:pt x="412" y="514"/>
                  </a:lnTo>
                  <a:lnTo>
                    <a:pt x="412" y="514"/>
                  </a:lnTo>
                  <a:lnTo>
                    <a:pt x="412" y="514"/>
                  </a:lnTo>
                  <a:lnTo>
                    <a:pt x="407" y="514"/>
                  </a:lnTo>
                  <a:lnTo>
                    <a:pt x="407" y="509"/>
                  </a:lnTo>
                  <a:lnTo>
                    <a:pt x="407" y="509"/>
                  </a:lnTo>
                  <a:lnTo>
                    <a:pt x="407" y="509"/>
                  </a:lnTo>
                  <a:lnTo>
                    <a:pt x="407" y="509"/>
                  </a:lnTo>
                  <a:lnTo>
                    <a:pt x="407" y="509"/>
                  </a:lnTo>
                  <a:lnTo>
                    <a:pt x="403" y="509"/>
                  </a:lnTo>
                  <a:lnTo>
                    <a:pt x="403" y="509"/>
                  </a:lnTo>
                  <a:lnTo>
                    <a:pt x="403" y="509"/>
                  </a:lnTo>
                  <a:lnTo>
                    <a:pt x="403" y="509"/>
                  </a:lnTo>
                  <a:lnTo>
                    <a:pt x="403" y="509"/>
                  </a:lnTo>
                  <a:lnTo>
                    <a:pt x="403" y="509"/>
                  </a:lnTo>
                  <a:lnTo>
                    <a:pt x="399" y="509"/>
                  </a:lnTo>
                  <a:lnTo>
                    <a:pt x="399" y="509"/>
                  </a:lnTo>
                  <a:lnTo>
                    <a:pt x="399" y="505"/>
                  </a:lnTo>
                  <a:lnTo>
                    <a:pt x="399" y="505"/>
                  </a:lnTo>
                  <a:lnTo>
                    <a:pt x="399" y="505"/>
                  </a:lnTo>
                  <a:lnTo>
                    <a:pt x="394" y="500"/>
                  </a:lnTo>
                  <a:lnTo>
                    <a:pt x="394" y="500"/>
                  </a:lnTo>
                  <a:lnTo>
                    <a:pt x="394" y="496"/>
                  </a:lnTo>
                  <a:lnTo>
                    <a:pt x="390" y="496"/>
                  </a:lnTo>
                  <a:lnTo>
                    <a:pt x="390" y="496"/>
                  </a:lnTo>
                  <a:lnTo>
                    <a:pt x="385" y="496"/>
                  </a:lnTo>
                  <a:lnTo>
                    <a:pt x="385" y="496"/>
                  </a:lnTo>
                  <a:lnTo>
                    <a:pt x="385" y="492"/>
                  </a:lnTo>
                  <a:lnTo>
                    <a:pt x="381" y="487"/>
                  </a:lnTo>
                  <a:lnTo>
                    <a:pt x="381" y="487"/>
                  </a:lnTo>
                  <a:lnTo>
                    <a:pt x="381" y="487"/>
                  </a:lnTo>
                  <a:lnTo>
                    <a:pt x="381" y="487"/>
                  </a:lnTo>
                  <a:lnTo>
                    <a:pt x="377" y="483"/>
                  </a:lnTo>
                  <a:lnTo>
                    <a:pt x="377" y="483"/>
                  </a:lnTo>
                  <a:lnTo>
                    <a:pt x="377" y="483"/>
                  </a:lnTo>
                  <a:lnTo>
                    <a:pt x="377" y="483"/>
                  </a:lnTo>
                  <a:lnTo>
                    <a:pt x="377" y="483"/>
                  </a:lnTo>
                  <a:lnTo>
                    <a:pt x="377" y="478"/>
                  </a:lnTo>
                  <a:lnTo>
                    <a:pt x="372" y="478"/>
                  </a:lnTo>
                  <a:lnTo>
                    <a:pt x="372" y="478"/>
                  </a:lnTo>
                  <a:lnTo>
                    <a:pt x="372" y="478"/>
                  </a:lnTo>
                  <a:lnTo>
                    <a:pt x="372" y="478"/>
                  </a:lnTo>
                  <a:lnTo>
                    <a:pt x="372" y="478"/>
                  </a:lnTo>
                  <a:lnTo>
                    <a:pt x="368" y="478"/>
                  </a:lnTo>
                  <a:lnTo>
                    <a:pt x="368" y="478"/>
                  </a:lnTo>
                  <a:lnTo>
                    <a:pt x="363" y="478"/>
                  </a:lnTo>
                  <a:lnTo>
                    <a:pt x="363" y="478"/>
                  </a:lnTo>
                  <a:lnTo>
                    <a:pt x="363" y="474"/>
                  </a:lnTo>
                  <a:lnTo>
                    <a:pt x="363" y="474"/>
                  </a:lnTo>
                  <a:lnTo>
                    <a:pt x="359" y="474"/>
                  </a:lnTo>
                  <a:lnTo>
                    <a:pt x="359" y="469"/>
                  </a:lnTo>
                  <a:lnTo>
                    <a:pt x="359" y="469"/>
                  </a:lnTo>
                  <a:lnTo>
                    <a:pt x="359" y="469"/>
                  </a:lnTo>
                  <a:lnTo>
                    <a:pt x="359" y="465"/>
                  </a:lnTo>
                  <a:lnTo>
                    <a:pt x="359" y="465"/>
                  </a:lnTo>
                  <a:lnTo>
                    <a:pt x="359" y="465"/>
                  </a:lnTo>
                  <a:lnTo>
                    <a:pt x="354" y="465"/>
                  </a:lnTo>
                  <a:lnTo>
                    <a:pt x="354" y="465"/>
                  </a:lnTo>
                  <a:lnTo>
                    <a:pt x="354" y="465"/>
                  </a:lnTo>
                  <a:lnTo>
                    <a:pt x="354" y="465"/>
                  </a:lnTo>
                  <a:lnTo>
                    <a:pt x="354" y="461"/>
                  </a:lnTo>
                  <a:lnTo>
                    <a:pt x="354" y="461"/>
                  </a:lnTo>
                  <a:lnTo>
                    <a:pt x="354" y="461"/>
                  </a:lnTo>
                  <a:lnTo>
                    <a:pt x="354" y="461"/>
                  </a:lnTo>
                  <a:lnTo>
                    <a:pt x="354" y="456"/>
                  </a:lnTo>
                  <a:lnTo>
                    <a:pt x="354" y="456"/>
                  </a:lnTo>
                  <a:lnTo>
                    <a:pt x="350" y="456"/>
                  </a:lnTo>
                  <a:lnTo>
                    <a:pt x="350" y="456"/>
                  </a:lnTo>
                  <a:lnTo>
                    <a:pt x="350" y="456"/>
                  </a:lnTo>
                  <a:lnTo>
                    <a:pt x="350" y="456"/>
                  </a:lnTo>
                  <a:lnTo>
                    <a:pt x="350" y="456"/>
                  </a:lnTo>
                  <a:lnTo>
                    <a:pt x="350" y="456"/>
                  </a:lnTo>
                  <a:lnTo>
                    <a:pt x="350" y="452"/>
                  </a:lnTo>
                  <a:lnTo>
                    <a:pt x="350" y="452"/>
                  </a:lnTo>
                  <a:lnTo>
                    <a:pt x="350" y="452"/>
                  </a:lnTo>
                  <a:lnTo>
                    <a:pt x="350" y="452"/>
                  </a:lnTo>
                  <a:lnTo>
                    <a:pt x="350" y="452"/>
                  </a:lnTo>
                  <a:lnTo>
                    <a:pt x="346" y="452"/>
                  </a:lnTo>
                  <a:lnTo>
                    <a:pt x="346" y="447"/>
                  </a:lnTo>
                  <a:lnTo>
                    <a:pt x="346" y="447"/>
                  </a:lnTo>
                  <a:lnTo>
                    <a:pt x="346" y="447"/>
                  </a:lnTo>
                  <a:lnTo>
                    <a:pt x="346" y="447"/>
                  </a:lnTo>
                  <a:lnTo>
                    <a:pt x="346" y="443"/>
                  </a:lnTo>
                  <a:lnTo>
                    <a:pt x="346" y="443"/>
                  </a:lnTo>
                  <a:lnTo>
                    <a:pt x="350" y="443"/>
                  </a:lnTo>
                  <a:lnTo>
                    <a:pt x="350" y="443"/>
                  </a:lnTo>
                  <a:lnTo>
                    <a:pt x="350" y="438"/>
                  </a:lnTo>
                  <a:lnTo>
                    <a:pt x="350" y="438"/>
                  </a:lnTo>
                  <a:lnTo>
                    <a:pt x="350" y="438"/>
                  </a:lnTo>
                  <a:lnTo>
                    <a:pt x="350" y="438"/>
                  </a:lnTo>
                  <a:lnTo>
                    <a:pt x="350" y="434"/>
                  </a:lnTo>
                  <a:lnTo>
                    <a:pt x="350" y="434"/>
                  </a:lnTo>
                  <a:lnTo>
                    <a:pt x="350" y="434"/>
                  </a:lnTo>
                  <a:lnTo>
                    <a:pt x="350" y="434"/>
                  </a:lnTo>
                  <a:lnTo>
                    <a:pt x="350" y="434"/>
                  </a:lnTo>
                  <a:lnTo>
                    <a:pt x="350" y="430"/>
                  </a:lnTo>
                  <a:lnTo>
                    <a:pt x="350" y="430"/>
                  </a:lnTo>
                  <a:lnTo>
                    <a:pt x="350" y="430"/>
                  </a:lnTo>
                  <a:lnTo>
                    <a:pt x="350" y="430"/>
                  </a:lnTo>
                  <a:lnTo>
                    <a:pt x="350" y="425"/>
                  </a:lnTo>
                  <a:lnTo>
                    <a:pt x="346" y="425"/>
                  </a:lnTo>
                  <a:lnTo>
                    <a:pt x="346" y="425"/>
                  </a:lnTo>
                  <a:lnTo>
                    <a:pt x="346" y="425"/>
                  </a:lnTo>
                  <a:lnTo>
                    <a:pt x="337" y="421"/>
                  </a:lnTo>
                  <a:lnTo>
                    <a:pt x="337" y="421"/>
                  </a:lnTo>
                  <a:lnTo>
                    <a:pt x="337" y="421"/>
                  </a:lnTo>
                  <a:lnTo>
                    <a:pt x="337" y="421"/>
                  </a:lnTo>
                  <a:lnTo>
                    <a:pt x="337" y="416"/>
                  </a:lnTo>
                  <a:lnTo>
                    <a:pt x="337" y="416"/>
                  </a:lnTo>
                  <a:lnTo>
                    <a:pt x="337" y="416"/>
                  </a:lnTo>
                  <a:lnTo>
                    <a:pt x="332" y="416"/>
                  </a:lnTo>
                  <a:lnTo>
                    <a:pt x="332" y="416"/>
                  </a:lnTo>
                  <a:lnTo>
                    <a:pt x="332" y="416"/>
                  </a:lnTo>
                  <a:lnTo>
                    <a:pt x="332" y="412"/>
                  </a:lnTo>
                  <a:lnTo>
                    <a:pt x="332" y="412"/>
                  </a:lnTo>
                  <a:lnTo>
                    <a:pt x="332" y="412"/>
                  </a:lnTo>
                  <a:lnTo>
                    <a:pt x="332" y="407"/>
                  </a:lnTo>
                  <a:lnTo>
                    <a:pt x="332" y="407"/>
                  </a:lnTo>
                  <a:lnTo>
                    <a:pt x="328" y="407"/>
                  </a:lnTo>
                  <a:lnTo>
                    <a:pt x="328" y="403"/>
                  </a:lnTo>
                  <a:lnTo>
                    <a:pt x="328" y="403"/>
                  </a:lnTo>
                  <a:lnTo>
                    <a:pt x="328" y="403"/>
                  </a:lnTo>
                  <a:lnTo>
                    <a:pt x="332" y="403"/>
                  </a:lnTo>
                  <a:lnTo>
                    <a:pt x="332" y="403"/>
                  </a:lnTo>
                  <a:lnTo>
                    <a:pt x="332" y="403"/>
                  </a:lnTo>
                  <a:lnTo>
                    <a:pt x="328" y="399"/>
                  </a:lnTo>
                  <a:lnTo>
                    <a:pt x="328" y="399"/>
                  </a:lnTo>
                  <a:lnTo>
                    <a:pt x="328" y="399"/>
                  </a:lnTo>
                  <a:lnTo>
                    <a:pt x="332" y="399"/>
                  </a:lnTo>
                  <a:lnTo>
                    <a:pt x="332" y="399"/>
                  </a:lnTo>
                  <a:lnTo>
                    <a:pt x="332" y="403"/>
                  </a:lnTo>
                  <a:lnTo>
                    <a:pt x="332" y="403"/>
                  </a:lnTo>
                  <a:lnTo>
                    <a:pt x="332" y="403"/>
                  </a:lnTo>
                  <a:lnTo>
                    <a:pt x="332" y="403"/>
                  </a:lnTo>
                  <a:lnTo>
                    <a:pt x="337" y="403"/>
                  </a:lnTo>
                  <a:lnTo>
                    <a:pt x="337" y="403"/>
                  </a:lnTo>
                  <a:lnTo>
                    <a:pt x="337" y="403"/>
                  </a:lnTo>
                  <a:lnTo>
                    <a:pt x="337" y="403"/>
                  </a:lnTo>
                  <a:lnTo>
                    <a:pt x="337" y="403"/>
                  </a:lnTo>
                  <a:lnTo>
                    <a:pt x="337" y="403"/>
                  </a:lnTo>
                  <a:lnTo>
                    <a:pt x="337" y="403"/>
                  </a:lnTo>
                  <a:lnTo>
                    <a:pt x="337" y="403"/>
                  </a:lnTo>
                  <a:lnTo>
                    <a:pt x="337" y="407"/>
                  </a:lnTo>
                  <a:lnTo>
                    <a:pt x="337" y="407"/>
                  </a:lnTo>
                  <a:lnTo>
                    <a:pt x="337" y="407"/>
                  </a:lnTo>
                  <a:lnTo>
                    <a:pt x="337" y="407"/>
                  </a:lnTo>
                  <a:lnTo>
                    <a:pt x="337" y="407"/>
                  </a:lnTo>
                  <a:lnTo>
                    <a:pt x="337" y="407"/>
                  </a:lnTo>
                  <a:lnTo>
                    <a:pt x="337" y="407"/>
                  </a:lnTo>
                  <a:lnTo>
                    <a:pt x="337" y="407"/>
                  </a:lnTo>
                  <a:lnTo>
                    <a:pt x="337" y="407"/>
                  </a:lnTo>
                  <a:lnTo>
                    <a:pt x="337" y="407"/>
                  </a:lnTo>
                  <a:lnTo>
                    <a:pt x="337" y="407"/>
                  </a:lnTo>
                  <a:lnTo>
                    <a:pt x="337" y="412"/>
                  </a:lnTo>
                  <a:lnTo>
                    <a:pt x="341" y="412"/>
                  </a:lnTo>
                  <a:lnTo>
                    <a:pt x="341" y="412"/>
                  </a:lnTo>
                  <a:lnTo>
                    <a:pt x="341" y="412"/>
                  </a:lnTo>
                  <a:lnTo>
                    <a:pt x="341" y="412"/>
                  </a:lnTo>
                  <a:lnTo>
                    <a:pt x="341" y="412"/>
                  </a:lnTo>
                  <a:lnTo>
                    <a:pt x="341" y="407"/>
                  </a:lnTo>
                  <a:lnTo>
                    <a:pt x="341" y="407"/>
                  </a:lnTo>
                  <a:lnTo>
                    <a:pt x="341" y="407"/>
                  </a:lnTo>
                  <a:lnTo>
                    <a:pt x="341" y="403"/>
                  </a:lnTo>
                  <a:lnTo>
                    <a:pt x="341" y="403"/>
                  </a:lnTo>
                  <a:lnTo>
                    <a:pt x="341" y="403"/>
                  </a:lnTo>
                  <a:lnTo>
                    <a:pt x="341" y="403"/>
                  </a:lnTo>
                  <a:lnTo>
                    <a:pt x="346" y="403"/>
                  </a:lnTo>
                  <a:lnTo>
                    <a:pt x="346" y="399"/>
                  </a:lnTo>
                  <a:lnTo>
                    <a:pt x="346" y="399"/>
                  </a:lnTo>
                  <a:lnTo>
                    <a:pt x="346" y="399"/>
                  </a:lnTo>
                  <a:lnTo>
                    <a:pt x="350" y="399"/>
                  </a:lnTo>
                  <a:lnTo>
                    <a:pt x="350" y="399"/>
                  </a:lnTo>
                  <a:lnTo>
                    <a:pt x="350" y="399"/>
                  </a:lnTo>
                  <a:lnTo>
                    <a:pt x="350" y="399"/>
                  </a:lnTo>
                  <a:lnTo>
                    <a:pt x="350" y="399"/>
                  </a:lnTo>
                  <a:lnTo>
                    <a:pt x="350" y="394"/>
                  </a:lnTo>
                  <a:lnTo>
                    <a:pt x="350" y="394"/>
                  </a:lnTo>
                  <a:lnTo>
                    <a:pt x="350" y="394"/>
                  </a:lnTo>
                  <a:lnTo>
                    <a:pt x="350" y="394"/>
                  </a:lnTo>
                  <a:lnTo>
                    <a:pt x="350" y="394"/>
                  </a:lnTo>
                  <a:lnTo>
                    <a:pt x="350" y="394"/>
                  </a:lnTo>
                  <a:lnTo>
                    <a:pt x="350" y="394"/>
                  </a:lnTo>
                  <a:lnTo>
                    <a:pt x="350" y="394"/>
                  </a:lnTo>
                  <a:lnTo>
                    <a:pt x="354" y="394"/>
                  </a:lnTo>
                  <a:lnTo>
                    <a:pt x="359" y="394"/>
                  </a:lnTo>
                  <a:lnTo>
                    <a:pt x="359" y="394"/>
                  </a:lnTo>
                  <a:lnTo>
                    <a:pt x="359" y="394"/>
                  </a:lnTo>
                  <a:lnTo>
                    <a:pt x="363" y="394"/>
                  </a:lnTo>
                  <a:lnTo>
                    <a:pt x="363" y="390"/>
                  </a:lnTo>
                  <a:lnTo>
                    <a:pt x="363" y="390"/>
                  </a:lnTo>
                  <a:lnTo>
                    <a:pt x="363" y="390"/>
                  </a:lnTo>
                  <a:lnTo>
                    <a:pt x="363" y="390"/>
                  </a:lnTo>
                  <a:lnTo>
                    <a:pt x="368" y="390"/>
                  </a:lnTo>
                  <a:lnTo>
                    <a:pt x="368" y="390"/>
                  </a:lnTo>
                  <a:lnTo>
                    <a:pt x="368" y="390"/>
                  </a:lnTo>
                  <a:lnTo>
                    <a:pt x="368" y="390"/>
                  </a:lnTo>
                  <a:lnTo>
                    <a:pt x="368" y="390"/>
                  </a:lnTo>
                  <a:lnTo>
                    <a:pt x="372" y="390"/>
                  </a:lnTo>
                  <a:lnTo>
                    <a:pt x="377" y="390"/>
                  </a:lnTo>
                  <a:lnTo>
                    <a:pt x="377" y="390"/>
                  </a:lnTo>
                  <a:lnTo>
                    <a:pt x="377" y="390"/>
                  </a:lnTo>
                  <a:lnTo>
                    <a:pt x="377" y="390"/>
                  </a:lnTo>
                  <a:lnTo>
                    <a:pt x="377" y="390"/>
                  </a:lnTo>
                  <a:lnTo>
                    <a:pt x="377" y="385"/>
                  </a:lnTo>
                  <a:lnTo>
                    <a:pt x="377" y="385"/>
                  </a:lnTo>
                  <a:lnTo>
                    <a:pt x="377" y="385"/>
                  </a:lnTo>
                  <a:lnTo>
                    <a:pt x="381" y="385"/>
                  </a:lnTo>
                  <a:lnTo>
                    <a:pt x="381" y="385"/>
                  </a:lnTo>
                  <a:lnTo>
                    <a:pt x="381" y="385"/>
                  </a:lnTo>
                  <a:lnTo>
                    <a:pt x="381" y="385"/>
                  </a:lnTo>
                  <a:lnTo>
                    <a:pt x="381" y="385"/>
                  </a:lnTo>
                  <a:lnTo>
                    <a:pt x="381" y="385"/>
                  </a:lnTo>
                  <a:lnTo>
                    <a:pt x="381" y="385"/>
                  </a:lnTo>
                  <a:lnTo>
                    <a:pt x="381" y="385"/>
                  </a:lnTo>
                  <a:lnTo>
                    <a:pt x="381" y="385"/>
                  </a:lnTo>
                  <a:lnTo>
                    <a:pt x="385" y="385"/>
                  </a:lnTo>
                  <a:lnTo>
                    <a:pt x="385" y="385"/>
                  </a:lnTo>
                  <a:lnTo>
                    <a:pt x="390" y="381"/>
                  </a:lnTo>
                  <a:lnTo>
                    <a:pt x="390" y="376"/>
                  </a:lnTo>
                  <a:lnTo>
                    <a:pt x="390" y="376"/>
                  </a:lnTo>
                  <a:lnTo>
                    <a:pt x="390" y="376"/>
                  </a:lnTo>
                  <a:lnTo>
                    <a:pt x="394" y="376"/>
                  </a:lnTo>
                  <a:lnTo>
                    <a:pt x="394" y="376"/>
                  </a:lnTo>
                  <a:lnTo>
                    <a:pt x="394" y="376"/>
                  </a:lnTo>
                  <a:lnTo>
                    <a:pt x="394" y="376"/>
                  </a:lnTo>
                  <a:lnTo>
                    <a:pt x="394" y="372"/>
                  </a:lnTo>
                  <a:lnTo>
                    <a:pt x="394" y="372"/>
                  </a:lnTo>
                  <a:lnTo>
                    <a:pt x="399" y="372"/>
                  </a:lnTo>
                  <a:lnTo>
                    <a:pt x="399" y="372"/>
                  </a:lnTo>
                  <a:lnTo>
                    <a:pt x="399" y="372"/>
                  </a:lnTo>
                  <a:lnTo>
                    <a:pt x="399" y="372"/>
                  </a:lnTo>
                  <a:lnTo>
                    <a:pt x="399" y="376"/>
                  </a:lnTo>
                  <a:lnTo>
                    <a:pt x="399" y="376"/>
                  </a:lnTo>
                  <a:lnTo>
                    <a:pt x="399" y="376"/>
                  </a:lnTo>
                  <a:lnTo>
                    <a:pt x="399" y="376"/>
                  </a:lnTo>
                  <a:lnTo>
                    <a:pt x="403" y="376"/>
                  </a:lnTo>
                  <a:lnTo>
                    <a:pt x="403" y="372"/>
                  </a:lnTo>
                  <a:lnTo>
                    <a:pt x="403" y="372"/>
                  </a:lnTo>
                  <a:lnTo>
                    <a:pt x="403" y="372"/>
                  </a:lnTo>
                  <a:lnTo>
                    <a:pt x="403" y="372"/>
                  </a:lnTo>
                  <a:lnTo>
                    <a:pt x="403" y="372"/>
                  </a:lnTo>
                  <a:lnTo>
                    <a:pt x="403" y="372"/>
                  </a:lnTo>
                  <a:lnTo>
                    <a:pt x="403" y="372"/>
                  </a:lnTo>
                  <a:lnTo>
                    <a:pt x="403" y="368"/>
                  </a:lnTo>
                  <a:lnTo>
                    <a:pt x="403" y="368"/>
                  </a:lnTo>
                  <a:lnTo>
                    <a:pt x="407" y="368"/>
                  </a:lnTo>
                  <a:lnTo>
                    <a:pt x="407" y="368"/>
                  </a:lnTo>
                  <a:lnTo>
                    <a:pt x="412" y="368"/>
                  </a:lnTo>
                  <a:lnTo>
                    <a:pt x="416" y="368"/>
                  </a:lnTo>
                  <a:lnTo>
                    <a:pt x="416" y="368"/>
                  </a:lnTo>
                  <a:lnTo>
                    <a:pt x="416" y="363"/>
                  </a:lnTo>
                  <a:lnTo>
                    <a:pt x="421" y="368"/>
                  </a:lnTo>
                  <a:lnTo>
                    <a:pt x="421" y="368"/>
                  </a:lnTo>
                  <a:lnTo>
                    <a:pt x="421" y="363"/>
                  </a:lnTo>
                  <a:lnTo>
                    <a:pt x="421" y="363"/>
                  </a:lnTo>
                  <a:lnTo>
                    <a:pt x="425" y="363"/>
                  </a:lnTo>
                  <a:lnTo>
                    <a:pt x="425" y="363"/>
                  </a:lnTo>
                  <a:lnTo>
                    <a:pt x="425" y="363"/>
                  </a:lnTo>
                  <a:lnTo>
                    <a:pt x="425" y="363"/>
                  </a:lnTo>
                  <a:lnTo>
                    <a:pt x="425" y="363"/>
                  </a:lnTo>
                  <a:lnTo>
                    <a:pt x="425" y="363"/>
                  </a:lnTo>
                  <a:lnTo>
                    <a:pt x="425" y="359"/>
                  </a:lnTo>
                  <a:lnTo>
                    <a:pt x="425" y="359"/>
                  </a:lnTo>
                  <a:lnTo>
                    <a:pt x="425" y="359"/>
                  </a:lnTo>
                  <a:lnTo>
                    <a:pt x="425" y="359"/>
                  </a:lnTo>
                  <a:lnTo>
                    <a:pt x="425" y="359"/>
                  </a:lnTo>
                  <a:lnTo>
                    <a:pt x="425" y="359"/>
                  </a:lnTo>
                  <a:lnTo>
                    <a:pt x="430" y="359"/>
                  </a:lnTo>
                  <a:lnTo>
                    <a:pt x="430" y="359"/>
                  </a:lnTo>
                  <a:lnTo>
                    <a:pt x="430" y="359"/>
                  </a:lnTo>
                  <a:lnTo>
                    <a:pt x="430" y="359"/>
                  </a:lnTo>
                  <a:lnTo>
                    <a:pt x="438" y="354"/>
                  </a:lnTo>
                  <a:lnTo>
                    <a:pt x="438" y="354"/>
                  </a:lnTo>
                  <a:lnTo>
                    <a:pt x="443" y="354"/>
                  </a:lnTo>
                  <a:lnTo>
                    <a:pt x="443" y="354"/>
                  </a:lnTo>
                  <a:lnTo>
                    <a:pt x="443" y="350"/>
                  </a:lnTo>
                  <a:lnTo>
                    <a:pt x="447" y="354"/>
                  </a:lnTo>
                  <a:lnTo>
                    <a:pt x="452" y="350"/>
                  </a:lnTo>
                  <a:lnTo>
                    <a:pt x="452" y="350"/>
                  </a:lnTo>
                  <a:lnTo>
                    <a:pt x="447" y="350"/>
                  </a:lnTo>
                  <a:lnTo>
                    <a:pt x="447" y="345"/>
                  </a:lnTo>
                  <a:lnTo>
                    <a:pt x="447" y="345"/>
                  </a:lnTo>
                  <a:lnTo>
                    <a:pt x="447" y="345"/>
                  </a:lnTo>
                  <a:lnTo>
                    <a:pt x="447" y="345"/>
                  </a:lnTo>
                  <a:lnTo>
                    <a:pt x="447" y="345"/>
                  </a:lnTo>
                  <a:lnTo>
                    <a:pt x="443" y="345"/>
                  </a:lnTo>
                  <a:lnTo>
                    <a:pt x="443" y="345"/>
                  </a:lnTo>
                  <a:lnTo>
                    <a:pt x="443" y="345"/>
                  </a:lnTo>
                  <a:lnTo>
                    <a:pt x="443" y="341"/>
                  </a:lnTo>
                  <a:lnTo>
                    <a:pt x="443" y="341"/>
                  </a:lnTo>
                  <a:lnTo>
                    <a:pt x="443" y="341"/>
                  </a:lnTo>
                  <a:lnTo>
                    <a:pt x="447" y="341"/>
                  </a:lnTo>
                  <a:lnTo>
                    <a:pt x="447" y="341"/>
                  </a:lnTo>
                  <a:lnTo>
                    <a:pt x="447" y="341"/>
                  </a:lnTo>
                  <a:lnTo>
                    <a:pt x="447" y="341"/>
                  </a:lnTo>
                  <a:lnTo>
                    <a:pt x="452" y="341"/>
                  </a:lnTo>
                  <a:lnTo>
                    <a:pt x="452" y="341"/>
                  </a:lnTo>
                  <a:lnTo>
                    <a:pt x="452" y="341"/>
                  </a:lnTo>
                  <a:lnTo>
                    <a:pt x="452" y="341"/>
                  </a:lnTo>
                  <a:lnTo>
                    <a:pt x="456" y="341"/>
                  </a:lnTo>
                  <a:lnTo>
                    <a:pt x="456" y="341"/>
                  </a:lnTo>
                  <a:lnTo>
                    <a:pt x="456" y="341"/>
                  </a:lnTo>
                  <a:lnTo>
                    <a:pt x="456" y="341"/>
                  </a:lnTo>
                  <a:lnTo>
                    <a:pt x="456" y="341"/>
                  </a:lnTo>
                  <a:lnTo>
                    <a:pt x="456" y="341"/>
                  </a:lnTo>
                  <a:lnTo>
                    <a:pt x="456" y="341"/>
                  </a:lnTo>
                  <a:lnTo>
                    <a:pt x="456" y="341"/>
                  </a:lnTo>
                  <a:lnTo>
                    <a:pt x="461" y="341"/>
                  </a:lnTo>
                  <a:lnTo>
                    <a:pt x="461" y="341"/>
                  </a:lnTo>
                  <a:lnTo>
                    <a:pt x="461" y="345"/>
                  </a:lnTo>
                  <a:lnTo>
                    <a:pt x="461" y="345"/>
                  </a:lnTo>
                  <a:lnTo>
                    <a:pt x="461" y="345"/>
                  </a:lnTo>
                  <a:lnTo>
                    <a:pt x="461" y="345"/>
                  </a:lnTo>
                  <a:lnTo>
                    <a:pt x="461" y="345"/>
                  </a:lnTo>
                  <a:lnTo>
                    <a:pt x="461" y="350"/>
                  </a:lnTo>
                  <a:lnTo>
                    <a:pt x="461" y="350"/>
                  </a:lnTo>
                  <a:lnTo>
                    <a:pt x="461" y="350"/>
                  </a:lnTo>
                  <a:lnTo>
                    <a:pt x="461" y="350"/>
                  </a:lnTo>
                  <a:lnTo>
                    <a:pt x="465" y="350"/>
                  </a:lnTo>
                  <a:lnTo>
                    <a:pt x="465" y="350"/>
                  </a:lnTo>
                  <a:lnTo>
                    <a:pt x="465" y="350"/>
                  </a:lnTo>
                  <a:lnTo>
                    <a:pt x="461" y="354"/>
                  </a:lnTo>
                  <a:lnTo>
                    <a:pt x="461" y="354"/>
                  </a:lnTo>
                  <a:lnTo>
                    <a:pt x="461" y="354"/>
                  </a:lnTo>
                  <a:lnTo>
                    <a:pt x="465" y="354"/>
                  </a:lnTo>
                  <a:lnTo>
                    <a:pt x="465" y="354"/>
                  </a:lnTo>
                  <a:lnTo>
                    <a:pt x="465" y="359"/>
                  </a:lnTo>
                  <a:lnTo>
                    <a:pt x="469" y="359"/>
                  </a:lnTo>
                  <a:lnTo>
                    <a:pt x="469" y="359"/>
                  </a:lnTo>
                  <a:lnTo>
                    <a:pt x="469" y="359"/>
                  </a:lnTo>
                  <a:lnTo>
                    <a:pt x="469" y="359"/>
                  </a:lnTo>
                  <a:lnTo>
                    <a:pt x="474" y="354"/>
                  </a:lnTo>
                  <a:lnTo>
                    <a:pt x="474" y="354"/>
                  </a:lnTo>
                  <a:lnTo>
                    <a:pt x="474" y="354"/>
                  </a:lnTo>
                  <a:lnTo>
                    <a:pt x="474" y="350"/>
                  </a:lnTo>
                  <a:lnTo>
                    <a:pt x="474" y="350"/>
                  </a:lnTo>
                  <a:lnTo>
                    <a:pt x="478" y="341"/>
                  </a:lnTo>
                  <a:lnTo>
                    <a:pt x="478" y="337"/>
                  </a:lnTo>
                  <a:lnTo>
                    <a:pt x="478" y="337"/>
                  </a:lnTo>
                  <a:lnTo>
                    <a:pt x="478" y="337"/>
                  </a:lnTo>
                  <a:lnTo>
                    <a:pt x="478" y="332"/>
                  </a:lnTo>
                  <a:lnTo>
                    <a:pt x="483" y="332"/>
                  </a:lnTo>
                  <a:lnTo>
                    <a:pt x="483" y="332"/>
                  </a:lnTo>
                  <a:lnTo>
                    <a:pt x="483" y="332"/>
                  </a:lnTo>
                  <a:lnTo>
                    <a:pt x="483" y="332"/>
                  </a:lnTo>
                  <a:lnTo>
                    <a:pt x="483" y="328"/>
                  </a:lnTo>
                  <a:lnTo>
                    <a:pt x="483" y="328"/>
                  </a:lnTo>
                  <a:lnTo>
                    <a:pt x="483" y="323"/>
                  </a:lnTo>
                  <a:lnTo>
                    <a:pt x="483" y="323"/>
                  </a:lnTo>
                  <a:lnTo>
                    <a:pt x="483" y="323"/>
                  </a:lnTo>
                  <a:close/>
                </a:path>
              </a:pathLst>
            </a:custGeom>
            <a:solidFill>
              <a:srgbClr val="565A5C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31" name="Freeform 63"/>
            <p:cNvSpPr>
              <a:spLocks/>
            </p:cNvSpPr>
            <p:nvPr/>
          </p:nvSpPr>
          <p:spPr bwMode="auto">
            <a:xfrm>
              <a:off x="3184525" y="3930651"/>
              <a:ext cx="26987" cy="49213"/>
            </a:xfrm>
            <a:custGeom>
              <a:avLst/>
              <a:gdLst>
                <a:gd name="T0" fmla="*/ 0 w 17"/>
                <a:gd name="T1" fmla="*/ 31 h 31"/>
                <a:gd name="T2" fmla="*/ 0 w 17"/>
                <a:gd name="T3" fmla="*/ 31 h 31"/>
                <a:gd name="T4" fmla="*/ 0 w 17"/>
                <a:gd name="T5" fmla="*/ 26 h 31"/>
                <a:gd name="T6" fmla="*/ 0 w 17"/>
                <a:gd name="T7" fmla="*/ 26 h 31"/>
                <a:gd name="T8" fmla="*/ 0 w 17"/>
                <a:gd name="T9" fmla="*/ 22 h 31"/>
                <a:gd name="T10" fmla="*/ 0 w 17"/>
                <a:gd name="T11" fmla="*/ 22 h 31"/>
                <a:gd name="T12" fmla="*/ 0 w 17"/>
                <a:gd name="T13" fmla="*/ 17 h 31"/>
                <a:gd name="T14" fmla="*/ 0 w 17"/>
                <a:gd name="T15" fmla="*/ 17 h 31"/>
                <a:gd name="T16" fmla="*/ 0 w 17"/>
                <a:gd name="T17" fmla="*/ 17 h 31"/>
                <a:gd name="T18" fmla="*/ 4 w 17"/>
                <a:gd name="T19" fmla="*/ 17 h 31"/>
                <a:gd name="T20" fmla="*/ 4 w 17"/>
                <a:gd name="T21" fmla="*/ 17 h 31"/>
                <a:gd name="T22" fmla="*/ 4 w 17"/>
                <a:gd name="T23" fmla="*/ 17 h 31"/>
                <a:gd name="T24" fmla="*/ 4 w 17"/>
                <a:gd name="T25" fmla="*/ 17 h 31"/>
                <a:gd name="T26" fmla="*/ 4 w 17"/>
                <a:gd name="T27" fmla="*/ 17 h 31"/>
                <a:gd name="T28" fmla="*/ 4 w 17"/>
                <a:gd name="T29" fmla="*/ 17 h 31"/>
                <a:gd name="T30" fmla="*/ 8 w 17"/>
                <a:gd name="T31" fmla="*/ 17 h 31"/>
                <a:gd name="T32" fmla="*/ 8 w 17"/>
                <a:gd name="T33" fmla="*/ 17 h 31"/>
                <a:gd name="T34" fmla="*/ 8 w 17"/>
                <a:gd name="T35" fmla="*/ 17 h 31"/>
                <a:gd name="T36" fmla="*/ 13 w 17"/>
                <a:gd name="T37" fmla="*/ 17 h 31"/>
                <a:gd name="T38" fmla="*/ 17 w 17"/>
                <a:gd name="T39" fmla="*/ 17 h 31"/>
                <a:gd name="T40" fmla="*/ 17 w 17"/>
                <a:gd name="T41" fmla="*/ 13 h 31"/>
                <a:gd name="T42" fmla="*/ 8 w 17"/>
                <a:gd name="T43" fmla="*/ 17 h 31"/>
                <a:gd name="T44" fmla="*/ 4 w 17"/>
                <a:gd name="T45" fmla="*/ 13 h 31"/>
                <a:gd name="T46" fmla="*/ 4 w 17"/>
                <a:gd name="T47" fmla="*/ 13 h 31"/>
                <a:gd name="T48" fmla="*/ 4 w 17"/>
                <a:gd name="T49" fmla="*/ 9 h 31"/>
                <a:gd name="T50" fmla="*/ 4 w 17"/>
                <a:gd name="T51" fmla="*/ 9 h 31"/>
                <a:gd name="T52" fmla="*/ 4 w 17"/>
                <a:gd name="T53" fmla="*/ 9 h 31"/>
                <a:gd name="T54" fmla="*/ 4 w 17"/>
                <a:gd name="T55" fmla="*/ 4 h 31"/>
                <a:gd name="T56" fmla="*/ 8 w 17"/>
                <a:gd name="T57" fmla="*/ 4 h 31"/>
                <a:gd name="T58" fmla="*/ 8 w 17"/>
                <a:gd name="T59" fmla="*/ 4 h 31"/>
                <a:gd name="T60" fmla="*/ 8 w 17"/>
                <a:gd name="T61" fmla="*/ 0 h 31"/>
                <a:gd name="T62" fmla="*/ 4 w 17"/>
                <a:gd name="T63" fmla="*/ 0 h 31"/>
                <a:gd name="T64" fmla="*/ 4 w 17"/>
                <a:gd name="T65" fmla="*/ 0 h 31"/>
                <a:gd name="T66" fmla="*/ 8 w 17"/>
                <a:gd name="T67" fmla="*/ 0 h 31"/>
                <a:gd name="T68" fmla="*/ 8 w 17"/>
                <a:gd name="T69" fmla="*/ 0 h 31"/>
                <a:gd name="T70" fmla="*/ 4 w 17"/>
                <a:gd name="T71" fmla="*/ 4 h 31"/>
                <a:gd name="T72" fmla="*/ 0 w 17"/>
                <a:gd name="T73" fmla="*/ 13 h 31"/>
                <a:gd name="T74" fmla="*/ 0 w 17"/>
                <a:gd name="T75" fmla="*/ 17 h 31"/>
                <a:gd name="T76" fmla="*/ 0 w 17"/>
                <a:gd name="T77" fmla="*/ 26 h 31"/>
                <a:gd name="T78" fmla="*/ 0 w 17"/>
                <a:gd name="T79" fmla="*/ 26 h 31"/>
                <a:gd name="T80" fmla="*/ 0 w 17"/>
                <a:gd name="T8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" h="31">
                  <a:moveTo>
                    <a:pt x="0" y="31"/>
                  </a:moveTo>
                  <a:lnTo>
                    <a:pt x="0" y="3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13" y="17"/>
                  </a:lnTo>
                  <a:lnTo>
                    <a:pt x="17" y="17"/>
                  </a:lnTo>
                  <a:lnTo>
                    <a:pt x="17" y="13"/>
                  </a:lnTo>
                  <a:lnTo>
                    <a:pt x="8" y="17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33" name="Freeform 65"/>
            <p:cNvSpPr>
              <a:spLocks noEditPoints="1"/>
            </p:cNvSpPr>
            <p:nvPr/>
          </p:nvSpPr>
          <p:spPr bwMode="auto">
            <a:xfrm>
              <a:off x="2058988" y="4486276"/>
              <a:ext cx="1230312" cy="1173163"/>
            </a:xfrm>
            <a:custGeom>
              <a:avLst/>
              <a:gdLst>
                <a:gd name="T0" fmla="*/ 766 w 775"/>
                <a:gd name="T1" fmla="*/ 624 h 739"/>
                <a:gd name="T2" fmla="*/ 731 w 775"/>
                <a:gd name="T3" fmla="*/ 659 h 739"/>
                <a:gd name="T4" fmla="*/ 722 w 775"/>
                <a:gd name="T5" fmla="*/ 677 h 739"/>
                <a:gd name="T6" fmla="*/ 735 w 775"/>
                <a:gd name="T7" fmla="*/ 704 h 739"/>
                <a:gd name="T8" fmla="*/ 740 w 775"/>
                <a:gd name="T9" fmla="*/ 726 h 739"/>
                <a:gd name="T10" fmla="*/ 762 w 775"/>
                <a:gd name="T11" fmla="*/ 734 h 739"/>
                <a:gd name="T12" fmla="*/ 775 w 775"/>
                <a:gd name="T13" fmla="*/ 673 h 739"/>
                <a:gd name="T14" fmla="*/ 191 w 775"/>
                <a:gd name="T15" fmla="*/ 385 h 739"/>
                <a:gd name="T16" fmla="*/ 160 w 775"/>
                <a:gd name="T17" fmla="*/ 327 h 739"/>
                <a:gd name="T18" fmla="*/ 673 w 775"/>
                <a:gd name="T19" fmla="*/ 163 h 739"/>
                <a:gd name="T20" fmla="*/ 625 w 775"/>
                <a:gd name="T21" fmla="*/ 155 h 739"/>
                <a:gd name="T22" fmla="*/ 580 w 775"/>
                <a:gd name="T23" fmla="*/ 128 h 739"/>
                <a:gd name="T24" fmla="*/ 536 w 775"/>
                <a:gd name="T25" fmla="*/ 106 h 739"/>
                <a:gd name="T26" fmla="*/ 492 w 775"/>
                <a:gd name="T27" fmla="*/ 88 h 739"/>
                <a:gd name="T28" fmla="*/ 465 w 775"/>
                <a:gd name="T29" fmla="*/ 53 h 739"/>
                <a:gd name="T30" fmla="*/ 412 w 775"/>
                <a:gd name="T31" fmla="*/ 22 h 739"/>
                <a:gd name="T32" fmla="*/ 355 w 775"/>
                <a:gd name="T33" fmla="*/ 57 h 739"/>
                <a:gd name="T34" fmla="*/ 284 w 775"/>
                <a:gd name="T35" fmla="*/ 132 h 739"/>
                <a:gd name="T36" fmla="*/ 204 w 775"/>
                <a:gd name="T37" fmla="*/ 119 h 739"/>
                <a:gd name="T38" fmla="*/ 173 w 775"/>
                <a:gd name="T39" fmla="*/ 128 h 739"/>
                <a:gd name="T40" fmla="*/ 186 w 775"/>
                <a:gd name="T41" fmla="*/ 168 h 739"/>
                <a:gd name="T42" fmla="*/ 173 w 775"/>
                <a:gd name="T43" fmla="*/ 194 h 739"/>
                <a:gd name="T44" fmla="*/ 155 w 775"/>
                <a:gd name="T45" fmla="*/ 199 h 739"/>
                <a:gd name="T46" fmla="*/ 124 w 775"/>
                <a:gd name="T47" fmla="*/ 203 h 739"/>
                <a:gd name="T48" fmla="*/ 102 w 775"/>
                <a:gd name="T49" fmla="*/ 186 h 739"/>
                <a:gd name="T50" fmla="*/ 71 w 775"/>
                <a:gd name="T51" fmla="*/ 194 h 739"/>
                <a:gd name="T52" fmla="*/ 45 w 775"/>
                <a:gd name="T53" fmla="*/ 199 h 739"/>
                <a:gd name="T54" fmla="*/ 31 w 775"/>
                <a:gd name="T55" fmla="*/ 221 h 739"/>
                <a:gd name="T56" fmla="*/ 40 w 775"/>
                <a:gd name="T57" fmla="*/ 225 h 739"/>
                <a:gd name="T58" fmla="*/ 23 w 775"/>
                <a:gd name="T59" fmla="*/ 243 h 739"/>
                <a:gd name="T60" fmla="*/ 62 w 775"/>
                <a:gd name="T61" fmla="*/ 261 h 739"/>
                <a:gd name="T62" fmla="*/ 98 w 775"/>
                <a:gd name="T63" fmla="*/ 265 h 739"/>
                <a:gd name="T64" fmla="*/ 102 w 775"/>
                <a:gd name="T65" fmla="*/ 278 h 739"/>
                <a:gd name="T66" fmla="*/ 116 w 775"/>
                <a:gd name="T67" fmla="*/ 274 h 739"/>
                <a:gd name="T68" fmla="*/ 120 w 775"/>
                <a:gd name="T69" fmla="*/ 283 h 739"/>
                <a:gd name="T70" fmla="*/ 147 w 775"/>
                <a:gd name="T71" fmla="*/ 292 h 739"/>
                <a:gd name="T72" fmla="*/ 173 w 775"/>
                <a:gd name="T73" fmla="*/ 305 h 739"/>
                <a:gd name="T74" fmla="*/ 160 w 775"/>
                <a:gd name="T75" fmla="*/ 336 h 739"/>
                <a:gd name="T76" fmla="*/ 213 w 775"/>
                <a:gd name="T77" fmla="*/ 376 h 739"/>
                <a:gd name="T78" fmla="*/ 213 w 775"/>
                <a:gd name="T79" fmla="*/ 411 h 739"/>
                <a:gd name="T80" fmla="*/ 244 w 775"/>
                <a:gd name="T81" fmla="*/ 482 h 739"/>
                <a:gd name="T82" fmla="*/ 217 w 775"/>
                <a:gd name="T83" fmla="*/ 500 h 739"/>
                <a:gd name="T84" fmla="*/ 186 w 775"/>
                <a:gd name="T85" fmla="*/ 606 h 739"/>
                <a:gd name="T86" fmla="*/ 231 w 775"/>
                <a:gd name="T87" fmla="*/ 633 h 739"/>
                <a:gd name="T88" fmla="*/ 284 w 775"/>
                <a:gd name="T89" fmla="*/ 646 h 739"/>
                <a:gd name="T90" fmla="*/ 341 w 775"/>
                <a:gd name="T91" fmla="*/ 646 h 739"/>
                <a:gd name="T92" fmla="*/ 399 w 775"/>
                <a:gd name="T93" fmla="*/ 668 h 739"/>
                <a:gd name="T94" fmla="*/ 434 w 775"/>
                <a:gd name="T95" fmla="*/ 655 h 739"/>
                <a:gd name="T96" fmla="*/ 518 w 775"/>
                <a:gd name="T97" fmla="*/ 597 h 739"/>
                <a:gd name="T98" fmla="*/ 545 w 775"/>
                <a:gd name="T99" fmla="*/ 588 h 739"/>
                <a:gd name="T100" fmla="*/ 580 w 775"/>
                <a:gd name="T101" fmla="*/ 619 h 739"/>
                <a:gd name="T102" fmla="*/ 616 w 775"/>
                <a:gd name="T103" fmla="*/ 611 h 739"/>
                <a:gd name="T104" fmla="*/ 642 w 775"/>
                <a:gd name="T105" fmla="*/ 584 h 739"/>
                <a:gd name="T106" fmla="*/ 673 w 775"/>
                <a:gd name="T107" fmla="*/ 553 h 739"/>
                <a:gd name="T108" fmla="*/ 638 w 775"/>
                <a:gd name="T109" fmla="*/ 504 h 739"/>
                <a:gd name="T110" fmla="*/ 633 w 775"/>
                <a:gd name="T111" fmla="*/ 464 h 739"/>
                <a:gd name="T112" fmla="*/ 633 w 775"/>
                <a:gd name="T113" fmla="*/ 416 h 739"/>
                <a:gd name="T114" fmla="*/ 616 w 775"/>
                <a:gd name="T115" fmla="*/ 367 h 739"/>
                <a:gd name="T116" fmla="*/ 594 w 775"/>
                <a:gd name="T117" fmla="*/ 367 h 739"/>
                <a:gd name="T118" fmla="*/ 642 w 775"/>
                <a:gd name="T119" fmla="*/ 301 h 739"/>
                <a:gd name="T120" fmla="*/ 664 w 775"/>
                <a:gd name="T121" fmla="*/ 287 h 739"/>
                <a:gd name="T122" fmla="*/ 673 w 775"/>
                <a:gd name="T123" fmla="*/ 252 h 739"/>
                <a:gd name="T124" fmla="*/ 700 w 775"/>
                <a:gd name="T125" fmla="*/ 186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75" h="739">
                  <a:moveTo>
                    <a:pt x="771" y="650"/>
                  </a:moveTo>
                  <a:lnTo>
                    <a:pt x="771" y="650"/>
                  </a:lnTo>
                  <a:lnTo>
                    <a:pt x="771" y="650"/>
                  </a:lnTo>
                  <a:lnTo>
                    <a:pt x="771" y="650"/>
                  </a:lnTo>
                  <a:lnTo>
                    <a:pt x="771" y="650"/>
                  </a:lnTo>
                  <a:close/>
                  <a:moveTo>
                    <a:pt x="775" y="673"/>
                  </a:moveTo>
                  <a:lnTo>
                    <a:pt x="775" y="673"/>
                  </a:lnTo>
                  <a:lnTo>
                    <a:pt x="775" y="668"/>
                  </a:lnTo>
                  <a:lnTo>
                    <a:pt x="775" y="668"/>
                  </a:lnTo>
                  <a:lnTo>
                    <a:pt x="775" y="668"/>
                  </a:lnTo>
                  <a:lnTo>
                    <a:pt x="775" y="668"/>
                  </a:lnTo>
                  <a:lnTo>
                    <a:pt x="775" y="664"/>
                  </a:lnTo>
                  <a:lnTo>
                    <a:pt x="775" y="664"/>
                  </a:lnTo>
                  <a:lnTo>
                    <a:pt x="775" y="664"/>
                  </a:lnTo>
                  <a:lnTo>
                    <a:pt x="775" y="659"/>
                  </a:lnTo>
                  <a:lnTo>
                    <a:pt x="775" y="655"/>
                  </a:lnTo>
                  <a:lnTo>
                    <a:pt x="775" y="655"/>
                  </a:lnTo>
                  <a:lnTo>
                    <a:pt x="775" y="655"/>
                  </a:lnTo>
                  <a:lnTo>
                    <a:pt x="771" y="650"/>
                  </a:lnTo>
                  <a:lnTo>
                    <a:pt x="775" y="655"/>
                  </a:lnTo>
                  <a:lnTo>
                    <a:pt x="775" y="655"/>
                  </a:lnTo>
                  <a:lnTo>
                    <a:pt x="775" y="655"/>
                  </a:lnTo>
                  <a:lnTo>
                    <a:pt x="771" y="655"/>
                  </a:lnTo>
                  <a:lnTo>
                    <a:pt x="771" y="655"/>
                  </a:lnTo>
                  <a:lnTo>
                    <a:pt x="771" y="655"/>
                  </a:lnTo>
                  <a:lnTo>
                    <a:pt x="771" y="650"/>
                  </a:lnTo>
                  <a:lnTo>
                    <a:pt x="771" y="650"/>
                  </a:lnTo>
                  <a:lnTo>
                    <a:pt x="771" y="650"/>
                  </a:lnTo>
                  <a:lnTo>
                    <a:pt x="771" y="650"/>
                  </a:lnTo>
                  <a:lnTo>
                    <a:pt x="771" y="650"/>
                  </a:lnTo>
                  <a:lnTo>
                    <a:pt x="771" y="650"/>
                  </a:lnTo>
                  <a:lnTo>
                    <a:pt x="771" y="650"/>
                  </a:lnTo>
                  <a:lnTo>
                    <a:pt x="771" y="650"/>
                  </a:lnTo>
                  <a:lnTo>
                    <a:pt x="771" y="650"/>
                  </a:lnTo>
                  <a:lnTo>
                    <a:pt x="771" y="650"/>
                  </a:lnTo>
                  <a:lnTo>
                    <a:pt x="771" y="650"/>
                  </a:lnTo>
                  <a:lnTo>
                    <a:pt x="771" y="650"/>
                  </a:lnTo>
                  <a:lnTo>
                    <a:pt x="771" y="650"/>
                  </a:lnTo>
                  <a:lnTo>
                    <a:pt x="771" y="650"/>
                  </a:lnTo>
                  <a:lnTo>
                    <a:pt x="771" y="650"/>
                  </a:lnTo>
                  <a:lnTo>
                    <a:pt x="771" y="646"/>
                  </a:lnTo>
                  <a:lnTo>
                    <a:pt x="771" y="646"/>
                  </a:lnTo>
                  <a:lnTo>
                    <a:pt x="771" y="646"/>
                  </a:lnTo>
                  <a:lnTo>
                    <a:pt x="771" y="637"/>
                  </a:lnTo>
                  <a:lnTo>
                    <a:pt x="771" y="637"/>
                  </a:lnTo>
                  <a:lnTo>
                    <a:pt x="771" y="628"/>
                  </a:lnTo>
                  <a:lnTo>
                    <a:pt x="771" y="628"/>
                  </a:lnTo>
                  <a:lnTo>
                    <a:pt x="771" y="628"/>
                  </a:lnTo>
                  <a:lnTo>
                    <a:pt x="771" y="628"/>
                  </a:lnTo>
                  <a:lnTo>
                    <a:pt x="771" y="624"/>
                  </a:lnTo>
                  <a:lnTo>
                    <a:pt x="771" y="624"/>
                  </a:lnTo>
                  <a:lnTo>
                    <a:pt x="771" y="624"/>
                  </a:lnTo>
                  <a:lnTo>
                    <a:pt x="771" y="624"/>
                  </a:lnTo>
                  <a:lnTo>
                    <a:pt x="771" y="624"/>
                  </a:lnTo>
                  <a:lnTo>
                    <a:pt x="771" y="624"/>
                  </a:lnTo>
                  <a:lnTo>
                    <a:pt x="766" y="624"/>
                  </a:lnTo>
                  <a:lnTo>
                    <a:pt x="766" y="624"/>
                  </a:lnTo>
                  <a:lnTo>
                    <a:pt x="766" y="624"/>
                  </a:lnTo>
                  <a:lnTo>
                    <a:pt x="766" y="624"/>
                  </a:lnTo>
                  <a:lnTo>
                    <a:pt x="766" y="624"/>
                  </a:lnTo>
                  <a:lnTo>
                    <a:pt x="766" y="628"/>
                  </a:lnTo>
                  <a:lnTo>
                    <a:pt x="766" y="628"/>
                  </a:lnTo>
                  <a:lnTo>
                    <a:pt x="766" y="628"/>
                  </a:lnTo>
                  <a:lnTo>
                    <a:pt x="766" y="628"/>
                  </a:lnTo>
                  <a:lnTo>
                    <a:pt x="766" y="628"/>
                  </a:lnTo>
                  <a:lnTo>
                    <a:pt x="766" y="628"/>
                  </a:lnTo>
                  <a:lnTo>
                    <a:pt x="766" y="628"/>
                  </a:lnTo>
                  <a:lnTo>
                    <a:pt x="762" y="633"/>
                  </a:lnTo>
                  <a:lnTo>
                    <a:pt x="762" y="633"/>
                  </a:lnTo>
                  <a:lnTo>
                    <a:pt x="762" y="633"/>
                  </a:lnTo>
                  <a:lnTo>
                    <a:pt x="762" y="633"/>
                  </a:lnTo>
                  <a:lnTo>
                    <a:pt x="762" y="633"/>
                  </a:lnTo>
                  <a:lnTo>
                    <a:pt x="762" y="637"/>
                  </a:lnTo>
                  <a:lnTo>
                    <a:pt x="762" y="637"/>
                  </a:lnTo>
                  <a:lnTo>
                    <a:pt x="762" y="637"/>
                  </a:lnTo>
                  <a:lnTo>
                    <a:pt x="766" y="637"/>
                  </a:lnTo>
                  <a:lnTo>
                    <a:pt x="762" y="642"/>
                  </a:lnTo>
                  <a:lnTo>
                    <a:pt x="766" y="642"/>
                  </a:lnTo>
                  <a:lnTo>
                    <a:pt x="762" y="642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57" y="642"/>
                  </a:lnTo>
                  <a:lnTo>
                    <a:pt x="757" y="642"/>
                  </a:lnTo>
                  <a:lnTo>
                    <a:pt x="757" y="642"/>
                  </a:lnTo>
                  <a:lnTo>
                    <a:pt x="753" y="642"/>
                  </a:lnTo>
                  <a:lnTo>
                    <a:pt x="753" y="642"/>
                  </a:lnTo>
                  <a:lnTo>
                    <a:pt x="753" y="642"/>
                  </a:lnTo>
                  <a:lnTo>
                    <a:pt x="753" y="642"/>
                  </a:lnTo>
                  <a:lnTo>
                    <a:pt x="748" y="646"/>
                  </a:lnTo>
                  <a:lnTo>
                    <a:pt x="748" y="646"/>
                  </a:lnTo>
                  <a:lnTo>
                    <a:pt x="748" y="650"/>
                  </a:lnTo>
                  <a:lnTo>
                    <a:pt x="740" y="650"/>
                  </a:lnTo>
                  <a:lnTo>
                    <a:pt x="740" y="650"/>
                  </a:lnTo>
                  <a:lnTo>
                    <a:pt x="735" y="650"/>
                  </a:lnTo>
                  <a:lnTo>
                    <a:pt x="735" y="650"/>
                  </a:lnTo>
                  <a:lnTo>
                    <a:pt x="735" y="655"/>
                  </a:lnTo>
                  <a:lnTo>
                    <a:pt x="735" y="655"/>
                  </a:lnTo>
                  <a:lnTo>
                    <a:pt x="735" y="655"/>
                  </a:lnTo>
                  <a:lnTo>
                    <a:pt x="735" y="655"/>
                  </a:lnTo>
                  <a:lnTo>
                    <a:pt x="735" y="655"/>
                  </a:lnTo>
                  <a:lnTo>
                    <a:pt x="735" y="655"/>
                  </a:lnTo>
                  <a:lnTo>
                    <a:pt x="731" y="655"/>
                  </a:lnTo>
                  <a:lnTo>
                    <a:pt x="731" y="655"/>
                  </a:lnTo>
                  <a:lnTo>
                    <a:pt x="731" y="655"/>
                  </a:lnTo>
                  <a:lnTo>
                    <a:pt x="731" y="655"/>
                  </a:lnTo>
                  <a:lnTo>
                    <a:pt x="731" y="655"/>
                  </a:lnTo>
                  <a:lnTo>
                    <a:pt x="731" y="655"/>
                  </a:lnTo>
                  <a:lnTo>
                    <a:pt x="731" y="655"/>
                  </a:lnTo>
                  <a:lnTo>
                    <a:pt x="731" y="655"/>
                  </a:lnTo>
                  <a:lnTo>
                    <a:pt x="731" y="655"/>
                  </a:lnTo>
                  <a:lnTo>
                    <a:pt x="731" y="659"/>
                  </a:lnTo>
                  <a:lnTo>
                    <a:pt x="731" y="659"/>
                  </a:lnTo>
                  <a:lnTo>
                    <a:pt x="731" y="659"/>
                  </a:lnTo>
                  <a:lnTo>
                    <a:pt x="731" y="659"/>
                  </a:lnTo>
                  <a:lnTo>
                    <a:pt x="726" y="659"/>
                  </a:lnTo>
                  <a:lnTo>
                    <a:pt x="726" y="659"/>
                  </a:lnTo>
                  <a:lnTo>
                    <a:pt x="726" y="659"/>
                  </a:lnTo>
                  <a:lnTo>
                    <a:pt x="731" y="659"/>
                  </a:lnTo>
                  <a:lnTo>
                    <a:pt x="731" y="659"/>
                  </a:lnTo>
                  <a:lnTo>
                    <a:pt x="731" y="664"/>
                  </a:lnTo>
                  <a:lnTo>
                    <a:pt x="726" y="664"/>
                  </a:lnTo>
                  <a:lnTo>
                    <a:pt x="726" y="664"/>
                  </a:lnTo>
                  <a:lnTo>
                    <a:pt x="726" y="664"/>
                  </a:lnTo>
                  <a:lnTo>
                    <a:pt x="726" y="664"/>
                  </a:lnTo>
                  <a:lnTo>
                    <a:pt x="726" y="664"/>
                  </a:lnTo>
                  <a:lnTo>
                    <a:pt x="726" y="664"/>
                  </a:lnTo>
                  <a:lnTo>
                    <a:pt x="726" y="664"/>
                  </a:lnTo>
                  <a:lnTo>
                    <a:pt x="726" y="668"/>
                  </a:lnTo>
                  <a:lnTo>
                    <a:pt x="726" y="668"/>
                  </a:lnTo>
                  <a:lnTo>
                    <a:pt x="726" y="668"/>
                  </a:lnTo>
                  <a:lnTo>
                    <a:pt x="726" y="668"/>
                  </a:lnTo>
                  <a:lnTo>
                    <a:pt x="726" y="668"/>
                  </a:lnTo>
                  <a:lnTo>
                    <a:pt x="722" y="668"/>
                  </a:lnTo>
                  <a:lnTo>
                    <a:pt x="722" y="668"/>
                  </a:lnTo>
                  <a:lnTo>
                    <a:pt x="722" y="668"/>
                  </a:lnTo>
                  <a:lnTo>
                    <a:pt x="722" y="668"/>
                  </a:lnTo>
                  <a:lnTo>
                    <a:pt x="722" y="668"/>
                  </a:lnTo>
                  <a:lnTo>
                    <a:pt x="722" y="668"/>
                  </a:lnTo>
                  <a:lnTo>
                    <a:pt x="722" y="668"/>
                  </a:lnTo>
                  <a:lnTo>
                    <a:pt x="722" y="668"/>
                  </a:lnTo>
                  <a:lnTo>
                    <a:pt x="722" y="673"/>
                  </a:lnTo>
                  <a:lnTo>
                    <a:pt x="726" y="668"/>
                  </a:lnTo>
                  <a:lnTo>
                    <a:pt x="726" y="668"/>
                  </a:lnTo>
                  <a:lnTo>
                    <a:pt x="726" y="673"/>
                  </a:lnTo>
                  <a:lnTo>
                    <a:pt x="726" y="673"/>
                  </a:lnTo>
                  <a:lnTo>
                    <a:pt x="726" y="673"/>
                  </a:lnTo>
                  <a:lnTo>
                    <a:pt x="726" y="673"/>
                  </a:lnTo>
                  <a:lnTo>
                    <a:pt x="726" y="673"/>
                  </a:lnTo>
                  <a:lnTo>
                    <a:pt x="726" y="673"/>
                  </a:lnTo>
                  <a:lnTo>
                    <a:pt x="726" y="673"/>
                  </a:lnTo>
                  <a:lnTo>
                    <a:pt x="726" y="673"/>
                  </a:lnTo>
                  <a:lnTo>
                    <a:pt x="726" y="673"/>
                  </a:lnTo>
                  <a:lnTo>
                    <a:pt x="726" y="673"/>
                  </a:lnTo>
                  <a:lnTo>
                    <a:pt x="731" y="673"/>
                  </a:lnTo>
                  <a:lnTo>
                    <a:pt x="731" y="673"/>
                  </a:lnTo>
                  <a:lnTo>
                    <a:pt x="731" y="677"/>
                  </a:lnTo>
                  <a:lnTo>
                    <a:pt x="731" y="677"/>
                  </a:lnTo>
                  <a:lnTo>
                    <a:pt x="731" y="677"/>
                  </a:lnTo>
                  <a:lnTo>
                    <a:pt x="731" y="677"/>
                  </a:lnTo>
                  <a:lnTo>
                    <a:pt x="731" y="677"/>
                  </a:lnTo>
                  <a:lnTo>
                    <a:pt x="731" y="677"/>
                  </a:lnTo>
                  <a:lnTo>
                    <a:pt x="726" y="677"/>
                  </a:lnTo>
                  <a:lnTo>
                    <a:pt x="726" y="677"/>
                  </a:lnTo>
                  <a:lnTo>
                    <a:pt x="726" y="677"/>
                  </a:lnTo>
                  <a:lnTo>
                    <a:pt x="726" y="677"/>
                  </a:lnTo>
                  <a:lnTo>
                    <a:pt x="726" y="677"/>
                  </a:lnTo>
                  <a:lnTo>
                    <a:pt x="722" y="677"/>
                  </a:lnTo>
                  <a:lnTo>
                    <a:pt x="722" y="677"/>
                  </a:lnTo>
                  <a:lnTo>
                    <a:pt x="722" y="677"/>
                  </a:lnTo>
                  <a:lnTo>
                    <a:pt x="722" y="677"/>
                  </a:lnTo>
                  <a:lnTo>
                    <a:pt x="722" y="677"/>
                  </a:lnTo>
                  <a:lnTo>
                    <a:pt x="722" y="681"/>
                  </a:lnTo>
                  <a:lnTo>
                    <a:pt x="722" y="681"/>
                  </a:lnTo>
                  <a:lnTo>
                    <a:pt x="722" y="681"/>
                  </a:lnTo>
                  <a:lnTo>
                    <a:pt x="726" y="681"/>
                  </a:lnTo>
                  <a:lnTo>
                    <a:pt x="722" y="681"/>
                  </a:lnTo>
                  <a:lnTo>
                    <a:pt x="722" y="681"/>
                  </a:lnTo>
                  <a:lnTo>
                    <a:pt x="722" y="681"/>
                  </a:lnTo>
                  <a:lnTo>
                    <a:pt x="726" y="681"/>
                  </a:lnTo>
                  <a:lnTo>
                    <a:pt x="726" y="681"/>
                  </a:lnTo>
                  <a:lnTo>
                    <a:pt x="722" y="686"/>
                  </a:lnTo>
                  <a:lnTo>
                    <a:pt x="722" y="686"/>
                  </a:lnTo>
                  <a:lnTo>
                    <a:pt x="722" y="686"/>
                  </a:lnTo>
                  <a:lnTo>
                    <a:pt x="722" y="686"/>
                  </a:lnTo>
                  <a:lnTo>
                    <a:pt x="722" y="686"/>
                  </a:lnTo>
                  <a:lnTo>
                    <a:pt x="726" y="686"/>
                  </a:lnTo>
                  <a:lnTo>
                    <a:pt x="726" y="686"/>
                  </a:lnTo>
                  <a:lnTo>
                    <a:pt x="726" y="686"/>
                  </a:lnTo>
                  <a:lnTo>
                    <a:pt x="726" y="686"/>
                  </a:lnTo>
                  <a:lnTo>
                    <a:pt x="726" y="686"/>
                  </a:lnTo>
                  <a:lnTo>
                    <a:pt x="726" y="686"/>
                  </a:lnTo>
                  <a:lnTo>
                    <a:pt x="726" y="686"/>
                  </a:lnTo>
                  <a:lnTo>
                    <a:pt x="726" y="686"/>
                  </a:lnTo>
                  <a:lnTo>
                    <a:pt x="726" y="686"/>
                  </a:lnTo>
                  <a:lnTo>
                    <a:pt x="731" y="686"/>
                  </a:lnTo>
                  <a:lnTo>
                    <a:pt x="731" y="686"/>
                  </a:lnTo>
                  <a:lnTo>
                    <a:pt x="731" y="686"/>
                  </a:lnTo>
                  <a:lnTo>
                    <a:pt x="731" y="690"/>
                  </a:lnTo>
                  <a:lnTo>
                    <a:pt x="731" y="690"/>
                  </a:lnTo>
                  <a:lnTo>
                    <a:pt x="731" y="690"/>
                  </a:lnTo>
                  <a:lnTo>
                    <a:pt x="731" y="690"/>
                  </a:lnTo>
                  <a:lnTo>
                    <a:pt x="731" y="690"/>
                  </a:lnTo>
                  <a:lnTo>
                    <a:pt x="731" y="695"/>
                  </a:lnTo>
                  <a:lnTo>
                    <a:pt x="731" y="695"/>
                  </a:lnTo>
                  <a:lnTo>
                    <a:pt x="731" y="695"/>
                  </a:lnTo>
                  <a:lnTo>
                    <a:pt x="731" y="695"/>
                  </a:lnTo>
                  <a:lnTo>
                    <a:pt x="726" y="695"/>
                  </a:lnTo>
                  <a:lnTo>
                    <a:pt x="731" y="695"/>
                  </a:lnTo>
                  <a:lnTo>
                    <a:pt x="726" y="695"/>
                  </a:lnTo>
                  <a:lnTo>
                    <a:pt x="726" y="695"/>
                  </a:lnTo>
                  <a:lnTo>
                    <a:pt x="726" y="699"/>
                  </a:lnTo>
                  <a:lnTo>
                    <a:pt x="726" y="699"/>
                  </a:lnTo>
                  <a:lnTo>
                    <a:pt x="726" y="699"/>
                  </a:lnTo>
                  <a:lnTo>
                    <a:pt x="726" y="699"/>
                  </a:lnTo>
                  <a:lnTo>
                    <a:pt x="726" y="704"/>
                  </a:lnTo>
                  <a:lnTo>
                    <a:pt x="726" y="699"/>
                  </a:lnTo>
                  <a:lnTo>
                    <a:pt x="726" y="699"/>
                  </a:lnTo>
                  <a:lnTo>
                    <a:pt x="731" y="699"/>
                  </a:lnTo>
                  <a:lnTo>
                    <a:pt x="731" y="699"/>
                  </a:lnTo>
                  <a:lnTo>
                    <a:pt x="731" y="699"/>
                  </a:lnTo>
                  <a:lnTo>
                    <a:pt x="735" y="699"/>
                  </a:lnTo>
                  <a:lnTo>
                    <a:pt x="735" y="699"/>
                  </a:lnTo>
                  <a:lnTo>
                    <a:pt x="735" y="699"/>
                  </a:lnTo>
                  <a:lnTo>
                    <a:pt x="735" y="699"/>
                  </a:lnTo>
                  <a:lnTo>
                    <a:pt x="735" y="699"/>
                  </a:lnTo>
                  <a:lnTo>
                    <a:pt x="735" y="704"/>
                  </a:lnTo>
                  <a:lnTo>
                    <a:pt x="735" y="704"/>
                  </a:lnTo>
                  <a:lnTo>
                    <a:pt x="735" y="704"/>
                  </a:lnTo>
                  <a:lnTo>
                    <a:pt x="735" y="704"/>
                  </a:lnTo>
                  <a:lnTo>
                    <a:pt x="735" y="704"/>
                  </a:lnTo>
                  <a:lnTo>
                    <a:pt x="735" y="704"/>
                  </a:lnTo>
                  <a:lnTo>
                    <a:pt x="735" y="704"/>
                  </a:lnTo>
                  <a:lnTo>
                    <a:pt x="735" y="704"/>
                  </a:lnTo>
                  <a:lnTo>
                    <a:pt x="735" y="704"/>
                  </a:lnTo>
                  <a:lnTo>
                    <a:pt x="735" y="704"/>
                  </a:lnTo>
                  <a:lnTo>
                    <a:pt x="735" y="704"/>
                  </a:lnTo>
                  <a:lnTo>
                    <a:pt x="735" y="704"/>
                  </a:lnTo>
                  <a:lnTo>
                    <a:pt x="735" y="708"/>
                  </a:lnTo>
                  <a:lnTo>
                    <a:pt x="735" y="708"/>
                  </a:lnTo>
                  <a:lnTo>
                    <a:pt x="735" y="708"/>
                  </a:lnTo>
                  <a:lnTo>
                    <a:pt x="735" y="708"/>
                  </a:lnTo>
                  <a:lnTo>
                    <a:pt x="735" y="708"/>
                  </a:lnTo>
                  <a:lnTo>
                    <a:pt x="735" y="708"/>
                  </a:lnTo>
                  <a:lnTo>
                    <a:pt x="731" y="708"/>
                  </a:lnTo>
                  <a:lnTo>
                    <a:pt x="731" y="708"/>
                  </a:lnTo>
                  <a:lnTo>
                    <a:pt x="731" y="708"/>
                  </a:lnTo>
                  <a:lnTo>
                    <a:pt x="731" y="708"/>
                  </a:lnTo>
                  <a:lnTo>
                    <a:pt x="731" y="712"/>
                  </a:lnTo>
                  <a:lnTo>
                    <a:pt x="731" y="712"/>
                  </a:lnTo>
                  <a:lnTo>
                    <a:pt x="731" y="712"/>
                  </a:lnTo>
                  <a:lnTo>
                    <a:pt x="731" y="712"/>
                  </a:lnTo>
                  <a:lnTo>
                    <a:pt x="731" y="712"/>
                  </a:lnTo>
                  <a:lnTo>
                    <a:pt x="726" y="712"/>
                  </a:lnTo>
                  <a:lnTo>
                    <a:pt x="731" y="712"/>
                  </a:lnTo>
                  <a:lnTo>
                    <a:pt x="731" y="712"/>
                  </a:lnTo>
                  <a:lnTo>
                    <a:pt x="731" y="712"/>
                  </a:lnTo>
                  <a:lnTo>
                    <a:pt x="731" y="712"/>
                  </a:lnTo>
                  <a:lnTo>
                    <a:pt x="731" y="712"/>
                  </a:lnTo>
                  <a:lnTo>
                    <a:pt x="731" y="712"/>
                  </a:lnTo>
                  <a:lnTo>
                    <a:pt x="731" y="712"/>
                  </a:lnTo>
                  <a:lnTo>
                    <a:pt x="735" y="712"/>
                  </a:lnTo>
                  <a:lnTo>
                    <a:pt x="735" y="712"/>
                  </a:lnTo>
                  <a:lnTo>
                    <a:pt x="735" y="712"/>
                  </a:lnTo>
                  <a:lnTo>
                    <a:pt x="735" y="717"/>
                  </a:lnTo>
                  <a:lnTo>
                    <a:pt x="735" y="717"/>
                  </a:lnTo>
                  <a:lnTo>
                    <a:pt x="740" y="717"/>
                  </a:lnTo>
                  <a:lnTo>
                    <a:pt x="740" y="717"/>
                  </a:lnTo>
                  <a:lnTo>
                    <a:pt x="744" y="717"/>
                  </a:lnTo>
                  <a:lnTo>
                    <a:pt x="740" y="717"/>
                  </a:lnTo>
                  <a:lnTo>
                    <a:pt x="740" y="717"/>
                  </a:lnTo>
                  <a:lnTo>
                    <a:pt x="740" y="717"/>
                  </a:lnTo>
                  <a:lnTo>
                    <a:pt x="740" y="721"/>
                  </a:lnTo>
                  <a:lnTo>
                    <a:pt x="740" y="721"/>
                  </a:lnTo>
                  <a:lnTo>
                    <a:pt x="735" y="721"/>
                  </a:lnTo>
                  <a:lnTo>
                    <a:pt x="735" y="721"/>
                  </a:lnTo>
                  <a:lnTo>
                    <a:pt x="735" y="721"/>
                  </a:lnTo>
                  <a:lnTo>
                    <a:pt x="735" y="721"/>
                  </a:lnTo>
                  <a:lnTo>
                    <a:pt x="735" y="726"/>
                  </a:lnTo>
                  <a:lnTo>
                    <a:pt x="735" y="726"/>
                  </a:lnTo>
                  <a:lnTo>
                    <a:pt x="735" y="726"/>
                  </a:lnTo>
                  <a:lnTo>
                    <a:pt x="735" y="726"/>
                  </a:lnTo>
                  <a:lnTo>
                    <a:pt x="735" y="726"/>
                  </a:lnTo>
                  <a:lnTo>
                    <a:pt x="735" y="726"/>
                  </a:lnTo>
                  <a:lnTo>
                    <a:pt x="735" y="726"/>
                  </a:lnTo>
                  <a:lnTo>
                    <a:pt x="740" y="726"/>
                  </a:lnTo>
                  <a:lnTo>
                    <a:pt x="740" y="726"/>
                  </a:lnTo>
                  <a:lnTo>
                    <a:pt x="740" y="726"/>
                  </a:lnTo>
                  <a:lnTo>
                    <a:pt x="740" y="726"/>
                  </a:lnTo>
                  <a:lnTo>
                    <a:pt x="740" y="730"/>
                  </a:lnTo>
                  <a:lnTo>
                    <a:pt x="740" y="730"/>
                  </a:lnTo>
                  <a:lnTo>
                    <a:pt x="740" y="730"/>
                  </a:lnTo>
                  <a:lnTo>
                    <a:pt x="740" y="730"/>
                  </a:lnTo>
                  <a:lnTo>
                    <a:pt x="740" y="730"/>
                  </a:lnTo>
                  <a:lnTo>
                    <a:pt x="740" y="730"/>
                  </a:lnTo>
                  <a:lnTo>
                    <a:pt x="740" y="730"/>
                  </a:lnTo>
                  <a:lnTo>
                    <a:pt x="740" y="730"/>
                  </a:lnTo>
                  <a:lnTo>
                    <a:pt x="740" y="730"/>
                  </a:lnTo>
                  <a:lnTo>
                    <a:pt x="744" y="730"/>
                  </a:lnTo>
                  <a:lnTo>
                    <a:pt x="744" y="730"/>
                  </a:lnTo>
                  <a:lnTo>
                    <a:pt x="744" y="730"/>
                  </a:lnTo>
                  <a:lnTo>
                    <a:pt x="744" y="730"/>
                  </a:lnTo>
                  <a:lnTo>
                    <a:pt x="744" y="730"/>
                  </a:lnTo>
                  <a:lnTo>
                    <a:pt x="748" y="730"/>
                  </a:lnTo>
                  <a:lnTo>
                    <a:pt x="748" y="730"/>
                  </a:lnTo>
                  <a:lnTo>
                    <a:pt x="748" y="730"/>
                  </a:lnTo>
                  <a:lnTo>
                    <a:pt x="748" y="730"/>
                  </a:lnTo>
                  <a:lnTo>
                    <a:pt x="748" y="730"/>
                  </a:lnTo>
                  <a:lnTo>
                    <a:pt x="748" y="730"/>
                  </a:lnTo>
                  <a:lnTo>
                    <a:pt x="748" y="730"/>
                  </a:lnTo>
                  <a:lnTo>
                    <a:pt x="748" y="730"/>
                  </a:lnTo>
                  <a:lnTo>
                    <a:pt x="748" y="730"/>
                  </a:lnTo>
                  <a:lnTo>
                    <a:pt x="748" y="730"/>
                  </a:lnTo>
                  <a:lnTo>
                    <a:pt x="748" y="734"/>
                  </a:lnTo>
                  <a:lnTo>
                    <a:pt x="748" y="730"/>
                  </a:lnTo>
                  <a:lnTo>
                    <a:pt x="748" y="730"/>
                  </a:lnTo>
                  <a:lnTo>
                    <a:pt x="748" y="730"/>
                  </a:lnTo>
                  <a:lnTo>
                    <a:pt x="748" y="734"/>
                  </a:lnTo>
                  <a:lnTo>
                    <a:pt x="748" y="734"/>
                  </a:lnTo>
                  <a:lnTo>
                    <a:pt x="753" y="734"/>
                  </a:lnTo>
                  <a:lnTo>
                    <a:pt x="753" y="734"/>
                  </a:lnTo>
                  <a:lnTo>
                    <a:pt x="753" y="734"/>
                  </a:lnTo>
                  <a:lnTo>
                    <a:pt x="753" y="734"/>
                  </a:lnTo>
                  <a:lnTo>
                    <a:pt x="753" y="739"/>
                  </a:lnTo>
                  <a:lnTo>
                    <a:pt x="753" y="739"/>
                  </a:lnTo>
                  <a:lnTo>
                    <a:pt x="753" y="739"/>
                  </a:lnTo>
                  <a:lnTo>
                    <a:pt x="757" y="739"/>
                  </a:lnTo>
                  <a:lnTo>
                    <a:pt x="757" y="739"/>
                  </a:lnTo>
                  <a:lnTo>
                    <a:pt x="757" y="739"/>
                  </a:lnTo>
                  <a:lnTo>
                    <a:pt x="757" y="739"/>
                  </a:lnTo>
                  <a:lnTo>
                    <a:pt x="757" y="739"/>
                  </a:lnTo>
                  <a:lnTo>
                    <a:pt x="757" y="739"/>
                  </a:lnTo>
                  <a:lnTo>
                    <a:pt x="757" y="734"/>
                  </a:lnTo>
                  <a:lnTo>
                    <a:pt x="757" y="734"/>
                  </a:lnTo>
                  <a:lnTo>
                    <a:pt x="757" y="734"/>
                  </a:lnTo>
                  <a:lnTo>
                    <a:pt x="757" y="734"/>
                  </a:lnTo>
                  <a:lnTo>
                    <a:pt x="757" y="734"/>
                  </a:lnTo>
                  <a:lnTo>
                    <a:pt x="757" y="734"/>
                  </a:lnTo>
                  <a:lnTo>
                    <a:pt x="757" y="734"/>
                  </a:lnTo>
                  <a:lnTo>
                    <a:pt x="757" y="734"/>
                  </a:lnTo>
                  <a:lnTo>
                    <a:pt x="757" y="734"/>
                  </a:lnTo>
                  <a:lnTo>
                    <a:pt x="757" y="734"/>
                  </a:lnTo>
                  <a:lnTo>
                    <a:pt x="757" y="734"/>
                  </a:lnTo>
                  <a:lnTo>
                    <a:pt x="757" y="734"/>
                  </a:lnTo>
                  <a:lnTo>
                    <a:pt x="762" y="734"/>
                  </a:lnTo>
                  <a:lnTo>
                    <a:pt x="762" y="730"/>
                  </a:lnTo>
                  <a:lnTo>
                    <a:pt x="762" y="730"/>
                  </a:lnTo>
                  <a:lnTo>
                    <a:pt x="762" y="730"/>
                  </a:lnTo>
                  <a:lnTo>
                    <a:pt x="762" y="730"/>
                  </a:lnTo>
                  <a:lnTo>
                    <a:pt x="762" y="730"/>
                  </a:lnTo>
                  <a:lnTo>
                    <a:pt x="762" y="730"/>
                  </a:lnTo>
                  <a:lnTo>
                    <a:pt x="762" y="730"/>
                  </a:lnTo>
                  <a:lnTo>
                    <a:pt x="762" y="730"/>
                  </a:lnTo>
                  <a:lnTo>
                    <a:pt x="762" y="730"/>
                  </a:lnTo>
                  <a:lnTo>
                    <a:pt x="762" y="730"/>
                  </a:lnTo>
                  <a:lnTo>
                    <a:pt x="762" y="726"/>
                  </a:lnTo>
                  <a:lnTo>
                    <a:pt x="762" y="726"/>
                  </a:lnTo>
                  <a:lnTo>
                    <a:pt x="762" y="726"/>
                  </a:lnTo>
                  <a:lnTo>
                    <a:pt x="762" y="726"/>
                  </a:lnTo>
                  <a:lnTo>
                    <a:pt x="762" y="726"/>
                  </a:lnTo>
                  <a:lnTo>
                    <a:pt x="766" y="726"/>
                  </a:lnTo>
                  <a:lnTo>
                    <a:pt x="766" y="726"/>
                  </a:lnTo>
                  <a:lnTo>
                    <a:pt x="766" y="721"/>
                  </a:lnTo>
                  <a:lnTo>
                    <a:pt x="766" y="721"/>
                  </a:lnTo>
                  <a:lnTo>
                    <a:pt x="762" y="721"/>
                  </a:lnTo>
                  <a:lnTo>
                    <a:pt x="762" y="726"/>
                  </a:lnTo>
                  <a:lnTo>
                    <a:pt x="762" y="721"/>
                  </a:lnTo>
                  <a:lnTo>
                    <a:pt x="762" y="721"/>
                  </a:lnTo>
                  <a:lnTo>
                    <a:pt x="762" y="721"/>
                  </a:lnTo>
                  <a:lnTo>
                    <a:pt x="762" y="721"/>
                  </a:lnTo>
                  <a:lnTo>
                    <a:pt x="762" y="721"/>
                  </a:lnTo>
                  <a:lnTo>
                    <a:pt x="762" y="721"/>
                  </a:lnTo>
                  <a:lnTo>
                    <a:pt x="762" y="721"/>
                  </a:lnTo>
                  <a:lnTo>
                    <a:pt x="766" y="721"/>
                  </a:lnTo>
                  <a:lnTo>
                    <a:pt x="766" y="721"/>
                  </a:lnTo>
                  <a:lnTo>
                    <a:pt x="766" y="721"/>
                  </a:lnTo>
                  <a:lnTo>
                    <a:pt x="766" y="721"/>
                  </a:lnTo>
                  <a:lnTo>
                    <a:pt x="766" y="721"/>
                  </a:lnTo>
                  <a:lnTo>
                    <a:pt x="766" y="721"/>
                  </a:lnTo>
                  <a:lnTo>
                    <a:pt x="766" y="721"/>
                  </a:lnTo>
                  <a:lnTo>
                    <a:pt x="766" y="717"/>
                  </a:lnTo>
                  <a:lnTo>
                    <a:pt x="766" y="717"/>
                  </a:lnTo>
                  <a:lnTo>
                    <a:pt x="766" y="717"/>
                  </a:lnTo>
                  <a:lnTo>
                    <a:pt x="766" y="717"/>
                  </a:lnTo>
                  <a:lnTo>
                    <a:pt x="766" y="717"/>
                  </a:lnTo>
                  <a:lnTo>
                    <a:pt x="766" y="717"/>
                  </a:lnTo>
                  <a:lnTo>
                    <a:pt x="766" y="717"/>
                  </a:lnTo>
                  <a:lnTo>
                    <a:pt x="766" y="712"/>
                  </a:lnTo>
                  <a:lnTo>
                    <a:pt x="766" y="704"/>
                  </a:lnTo>
                  <a:lnTo>
                    <a:pt x="766" y="699"/>
                  </a:lnTo>
                  <a:lnTo>
                    <a:pt x="766" y="699"/>
                  </a:lnTo>
                  <a:lnTo>
                    <a:pt x="766" y="699"/>
                  </a:lnTo>
                  <a:lnTo>
                    <a:pt x="771" y="695"/>
                  </a:lnTo>
                  <a:lnTo>
                    <a:pt x="771" y="690"/>
                  </a:lnTo>
                  <a:lnTo>
                    <a:pt x="775" y="690"/>
                  </a:lnTo>
                  <a:lnTo>
                    <a:pt x="775" y="690"/>
                  </a:lnTo>
                  <a:lnTo>
                    <a:pt x="775" y="686"/>
                  </a:lnTo>
                  <a:lnTo>
                    <a:pt x="775" y="686"/>
                  </a:lnTo>
                  <a:lnTo>
                    <a:pt x="775" y="686"/>
                  </a:lnTo>
                  <a:lnTo>
                    <a:pt x="775" y="686"/>
                  </a:lnTo>
                  <a:lnTo>
                    <a:pt x="775" y="686"/>
                  </a:lnTo>
                  <a:lnTo>
                    <a:pt x="775" y="681"/>
                  </a:lnTo>
                  <a:lnTo>
                    <a:pt x="775" y="673"/>
                  </a:lnTo>
                  <a:close/>
                  <a:moveTo>
                    <a:pt x="602" y="624"/>
                  </a:moveTo>
                  <a:lnTo>
                    <a:pt x="602" y="624"/>
                  </a:lnTo>
                  <a:lnTo>
                    <a:pt x="602" y="624"/>
                  </a:lnTo>
                  <a:lnTo>
                    <a:pt x="598" y="624"/>
                  </a:lnTo>
                  <a:lnTo>
                    <a:pt x="598" y="624"/>
                  </a:lnTo>
                  <a:lnTo>
                    <a:pt x="598" y="624"/>
                  </a:lnTo>
                  <a:lnTo>
                    <a:pt x="598" y="624"/>
                  </a:lnTo>
                  <a:lnTo>
                    <a:pt x="598" y="624"/>
                  </a:lnTo>
                  <a:lnTo>
                    <a:pt x="598" y="624"/>
                  </a:lnTo>
                  <a:lnTo>
                    <a:pt x="598" y="624"/>
                  </a:lnTo>
                  <a:lnTo>
                    <a:pt x="598" y="624"/>
                  </a:lnTo>
                  <a:lnTo>
                    <a:pt x="598" y="624"/>
                  </a:lnTo>
                  <a:lnTo>
                    <a:pt x="598" y="624"/>
                  </a:lnTo>
                  <a:lnTo>
                    <a:pt x="598" y="624"/>
                  </a:lnTo>
                  <a:lnTo>
                    <a:pt x="602" y="624"/>
                  </a:lnTo>
                  <a:lnTo>
                    <a:pt x="602" y="624"/>
                  </a:lnTo>
                  <a:lnTo>
                    <a:pt x="602" y="624"/>
                  </a:lnTo>
                  <a:lnTo>
                    <a:pt x="602" y="624"/>
                  </a:lnTo>
                  <a:close/>
                  <a:moveTo>
                    <a:pt x="208" y="402"/>
                  </a:moveTo>
                  <a:lnTo>
                    <a:pt x="204" y="402"/>
                  </a:lnTo>
                  <a:lnTo>
                    <a:pt x="204" y="402"/>
                  </a:lnTo>
                  <a:lnTo>
                    <a:pt x="204" y="402"/>
                  </a:lnTo>
                  <a:lnTo>
                    <a:pt x="204" y="402"/>
                  </a:lnTo>
                  <a:lnTo>
                    <a:pt x="204" y="402"/>
                  </a:lnTo>
                  <a:lnTo>
                    <a:pt x="200" y="398"/>
                  </a:lnTo>
                  <a:lnTo>
                    <a:pt x="200" y="398"/>
                  </a:lnTo>
                  <a:lnTo>
                    <a:pt x="200" y="398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00" y="402"/>
                  </a:lnTo>
                  <a:lnTo>
                    <a:pt x="200" y="407"/>
                  </a:lnTo>
                  <a:lnTo>
                    <a:pt x="200" y="407"/>
                  </a:lnTo>
                  <a:lnTo>
                    <a:pt x="204" y="407"/>
                  </a:lnTo>
                  <a:lnTo>
                    <a:pt x="204" y="411"/>
                  </a:lnTo>
                  <a:lnTo>
                    <a:pt x="204" y="411"/>
                  </a:lnTo>
                  <a:lnTo>
                    <a:pt x="208" y="411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8" y="416"/>
                  </a:lnTo>
                  <a:lnTo>
                    <a:pt x="208" y="411"/>
                  </a:lnTo>
                  <a:lnTo>
                    <a:pt x="208" y="411"/>
                  </a:lnTo>
                  <a:lnTo>
                    <a:pt x="208" y="411"/>
                  </a:lnTo>
                  <a:lnTo>
                    <a:pt x="208" y="407"/>
                  </a:lnTo>
                  <a:lnTo>
                    <a:pt x="208" y="407"/>
                  </a:lnTo>
                  <a:lnTo>
                    <a:pt x="208" y="407"/>
                  </a:lnTo>
                  <a:lnTo>
                    <a:pt x="208" y="407"/>
                  </a:lnTo>
                  <a:lnTo>
                    <a:pt x="208" y="407"/>
                  </a:lnTo>
                  <a:lnTo>
                    <a:pt x="208" y="407"/>
                  </a:lnTo>
                  <a:lnTo>
                    <a:pt x="208" y="407"/>
                  </a:lnTo>
                  <a:lnTo>
                    <a:pt x="208" y="402"/>
                  </a:lnTo>
                  <a:lnTo>
                    <a:pt x="208" y="402"/>
                  </a:lnTo>
                  <a:close/>
                  <a:moveTo>
                    <a:pt x="195" y="385"/>
                  </a:moveTo>
                  <a:lnTo>
                    <a:pt x="195" y="385"/>
                  </a:lnTo>
                  <a:lnTo>
                    <a:pt x="195" y="385"/>
                  </a:lnTo>
                  <a:lnTo>
                    <a:pt x="195" y="385"/>
                  </a:lnTo>
                  <a:lnTo>
                    <a:pt x="195" y="385"/>
                  </a:lnTo>
                  <a:lnTo>
                    <a:pt x="191" y="385"/>
                  </a:lnTo>
                  <a:lnTo>
                    <a:pt x="191" y="385"/>
                  </a:lnTo>
                  <a:lnTo>
                    <a:pt x="191" y="385"/>
                  </a:lnTo>
                  <a:lnTo>
                    <a:pt x="191" y="385"/>
                  </a:lnTo>
                  <a:lnTo>
                    <a:pt x="191" y="385"/>
                  </a:lnTo>
                  <a:lnTo>
                    <a:pt x="195" y="389"/>
                  </a:lnTo>
                  <a:lnTo>
                    <a:pt x="195" y="385"/>
                  </a:lnTo>
                  <a:lnTo>
                    <a:pt x="200" y="389"/>
                  </a:lnTo>
                  <a:lnTo>
                    <a:pt x="204" y="389"/>
                  </a:lnTo>
                  <a:lnTo>
                    <a:pt x="204" y="389"/>
                  </a:lnTo>
                  <a:lnTo>
                    <a:pt x="204" y="389"/>
                  </a:lnTo>
                  <a:lnTo>
                    <a:pt x="204" y="389"/>
                  </a:lnTo>
                  <a:lnTo>
                    <a:pt x="204" y="389"/>
                  </a:lnTo>
                  <a:lnTo>
                    <a:pt x="204" y="389"/>
                  </a:lnTo>
                  <a:lnTo>
                    <a:pt x="204" y="389"/>
                  </a:lnTo>
                  <a:lnTo>
                    <a:pt x="204" y="389"/>
                  </a:lnTo>
                  <a:lnTo>
                    <a:pt x="204" y="385"/>
                  </a:lnTo>
                  <a:lnTo>
                    <a:pt x="200" y="385"/>
                  </a:lnTo>
                  <a:lnTo>
                    <a:pt x="195" y="385"/>
                  </a:lnTo>
                  <a:lnTo>
                    <a:pt x="195" y="385"/>
                  </a:lnTo>
                  <a:lnTo>
                    <a:pt x="200" y="385"/>
                  </a:lnTo>
                  <a:lnTo>
                    <a:pt x="200" y="385"/>
                  </a:lnTo>
                  <a:lnTo>
                    <a:pt x="195" y="385"/>
                  </a:lnTo>
                  <a:lnTo>
                    <a:pt x="195" y="385"/>
                  </a:lnTo>
                  <a:lnTo>
                    <a:pt x="195" y="385"/>
                  </a:lnTo>
                  <a:lnTo>
                    <a:pt x="191" y="385"/>
                  </a:lnTo>
                  <a:lnTo>
                    <a:pt x="191" y="385"/>
                  </a:lnTo>
                  <a:lnTo>
                    <a:pt x="195" y="385"/>
                  </a:lnTo>
                  <a:close/>
                  <a:moveTo>
                    <a:pt x="151" y="349"/>
                  </a:moveTo>
                  <a:lnTo>
                    <a:pt x="147" y="345"/>
                  </a:lnTo>
                  <a:lnTo>
                    <a:pt x="147" y="345"/>
                  </a:lnTo>
                  <a:lnTo>
                    <a:pt x="147" y="345"/>
                  </a:lnTo>
                  <a:lnTo>
                    <a:pt x="147" y="349"/>
                  </a:lnTo>
                  <a:lnTo>
                    <a:pt x="147" y="349"/>
                  </a:lnTo>
                  <a:lnTo>
                    <a:pt x="151" y="349"/>
                  </a:lnTo>
                  <a:lnTo>
                    <a:pt x="151" y="349"/>
                  </a:lnTo>
                  <a:lnTo>
                    <a:pt x="151" y="349"/>
                  </a:lnTo>
                  <a:lnTo>
                    <a:pt x="151" y="349"/>
                  </a:lnTo>
                  <a:close/>
                  <a:moveTo>
                    <a:pt x="160" y="327"/>
                  </a:moveTo>
                  <a:lnTo>
                    <a:pt x="160" y="327"/>
                  </a:lnTo>
                  <a:lnTo>
                    <a:pt x="155" y="327"/>
                  </a:lnTo>
                  <a:lnTo>
                    <a:pt x="155" y="327"/>
                  </a:lnTo>
                  <a:lnTo>
                    <a:pt x="155" y="327"/>
                  </a:lnTo>
                  <a:lnTo>
                    <a:pt x="155" y="327"/>
                  </a:lnTo>
                  <a:lnTo>
                    <a:pt x="155" y="323"/>
                  </a:lnTo>
                  <a:lnTo>
                    <a:pt x="155" y="323"/>
                  </a:lnTo>
                  <a:lnTo>
                    <a:pt x="155" y="323"/>
                  </a:lnTo>
                  <a:lnTo>
                    <a:pt x="151" y="323"/>
                  </a:lnTo>
                  <a:lnTo>
                    <a:pt x="151" y="323"/>
                  </a:lnTo>
                  <a:lnTo>
                    <a:pt x="151" y="327"/>
                  </a:lnTo>
                  <a:lnTo>
                    <a:pt x="155" y="327"/>
                  </a:lnTo>
                  <a:lnTo>
                    <a:pt x="155" y="327"/>
                  </a:lnTo>
                  <a:lnTo>
                    <a:pt x="155" y="327"/>
                  </a:lnTo>
                  <a:lnTo>
                    <a:pt x="155" y="332"/>
                  </a:lnTo>
                  <a:lnTo>
                    <a:pt x="160" y="332"/>
                  </a:lnTo>
                  <a:lnTo>
                    <a:pt x="160" y="332"/>
                  </a:lnTo>
                  <a:lnTo>
                    <a:pt x="160" y="332"/>
                  </a:lnTo>
                  <a:lnTo>
                    <a:pt x="160" y="332"/>
                  </a:lnTo>
                  <a:lnTo>
                    <a:pt x="160" y="327"/>
                  </a:lnTo>
                  <a:close/>
                  <a:moveTo>
                    <a:pt x="107" y="301"/>
                  </a:moveTo>
                  <a:lnTo>
                    <a:pt x="107" y="301"/>
                  </a:lnTo>
                  <a:lnTo>
                    <a:pt x="107" y="301"/>
                  </a:lnTo>
                  <a:lnTo>
                    <a:pt x="107" y="301"/>
                  </a:lnTo>
                  <a:lnTo>
                    <a:pt x="102" y="296"/>
                  </a:lnTo>
                  <a:lnTo>
                    <a:pt x="102" y="296"/>
                  </a:lnTo>
                  <a:lnTo>
                    <a:pt x="102" y="296"/>
                  </a:lnTo>
                  <a:lnTo>
                    <a:pt x="102" y="296"/>
                  </a:lnTo>
                  <a:lnTo>
                    <a:pt x="102" y="296"/>
                  </a:lnTo>
                  <a:lnTo>
                    <a:pt x="102" y="296"/>
                  </a:lnTo>
                  <a:lnTo>
                    <a:pt x="98" y="296"/>
                  </a:lnTo>
                  <a:lnTo>
                    <a:pt x="102" y="296"/>
                  </a:lnTo>
                  <a:lnTo>
                    <a:pt x="102" y="301"/>
                  </a:lnTo>
                  <a:lnTo>
                    <a:pt x="102" y="301"/>
                  </a:lnTo>
                  <a:lnTo>
                    <a:pt x="102" y="301"/>
                  </a:lnTo>
                  <a:lnTo>
                    <a:pt x="102" y="301"/>
                  </a:lnTo>
                  <a:lnTo>
                    <a:pt x="107" y="301"/>
                  </a:lnTo>
                  <a:lnTo>
                    <a:pt x="107" y="305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11" y="301"/>
                  </a:lnTo>
                  <a:lnTo>
                    <a:pt x="107" y="301"/>
                  </a:lnTo>
                  <a:close/>
                  <a:moveTo>
                    <a:pt x="5" y="212"/>
                  </a:move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close/>
                  <a:moveTo>
                    <a:pt x="700" y="172"/>
                  </a:moveTo>
                  <a:lnTo>
                    <a:pt x="691" y="168"/>
                  </a:lnTo>
                  <a:lnTo>
                    <a:pt x="691" y="168"/>
                  </a:lnTo>
                  <a:lnTo>
                    <a:pt x="687" y="168"/>
                  </a:lnTo>
                  <a:lnTo>
                    <a:pt x="682" y="163"/>
                  </a:lnTo>
                  <a:lnTo>
                    <a:pt x="682" y="163"/>
                  </a:lnTo>
                  <a:lnTo>
                    <a:pt x="678" y="168"/>
                  </a:lnTo>
                  <a:lnTo>
                    <a:pt x="678" y="168"/>
                  </a:lnTo>
                  <a:lnTo>
                    <a:pt x="678" y="168"/>
                  </a:lnTo>
                  <a:lnTo>
                    <a:pt x="678" y="168"/>
                  </a:lnTo>
                  <a:lnTo>
                    <a:pt x="678" y="163"/>
                  </a:lnTo>
                  <a:lnTo>
                    <a:pt x="678" y="168"/>
                  </a:lnTo>
                  <a:lnTo>
                    <a:pt x="678" y="168"/>
                  </a:lnTo>
                  <a:lnTo>
                    <a:pt x="673" y="168"/>
                  </a:lnTo>
                  <a:lnTo>
                    <a:pt x="673" y="168"/>
                  </a:lnTo>
                  <a:lnTo>
                    <a:pt x="673" y="168"/>
                  </a:lnTo>
                  <a:lnTo>
                    <a:pt x="673" y="163"/>
                  </a:lnTo>
                  <a:lnTo>
                    <a:pt x="673" y="163"/>
                  </a:lnTo>
                  <a:lnTo>
                    <a:pt x="673" y="163"/>
                  </a:lnTo>
                  <a:lnTo>
                    <a:pt x="673" y="163"/>
                  </a:lnTo>
                  <a:lnTo>
                    <a:pt x="669" y="163"/>
                  </a:lnTo>
                  <a:lnTo>
                    <a:pt x="669" y="163"/>
                  </a:lnTo>
                  <a:lnTo>
                    <a:pt x="669" y="163"/>
                  </a:lnTo>
                  <a:lnTo>
                    <a:pt x="664" y="159"/>
                  </a:lnTo>
                  <a:lnTo>
                    <a:pt x="664" y="159"/>
                  </a:lnTo>
                  <a:lnTo>
                    <a:pt x="664" y="159"/>
                  </a:lnTo>
                  <a:lnTo>
                    <a:pt x="664" y="159"/>
                  </a:lnTo>
                  <a:lnTo>
                    <a:pt x="664" y="159"/>
                  </a:lnTo>
                  <a:lnTo>
                    <a:pt x="664" y="159"/>
                  </a:lnTo>
                  <a:lnTo>
                    <a:pt x="664" y="155"/>
                  </a:lnTo>
                  <a:lnTo>
                    <a:pt x="664" y="155"/>
                  </a:lnTo>
                  <a:lnTo>
                    <a:pt x="664" y="155"/>
                  </a:lnTo>
                  <a:lnTo>
                    <a:pt x="660" y="155"/>
                  </a:lnTo>
                  <a:lnTo>
                    <a:pt x="660" y="155"/>
                  </a:lnTo>
                  <a:lnTo>
                    <a:pt x="660" y="155"/>
                  </a:lnTo>
                  <a:lnTo>
                    <a:pt x="660" y="155"/>
                  </a:lnTo>
                  <a:lnTo>
                    <a:pt x="660" y="155"/>
                  </a:lnTo>
                  <a:lnTo>
                    <a:pt x="660" y="159"/>
                  </a:lnTo>
                  <a:lnTo>
                    <a:pt x="660" y="159"/>
                  </a:lnTo>
                  <a:lnTo>
                    <a:pt x="660" y="159"/>
                  </a:lnTo>
                  <a:lnTo>
                    <a:pt x="656" y="159"/>
                  </a:lnTo>
                  <a:lnTo>
                    <a:pt x="656" y="159"/>
                  </a:lnTo>
                  <a:lnTo>
                    <a:pt x="656" y="159"/>
                  </a:lnTo>
                  <a:lnTo>
                    <a:pt x="656" y="159"/>
                  </a:lnTo>
                  <a:lnTo>
                    <a:pt x="656" y="159"/>
                  </a:lnTo>
                  <a:lnTo>
                    <a:pt x="656" y="159"/>
                  </a:lnTo>
                  <a:lnTo>
                    <a:pt x="656" y="159"/>
                  </a:lnTo>
                  <a:lnTo>
                    <a:pt x="651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3" y="155"/>
                  </a:lnTo>
                  <a:lnTo>
                    <a:pt x="633" y="150"/>
                  </a:lnTo>
                  <a:lnTo>
                    <a:pt x="633" y="150"/>
                  </a:lnTo>
                  <a:lnTo>
                    <a:pt x="633" y="155"/>
                  </a:lnTo>
                  <a:lnTo>
                    <a:pt x="633" y="155"/>
                  </a:lnTo>
                  <a:lnTo>
                    <a:pt x="633" y="155"/>
                  </a:lnTo>
                  <a:lnTo>
                    <a:pt x="633" y="159"/>
                  </a:lnTo>
                  <a:lnTo>
                    <a:pt x="629" y="159"/>
                  </a:lnTo>
                  <a:lnTo>
                    <a:pt x="629" y="155"/>
                  </a:lnTo>
                  <a:lnTo>
                    <a:pt x="625" y="155"/>
                  </a:lnTo>
                  <a:lnTo>
                    <a:pt x="625" y="155"/>
                  </a:lnTo>
                  <a:lnTo>
                    <a:pt x="625" y="155"/>
                  </a:lnTo>
                  <a:lnTo>
                    <a:pt x="625" y="155"/>
                  </a:lnTo>
                  <a:lnTo>
                    <a:pt x="625" y="155"/>
                  </a:lnTo>
                  <a:lnTo>
                    <a:pt x="625" y="150"/>
                  </a:lnTo>
                  <a:lnTo>
                    <a:pt x="625" y="150"/>
                  </a:lnTo>
                  <a:lnTo>
                    <a:pt x="625" y="150"/>
                  </a:lnTo>
                  <a:lnTo>
                    <a:pt x="625" y="155"/>
                  </a:lnTo>
                  <a:lnTo>
                    <a:pt x="625" y="150"/>
                  </a:lnTo>
                  <a:lnTo>
                    <a:pt x="625" y="150"/>
                  </a:lnTo>
                  <a:lnTo>
                    <a:pt x="625" y="150"/>
                  </a:lnTo>
                  <a:lnTo>
                    <a:pt x="625" y="150"/>
                  </a:lnTo>
                  <a:lnTo>
                    <a:pt x="625" y="150"/>
                  </a:lnTo>
                  <a:lnTo>
                    <a:pt x="625" y="150"/>
                  </a:lnTo>
                  <a:lnTo>
                    <a:pt x="620" y="150"/>
                  </a:lnTo>
                  <a:lnTo>
                    <a:pt x="620" y="150"/>
                  </a:lnTo>
                  <a:lnTo>
                    <a:pt x="620" y="150"/>
                  </a:lnTo>
                  <a:lnTo>
                    <a:pt x="620" y="146"/>
                  </a:lnTo>
                  <a:lnTo>
                    <a:pt x="620" y="146"/>
                  </a:lnTo>
                  <a:lnTo>
                    <a:pt x="620" y="146"/>
                  </a:lnTo>
                  <a:lnTo>
                    <a:pt x="616" y="141"/>
                  </a:lnTo>
                  <a:lnTo>
                    <a:pt x="616" y="141"/>
                  </a:lnTo>
                  <a:lnTo>
                    <a:pt x="616" y="141"/>
                  </a:lnTo>
                  <a:lnTo>
                    <a:pt x="620" y="141"/>
                  </a:lnTo>
                  <a:lnTo>
                    <a:pt x="620" y="141"/>
                  </a:lnTo>
                  <a:lnTo>
                    <a:pt x="620" y="141"/>
                  </a:lnTo>
                  <a:lnTo>
                    <a:pt x="616" y="137"/>
                  </a:lnTo>
                  <a:lnTo>
                    <a:pt x="616" y="137"/>
                  </a:lnTo>
                  <a:lnTo>
                    <a:pt x="616" y="137"/>
                  </a:lnTo>
                  <a:lnTo>
                    <a:pt x="616" y="137"/>
                  </a:lnTo>
                  <a:lnTo>
                    <a:pt x="616" y="137"/>
                  </a:lnTo>
                  <a:lnTo>
                    <a:pt x="616" y="137"/>
                  </a:lnTo>
                  <a:lnTo>
                    <a:pt x="616" y="132"/>
                  </a:lnTo>
                  <a:lnTo>
                    <a:pt x="611" y="132"/>
                  </a:lnTo>
                  <a:lnTo>
                    <a:pt x="607" y="132"/>
                  </a:lnTo>
                  <a:lnTo>
                    <a:pt x="607" y="132"/>
                  </a:lnTo>
                  <a:lnTo>
                    <a:pt x="607" y="132"/>
                  </a:lnTo>
                  <a:lnTo>
                    <a:pt x="607" y="132"/>
                  </a:lnTo>
                  <a:lnTo>
                    <a:pt x="607" y="132"/>
                  </a:lnTo>
                  <a:lnTo>
                    <a:pt x="607" y="132"/>
                  </a:lnTo>
                  <a:lnTo>
                    <a:pt x="602" y="132"/>
                  </a:lnTo>
                  <a:lnTo>
                    <a:pt x="602" y="128"/>
                  </a:lnTo>
                  <a:lnTo>
                    <a:pt x="602" y="128"/>
                  </a:lnTo>
                  <a:lnTo>
                    <a:pt x="598" y="128"/>
                  </a:lnTo>
                  <a:lnTo>
                    <a:pt x="598" y="128"/>
                  </a:lnTo>
                  <a:lnTo>
                    <a:pt x="594" y="128"/>
                  </a:lnTo>
                  <a:lnTo>
                    <a:pt x="594" y="128"/>
                  </a:lnTo>
                  <a:lnTo>
                    <a:pt x="594" y="128"/>
                  </a:lnTo>
                  <a:lnTo>
                    <a:pt x="594" y="128"/>
                  </a:lnTo>
                  <a:lnTo>
                    <a:pt x="594" y="132"/>
                  </a:lnTo>
                  <a:lnTo>
                    <a:pt x="594" y="132"/>
                  </a:lnTo>
                  <a:lnTo>
                    <a:pt x="594" y="132"/>
                  </a:lnTo>
                  <a:lnTo>
                    <a:pt x="594" y="132"/>
                  </a:lnTo>
                  <a:lnTo>
                    <a:pt x="594" y="132"/>
                  </a:lnTo>
                  <a:lnTo>
                    <a:pt x="594" y="132"/>
                  </a:lnTo>
                  <a:lnTo>
                    <a:pt x="589" y="132"/>
                  </a:lnTo>
                  <a:lnTo>
                    <a:pt x="585" y="132"/>
                  </a:lnTo>
                  <a:lnTo>
                    <a:pt x="585" y="132"/>
                  </a:lnTo>
                  <a:lnTo>
                    <a:pt x="585" y="128"/>
                  </a:lnTo>
                  <a:lnTo>
                    <a:pt x="580" y="128"/>
                  </a:lnTo>
                  <a:lnTo>
                    <a:pt x="580" y="128"/>
                  </a:lnTo>
                  <a:lnTo>
                    <a:pt x="580" y="128"/>
                  </a:lnTo>
                  <a:lnTo>
                    <a:pt x="576" y="124"/>
                  </a:lnTo>
                  <a:lnTo>
                    <a:pt x="576" y="124"/>
                  </a:lnTo>
                  <a:lnTo>
                    <a:pt x="576" y="124"/>
                  </a:lnTo>
                  <a:lnTo>
                    <a:pt x="576" y="124"/>
                  </a:lnTo>
                  <a:lnTo>
                    <a:pt x="576" y="124"/>
                  </a:lnTo>
                  <a:lnTo>
                    <a:pt x="571" y="128"/>
                  </a:lnTo>
                  <a:lnTo>
                    <a:pt x="571" y="128"/>
                  </a:lnTo>
                  <a:lnTo>
                    <a:pt x="571" y="128"/>
                  </a:lnTo>
                  <a:lnTo>
                    <a:pt x="571" y="124"/>
                  </a:lnTo>
                  <a:lnTo>
                    <a:pt x="571" y="124"/>
                  </a:lnTo>
                  <a:lnTo>
                    <a:pt x="567" y="128"/>
                  </a:lnTo>
                  <a:lnTo>
                    <a:pt x="567" y="128"/>
                  </a:lnTo>
                  <a:lnTo>
                    <a:pt x="567" y="128"/>
                  </a:lnTo>
                  <a:lnTo>
                    <a:pt x="567" y="128"/>
                  </a:lnTo>
                  <a:lnTo>
                    <a:pt x="567" y="128"/>
                  </a:lnTo>
                  <a:lnTo>
                    <a:pt x="567" y="128"/>
                  </a:lnTo>
                  <a:lnTo>
                    <a:pt x="563" y="128"/>
                  </a:lnTo>
                  <a:lnTo>
                    <a:pt x="563" y="128"/>
                  </a:lnTo>
                  <a:lnTo>
                    <a:pt x="563" y="128"/>
                  </a:lnTo>
                  <a:lnTo>
                    <a:pt x="563" y="128"/>
                  </a:lnTo>
                  <a:lnTo>
                    <a:pt x="558" y="128"/>
                  </a:lnTo>
                  <a:lnTo>
                    <a:pt x="558" y="128"/>
                  </a:lnTo>
                  <a:lnTo>
                    <a:pt x="558" y="128"/>
                  </a:lnTo>
                  <a:lnTo>
                    <a:pt x="558" y="128"/>
                  </a:lnTo>
                  <a:lnTo>
                    <a:pt x="558" y="124"/>
                  </a:lnTo>
                  <a:lnTo>
                    <a:pt x="558" y="124"/>
                  </a:lnTo>
                  <a:lnTo>
                    <a:pt x="558" y="119"/>
                  </a:lnTo>
                  <a:lnTo>
                    <a:pt x="558" y="119"/>
                  </a:lnTo>
                  <a:lnTo>
                    <a:pt x="554" y="119"/>
                  </a:lnTo>
                  <a:lnTo>
                    <a:pt x="554" y="119"/>
                  </a:lnTo>
                  <a:lnTo>
                    <a:pt x="554" y="119"/>
                  </a:lnTo>
                  <a:lnTo>
                    <a:pt x="554" y="119"/>
                  </a:lnTo>
                  <a:lnTo>
                    <a:pt x="554" y="119"/>
                  </a:lnTo>
                  <a:lnTo>
                    <a:pt x="554" y="119"/>
                  </a:lnTo>
                  <a:lnTo>
                    <a:pt x="554" y="119"/>
                  </a:lnTo>
                  <a:lnTo>
                    <a:pt x="554" y="119"/>
                  </a:lnTo>
                  <a:lnTo>
                    <a:pt x="549" y="119"/>
                  </a:lnTo>
                  <a:lnTo>
                    <a:pt x="549" y="119"/>
                  </a:lnTo>
                  <a:lnTo>
                    <a:pt x="549" y="119"/>
                  </a:lnTo>
                  <a:lnTo>
                    <a:pt x="549" y="119"/>
                  </a:lnTo>
                  <a:lnTo>
                    <a:pt x="549" y="119"/>
                  </a:lnTo>
                  <a:lnTo>
                    <a:pt x="554" y="115"/>
                  </a:lnTo>
                  <a:lnTo>
                    <a:pt x="549" y="115"/>
                  </a:lnTo>
                  <a:lnTo>
                    <a:pt x="549" y="115"/>
                  </a:lnTo>
                  <a:lnTo>
                    <a:pt x="549" y="115"/>
                  </a:lnTo>
                  <a:lnTo>
                    <a:pt x="549" y="115"/>
                  </a:lnTo>
                  <a:lnTo>
                    <a:pt x="545" y="115"/>
                  </a:lnTo>
                  <a:lnTo>
                    <a:pt x="545" y="115"/>
                  </a:lnTo>
                  <a:lnTo>
                    <a:pt x="545" y="115"/>
                  </a:lnTo>
                  <a:lnTo>
                    <a:pt x="540" y="110"/>
                  </a:lnTo>
                  <a:lnTo>
                    <a:pt x="540" y="110"/>
                  </a:lnTo>
                  <a:lnTo>
                    <a:pt x="540" y="110"/>
                  </a:lnTo>
                  <a:lnTo>
                    <a:pt x="536" y="106"/>
                  </a:lnTo>
                  <a:lnTo>
                    <a:pt x="536" y="106"/>
                  </a:lnTo>
                  <a:lnTo>
                    <a:pt x="536" y="106"/>
                  </a:lnTo>
                  <a:lnTo>
                    <a:pt x="536" y="106"/>
                  </a:lnTo>
                  <a:lnTo>
                    <a:pt x="532" y="106"/>
                  </a:lnTo>
                  <a:lnTo>
                    <a:pt x="532" y="106"/>
                  </a:lnTo>
                  <a:lnTo>
                    <a:pt x="532" y="106"/>
                  </a:lnTo>
                  <a:lnTo>
                    <a:pt x="527" y="106"/>
                  </a:lnTo>
                  <a:lnTo>
                    <a:pt x="527" y="106"/>
                  </a:lnTo>
                  <a:lnTo>
                    <a:pt x="527" y="106"/>
                  </a:lnTo>
                  <a:lnTo>
                    <a:pt x="527" y="101"/>
                  </a:lnTo>
                  <a:lnTo>
                    <a:pt x="527" y="101"/>
                  </a:lnTo>
                  <a:lnTo>
                    <a:pt x="527" y="101"/>
                  </a:lnTo>
                  <a:lnTo>
                    <a:pt x="527" y="101"/>
                  </a:lnTo>
                  <a:lnTo>
                    <a:pt x="527" y="101"/>
                  </a:lnTo>
                  <a:lnTo>
                    <a:pt x="527" y="97"/>
                  </a:lnTo>
                  <a:lnTo>
                    <a:pt x="527" y="97"/>
                  </a:lnTo>
                  <a:lnTo>
                    <a:pt x="527" y="97"/>
                  </a:lnTo>
                  <a:lnTo>
                    <a:pt x="527" y="97"/>
                  </a:lnTo>
                  <a:lnTo>
                    <a:pt x="527" y="97"/>
                  </a:lnTo>
                  <a:lnTo>
                    <a:pt x="527" y="97"/>
                  </a:lnTo>
                  <a:lnTo>
                    <a:pt x="527" y="93"/>
                  </a:lnTo>
                  <a:lnTo>
                    <a:pt x="523" y="93"/>
                  </a:lnTo>
                  <a:lnTo>
                    <a:pt x="523" y="93"/>
                  </a:lnTo>
                  <a:lnTo>
                    <a:pt x="523" y="88"/>
                  </a:lnTo>
                  <a:lnTo>
                    <a:pt x="527" y="84"/>
                  </a:lnTo>
                  <a:lnTo>
                    <a:pt x="527" y="84"/>
                  </a:lnTo>
                  <a:lnTo>
                    <a:pt x="527" y="84"/>
                  </a:lnTo>
                  <a:lnTo>
                    <a:pt x="527" y="84"/>
                  </a:lnTo>
                  <a:lnTo>
                    <a:pt x="527" y="79"/>
                  </a:lnTo>
                  <a:lnTo>
                    <a:pt x="527" y="79"/>
                  </a:lnTo>
                  <a:lnTo>
                    <a:pt x="527" y="79"/>
                  </a:lnTo>
                  <a:lnTo>
                    <a:pt x="527" y="79"/>
                  </a:lnTo>
                  <a:lnTo>
                    <a:pt x="527" y="79"/>
                  </a:lnTo>
                  <a:lnTo>
                    <a:pt x="527" y="75"/>
                  </a:lnTo>
                  <a:lnTo>
                    <a:pt x="527" y="75"/>
                  </a:lnTo>
                  <a:lnTo>
                    <a:pt x="527" y="75"/>
                  </a:lnTo>
                  <a:lnTo>
                    <a:pt x="527" y="75"/>
                  </a:lnTo>
                  <a:lnTo>
                    <a:pt x="527" y="75"/>
                  </a:lnTo>
                  <a:lnTo>
                    <a:pt x="523" y="75"/>
                  </a:lnTo>
                  <a:lnTo>
                    <a:pt x="518" y="79"/>
                  </a:lnTo>
                  <a:lnTo>
                    <a:pt x="518" y="84"/>
                  </a:lnTo>
                  <a:lnTo>
                    <a:pt x="518" y="84"/>
                  </a:lnTo>
                  <a:lnTo>
                    <a:pt x="518" y="84"/>
                  </a:lnTo>
                  <a:lnTo>
                    <a:pt x="518" y="84"/>
                  </a:lnTo>
                  <a:lnTo>
                    <a:pt x="518" y="84"/>
                  </a:lnTo>
                  <a:lnTo>
                    <a:pt x="518" y="88"/>
                  </a:lnTo>
                  <a:lnTo>
                    <a:pt x="518" y="88"/>
                  </a:lnTo>
                  <a:lnTo>
                    <a:pt x="518" y="88"/>
                  </a:lnTo>
                  <a:lnTo>
                    <a:pt x="518" y="88"/>
                  </a:lnTo>
                  <a:lnTo>
                    <a:pt x="514" y="88"/>
                  </a:lnTo>
                  <a:lnTo>
                    <a:pt x="505" y="93"/>
                  </a:lnTo>
                  <a:lnTo>
                    <a:pt x="505" y="93"/>
                  </a:lnTo>
                  <a:lnTo>
                    <a:pt x="505" y="93"/>
                  </a:lnTo>
                  <a:lnTo>
                    <a:pt x="496" y="93"/>
                  </a:lnTo>
                  <a:lnTo>
                    <a:pt x="496" y="93"/>
                  </a:lnTo>
                  <a:lnTo>
                    <a:pt x="492" y="93"/>
                  </a:lnTo>
                  <a:lnTo>
                    <a:pt x="492" y="93"/>
                  </a:lnTo>
                  <a:lnTo>
                    <a:pt x="492" y="88"/>
                  </a:lnTo>
                  <a:lnTo>
                    <a:pt x="492" y="88"/>
                  </a:lnTo>
                  <a:lnTo>
                    <a:pt x="492" y="88"/>
                  </a:lnTo>
                  <a:lnTo>
                    <a:pt x="492" y="88"/>
                  </a:lnTo>
                  <a:lnTo>
                    <a:pt x="492" y="88"/>
                  </a:lnTo>
                  <a:lnTo>
                    <a:pt x="487" y="88"/>
                  </a:lnTo>
                  <a:lnTo>
                    <a:pt x="492" y="88"/>
                  </a:lnTo>
                  <a:lnTo>
                    <a:pt x="492" y="88"/>
                  </a:lnTo>
                  <a:lnTo>
                    <a:pt x="492" y="84"/>
                  </a:lnTo>
                  <a:lnTo>
                    <a:pt x="492" y="84"/>
                  </a:lnTo>
                  <a:lnTo>
                    <a:pt x="492" y="84"/>
                  </a:lnTo>
                  <a:lnTo>
                    <a:pt x="492" y="84"/>
                  </a:lnTo>
                  <a:lnTo>
                    <a:pt x="492" y="84"/>
                  </a:lnTo>
                  <a:lnTo>
                    <a:pt x="492" y="84"/>
                  </a:lnTo>
                  <a:lnTo>
                    <a:pt x="492" y="79"/>
                  </a:lnTo>
                  <a:lnTo>
                    <a:pt x="492" y="79"/>
                  </a:lnTo>
                  <a:lnTo>
                    <a:pt x="492" y="79"/>
                  </a:lnTo>
                  <a:lnTo>
                    <a:pt x="492" y="79"/>
                  </a:lnTo>
                  <a:lnTo>
                    <a:pt x="492" y="79"/>
                  </a:lnTo>
                  <a:lnTo>
                    <a:pt x="487" y="79"/>
                  </a:lnTo>
                  <a:lnTo>
                    <a:pt x="487" y="75"/>
                  </a:lnTo>
                  <a:lnTo>
                    <a:pt x="492" y="75"/>
                  </a:lnTo>
                  <a:lnTo>
                    <a:pt x="492" y="70"/>
                  </a:lnTo>
                  <a:lnTo>
                    <a:pt x="492" y="70"/>
                  </a:lnTo>
                  <a:lnTo>
                    <a:pt x="492" y="70"/>
                  </a:lnTo>
                  <a:lnTo>
                    <a:pt x="492" y="70"/>
                  </a:lnTo>
                  <a:lnTo>
                    <a:pt x="492" y="70"/>
                  </a:lnTo>
                  <a:lnTo>
                    <a:pt x="492" y="66"/>
                  </a:lnTo>
                  <a:lnTo>
                    <a:pt x="492" y="66"/>
                  </a:lnTo>
                  <a:lnTo>
                    <a:pt x="492" y="66"/>
                  </a:lnTo>
                  <a:lnTo>
                    <a:pt x="492" y="66"/>
                  </a:lnTo>
                  <a:lnTo>
                    <a:pt x="492" y="66"/>
                  </a:lnTo>
                  <a:lnTo>
                    <a:pt x="492" y="66"/>
                  </a:lnTo>
                  <a:lnTo>
                    <a:pt x="492" y="66"/>
                  </a:lnTo>
                  <a:lnTo>
                    <a:pt x="492" y="66"/>
                  </a:lnTo>
                  <a:lnTo>
                    <a:pt x="492" y="66"/>
                  </a:lnTo>
                  <a:lnTo>
                    <a:pt x="487" y="66"/>
                  </a:lnTo>
                  <a:lnTo>
                    <a:pt x="487" y="66"/>
                  </a:lnTo>
                  <a:lnTo>
                    <a:pt x="487" y="62"/>
                  </a:lnTo>
                  <a:lnTo>
                    <a:pt x="487" y="62"/>
                  </a:lnTo>
                  <a:lnTo>
                    <a:pt x="483" y="62"/>
                  </a:lnTo>
                  <a:lnTo>
                    <a:pt x="483" y="62"/>
                  </a:lnTo>
                  <a:lnTo>
                    <a:pt x="483" y="62"/>
                  </a:lnTo>
                  <a:lnTo>
                    <a:pt x="478" y="62"/>
                  </a:lnTo>
                  <a:lnTo>
                    <a:pt x="478" y="62"/>
                  </a:lnTo>
                  <a:lnTo>
                    <a:pt x="478" y="62"/>
                  </a:lnTo>
                  <a:lnTo>
                    <a:pt x="474" y="62"/>
                  </a:lnTo>
                  <a:lnTo>
                    <a:pt x="474" y="62"/>
                  </a:lnTo>
                  <a:lnTo>
                    <a:pt x="474" y="62"/>
                  </a:lnTo>
                  <a:lnTo>
                    <a:pt x="470" y="62"/>
                  </a:lnTo>
                  <a:lnTo>
                    <a:pt x="470" y="62"/>
                  </a:lnTo>
                  <a:lnTo>
                    <a:pt x="470" y="62"/>
                  </a:lnTo>
                  <a:lnTo>
                    <a:pt x="470" y="62"/>
                  </a:lnTo>
                  <a:lnTo>
                    <a:pt x="470" y="62"/>
                  </a:lnTo>
                  <a:lnTo>
                    <a:pt x="465" y="62"/>
                  </a:lnTo>
                  <a:lnTo>
                    <a:pt x="465" y="62"/>
                  </a:lnTo>
                  <a:lnTo>
                    <a:pt x="465" y="62"/>
                  </a:lnTo>
                  <a:lnTo>
                    <a:pt x="465" y="62"/>
                  </a:lnTo>
                  <a:lnTo>
                    <a:pt x="465" y="62"/>
                  </a:lnTo>
                  <a:lnTo>
                    <a:pt x="465" y="62"/>
                  </a:lnTo>
                  <a:lnTo>
                    <a:pt x="465" y="57"/>
                  </a:lnTo>
                  <a:lnTo>
                    <a:pt x="465" y="53"/>
                  </a:lnTo>
                  <a:lnTo>
                    <a:pt x="465" y="53"/>
                  </a:lnTo>
                  <a:lnTo>
                    <a:pt x="465" y="48"/>
                  </a:lnTo>
                  <a:lnTo>
                    <a:pt x="461" y="48"/>
                  </a:lnTo>
                  <a:lnTo>
                    <a:pt x="461" y="48"/>
                  </a:lnTo>
                  <a:lnTo>
                    <a:pt x="461" y="48"/>
                  </a:lnTo>
                  <a:lnTo>
                    <a:pt x="456" y="48"/>
                  </a:lnTo>
                  <a:lnTo>
                    <a:pt x="456" y="48"/>
                  </a:lnTo>
                  <a:lnTo>
                    <a:pt x="456" y="48"/>
                  </a:lnTo>
                  <a:lnTo>
                    <a:pt x="456" y="44"/>
                  </a:lnTo>
                  <a:lnTo>
                    <a:pt x="456" y="44"/>
                  </a:lnTo>
                  <a:lnTo>
                    <a:pt x="456" y="44"/>
                  </a:lnTo>
                  <a:lnTo>
                    <a:pt x="456" y="44"/>
                  </a:lnTo>
                  <a:lnTo>
                    <a:pt x="452" y="44"/>
                  </a:lnTo>
                  <a:lnTo>
                    <a:pt x="452" y="48"/>
                  </a:lnTo>
                  <a:lnTo>
                    <a:pt x="452" y="48"/>
                  </a:lnTo>
                  <a:lnTo>
                    <a:pt x="452" y="48"/>
                  </a:lnTo>
                  <a:lnTo>
                    <a:pt x="447" y="48"/>
                  </a:lnTo>
                  <a:lnTo>
                    <a:pt x="447" y="48"/>
                  </a:lnTo>
                  <a:lnTo>
                    <a:pt x="447" y="48"/>
                  </a:lnTo>
                  <a:lnTo>
                    <a:pt x="443" y="44"/>
                  </a:lnTo>
                  <a:lnTo>
                    <a:pt x="443" y="44"/>
                  </a:lnTo>
                  <a:lnTo>
                    <a:pt x="443" y="44"/>
                  </a:lnTo>
                  <a:lnTo>
                    <a:pt x="443" y="39"/>
                  </a:lnTo>
                  <a:lnTo>
                    <a:pt x="443" y="35"/>
                  </a:lnTo>
                  <a:lnTo>
                    <a:pt x="443" y="35"/>
                  </a:lnTo>
                  <a:lnTo>
                    <a:pt x="443" y="31"/>
                  </a:lnTo>
                  <a:lnTo>
                    <a:pt x="443" y="31"/>
                  </a:lnTo>
                  <a:lnTo>
                    <a:pt x="443" y="31"/>
                  </a:lnTo>
                  <a:lnTo>
                    <a:pt x="443" y="31"/>
                  </a:lnTo>
                  <a:lnTo>
                    <a:pt x="439" y="31"/>
                  </a:lnTo>
                  <a:lnTo>
                    <a:pt x="439" y="31"/>
                  </a:lnTo>
                  <a:lnTo>
                    <a:pt x="439" y="26"/>
                  </a:lnTo>
                  <a:lnTo>
                    <a:pt x="439" y="26"/>
                  </a:lnTo>
                  <a:lnTo>
                    <a:pt x="439" y="26"/>
                  </a:lnTo>
                  <a:lnTo>
                    <a:pt x="439" y="26"/>
                  </a:lnTo>
                  <a:lnTo>
                    <a:pt x="439" y="22"/>
                  </a:lnTo>
                  <a:lnTo>
                    <a:pt x="434" y="22"/>
                  </a:lnTo>
                  <a:lnTo>
                    <a:pt x="430" y="26"/>
                  </a:lnTo>
                  <a:lnTo>
                    <a:pt x="430" y="26"/>
                  </a:lnTo>
                  <a:lnTo>
                    <a:pt x="425" y="26"/>
                  </a:lnTo>
                  <a:lnTo>
                    <a:pt x="425" y="26"/>
                  </a:lnTo>
                  <a:lnTo>
                    <a:pt x="425" y="31"/>
                  </a:lnTo>
                  <a:lnTo>
                    <a:pt x="425" y="31"/>
                  </a:lnTo>
                  <a:lnTo>
                    <a:pt x="425" y="31"/>
                  </a:lnTo>
                  <a:lnTo>
                    <a:pt x="421" y="31"/>
                  </a:lnTo>
                  <a:lnTo>
                    <a:pt x="421" y="31"/>
                  </a:lnTo>
                  <a:lnTo>
                    <a:pt x="417" y="26"/>
                  </a:lnTo>
                  <a:lnTo>
                    <a:pt x="417" y="26"/>
                  </a:lnTo>
                  <a:lnTo>
                    <a:pt x="417" y="26"/>
                  </a:lnTo>
                  <a:lnTo>
                    <a:pt x="417" y="26"/>
                  </a:lnTo>
                  <a:lnTo>
                    <a:pt x="417" y="22"/>
                  </a:lnTo>
                  <a:lnTo>
                    <a:pt x="412" y="22"/>
                  </a:lnTo>
                  <a:lnTo>
                    <a:pt x="412" y="22"/>
                  </a:lnTo>
                  <a:lnTo>
                    <a:pt x="412" y="22"/>
                  </a:lnTo>
                  <a:lnTo>
                    <a:pt x="412" y="22"/>
                  </a:lnTo>
                  <a:lnTo>
                    <a:pt x="412" y="22"/>
                  </a:lnTo>
                  <a:lnTo>
                    <a:pt x="412" y="22"/>
                  </a:lnTo>
                  <a:lnTo>
                    <a:pt x="412" y="22"/>
                  </a:lnTo>
                  <a:lnTo>
                    <a:pt x="412" y="22"/>
                  </a:lnTo>
                  <a:lnTo>
                    <a:pt x="412" y="22"/>
                  </a:lnTo>
                  <a:lnTo>
                    <a:pt x="408" y="22"/>
                  </a:lnTo>
                  <a:lnTo>
                    <a:pt x="408" y="17"/>
                  </a:lnTo>
                  <a:lnTo>
                    <a:pt x="408" y="17"/>
                  </a:lnTo>
                  <a:lnTo>
                    <a:pt x="408" y="17"/>
                  </a:lnTo>
                  <a:lnTo>
                    <a:pt x="408" y="17"/>
                  </a:lnTo>
                  <a:lnTo>
                    <a:pt x="408" y="17"/>
                  </a:lnTo>
                  <a:lnTo>
                    <a:pt x="408" y="17"/>
                  </a:lnTo>
                  <a:lnTo>
                    <a:pt x="408" y="17"/>
                  </a:lnTo>
                  <a:lnTo>
                    <a:pt x="408" y="13"/>
                  </a:lnTo>
                  <a:lnTo>
                    <a:pt x="408" y="13"/>
                  </a:lnTo>
                  <a:lnTo>
                    <a:pt x="408" y="13"/>
                  </a:lnTo>
                  <a:lnTo>
                    <a:pt x="408" y="8"/>
                  </a:lnTo>
                  <a:lnTo>
                    <a:pt x="408" y="8"/>
                  </a:lnTo>
                  <a:lnTo>
                    <a:pt x="408" y="8"/>
                  </a:lnTo>
                  <a:lnTo>
                    <a:pt x="408" y="4"/>
                  </a:lnTo>
                  <a:lnTo>
                    <a:pt x="408" y="4"/>
                  </a:lnTo>
                  <a:lnTo>
                    <a:pt x="408" y="0"/>
                  </a:lnTo>
                  <a:lnTo>
                    <a:pt x="403" y="0"/>
                  </a:lnTo>
                  <a:lnTo>
                    <a:pt x="403" y="0"/>
                  </a:lnTo>
                  <a:lnTo>
                    <a:pt x="403" y="0"/>
                  </a:lnTo>
                  <a:lnTo>
                    <a:pt x="403" y="0"/>
                  </a:lnTo>
                  <a:lnTo>
                    <a:pt x="399" y="0"/>
                  </a:lnTo>
                  <a:lnTo>
                    <a:pt x="394" y="0"/>
                  </a:lnTo>
                  <a:lnTo>
                    <a:pt x="394" y="0"/>
                  </a:lnTo>
                  <a:lnTo>
                    <a:pt x="394" y="0"/>
                  </a:lnTo>
                  <a:lnTo>
                    <a:pt x="386" y="4"/>
                  </a:lnTo>
                  <a:lnTo>
                    <a:pt x="377" y="4"/>
                  </a:lnTo>
                  <a:lnTo>
                    <a:pt x="372" y="4"/>
                  </a:lnTo>
                  <a:lnTo>
                    <a:pt x="372" y="4"/>
                  </a:lnTo>
                  <a:lnTo>
                    <a:pt x="363" y="8"/>
                  </a:lnTo>
                  <a:lnTo>
                    <a:pt x="363" y="13"/>
                  </a:lnTo>
                  <a:lnTo>
                    <a:pt x="359" y="13"/>
                  </a:lnTo>
                  <a:lnTo>
                    <a:pt x="359" y="13"/>
                  </a:lnTo>
                  <a:lnTo>
                    <a:pt x="359" y="13"/>
                  </a:lnTo>
                  <a:lnTo>
                    <a:pt x="359" y="17"/>
                  </a:lnTo>
                  <a:lnTo>
                    <a:pt x="355" y="17"/>
                  </a:lnTo>
                  <a:lnTo>
                    <a:pt x="355" y="17"/>
                  </a:lnTo>
                  <a:lnTo>
                    <a:pt x="355" y="17"/>
                  </a:lnTo>
                  <a:lnTo>
                    <a:pt x="355" y="17"/>
                  </a:lnTo>
                  <a:lnTo>
                    <a:pt x="355" y="22"/>
                  </a:lnTo>
                  <a:lnTo>
                    <a:pt x="355" y="22"/>
                  </a:lnTo>
                  <a:lnTo>
                    <a:pt x="355" y="26"/>
                  </a:lnTo>
                  <a:lnTo>
                    <a:pt x="355" y="26"/>
                  </a:lnTo>
                  <a:lnTo>
                    <a:pt x="355" y="31"/>
                  </a:lnTo>
                  <a:lnTo>
                    <a:pt x="355" y="31"/>
                  </a:lnTo>
                  <a:lnTo>
                    <a:pt x="355" y="31"/>
                  </a:lnTo>
                  <a:lnTo>
                    <a:pt x="355" y="35"/>
                  </a:lnTo>
                  <a:lnTo>
                    <a:pt x="355" y="39"/>
                  </a:lnTo>
                  <a:lnTo>
                    <a:pt x="355" y="39"/>
                  </a:lnTo>
                  <a:lnTo>
                    <a:pt x="355" y="44"/>
                  </a:lnTo>
                  <a:lnTo>
                    <a:pt x="355" y="44"/>
                  </a:lnTo>
                  <a:lnTo>
                    <a:pt x="355" y="48"/>
                  </a:lnTo>
                  <a:lnTo>
                    <a:pt x="355" y="53"/>
                  </a:lnTo>
                  <a:lnTo>
                    <a:pt x="355" y="53"/>
                  </a:lnTo>
                  <a:lnTo>
                    <a:pt x="355" y="53"/>
                  </a:lnTo>
                  <a:lnTo>
                    <a:pt x="355" y="57"/>
                  </a:lnTo>
                  <a:lnTo>
                    <a:pt x="355" y="57"/>
                  </a:lnTo>
                  <a:lnTo>
                    <a:pt x="355" y="57"/>
                  </a:lnTo>
                  <a:lnTo>
                    <a:pt x="355" y="57"/>
                  </a:lnTo>
                  <a:lnTo>
                    <a:pt x="355" y="62"/>
                  </a:lnTo>
                  <a:lnTo>
                    <a:pt x="355" y="62"/>
                  </a:lnTo>
                  <a:lnTo>
                    <a:pt x="355" y="66"/>
                  </a:lnTo>
                  <a:lnTo>
                    <a:pt x="355" y="66"/>
                  </a:lnTo>
                  <a:lnTo>
                    <a:pt x="355" y="66"/>
                  </a:lnTo>
                  <a:lnTo>
                    <a:pt x="355" y="66"/>
                  </a:lnTo>
                  <a:lnTo>
                    <a:pt x="355" y="70"/>
                  </a:lnTo>
                  <a:lnTo>
                    <a:pt x="359" y="70"/>
                  </a:lnTo>
                  <a:lnTo>
                    <a:pt x="359" y="70"/>
                  </a:lnTo>
                  <a:lnTo>
                    <a:pt x="359" y="70"/>
                  </a:lnTo>
                  <a:lnTo>
                    <a:pt x="359" y="70"/>
                  </a:lnTo>
                  <a:lnTo>
                    <a:pt x="359" y="70"/>
                  </a:lnTo>
                  <a:lnTo>
                    <a:pt x="359" y="70"/>
                  </a:lnTo>
                  <a:lnTo>
                    <a:pt x="359" y="70"/>
                  </a:lnTo>
                  <a:lnTo>
                    <a:pt x="359" y="70"/>
                  </a:lnTo>
                  <a:lnTo>
                    <a:pt x="359" y="70"/>
                  </a:lnTo>
                  <a:lnTo>
                    <a:pt x="359" y="70"/>
                  </a:lnTo>
                  <a:lnTo>
                    <a:pt x="359" y="75"/>
                  </a:lnTo>
                  <a:lnTo>
                    <a:pt x="359" y="75"/>
                  </a:lnTo>
                  <a:lnTo>
                    <a:pt x="355" y="70"/>
                  </a:lnTo>
                  <a:lnTo>
                    <a:pt x="350" y="70"/>
                  </a:lnTo>
                  <a:lnTo>
                    <a:pt x="350" y="75"/>
                  </a:lnTo>
                  <a:lnTo>
                    <a:pt x="350" y="79"/>
                  </a:lnTo>
                  <a:lnTo>
                    <a:pt x="350" y="79"/>
                  </a:lnTo>
                  <a:lnTo>
                    <a:pt x="350" y="79"/>
                  </a:lnTo>
                  <a:lnTo>
                    <a:pt x="346" y="84"/>
                  </a:lnTo>
                  <a:lnTo>
                    <a:pt x="337" y="88"/>
                  </a:lnTo>
                  <a:lnTo>
                    <a:pt x="337" y="88"/>
                  </a:lnTo>
                  <a:lnTo>
                    <a:pt x="337" y="88"/>
                  </a:lnTo>
                  <a:lnTo>
                    <a:pt x="332" y="93"/>
                  </a:lnTo>
                  <a:lnTo>
                    <a:pt x="310" y="97"/>
                  </a:lnTo>
                  <a:lnTo>
                    <a:pt x="306" y="97"/>
                  </a:lnTo>
                  <a:lnTo>
                    <a:pt x="301" y="101"/>
                  </a:lnTo>
                  <a:lnTo>
                    <a:pt x="301" y="101"/>
                  </a:lnTo>
                  <a:lnTo>
                    <a:pt x="301" y="101"/>
                  </a:lnTo>
                  <a:lnTo>
                    <a:pt x="293" y="106"/>
                  </a:lnTo>
                  <a:lnTo>
                    <a:pt x="293" y="106"/>
                  </a:lnTo>
                  <a:lnTo>
                    <a:pt x="284" y="110"/>
                  </a:lnTo>
                  <a:lnTo>
                    <a:pt x="284" y="110"/>
                  </a:lnTo>
                  <a:lnTo>
                    <a:pt x="284" y="110"/>
                  </a:lnTo>
                  <a:lnTo>
                    <a:pt x="284" y="110"/>
                  </a:lnTo>
                  <a:lnTo>
                    <a:pt x="279" y="115"/>
                  </a:lnTo>
                  <a:lnTo>
                    <a:pt x="279" y="119"/>
                  </a:lnTo>
                  <a:lnTo>
                    <a:pt x="275" y="124"/>
                  </a:lnTo>
                  <a:lnTo>
                    <a:pt x="275" y="128"/>
                  </a:lnTo>
                  <a:lnTo>
                    <a:pt x="275" y="128"/>
                  </a:lnTo>
                  <a:lnTo>
                    <a:pt x="275" y="128"/>
                  </a:lnTo>
                  <a:lnTo>
                    <a:pt x="275" y="128"/>
                  </a:lnTo>
                  <a:lnTo>
                    <a:pt x="275" y="128"/>
                  </a:lnTo>
                  <a:lnTo>
                    <a:pt x="279" y="128"/>
                  </a:lnTo>
                  <a:lnTo>
                    <a:pt x="279" y="128"/>
                  </a:lnTo>
                  <a:lnTo>
                    <a:pt x="279" y="132"/>
                  </a:lnTo>
                  <a:lnTo>
                    <a:pt x="279" y="132"/>
                  </a:lnTo>
                  <a:lnTo>
                    <a:pt x="284" y="132"/>
                  </a:lnTo>
                  <a:lnTo>
                    <a:pt x="284" y="132"/>
                  </a:lnTo>
                  <a:lnTo>
                    <a:pt x="288" y="132"/>
                  </a:lnTo>
                  <a:lnTo>
                    <a:pt x="293" y="132"/>
                  </a:lnTo>
                  <a:lnTo>
                    <a:pt x="297" y="128"/>
                  </a:lnTo>
                  <a:lnTo>
                    <a:pt x="297" y="132"/>
                  </a:lnTo>
                  <a:lnTo>
                    <a:pt x="297" y="132"/>
                  </a:lnTo>
                  <a:lnTo>
                    <a:pt x="293" y="132"/>
                  </a:lnTo>
                  <a:lnTo>
                    <a:pt x="288" y="132"/>
                  </a:lnTo>
                  <a:lnTo>
                    <a:pt x="279" y="137"/>
                  </a:lnTo>
                  <a:lnTo>
                    <a:pt x="275" y="137"/>
                  </a:lnTo>
                  <a:lnTo>
                    <a:pt x="275" y="141"/>
                  </a:lnTo>
                  <a:lnTo>
                    <a:pt x="275" y="141"/>
                  </a:lnTo>
                  <a:lnTo>
                    <a:pt x="275" y="141"/>
                  </a:lnTo>
                  <a:lnTo>
                    <a:pt x="270" y="141"/>
                  </a:lnTo>
                  <a:lnTo>
                    <a:pt x="270" y="141"/>
                  </a:lnTo>
                  <a:lnTo>
                    <a:pt x="262" y="146"/>
                  </a:lnTo>
                  <a:lnTo>
                    <a:pt x="262" y="146"/>
                  </a:lnTo>
                  <a:lnTo>
                    <a:pt x="257" y="146"/>
                  </a:lnTo>
                  <a:lnTo>
                    <a:pt x="253" y="141"/>
                  </a:lnTo>
                  <a:lnTo>
                    <a:pt x="253" y="141"/>
                  </a:lnTo>
                  <a:lnTo>
                    <a:pt x="248" y="141"/>
                  </a:lnTo>
                  <a:lnTo>
                    <a:pt x="248" y="141"/>
                  </a:lnTo>
                  <a:lnTo>
                    <a:pt x="244" y="141"/>
                  </a:lnTo>
                  <a:lnTo>
                    <a:pt x="244" y="141"/>
                  </a:lnTo>
                  <a:lnTo>
                    <a:pt x="239" y="141"/>
                  </a:lnTo>
                  <a:lnTo>
                    <a:pt x="239" y="141"/>
                  </a:lnTo>
                  <a:lnTo>
                    <a:pt x="239" y="141"/>
                  </a:lnTo>
                  <a:lnTo>
                    <a:pt x="231" y="141"/>
                  </a:lnTo>
                  <a:lnTo>
                    <a:pt x="222" y="137"/>
                  </a:lnTo>
                  <a:lnTo>
                    <a:pt x="217" y="137"/>
                  </a:lnTo>
                  <a:lnTo>
                    <a:pt x="213" y="137"/>
                  </a:lnTo>
                  <a:lnTo>
                    <a:pt x="213" y="137"/>
                  </a:lnTo>
                  <a:lnTo>
                    <a:pt x="213" y="141"/>
                  </a:lnTo>
                  <a:lnTo>
                    <a:pt x="213" y="141"/>
                  </a:lnTo>
                  <a:lnTo>
                    <a:pt x="213" y="141"/>
                  </a:lnTo>
                  <a:lnTo>
                    <a:pt x="213" y="141"/>
                  </a:lnTo>
                  <a:lnTo>
                    <a:pt x="213" y="141"/>
                  </a:lnTo>
                  <a:lnTo>
                    <a:pt x="213" y="141"/>
                  </a:lnTo>
                  <a:lnTo>
                    <a:pt x="213" y="141"/>
                  </a:lnTo>
                  <a:lnTo>
                    <a:pt x="208" y="141"/>
                  </a:lnTo>
                  <a:lnTo>
                    <a:pt x="208" y="141"/>
                  </a:lnTo>
                  <a:lnTo>
                    <a:pt x="208" y="141"/>
                  </a:lnTo>
                  <a:lnTo>
                    <a:pt x="208" y="141"/>
                  </a:lnTo>
                  <a:lnTo>
                    <a:pt x="208" y="141"/>
                  </a:lnTo>
                  <a:lnTo>
                    <a:pt x="208" y="137"/>
                  </a:lnTo>
                  <a:lnTo>
                    <a:pt x="208" y="137"/>
                  </a:lnTo>
                  <a:lnTo>
                    <a:pt x="208" y="137"/>
                  </a:lnTo>
                  <a:lnTo>
                    <a:pt x="208" y="137"/>
                  </a:lnTo>
                  <a:lnTo>
                    <a:pt x="208" y="132"/>
                  </a:lnTo>
                  <a:lnTo>
                    <a:pt x="204" y="128"/>
                  </a:lnTo>
                  <a:lnTo>
                    <a:pt x="204" y="128"/>
                  </a:lnTo>
                  <a:lnTo>
                    <a:pt x="204" y="124"/>
                  </a:lnTo>
                  <a:lnTo>
                    <a:pt x="204" y="124"/>
                  </a:lnTo>
                  <a:lnTo>
                    <a:pt x="204" y="124"/>
                  </a:lnTo>
                  <a:lnTo>
                    <a:pt x="204" y="124"/>
                  </a:lnTo>
                  <a:lnTo>
                    <a:pt x="204" y="124"/>
                  </a:lnTo>
                  <a:lnTo>
                    <a:pt x="204" y="124"/>
                  </a:lnTo>
                  <a:lnTo>
                    <a:pt x="204" y="119"/>
                  </a:lnTo>
                  <a:lnTo>
                    <a:pt x="204" y="119"/>
                  </a:lnTo>
                  <a:lnTo>
                    <a:pt x="204" y="119"/>
                  </a:lnTo>
                  <a:lnTo>
                    <a:pt x="208" y="119"/>
                  </a:lnTo>
                  <a:lnTo>
                    <a:pt x="208" y="119"/>
                  </a:lnTo>
                  <a:lnTo>
                    <a:pt x="204" y="115"/>
                  </a:lnTo>
                  <a:lnTo>
                    <a:pt x="204" y="115"/>
                  </a:lnTo>
                  <a:lnTo>
                    <a:pt x="204" y="115"/>
                  </a:lnTo>
                  <a:lnTo>
                    <a:pt x="204" y="115"/>
                  </a:lnTo>
                  <a:lnTo>
                    <a:pt x="200" y="110"/>
                  </a:lnTo>
                  <a:lnTo>
                    <a:pt x="200" y="110"/>
                  </a:lnTo>
                  <a:lnTo>
                    <a:pt x="195" y="110"/>
                  </a:lnTo>
                  <a:lnTo>
                    <a:pt x="195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86" y="115"/>
                  </a:lnTo>
                  <a:lnTo>
                    <a:pt x="186" y="115"/>
                  </a:lnTo>
                  <a:lnTo>
                    <a:pt x="186" y="115"/>
                  </a:lnTo>
                  <a:lnTo>
                    <a:pt x="186" y="115"/>
                  </a:lnTo>
                  <a:lnTo>
                    <a:pt x="186" y="115"/>
                  </a:lnTo>
                  <a:lnTo>
                    <a:pt x="186" y="115"/>
                  </a:lnTo>
                  <a:lnTo>
                    <a:pt x="186" y="115"/>
                  </a:lnTo>
                  <a:lnTo>
                    <a:pt x="186" y="115"/>
                  </a:lnTo>
                  <a:lnTo>
                    <a:pt x="182" y="115"/>
                  </a:lnTo>
                  <a:lnTo>
                    <a:pt x="178" y="115"/>
                  </a:lnTo>
                  <a:lnTo>
                    <a:pt x="178" y="115"/>
                  </a:lnTo>
                  <a:lnTo>
                    <a:pt x="178" y="115"/>
                  </a:lnTo>
                  <a:lnTo>
                    <a:pt x="178" y="115"/>
                  </a:lnTo>
                  <a:lnTo>
                    <a:pt x="178" y="115"/>
                  </a:lnTo>
                  <a:lnTo>
                    <a:pt x="178" y="115"/>
                  </a:lnTo>
                  <a:lnTo>
                    <a:pt x="178" y="110"/>
                  </a:lnTo>
                  <a:lnTo>
                    <a:pt x="178" y="110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69" y="110"/>
                  </a:lnTo>
                  <a:lnTo>
                    <a:pt x="169" y="110"/>
                  </a:lnTo>
                  <a:lnTo>
                    <a:pt x="169" y="110"/>
                  </a:lnTo>
                  <a:lnTo>
                    <a:pt x="169" y="115"/>
                  </a:lnTo>
                  <a:lnTo>
                    <a:pt x="173" y="115"/>
                  </a:lnTo>
                  <a:lnTo>
                    <a:pt x="173" y="115"/>
                  </a:lnTo>
                  <a:lnTo>
                    <a:pt x="173" y="115"/>
                  </a:lnTo>
                  <a:lnTo>
                    <a:pt x="173" y="119"/>
                  </a:lnTo>
                  <a:lnTo>
                    <a:pt x="173" y="119"/>
                  </a:lnTo>
                  <a:lnTo>
                    <a:pt x="173" y="119"/>
                  </a:lnTo>
                  <a:lnTo>
                    <a:pt x="173" y="119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3" y="132"/>
                  </a:lnTo>
                  <a:lnTo>
                    <a:pt x="173" y="132"/>
                  </a:lnTo>
                  <a:lnTo>
                    <a:pt x="178" y="132"/>
                  </a:lnTo>
                  <a:lnTo>
                    <a:pt x="178" y="132"/>
                  </a:lnTo>
                  <a:lnTo>
                    <a:pt x="178" y="132"/>
                  </a:lnTo>
                  <a:lnTo>
                    <a:pt x="178" y="132"/>
                  </a:lnTo>
                  <a:lnTo>
                    <a:pt x="178" y="137"/>
                  </a:lnTo>
                  <a:lnTo>
                    <a:pt x="178" y="137"/>
                  </a:lnTo>
                  <a:lnTo>
                    <a:pt x="178" y="137"/>
                  </a:lnTo>
                  <a:lnTo>
                    <a:pt x="178" y="137"/>
                  </a:lnTo>
                  <a:lnTo>
                    <a:pt x="178" y="137"/>
                  </a:lnTo>
                  <a:lnTo>
                    <a:pt x="178" y="137"/>
                  </a:lnTo>
                  <a:lnTo>
                    <a:pt x="178" y="137"/>
                  </a:lnTo>
                  <a:lnTo>
                    <a:pt x="178" y="137"/>
                  </a:lnTo>
                  <a:lnTo>
                    <a:pt x="178" y="141"/>
                  </a:lnTo>
                  <a:lnTo>
                    <a:pt x="178" y="141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46"/>
                  </a:lnTo>
                  <a:lnTo>
                    <a:pt x="182" y="146"/>
                  </a:lnTo>
                  <a:lnTo>
                    <a:pt x="186" y="146"/>
                  </a:lnTo>
                  <a:lnTo>
                    <a:pt x="186" y="146"/>
                  </a:lnTo>
                  <a:lnTo>
                    <a:pt x="182" y="146"/>
                  </a:lnTo>
                  <a:lnTo>
                    <a:pt x="182" y="146"/>
                  </a:lnTo>
                  <a:lnTo>
                    <a:pt x="186" y="146"/>
                  </a:lnTo>
                  <a:lnTo>
                    <a:pt x="186" y="150"/>
                  </a:lnTo>
                  <a:lnTo>
                    <a:pt x="186" y="150"/>
                  </a:lnTo>
                  <a:lnTo>
                    <a:pt x="186" y="150"/>
                  </a:lnTo>
                  <a:lnTo>
                    <a:pt x="186" y="150"/>
                  </a:lnTo>
                  <a:lnTo>
                    <a:pt x="191" y="150"/>
                  </a:lnTo>
                  <a:lnTo>
                    <a:pt x="191" y="150"/>
                  </a:lnTo>
                  <a:lnTo>
                    <a:pt x="191" y="150"/>
                  </a:lnTo>
                  <a:lnTo>
                    <a:pt x="186" y="150"/>
                  </a:lnTo>
                  <a:lnTo>
                    <a:pt x="186" y="150"/>
                  </a:lnTo>
                  <a:lnTo>
                    <a:pt x="186" y="150"/>
                  </a:lnTo>
                  <a:lnTo>
                    <a:pt x="186" y="155"/>
                  </a:lnTo>
                  <a:lnTo>
                    <a:pt x="186" y="155"/>
                  </a:lnTo>
                  <a:lnTo>
                    <a:pt x="186" y="155"/>
                  </a:lnTo>
                  <a:lnTo>
                    <a:pt x="186" y="159"/>
                  </a:lnTo>
                  <a:lnTo>
                    <a:pt x="186" y="159"/>
                  </a:lnTo>
                  <a:lnTo>
                    <a:pt x="186" y="159"/>
                  </a:lnTo>
                  <a:lnTo>
                    <a:pt x="191" y="159"/>
                  </a:lnTo>
                  <a:lnTo>
                    <a:pt x="186" y="159"/>
                  </a:lnTo>
                  <a:lnTo>
                    <a:pt x="186" y="159"/>
                  </a:lnTo>
                  <a:lnTo>
                    <a:pt x="186" y="159"/>
                  </a:lnTo>
                  <a:lnTo>
                    <a:pt x="186" y="159"/>
                  </a:lnTo>
                  <a:lnTo>
                    <a:pt x="186" y="163"/>
                  </a:lnTo>
                  <a:lnTo>
                    <a:pt x="186" y="163"/>
                  </a:lnTo>
                  <a:lnTo>
                    <a:pt x="186" y="163"/>
                  </a:lnTo>
                  <a:lnTo>
                    <a:pt x="186" y="163"/>
                  </a:lnTo>
                  <a:lnTo>
                    <a:pt x="186" y="163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91" y="168"/>
                  </a:lnTo>
                  <a:lnTo>
                    <a:pt x="191" y="168"/>
                  </a:lnTo>
                  <a:lnTo>
                    <a:pt x="191" y="168"/>
                  </a:lnTo>
                  <a:lnTo>
                    <a:pt x="191" y="168"/>
                  </a:lnTo>
                  <a:lnTo>
                    <a:pt x="191" y="168"/>
                  </a:lnTo>
                  <a:lnTo>
                    <a:pt x="191" y="168"/>
                  </a:lnTo>
                  <a:lnTo>
                    <a:pt x="191" y="168"/>
                  </a:lnTo>
                  <a:lnTo>
                    <a:pt x="191" y="168"/>
                  </a:lnTo>
                  <a:lnTo>
                    <a:pt x="191" y="168"/>
                  </a:lnTo>
                  <a:lnTo>
                    <a:pt x="191" y="168"/>
                  </a:lnTo>
                  <a:lnTo>
                    <a:pt x="191" y="172"/>
                  </a:lnTo>
                  <a:lnTo>
                    <a:pt x="191" y="172"/>
                  </a:lnTo>
                  <a:lnTo>
                    <a:pt x="191" y="172"/>
                  </a:lnTo>
                  <a:lnTo>
                    <a:pt x="191" y="172"/>
                  </a:lnTo>
                  <a:lnTo>
                    <a:pt x="191" y="172"/>
                  </a:lnTo>
                  <a:lnTo>
                    <a:pt x="191" y="177"/>
                  </a:lnTo>
                  <a:lnTo>
                    <a:pt x="191" y="172"/>
                  </a:lnTo>
                  <a:lnTo>
                    <a:pt x="191" y="177"/>
                  </a:lnTo>
                  <a:lnTo>
                    <a:pt x="191" y="181"/>
                  </a:lnTo>
                  <a:lnTo>
                    <a:pt x="191" y="181"/>
                  </a:lnTo>
                  <a:lnTo>
                    <a:pt x="186" y="181"/>
                  </a:lnTo>
                  <a:lnTo>
                    <a:pt x="186" y="181"/>
                  </a:lnTo>
                  <a:lnTo>
                    <a:pt x="186" y="181"/>
                  </a:lnTo>
                  <a:lnTo>
                    <a:pt x="191" y="181"/>
                  </a:lnTo>
                  <a:lnTo>
                    <a:pt x="191" y="181"/>
                  </a:lnTo>
                  <a:lnTo>
                    <a:pt x="191" y="186"/>
                  </a:lnTo>
                  <a:lnTo>
                    <a:pt x="191" y="186"/>
                  </a:lnTo>
                  <a:lnTo>
                    <a:pt x="191" y="190"/>
                  </a:lnTo>
                  <a:lnTo>
                    <a:pt x="191" y="190"/>
                  </a:lnTo>
                  <a:lnTo>
                    <a:pt x="191" y="194"/>
                  </a:lnTo>
                  <a:lnTo>
                    <a:pt x="191" y="194"/>
                  </a:lnTo>
                  <a:lnTo>
                    <a:pt x="195" y="194"/>
                  </a:lnTo>
                  <a:lnTo>
                    <a:pt x="195" y="194"/>
                  </a:lnTo>
                  <a:lnTo>
                    <a:pt x="195" y="194"/>
                  </a:lnTo>
                  <a:lnTo>
                    <a:pt x="195" y="194"/>
                  </a:lnTo>
                  <a:lnTo>
                    <a:pt x="195" y="194"/>
                  </a:lnTo>
                  <a:lnTo>
                    <a:pt x="195" y="194"/>
                  </a:lnTo>
                  <a:lnTo>
                    <a:pt x="195" y="194"/>
                  </a:lnTo>
                  <a:lnTo>
                    <a:pt x="195" y="194"/>
                  </a:lnTo>
                  <a:lnTo>
                    <a:pt x="195" y="194"/>
                  </a:lnTo>
                  <a:lnTo>
                    <a:pt x="200" y="194"/>
                  </a:lnTo>
                  <a:lnTo>
                    <a:pt x="200" y="194"/>
                  </a:lnTo>
                  <a:lnTo>
                    <a:pt x="200" y="199"/>
                  </a:lnTo>
                  <a:lnTo>
                    <a:pt x="200" y="199"/>
                  </a:lnTo>
                  <a:lnTo>
                    <a:pt x="191" y="199"/>
                  </a:lnTo>
                  <a:lnTo>
                    <a:pt x="191" y="199"/>
                  </a:lnTo>
                  <a:lnTo>
                    <a:pt x="186" y="199"/>
                  </a:lnTo>
                  <a:lnTo>
                    <a:pt x="186" y="199"/>
                  </a:lnTo>
                  <a:lnTo>
                    <a:pt x="186" y="199"/>
                  </a:lnTo>
                  <a:lnTo>
                    <a:pt x="182" y="199"/>
                  </a:lnTo>
                  <a:lnTo>
                    <a:pt x="178" y="199"/>
                  </a:lnTo>
                  <a:lnTo>
                    <a:pt x="173" y="199"/>
                  </a:lnTo>
                  <a:lnTo>
                    <a:pt x="173" y="199"/>
                  </a:lnTo>
                  <a:lnTo>
                    <a:pt x="173" y="194"/>
                  </a:lnTo>
                  <a:lnTo>
                    <a:pt x="173" y="194"/>
                  </a:lnTo>
                  <a:lnTo>
                    <a:pt x="173" y="194"/>
                  </a:lnTo>
                  <a:lnTo>
                    <a:pt x="173" y="194"/>
                  </a:lnTo>
                  <a:lnTo>
                    <a:pt x="173" y="194"/>
                  </a:lnTo>
                  <a:lnTo>
                    <a:pt x="173" y="190"/>
                  </a:lnTo>
                  <a:lnTo>
                    <a:pt x="169" y="194"/>
                  </a:lnTo>
                  <a:lnTo>
                    <a:pt x="169" y="194"/>
                  </a:lnTo>
                  <a:lnTo>
                    <a:pt x="169" y="194"/>
                  </a:lnTo>
                  <a:lnTo>
                    <a:pt x="169" y="194"/>
                  </a:lnTo>
                  <a:lnTo>
                    <a:pt x="169" y="194"/>
                  </a:lnTo>
                  <a:lnTo>
                    <a:pt x="169" y="194"/>
                  </a:lnTo>
                  <a:lnTo>
                    <a:pt x="169" y="194"/>
                  </a:lnTo>
                  <a:lnTo>
                    <a:pt x="164" y="194"/>
                  </a:lnTo>
                  <a:lnTo>
                    <a:pt x="164" y="194"/>
                  </a:lnTo>
                  <a:lnTo>
                    <a:pt x="164" y="199"/>
                  </a:lnTo>
                  <a:lnTo>
                    <a:pt x="164" y="199"/>
                  </a:lnTo>
                  <a:lnTo>
                    <a:pt x="164" y="199"/>
                  </a:lnTo>
                  <a:lnTo>
                    <a:pt x="164" y="199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3"/>
                  </a:lnTo>
                  <a:lnTo>
                    <a:pt x="164" y="203"/>
                  </a:lnTo>
                  <a:lnTo>
                    <a:pt x="164" y="203"/>
                  </a:lnTo>
                  <a:lnTo>
                    <a:pt x="164" y="203"/>
                  </a:lnTo>
                  <a:lnTo>
                    <a:pt x="164" y="203"/>
                  </a:lnTo>
                  <a:lnTo>
                    <a:pt x="164" y="199"/>
                  </a:lnTo>
                  <a:lnTo>
                    <a:pt x="164" y="199"/>
                  </a:lnTo>
                  <a:lnTo>
                    <a:pt x="164" y="199"/>
                  </a:lnTo>
                  <a:lnTo>
                    <a:pt x="164" y="199"/>
                  </a:lnTo>
                  <a:lnTo>
                    <a:pt x="164" y="199"/>
                  </a:lnTo>
                  <a:lnTo>
                    <a:pt x="160" y="199"/>
                  </a:lnTo>
                  <a:lnTo>
                    <a:pt x="160" y="199"/>
                  </a:lnTo>
                  <a:lnTo>
                    <a:pt x="160" y="199"/>
                  </a:lnTo>
                  <a:lnTo>
                    <a:pt x="160" y="199"/>
                  </a:lnTo>
                  <a:lnTo>
                    <a:pt x="160" y="199"/>
                  </a:lnTo>
                  <a:lnTo>
                    <a:pt x="160" y="199"/>
                  </a:lnTo>
                  <a:lnTo>
                    <a:pt x="160" y="199"/>
                  </a:lnTo>
                  <a:lnTo>
                    <a:pt x="160" y="199"/>
                  </a:lnTo>
                  <a:lnTo>
                    <a:pt x="155" y="199"/>
                  </a:lnTo>
                  <a:lnTo>
                    <a:pt x="160" y="203"/>
                  </a:lnTo>
                  <a:lnTo>
                    <a:pt x="160" y="203"/>
                  </a:lnTo>
                  <a:lnTo>
                    <a:pt x="160" y="203"/>
                  </a:lnTo>
                  <a:lnTo>
                    <a:pt x="155" y="203"/>
                  </a:lnTo>
                  <a:lnTo>
                    <a:pt x="155" y="203"/>
                  </a:lnTo>
                  <a:lnTo>
                    <a:pt x="155" y="199"/>
                  </a:lnTo>
                  <a:lnTo>
                    <a:pt x="155" y="199"/>
                  </a:lnTo>
                  <a:lnTo>
                    <a:pt x="155" y="199"/>
                  </a:lnTo>
                  <a:lnTo>
                    <a:pt x="155" y="203"/>
                  </a:lnTo>
                  <a:lnTo>
                    <a:pt x="155" y="203"/>
                  </a:lnTo>
                  <a:lnTo>
                    <a:pt x="155" y="203"/>
                  </a:lnTo>
                  <a:lnTo>
                    <a:pt x="155" y="203"/>
                  </a:lnTo>
                  <a:lnTo>
                    <a:pt x="155" y="199"/>
                  </a:lnTo>
                  <a:lnTo>
                    <a:pt x="155" y="199"/>
                  </a:lnTo>
                  <a:lnTo>
                    <a:pt x="155" y="199"/>
                  </a:lnTo>
                  <a:lnTo>
                    <a:pt x="155" y="199"/>
                  </a:lnTo>
                  <a:lnTo>
                    <a:pt x="155" y="199"/>
                  </a:lnTo>
                  <a:lnTo>
                    <a:pt x="155" y="199"/>
                  </a:lnTo>
                  <a:lnTo>
                    <a:pt x="151" y="199"/>
                  </a:lnTo>
                  <a:lnTo>
                    <a:pt x="151" y="199"/>
                  </a:lnTo>
                  <a:lnTo>
                    <a:pt x="151" y="199"/>
                  </a:lnTo>
                  <a:lnTo>
                    <a:pt x="151" y="199"/>
                  </a:lnTo>
                  <a:lnTo>
                    <a:pt x="151" y="199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47" y="194"/>
                  </a:lnTo>
                  <a:lnTo>
                    <a:pt x="147" y="199"/>
                  </a:lnTo>
                  <a:lnTo>
                    <a:pt x="147" y="199"/>
                  </a:lnTo>
                  <a:lnTo>
                    <a:pt x="142" y="194"/>
                  </a:lnTo>
                  <a:lnTo>
                    <a:pt x="142" y="194"/>
                  </a:lnTo>
                  <a:lnTo>
                    <a:pt x="142" y="199"/>
                  </a:lnTo>
                  <a:lnTo>
                    <a:pt x="142" y="199"/>
                  </a:lnTo>
                  <a:lnTo>
                    <a:pt x="142" y="199"/>
                  </a:lnTo>
                  <a:lnTo>
                    <a:pt x="142" y="199"/>
                  </a:lnTo>
                  <a:lnTo>
                    <a:pt x="142" y="199"/>
                  </a:lnTo>
                  <a:lnTo>
                    <a:pt x="138" y="203"/>
                  </a:lnTo>
                  <a:lnTo>
                    <a:pt x="138" y="203"/>
                  </a:lnTo>
                  <a:lnTo>
                    <a:pt x="138" y="203"/>
                  </a:lnTo>
                  <a:lnTo>
                    <a:pt x="138" y="203"/>
                  </a:lnTo>
                  <a:lnTo>
                    <a:pt x="133" y="203"/>
                  </a:lnTo>
                  <a:lnTo>
                    <a:pt x="133" y="203"/>
                  </a:lnTo>
                  <a:lnTo>
                    <a:pt x="133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3"/>
                  </a:lnTo>
                  <a:lnTo>
                    <a:pt x="129" y="203"/>
                  </a:lnTo>
                  <a:lnTo>
                    <a:pt x="129" y="203"/>
                  </a:lnTo>
                  <a:lnTo>
                    <a:pt x="124" y="203"/>
                  </a:lnTo>
                  <a:lnTo>
                    <a:pt x="124" y="203"/>
                  </a:lnTo>
                  <a:lnTo>
                    <a:pt x="124" y="203"/>
                  </a:lnTo>
                  <a:lnTo>
                    <a:pt x="124" y="199"/>
                  </a:lnTo>
                  <a:lnTo>
                    <a:pt x="124" y="199"/>
                  </a:lnTo>
                  <a:lnTo>
                    <a:pt x="124" y="199"/>
                  </a:lnTo>
                  <a:lnTo>
                    <a:pt x="124" y="199"/>
                  </a:lnTo>
                  <a:lnTo>
                    <a:pt x="124" y="199"/>
                  </a:lnTo>
                  <a:lnTo>
                    <a:pt x="124" y="199"/>
                  </a:lnTo>
                  <a:lnTo>
                    <a:pt x="124" y="194"/>
                  </a:lnTo>
                  <a:lnTo>
                    <a:pt x="120" y="194"/>
                  </a:lnTo>
                  <a:lnTo>
                    <a:pt x="120" y="194"/>
                  </a:lnTo>
                  <a:lnTo>
                    <a:pt x="120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86"/>
                  </a:lnTo>
                  <a:lnTo>
                    <a:pt x="116" y="186"/>
                  </a:lnTo>
                  <a:lnTo>
                    <a:pt x="116" y="186"/>
                  </a:lnTo>
                  <a:lnTo>
                    <a:pt x="111" y="186"/>
                  </a:lnTo>
                  <a:lnTo>
                    <a:pt x="111" y="186"/>
                  </a:lnTo>
                  <a:lnTo>
                    <a:pt x="111" y="186"/>
                  </a:lnTo>
                  <a:lnTo>
                    <a:pt x="111" y="186"/>
                  </a:lnTo>
                  <a:lnTo>
                    <a:pt x="111" y="186"/>
                  </a:lnTo>
                  <a:lnTo>
                    <a:pt x="111" y="186"/>
                  </a:lnTo>
                  <a:lnTo>
                    <a:pt x="111" y="186"/>
                  </a:lnTo>
                  <a:lnTo>
                    <a:pt x="111" y="186"/>
                  </a:lnTo>
                  <a:lnTo>
                    <a:pt x="111" y="186"/>
                  </a:lnTo>
                  <a:lnTo>
                    <a:pt x="111" y="186"/>
                  </a:lnTo>
                  <a:lnTo>
                    <a:pt x="111" y="181"/>
                  </a:lnTo>
                  <a:lnTo>
                    <a:pt x="111" y="181"/>
                  </a:lnTo>
                  <a:lnTo>
                    <a:pt x="111" y="181"/>
                  </a:lnTo>
                  <a:lnTo>
                    <a:pt x="111" y="181"/>
                  </a:lnTo>
                  <a:lnTo>
                    <a:pt x="111" y="181"/>
                  </a:lnTo>
                  <a:lnTo>
                    <a:pt x="111" y="181"/>
                  </a:lnTo>
                  <a:lnTo>
                    <a:pt x="111" y="186"/>
                  </a:lnTo>
                  <a:lnTo>
                    <a:pt x="107" y="190"/>
                  </a:lnTo>
                  <a:lnTo>
                    <a:pt x="107" y="190"/>
                  </a:lnTo>
                  <a:lnTo>
                    <a:pt x="107" y="186"/>
                  </a:lnTo>
                  <a:lnTo>
                    <a:pt x="107" y="186"/>
                  </a:lnTo>
                  <a:lnTo>
                    <a:pt x="107" y="186"/>
                  </a:lnTo>
                  <a:lnTo>
                    <a:pt x="111" y="186"/>
                  </a:lnTo>
                  <a:lnTo>
                    <a:pt x="111" y="181"/>
                  </a:lnTo>
                  <a:lnTo>
                    <a:pt x="111" y="181"/>
                  </a:lnTo>
                  <a:lnTo>
                    <a:pt x="111" y="181"/>
                  </a:lnTo>
                  <a:lnTo>
                    <a:pt x="111" y="181"/>
                  </a:lnTo>
                  <a:lnTo>
                    <a:pt x="111" y="181"/>
                  </a:lnTo>
                  <a:lnTo>
                    <a:pt x="107" y="181"/>
                  </a:lnTo>
                  <a:lnTo>
                    <a:pt x="107" y="177"/>
                  </a:lnTo>
                  <a:lnTo>
                    <a:pt x="107" y="181"/>
                  </a:lnTo>
                  <a:lnTo>
                    <a:pt x="107" y="181"/>
                  </a:lnTo>
                  <a:lnTo>
                    <a:pt x="107" y="181"/>
                  </a:lnTo>
                  <a:lnTo>
                    <a:pt x="107" y="181"/>
                  </a:lnTo>
                  <a:lnTo>
                    <a:pt x="102" y="181"/>
                  </a:lnTo>
                  <a:lnTo>
                    <a:pt x="102" y="186"/>
                  </a:lnTo>
                  <a:lnTo>
                    <a:pt x="102" y="186"/>
                  </a:lnTo>
                  <a:lnTo>
                    <a:pt x="102" y="186"/>
                  </a:lnTo>
                  <a:lnTo>
                    <a:pt x="102" y="186"/>
                  </a:lnTo>
                  <a:lnTo>
                    <a:pt x="102" y="186"/>
                  </a:lnTo>
                  <a:lnTo>
                    <a:pt x="102" y="186"/>
                  </a:lnTo>
                  <a:lnTo>
                    <a:pt x="102" y="186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98" y="181"/>
                  </a:lnTo>
                  <a:lnTo>
                    <a:pt x="98" y="181"/>
                  </a:lnTo>
                  <a:lnTo>
                    <a:pt x="98" y="181"/>
                  </a:lnTo>
                  <a:lnTo>
                    <a:pt x="98" y="181"/>
                  </a:lnTo>
                  <a:lnTo>
                    <a:pt x="93" y="181"/>
                  </a:lnTo>
                  <a:lnTo>
                    <a:pt x="93" y="186"/>
                  </a:lnTo>
                  <a:lnTo>
                    <a:pt x="93" y="186"/>
                  </a:lnTo>
                  <a:lnTo>
                    <a:pt x="93" y="186"/>
                  </a:lnTo>
                  <a:lnTo>
                    <a:pt x="93" y="186"/>
                  </a:lnTo>
                  <a:lnTo>
                    <a:pt x="89" y="186"/>
                  </a:lnTo>
                  <a:lnTo>
                    <a:pt x="89" y="186"/>
                  </a:lnTo>
                  <a:lnTo>
                    <a:pt x="89" y="186"/>
                  </a:lnTo>
                  <a:lnTo>
                    <a:pt x="93" y="186"/>
                  </a:lnTo>
                  <a:lnTo>
                    <a:pt x="93" y="181"/>
                  </a:lnTo>
                  <a:lnTo>
                    <a:pt x="89" y="181"/>
                  </a:lnTo>
                  <a:lnTo>
                    <a:pt x="89" y="181"/>
                  </a:lnTo>
                  <a:lnTo>
                    <a:pt x="89" y="181"/>
                  </a:lnTo>
                  <a:lnTo>
                    <a:pt x="89" y="181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5" y="186"/>
                  </a:lnTo>
                  <a:lnTo>
                    <a:pt x="85" y="186"/>
                  </a:lnTo>
                  <a:lnTo>
                    <a:pt x="85" y="186"/>
                  </a:lnTo>
                  <a:lnTo>
                    <a:pt x="85" y="186"/>
                  </a:lnTo>
                  <a:lnTo>
                    <a:pt x="85" y="190"/>
                  </a:lnTo>
                  <a:lnTo>
                    <a:pt x="85" y="190"/>
                  </a:lnTo>
                  <a:lnTo>
                    <a:pt x="85" y="190"/>
                  </a:lnTo>
                  <a:lnTo>
                    <a:pt x="85" y="190"/>
                  </a:lnTo>
                  <a:lnTo>
                    <a:pt x="85" y="190"/>
                  </a:lnTo>
                  <a:lnTo>
                    <a:pt x="85" y="194"/>
                  </a:lnTo>
                  <a:lnTo>
                    <a:pt x="85" y="194"/>
                  </a:lnTo>
                  <a:lnTo>
                    <a:pt x="80" y="194"/>
                  </a:lnTo>
                  <a:lnTo>
                    <a:pt x="80" y="194"/>
                  </a:lnTo>
                  <a:lnTo>
                    <a:pt x="80" y="194"/>
                  </a:lnTo>
                  <a:lnTo>
                    <a:pt x="80" y="194"/>
                  </a:lnTo>
                  <a:lnTo>
                    <a:pt x="76" y="194"/>
                  </a:lnTo>
                  <a:lnTo>
                    <a:pt x="76" y="194"/>
                  </a:lnTo>
                  <a:lnTo>
                    <a:pt x="76" y="190"/>
                  </a:lnTo>
                  <a:lnTo>
                    <a:pt x="76" y="190"/>
                  </a:lnTo>
                  <a:lnTo>
                    <a:pt x="71" y="190"/>
                  </a:lnTo>
                  <a:lnTo>
                    <a:pt x="71" y="190"/>
                  </a:lnTo>
                  <a:lnTo>
                    <a:pt x="71" y="190"/>
                  </a:lnTo>
                  <a:lnTo>
                    <a:pt x="71" y="190"/>
                  </a:lnTo>
                  <a:lnTo>
                    <a:pt x="71" y="190"/>
                  </a:lnTo>
                  <a:lnTo>
                    <a:pt x="71" y="190"/>
                  </a:lnTo>
                  <a:lnTo>
                    <a:pt x="71" y="190"/>
                  </a:lnTo>
                  <a:lnTo>
                    <a:pt x="71" y="190"/>
                  </a:lnTo>
                  <a:lnTo>
                    <a:pt x="71" y="194"/>
                  </a:lnTo>
                  <a:lnTo>
                    <a:pt x="71" y="194"/>
                  </a:lnTo>
                  <a:lnTo>
                    <a:pt x="71" y="194"/>
                  </a:lnTo>
                  <a:lnTo>
                    <a:pt x="71" y="194"/>
                  </a:lnTo>
                  <a:lnTo>
                    <a:pt x="67" y="194"/>
                  </a:lnTo>
                  <a:lnTo>
                    <a:pt x="67" y="194"/>
                  </a:lnTo>
                  <a:lnTo>
                    <a:pt x="67" y="194"/>
                  </a:lnTo>
                  <a:lnTo>
                    <a:pt x="67" y="194"/>
                  </a:lnTo>
                  <a:lnTo>
                    <a:pt x="67" y="194"/>
                  </a:lnTo>
                  <a:lnTo>
                    <a:pt x="71" y="199"/>
                  </a:lnTo>
                  <a:lnTo>
                    <a:pt x="67" y="199"/>
                  </a:lnTo>
                  <a:lnTo>
                    <a:pt x="71" y="199"/>
                  </a:lnTo>
                  <a:lnTo>
                    <a:pt x="67" y="199"/>
                  </a:lnTo>
                  <a:lnTo>
                    <a:pt x="67" y="199"/>
                  </a:lnTo>
                  <a:lnTo>
                    <a:pt x="67" y="199"/>
                  </a:lnTo>
                  <a:lnTo>
                    <a:pt x="67" y="194"/>
                  </a:lnTo>
                  <a:lnTo>
                    <a:pt x="67" y="194"/>
                  </a:lnTo>
                  <a:lnTo>
                    <a:pt x="67" y="194"/>
                  </a:lnTo>
                  <a:lnTo>
                    <a:pt x="67" y="194"/>
                  </a:lnTo>
                  <a:lnTo>
                    <a:pt x="67" y="194"/>
                  </a:lnTo>
                  <a:lnTo>
                    <a:pt x="67" y="194"/>
                  </a:lnTo>
                  <a:lnTo>
                    <a:pt x="62" y="194"/>
                  </a:lnTo>
                  <a:lnTo>
                    <a:pt x="62" y="194"/>
                  </a:lnTo>
                  <a:lnTo>
                    <a:pt x="62" y="194"/>
                  </a:lnTo>
                  <a:lnTo>
                    <a:pt x="62" y="194"/>
                  </a:lnTo>
                  <a:lnTo>
                    <a:pt x="62" y="194"/>
                  </a:lnTo>
                  <a:lnTo>
                    <a:pt x="62" y="194"/>
                  </a:lnTo>
                  <a:lnTo>
                    <a:pt x="62" y="194"/>
                  </a:lnTo>
                  <a:lnTo>
                    <a:pt x="62" y="194"/>
                  </a:lnTo>
                  <a:lnTo>
                    <a:pt x="62" y="194"/>
                  </a:lnTo>
                  <a:lnTo>
                    <a:pt x="62" y="190"/>
                  </a:lnTo>
                  <a:lnTo>
                    <a:pt x="62" y="190"/>
                  </a:lnTo>
                  <a:lnTo>
                    <a:pt x="62" y="190"/>
                  </a:lnTo>
                  <a:lnTo>
                    <a:pt x="62" y="190"/>
                  </a:lnTo>
                  <a:lnTo>
                    <a:pt x="62" y="190"/>
                  </a:lnTo>
                  <a:lnTo>
                    <a:pt x="58" y="190"/>
                  </a:lnTo>
                  <a:lnTo>
                    <a:pt x="58" y="190"/>
                  </a:lnTo>
                  <a:lnTo>
                    <a:pt x="58" y="190"/>
                  </a:lnTo>
                  <a:lnTo>
                    <a:pt x="58" y="194"/>
                  </a:lnTo>
                  <a:lnTo>
                    <a:pt x="58" y="194"/>
                  </a:lnTo>
                  <a:lnTo>
                    <a:pt x="58" y="194"/>
                  </a:lnTo>
                  <a:lnTo>
                    <a:pt x="58" y="194"/>
                  </a:lnTo>
                  <a:lnTo>
                    <a:pt x="58" y="194"/>
                  </a:lnTo>
                  <a:lnTo>
                    <a:pt x="58" y="194"/>
                  </a:lnTo>
                  <a:lnTo>
                    <a:pt x="58" y="194"/>
                  </a:lnTo>
                  <a:lnTo>
                    <a:pt x="58" y="194"/>
                  </a:lnTo>
                  <a:lnTo>
                    <a:pt x="58" y="194"/>
                  </a:lnTo>
                  <a:lnTo>
                    <a:pt x="54" y="194"/>
                  </a:lnTo>
                  <a:lnTo>
                    <a:pt x="54" y="194"/>
                  </a:lnTo>
                  <a:lnTo>
                    <a:pt x="54" y="194"/>
                  </a:lnTo>
                  <a:lnTo>
                    <a:pt x="54" y="194"/>
                  </a:lnTo>
                  <a:lnTo>
                    <a:pt x="49" y="194"/>
                  </a:lnTo>
                  <a:lnTo>
                    <a:pt x="49" y="194"/>
                  </a:lnTo>
                  <a:lnTo>
                    <a:pt x="49" y="194"/>
                  </a:lnTo>
                  <a:lnTo>
                    <a:pt x="49" y="194"/>
                  </a:lnTo>
                  <a:lnTo>
                    <a:pt x="49" y="199"/>
                  </a:lnTo>
                  <a:lnTo>
                    <a:pt x="49" y="199"/>
                  </a:lnTo>
                  <a:lnTo>
                    <a:pt x="49" y="194"/>
                  </a:lnTo>
                  <a:lnTo>
                    <a:pt x="49" y="194"/>
                  </a:lnTo>
                  <a:lnTo>
                    <a:pt x="49" y="194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4"/>
                  </a:lnTo>
                  <a:lnTo>
                    <a:pt x="45" y="194"/>
                  </a:lnTo>
                  <a:lnTo>
                    <a:pt x="45" y="194"/>
                  </a:lnTo>
                  <a:lnTo>
                    <a:pt x="40" y="194"/>
                  </a:lnTo>
                  <a:lnTo>
                    <a:pt x="40" y="194"/>
                  </a:lnTo>
                  <a:lnTo>
                    <a:pt x="40" y="194"/>
                  </a:lnTo>
                  <a:lnTo>
                    <a:pt x="40" y="199"/>
                  </a:lnTo>
                  <a:lnTo>
                    <a:pt x="40" y="199"/>
                  </a:lnTo>
                  <a:lnTo>
                    <a:pt x="40" y="199"/>
                  </a:lnTo>
                  <a:lnTo>
                    <a:pt x="40" y="199"/>
                  </a:lnTo>
                  <a:lnTo>
                    <a:pt x="36" y="199"/>
                  </a:lnTo>
                  <a:lnTo>
                    <a:pt x="36" y="199"/>
                  </a:lnTo>
                  <a:lnTo>
                    <a:pt x="31" y="199"/>
                  </a:lnTo>
                  <a:lnTo>
                    <a:pt x="31" y="199"/>
                  </a:lnTo>
                  <a:lnTo>
                    <a:pt x="31" y="199"/>
                  </a:lnTo>
                  <a:lnTo>
                    <a:pt x="31" y="199"/>
                  </a:lnTo>
                  <a:lnTo>
                    <a:pt x="31" y="199"/>
                  </a:lnTo>
                  <a:lnTo>
                    <a:pt x="31" y="199"/>
                  </a:lnTo>
                  <a:lnTo>
                    <a:pt x="31" y="199"/>
                  </a:lnTo>
                  <a:lnTo>
                    <a:pt x="31" y="199"/>
                  </a:lnTo>
                  <a:lnTo>
                    <a:pt x="31" y="199"/>
                  </a:lnTo>
                  <a:lnTo>
                    <a:pt x="27" y="199"/>
                  </a:lnTo>
                  <a:lnTo>
                    <a:pt x="31" y="203"/>
                  </a:lnTo>
                  <a:lnTo>
                    <a:pt x="31" y="203"/>
                  </a:lnTo>
                  <a:lnTo>
                    <a:pt x="31" y="203"/>
                  </a:lnTo>
                  <a:lnTo>
                    <a:pt x="27" y="203"/>
                  </a:lnTo>
                  <a:lnTo>
                    <a:pt x="27" y="203"/>
                  </a:lnTo>
                  <a:lnTo>
                    <a:pt x="27" y="203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23" y="208"/>
                  </a:lnTo>
                  <a:lnTo>
                    <a:pt x="18" y="208"/>
                  </a:lnTo>
                  <a:lnTo>
                    <a:pt x="23" y="212"/>
                  </a:lnTo>
                  <a:lnTo>
                    <a:pt x="23" y="212"/>
                  </a:lnTo>
                  <a:lnTo>
                    <a:pt x="23" y="212"/>
                  </a:lnTo>
                  <a:lnTo>
                    <a:pt x="18" y="212"/>
                  </a:lnTo>
                  <a:lnTo>
                    <a:pt x="18" y="212"/>
                  </a:lnTo>
                  <a:lnTo>
                    <a:pt x="18" y="216"/>
                  </a:lnTo>
                  <a:lnTo>
                    <a:pt x="23" y="216"/>
                  </a:lnTo>
                  <a:lnTo>
                    <a:pt x="23" y="216"/>
                  </a:lnTo>
                  <a:lnTo>
                    <a:pt x="18" y="216"/>
                  </a:lnTo>
                  <a:lnTo>
                    <a:pt x="18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3" y="221"/>
                  </a:lnTo>
                  <a:lnTo>
                    <a:pt x="27" y="221"/>
                  </a:lnTo>
                  <a:lnTo>
                    <a:pt x="27" y="221"/>
                  </a:lnTo>
                  <a:lnTo>
                    <a:pt x="27" y="221"/>
                  </a:lnTo>
                  <a:lnTo>
                    <a:pt x="31" y="221"/>
                  </a:lnTo>
                  <a:lnTo>
                    <a:pt x="31" y="221"/>
                  </a:lnTo>
                  <a:lnTo>
                    <a:pt x="31" y="221"/>
                  </a:lnTo>
                  <a:lnTo>
                    <a:pt x="36" y="216"/>
                  </a:lnTo>
                  <a:lnTo>
                    <a:pt x="40" y="216"/>
                  </a:lnTo>
                  <a:lnTo>
                    <a:pt x="40" y="216"/>
                  </a:lnTo>
                  <a:lnTo>
                    <a:pt x="45" y="216"/>
                  </a:lnTo>
                  <a:lnTo>
                    <a:pt x="45" y="216"/>
                  </a:lnTo>
                  <a:lnTo>
                    <a:pt x="45" y="212"/>
                  </a:lnTo>
                  <a:lnTo>
                    <a:pt x="40" y="216"/>
                  </a:lnTo>
                  <a:lnTo>
                    <a:pt x="40" y="216"/>
                  </a:lnTo>
                  <a:lnTo>
                    <a:pt x="36" y="221"/>
                  </a:lnTo>
                  <a:lnTo>
                    <a:pt x="36" y="221"/>
                  </a:lnTo>
                  <a:lnTo>
                    <a:pt x="36" y="221"/>
                  </a:lnTo>
                  <a:lnTo>
                    <a:pt x="40" y="221"/>
                  </a:lnTo>
                  <a:lnTo>
                    <a:pt x="40" y="221"/>
                  </a:lnTo>
                  <a:lnTo>
                    <a:pt x="40" y="221"/>
                  </a:lnTo>
                  <a:lnTo>
                    <a:pt x="40" y="221"/>
                  </a:lnTo>
                  <a:lnTo>
                    <a:pt x="40" y="221"/>
                  </a:lnTo>
                  <a:lnTo>
                    <a:pt x="40" y="221"/>
                  </a:lnTo>
                  <a:lnTo>
                    <a:pt x="40" y="221"/>
                  </a:lnTo>
                  <a:lnTo>
                    <a:pt x="40" y="221"/>
                  </a:lnTo>
                  <a:lnTo>
                    <a:pt x="40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5"/>
                  </a:lnTo>
                  <a:lnTo>
                    <a:pt x="49" y="225"/>
                  </a:lnTo>
                  <a:lnTo>
                    <a:pt x="49" y="225"/>
                  </a:lnTo>
                  <a:lnTo>
                    <a:pt x="49" y="221"/>
                  </a:lnTo>
                  <a:lnTo>
                    <a:pt x="49" y="225"/>
                  </a:lnTo>
                  <a:lnTo>
                    <a:pt x="49" y="225"/>
                  </a:lnTo>
                  <a:lnTo>
                    <a:pt x="49" y="225"/>
                  </a:lnTo>
                  <a:lnTo>
                    <a:pt x="49" y="225"/>
                  </a:lnTo>
                  <a:lnTo>
                    <a:pt x="45" y="225"/>
                  </a:lnTo>
                  <a:lnTo>
                    <a:pt x="45" y="225"/>
                  </a:lnTo>
                  <a:lnTo>
                    <a:pt x="45" y="225"/>
                  </a:lnTo>
                  <a:lnTo>
                    <a:pt x="45" y="225"/>
                  </a:lnTo>
                  <a:lnTo>
                    <a:pt x="49" y="225"/>
                  </a:lnTo>
                  <a:lnTo>
                    <a:pt x="45" y="225"/>
                  </a:lnTo>
                  <a:lnTo>
                    <a:pt x="40" y="225"/>
                  </a:lnTo>
                  <a:lnTo>
                    <a:pt x="40" y="225"/>
                  </a:lnTo>
                  <a:lnTo>
                    <a:pt x="40" y="225"/>
                  </a:lnTo>
                  <a:lnTo>
                    <a:pt x="40" y="225"/>
                  </a:lnTo>
                  <a:lnTo>
                    <a:pt x="40" y="225"/>
                  </a:lnTo>
                  <a:lnTo>
                    <a:pt x="40" y="225"/>
                  </a:lnTo>
                  <a:lnTo>
                    <a:pt x="36" y="225"/>
                  </a:lnTo>
                  <a:lnTo>
                    <a:pt x="31" y="225"/>
                  </a:lnTo>
                  <a:lnTo>
                    <a:pt x="31" y="221"/>
                  </a:lnTo>
                  <a:lnTo>
                    <a:pt x="31" y="221"/>
                  </a:lnTo>
                  <a:lnTo>
                    <a:pt x="31" y="221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31" y="225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31" y="234"/>
                  </a:lnTo>
                  <a:lnTo>
                    <a:pt x="31" y="234"/>
                  </a:lnTo>
                  <a:lnTo>
                    <a:pt x="31" y="234"/>
                  </a:lnTo>
                  <a:lnTo>
                    <a:pt x="31" y="234"/>
                  </a:lnTo>
                  <a:lnTo>
                    <a:pt x="36" y="234"/>
                  </a:lnTo>
                  <a:lnTo>
                    <a:pt x="36" y="230"/>
                  </a:lnTo>
                  <a:lnTo>
                    <a:pt x="36" y="230"/>
                  </a:lnTo>
                  <a:lnTo>
                    <a:pt x="36" y="230"/>
                  </a:lnTo>
                  <a:lnTo>
                    <a:pt x="40" y="230"/>
                  </a:lnTo>
                  <a:lnTo>
                    <a:pt x="40" y="230"/>
                  </a:lnTo>
                  <a:lnTo>
                    <a:pt x="40" y="230"/>
                  </a:lnTo>
                  <a:lnTo>
                    <a:pt x="40" y="230"/>
                  </a:lnTo>
                  <a:lnTo>
                    <a:pt x="40" y="230"/>
                  </a:lnTo>
                  <a:lnTo>
                    <a:pt x="40" y="230"/>
                  </a:lnTo>
                  <a:lnTo>
                    <a:pt x="45" y="234"/>
                  </a:lnTo>
                  <a:lnTo>
                    <a:pt x="45" y="234"/>
                  </a:lnTo>
                  <a:lnTo>
                    <a:pt x="45" y="234"/>
                  </a:lnTo>
                  <a:lnTo>
                    <a:pt x="45" y="234"/>
                  </a:lnTo>
                  <a:lnTo>
                    <a:pt x="45" y="234"/>
                  </a:lnTo>
                  <a:lnTo>
                    <a:pt x="45" y="239"/>
                  </a:lnTo>
                  <a:lnTo>
                    <a:pt x="45" y="239"/>
                  </a:lnTo>
                  <a:lnTo>
                    <a:pt x="45" y="239"/>
                  </a:lnTo>
                  <a:lnTo>
                    <a:pt x="45" y="239"/>
                  </a:lnTo>
                  <a:lnTo>
                    <a:pt x="40" y="239"/>
                  </a:lnTo>
                  <a:lnTo>
                    <a:pt x="27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6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40" y="256"/>
                  </a:lnTo>
                  <a:lnTo>
                    <a:pt x="45" y="261"/>
                  </a:lnTo>
                  <a:lnTo>
                    <a:pt x="45" y="261"/>
                  </a:lnTo>
                  <a:lnTo>
                    <a:pt x="45" y="261"/>
                  </a:lnTo>
                  <a:lnTo>
                    <a:pt x="40" y="261"/>
                  </a:lnTo>
                  <a:lnTo>
                    <a:pt x="40" y="261"/>
                  </a:lnTo>
                  <a:lnTo>
                    <a:pt x="40" y="261"/>
                  </a:lnTo>
                  <a:lnTo>
                    <a:pt x="40" y="261"/>
                  </a:lnTo>
                  <a:lnTo>
                    <a:pt x="40" y="261"/>
                  </a:lnTo>
                  <a:lnTo>
                    <a:pt x="40" y="265"/>
                  </a:lnTo>
                  <a:lnTo>
                    <a:pt x="49" y="265"/>
                  </a:lnTo>
                  <a:lnTo>
                    <a:pt x="49" y="265"/>
                  </a:lnTo>
                  <a:lnTo>
                    <a:pt x="49" y="261"/>
                  </a:lnTo>
                  <a:lnTo>
                    <a:pt x="54" y="261"/>
                  </a:lnTo>
                  <a:lnTo>
                    <a:pt x="54" y="261"/>
                  </a:lnTo>
                  <a:lnTo>
                    <a:pt x="54" y="261"/>
                  </a:lnTo>
                  <a:lnTo>
                    <a:pt x="54" y="261"/>
                  </a:lnTo>
                  <a:lnTo>
                    <a:pt x="54" y="261"/>
                  </a:lnTo>
                  <a:lnTo>
                    <a:pt x="54" y="261"/>
                  </a:lnTo>
                  <a:lnTo>
                    <a:pt x="49" y="261"/>
                  </a:lnTo>
                  <a:lnTo>
                    <a:pt x="49" y="256"/>
                  </a:lnTo>
                  <a:lnTo>
                    <a:pt x="54" y="256"/>
                  </a:lnTo>
                  <a:lnTo>
                    <a:pt x="54" y="261"/>
                  </a:lnTo>
                  <a:lnTo>
                    <a:pt x="54" y="261"/>
                  </a:lnTo>
                  <a:lnTo>
                    <a:pt x="54" y="261"/>
                  </a:lnTo>
                  <a:lnTo>
                    <a:pt x="54" y="261"/>
                  </a:lnTo>
                  <a:lnTo>
                    <a:pt x="54" y="256"/>
                  </a:lnTo>
                  <a:lnTo>
                    <a:pt x="54" y="256"/>
                  </a:lnTo>
                  <a:lnTo>
                    <a:pt x="54" y="256"/>
                  </a:lnTo>
                  <a:lnTo>
                    <a:pt x="54" y="256"/>
                  </a:lnTo>
                  <a:lnTo>
                    <a:pt x="54" y="256"/>
                  </a:lnTo>
                  <a:lnTo>
                    <a:pt x="54" y="256"/>
                  </a:lnTo>
                  <a:lnTo>
                    <a:pt x="54" y="256"/>
                  </a:lnTo>
                  <a:lnTo>
                    <a:pt x="54" y="256"/>
                  </a:lnTo>
                  <a:lnTo>
                    <a:pt x="54" y="256"/>
                  </a:lnTo>
                  <a:lnTo>
                    <a:pt x="58" y="256"/>
                  </a:lnTo>
                  <a:lnTo>
                    <a:pt x="58" y="256"/>
                  </a:lnTo>
                  <a:lnTo>
                    <a:pt x="58" y="256"/>
                  </a:lnTo>
                  <a:lnTo>
                    <a:pt x="58" y="261"/>
                  </a:lnTo>
                  <a:lnTo>
                    <a:pt x="58" y="261"/>
                  </a:lnTo>
                  <a:lnTo>
                    <a:pt x="58" y="261"/>
                  </a:lnTo>
                  <a:lnTo>
                    <a:pt x="62" y="261"/>
                  </a:lnTo>
                  <a:lnTo>
                    <a:pt x="62" y="256"/>
                  </a:lnTo>
                  <a:lnTo>
                    <a:pt x="62" y="261"/>
                  </a:lnTo>
                  <a:lnTo>
                    <a:pt x="62" y="261"/>
                  </a:lnTo>
                  <a:lnTo>
                    <a:pt x="58" y="261"/>
                  </a:lnTo>
                  <a:lnTo>
                    <a:pt x="58" y="261"/>
                  </a:lnTo>
                  <a:lnTo>
                    <a:pt x="62" y="261"/>
                  </a:lnTo>
                  <a:lnTo>
                    <a:pt x="62" y="261"/>
                  </a:lnTo>
                  <a:lnTo>
                    <a:pt x="62" y="256"/>
                  </a:lnTo>
                  <a:lnTo>
                    <a:pt x="62" y="256"/>
                  </a:lnTo>
                  <a:lnTo>
                    <a:pt x="62" y="256"/>
                  </a:lnTo>
                  <a:lnTo>
                    <a:pt x="62" y="256"/>
                  </a:lnTo>
                  <a:lnTo>
                    <a:pt x="67" y="256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6" y="261"/>
                  </a:lnTo>
                  <a:lnTo>
                    <a:pt x="76" y="265"/>
                  </a:lnTo>
                  <a:lnTo>
                    <a:pt x="76" y="265"/>
                  </a:lnTo>
                  <a:lnTo>
                    <a:pt x="76" y="265"/>
                  </a:lnTo>
                  <a:lnTo>
                    <a:pt x="80" y="265"/>
                  </a:lnTo>
                  <a:lnTo>
                    <a:pt x="80" y="265"/>
                  </a:lnTo>
                  <a:lnTo>
                    <a:pt x="80" y="265"/>
                  </a:lnTo>
                  <a:lnTo>
                    <a:pt x="80" y="265"/>
                  </a:lnTo>
                  <a:lnTo>
                    <a:pt x="80" y="265"/>
                  </a:lnTo>
                  <a:lnTo>
                    <a:pt x="85" y="265"/>
                  </a:lnTo>
                  <a:lnTo>
                    <a:pt x="85" y="265"/>
                  </a:lnTo>
                  <a:lnTo>
                    <a:pt x="85" y="265"/>
                  </a:lnTo>
                  <a:lnTo>
                    <a:pt x="85" y="265"/>
                  </a:lnTo>
                  <a:lnTo>
                    <a:pt x="85" y="265"/>
                  </a:lnTo>
                  <a:lnTo>
                    <a:pt x="85" y="265"/>
                  </a:lnTo>
                  <a:lnTo>
                    <a:pt x="89" y="265"/>
                  </a:lnTo>
                  <a:lnTo>
                    <a:pt x="89" y="270"/>
                  </a:lnTo>
                  <a:lnTo>
                    <a:pt x="89" y="270"/>
                  </a:lnTo>
                  <a:lnTo>
                    <a:pt x="89" y="270"/>
                  </a:lnTo>
                  <a:lnTo>
                    <a:pt x="89" y="270"/>
                  </a:lnTo>
                  <a:lnTo>
                    <a:pt x="93" y="270"/>
                  </a:lnTo>
                  <a:lnTo>
                    <a:pt x="93" y="270"/>
                  </a:lnTo>
                  <a:lnTo>
                    <a:pt x="93" y="270"/>
                  </a:lnTo>
                  <a:lnTo>
                    <a:pt x="93" y="270"/>
                  </a:lnTo>
                  <a:lnTo>
                    <a:pt x="93" y="270"/>
                  </a:lnTo>
                  <a:lnTo>
                    <a:pt x="93" y="270"/>
                  </a:lnTo>
                  <a:lnTo>
                    <a:pt x="98" y="270"/>
                  </a:lnTo>
                  <a:lnTo>
                    <a:pt x="98" y="265"/>
                  </a:lnTo>
                  <a:lnTo>
                    <a:pt x="98" y="265"/>
                  </a:lnTo>
                  <a:lnTo>
                    <a:pt x="98" y="265"/>
                  </a:lnTo>
                  <a:lnTo>
                    <a:pt x="98" y="265"/>
                  </a:lnTo>
                  <a:lnTo>
                    <a:pt x="98" y="265"/>
                  </a:lnTo>
                  <a:lnTo>
                    <a:pt x="98" y="270"/>
                  </a:lnTo>
                  <a:lnTo>
                    <a:pt x="98" y="270"/>
                  </a:lnTo>
                  <a:lnTo>
                    <a:pt x="98" y="270"/>
                  </a:lnTo>
                  <a:lnTo>
                    <a:pt x="93" y="270"/>
                  </a:lnTo>
                  <a:lnTo>
                    <a:pt x="93" y="270"/>
                  </a:lnTo>
                  <a:lnTo>
                    <a:pt x="93" y="270"/>
                  </a:lnTo>
                  <a:lnTo>
                    <a:pt x="93" y="270"/>
                  </a:lnTo>
                  <a:lnTo>
                    <a:pt x="93" y="270"/>
                  </a:lnTo>
                  <a:lnTo>
                    <a:pt x="93" y="270"/>
                  </a:lnTo>
                  <a:lnTo>
                    <a:pt x="98" y="270"/>
                  </a:lnTo>
                  <a:lnTo>
                    <a:pt x="98" y="270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8" y="270"/>
                  </a:lnTo>
                  <a:lnTo>
                    <a:pt x="98" y="270"/>
                  </a:lnTo>
                  <a:lnTo>
                    <a:pt x="93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98" y="274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2" y="270"/>
                  </a:lnTo>
                  <a:lnTo>
                    <a:pt x="102" y="270"/>
                  </a:lnTo>
                  <a:lnTo>
                    <a:pt x="102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2" y="270"/>
                  </a:lnTo>
                  <a:lnTo>
                    <a:pt x="102" y="270"/>
                  </a:lnTo>
                  <a:lnTo>
                    <a:pt x="102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7" y="270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2" y="278"/>
                  </a:lnTo>
                  <a:lnTo>
                    <a:pt x="102" y="278"/>
                  </a:lnTo>
                  <a:lnTo>
                    <a:pt x="102" y="278"/>
                  </a:lnTo>
                  <a:lnTo>
                    <a:pt x="102" y="278"/>
                  </a:lnTo>
                  <a:lnTo>
                    <a:pt x="107" y="278"/>
                  </a:lnTo>
                  <a:lnTo>
                    <a:pt x="107" y="278"/>
                  </a:lnTo>
                  <a:lnTo>
                    <a:pt x="107" y="278"/>
                  </a:lnTo>
                  <a:lnTo>
                    <a:pt x="107" y="283"/>
                  </a:lnTo>
                  <a:lnTo>
                    <a:pt x="107" y="283"/>
                  </a:lnTo>
                  <a:lnTo>
                    <a:pt x="107" y="283"/>
                  </a:lnTo>
                  <a:lnTo>
                    <a:pt x="107" y="287"/>
                  </a:lnTo>
                  <a:lnTo>
                    <a:pt x="107" y="287"/>
                  </a:lnTo>
                  <a:lnTo>
                    <a:pt x="107" y="287"/>
                  </a:lnTo>
                  <a:lnTo>
                    <a:pt x="107" y="287"/>
                  </a:lnTo>
                  <a:lnTo>
                    <a:pt x="107" y="287"/>
                  </a:lnTo>
                  <a:lnTo>
                    <a:pt x="107" y="287"/>
                  </a:lnTo>
                  <a:lnTo>
                    <a:pt x="107" y="287"/>
                  </a:lnTo>
                  <a:lnTo>
                    <a:pt x="111" y="287"/>
                  </a:lnTo>
                  <a:lnTo>
                    <a:pt x="107" y="287"/>
                  </a:lnTo>
                  <a:lnTo>
                    <a:pt x="107" y="287"/>
                  </a:lnTo>
                  <a:lnTo>
                    <a:pt x="107" y="283"/>
                  </a:lnTo>
                  <a:lnTo>
                    <a:pt x="107" y="283"/>
                  </a:lnTo>
                  <a:lnTo>
                    <a:pt x="107" y="283"/>
                  </a:lnTo>
                  <a:lnTo>
                    <a:pt x="107" y="278"/>
                  </a:lnTo>
                  <a:lnTo>
                    <a:pt x="107" y="278"/>
                  </a:lnTo>
                  <a:lnTo>
                    <a:pt x="107" y="278"/>
                  </a:lnTo>
                  <a:lnTo>
                    <a:pt x="107" y="278"/>
                  </a:lnTo>
                  <a:lnTo>
                    <a:pt x="107" y="278"/>
                  </a:lnTo>
                  <a:lnTo>
                    <a:pt x="111" y="278"/>
                  </a:lnTo>
                  <a:lnTo>
                    <a:pt x="107" y="283"/>
                  </a:lnTo>
                  <a:lnTo>
                    <a:pt x="107" y="283"/>
                  </a:lnTo>
                  <a:lnTo>
                    <a:pt x="111" y="283"/>
                  </a:lnTo>
                  <a:lnTo>
                    <a:pt x="111" y="283"/>
                  </a:lnTo>
                  <a:lnTo>
                    <a:pt x="111" y="278"/>
                  </a:lnTo>
                  <a:lnTo>
                    <a:pt x="111" y="283"/>
                  </a:lnTo>
                  <a:lnTo>
                    <a:pt x="111" y="283"/>
                  </a:lnTo>
                  <a:lnTo>
                    <a:pt x="111" y="283"/>
                  </a:lnTo>
                  <a:lnTo>
                    <a:pt x="111" y="278"/>
                  </a:lnTo>
                  <a:lnTo>
                    <a:pt x="111" y="278"/>
                  </a:lnTo>
                  <a:lnTo>
                    <a:pt x="111" y="278"/>
                  </a:lnTo>
                  <a:lnTo>
                    <a:pt x="111" y="278"/>
                  </a:lnTo>
                  <a:lnTo>
                    <a:pt x="116" y="283"/>
                  </a:lnTo>
                  <a:lnTo>
                    <a:pt x="116" y="283"/>
                  </a:lnTo>
                  <a:lnTo>
                    <a:pt x="116" y="283"/>
                  </a:lnTo>
                  <a:lnTo>
                    <a:pt x="116" y="278"/>
                  </a:lnTo>
                  <a:lnTo>
                    <a:pt x="116" y="278"/>
                  </a:lnTo>
                  <a:lnTo>
                    <a:pt x="116" y="283"/>
                  </a:lnTo>
                  <a:lnTo>
                    <a:pt x="116" y="283"/>
                  </a:lnTo>
                  <a:lnTo>
                    <a:pt x="116" y="283"/>
                  </a:lnTo>
                  <a:lnTo>
                    <a:pt x="116" y="283"/>
                  </a:lnTo>
                  <a:lnTo>
                    <a:pt x="116" y="283"/>
                  </a:lnTo>
                  <a:lnTo>
                    <a:pt x="116" y="283"/>
                  </a:lnTo>
                  <a:lnTo>
                    <a:pt x="116" y="283"/>
                  </a:lnTo>
                  <a:lnTo>
                    <a:pt x="116" y="283"/>
                  </a:lnTo>
                  <a:lnTo>
                    <a:pt x="116" y="283"/>
                  </a:lnTo>
                  <a:lnTo>
                    <a:pt x="116" y="278"/>
                  </a:lnTo>
                  <a:lnTo>
                    <a:pt x="116" y="278"/>
                  </a:lnTo>
                  <a:lnTo>
                    <a:pt x="116" y="278"/>
                  </a:lnTo>
                  <a:lnTo>
                    <a:pt x="116" y="278"/>
                  </a:lnTo>
                  <a:lnTo>
                    <a:pt x="116" y="274"/>
                  </a:lnTo>
                  <a:lnTo>
                    <a:pt x="116" y="274"/>
                  </a:lnTo>
                  <a:lnTo>
                    <a:pt x="116" y="274"/>
                  </a:lnTo>
                  <a:lnTo>
                    <a:pt x="116" y="274"/>
                  </a:lnTo>
                  <a:lnTo>
                    <a:pt x="116" y="274"/>
                  </a:lnTo>
                  <a:lnTo>
                    <a:pt x="116" y="278"/>
                  </a:lnTo>
                  <a:lnTo>
                    <a:pt x="116" y="278"/>
                  </a:lnTo>
                  <a:lnTo>
                    <a:pt x="116" y="278"/>
                  </a:lnTo>
                  <a:lnTo>
                    <a:pt x="116" y="278"/>
                  </a:lnTo>
                  <a:lnTo>
                    <a:pt x="116" y="278"/>
                  </a:lnTo>
                  <a:lnTo>
                    <a:pt x="116" y="278"/>
                  </a:lnTo>
                  <a:lnTo>
                    <a:pt x="116" y="278"/>
                  </a:lnTo>
                  <a:lnTo>
                    <a:pt x="116" y="278"/>
                  </a:lnTo>
                  <a:lnTo>
                    <a:pt x="116" y="278"/>
                  </a:lnTo>
                  <a:lnTo>
                    <a:pt x="116" y="278"/>
                  </a:lnTo>
                  <a:lnTo>
                    <a:pt x="120" y="278"/>
                  </a:lnTo>
                  <a:lnTo>
                    <a:pt x="120" y="278"/>
                  </a:lnTo>
                  <a:lnTo>
                    <a:pt x="120" y="278"/>
                  </a:lnTo>
                  <a:lnTo>
                    <a:pt x="120" y="278"/>
                  </a:lnTo>
                  <a:lnTo>
                    <a:pt x="120" y="278"/>
                  </a:lnTo>
                  <a:lnTo>
                    <a:pt x="120" y="278"/>
                  </a:lnTo>
                  <a:lnTo>
                    <a:pt x="120" y="278"/>
                  </a:lnTo>
                  <a:lnTo>
                    <a:pt x="120" y="278"/>
                  </a:lnTo>
                  <a:lnTo>
                    <a:pt x="124" y="278"/>
                  </a:lnTo>
                  <a:lnTo>
                    <a:pt x="124" y="278"/>
                  </a:lnTo>
                  <a:lnTo>
                    <a:pt x="124" y="278"/>
                  </a:lnTo>
                  <a:lnTo>
                    <a:pt x="124" y="278"/>
                  </a:lnTo>
                  <a:lnTo>
                    <a:pt x="129" y="278"/>
                  </a:lnTo>
                  <a:lnTo>
                    <a:pt x="129" y="278"/>
                  </a:lnTo>
                  <a:lnTo>
                    <a:pt x="129" y="278"/>
                  </a:lnTo>
                  <a:lnTo>
                    <a:pt x="124" y="278"/>
                  </a:lnTo>
                  <a:lnTo>
                    <a:pt x="129" y="278"/>
                  </a:lnTo>
                  <a:lnTo>
                    <a:pt x="129" y="278"/>
                  </a:lnTo>
                  <a:lnTo>
                    <a:pt x="129" y="278"/>
                  </a:lnTo>
                  <a:lnTo>
                    <a:pt x="129" y="278"/>
                  </a:lnTo>
                  <a:lnTo>
                    <a:pt x="129" y="278"/>
                  </a:lnTo>
                  <a:lnTo>
                    <a:pt x="129" y="278"/>
                  </a:lnTo>
                  <a:lnTo>
                    <a:pt x="129" y="278"/>
                  </a:lnTo>
                  <a:lnTo>
                    <a:pt x="129" y="278"/>
                  </a:lnTo>
                  <a:lnTo>
                    <a:pt x="129" y="278"/>
                  </a:lnTo>
                  <a:lnTo>
                    <a:pt x="129" y="278"/>
                  </a:lnTo>
                  <a:lnTo>
                    <a:pt x="129" y="278"/>
                  </a:lnTo>
                  <a:lnTo>
                    <a:pt x="129" y="278"/>
                  </a:lnTo>
                  <a:lnTo>
                    <a:pt x="129" y="278"/>
                  </a:lnTo>
                  <a:lnTo>
                    <a:pt x="129" y="283"/>
                  </a:lnTo>
                  <a:lnTo>
                    <a:pt x="129" y="283"/>
                  </a:lnTo>
                  <a:lnTo>
                    <a:pt x="129" y="283"/>
                  </a:lnTo>
                  <a:lnTo>
                    <a:pt x="124" y="283"/>
                  </a:lnTo>
                  <a:lnTo>
                    <a:pt x="124" y="283"/>
                  </a:lnTo>
                  <a:lnTo>
                    <a:pt x="124" y="283"/>
                  </a:lnTo>
                  <a:lnTo>
                    <a:pt x="124" y="283"/>
                  </a:lnTo>
                  <a:lnTo>
                    <a:pt x="124" y="283"/>
                  </a:lnTo>
                  <a:lnTo>
                    <a:pt x="124" y="283"/>
                  </a:lnTo>
                  <a:lnTo>
                    <a:pt x="124" y="283"/>
                  </a:lnTo>
                  <a:lnTo>
                    <a:pt x="124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20" y="287"/>
                  </a:lnTo>
                  <a:lnTo>
                    <a:pt x="120" y="287"/>
                  </a:lnTo>
                  <a:lnTo>
                    <a:pt x="124" y="287"/>
                  </a:lnTo>
                  <a:lnTo>
                    <a:pt x="124" y="287"/>
                  </a:lnTo>
                  <a:lnTo>
                    <a:pt x="124" y="287"/>
                  </a:lnTo>
                  <a:lnTo>
                    <a:pt x="124" y="287"/>
                  </a:lnTo>
                  <a:lnTo>
                    <a:pt x="129" y="287"/>
                  </a:lnTo>
                  <a:lnTo>
                    <a:pt x="129" y="287"/>
                  </a:lnTo>
                  <a:lnTo>
                    <a:pt x="129" y="287"/>
                  </a:lnTo>
                  <a:lnTo>
                    <a:pt x="133" y="287"/>
                  </a:lnTo>
                  <a:lnTo>
                    <a:pt x="133" y="283"/>
                  </a:lnTo>
                  <a:lnTo>
                    <a:pt x="133" y="287"/>
                  </a:lnTo>
                  <a:lnTo>
                    <a:pt x="133" y="287"/>
                  </a:lnTo>
                  <a:lnTo>
                    <a:pt x="133" y="287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8" y="283"/>
                  </a:lnTo>
                  <a:lnTo>
                    <a:pt x="138" y="283"/>
                  </a:lnTo>
                  <a:lnTo>
                    <a:pt x="133" y="287"/>
                  </a:lnTo>
                  <a:lnTo>
                    <a:pt x="133" y="287"/>
                  </a:lnTo>
                  <a:lnTo>
                    <a:pt x="133" y="287"/>
                  </a:lnTo>
                  <a:lnTo>
                    <a:pt x="133" y="287"/>
                  </a:lnTo>
                  <a:lnTo>
                    <a:pt x="133" y="287"/>
                  </a:lnTo>
                  <a:lnTo>
                    <a:pt x="133" y="287"/>
                  </a:lnTo>
                  <a:lnTo>
                    <a:pt x="133" y="287"/>
                  </a:lnTo>
                  <a:lnTo>
                    <a:pt x="138" y="287"/>
                  </a:lnTo>
                  <a:lnTo>
                    <a:pt x="138" y="287"/>
                  </a:lnTo>
                  <a:lnTo>
                    <a:pt x="138" y="287"/>
                  </a:lnTo>
                  <a:lnTo>
                    <a:pt x="142" y="287"/>
                  </a:lnTo>
                  <a:lnTo>
                    <a:pt x="142" y="287"/>
                  </a:lnTo>
                  <a:lnTo>
                    <a:pt x="147" y="287"/>
                  </a:lnTo>
                  <a:lnTo>
                    <a:pt x="147" y="287"/>
                  </a:lnTo>
                  <a:lnTo>
                    <a:pt x="147" y="287"/>
                  </a:lnTo>
                  <a:lnTo>
                    <a:pt x="147" y="287"/>
                  </a:lnTo>
                  <a:lnTo>
                    <a:pt x="142" y="287"/>
                  </a:lnTo>
                  <a:lnTo>
                    <a:pt x="142" y="287"/>
                  </a:lnTo>
                  <a:lnTo>
                    <a:pt x="142" y="287"/>
                  </a:lnTo>
                  <a:lnTo>
                    <a:pt x="142" y="287"/>
                  </a:lnTo>
                  <a:lnTo>
                    <a:pt x="142" y="292"/>
                  </a:lnTo>
                  <a:lnTo>
                    <a:pt x="142" y="292"/>
                  </a:lnTo>
                  <a:lnTo>
                    <a:pt x="142" y="292"/>
                  </a:lnTo>
                  <a:lnTo>
                    <a:pt x="142" y="292"/>
                  </a:lnTo>
                  <a:lnTo>
                    <a:pt x="142" y="292"/>
                  </a:lnTo>
                  <a:lnTo>
                    <a:pt x="142" y="292"/>
                  </a:lnTo>
                  <a:lnTo>
                    <a:pt x="147" y="292"/>
                  </a:lnTo>
                  <a:lnTo>
                    <a:pt x="147" y="292"/>
                  </a:lnTo>
                  <a:lnTo>
                    <a:pt x="147" y="292"/>
                  </a:lnTo>
                  <a:lnTo>
                    <a:pt x="142" y="296"/>
                  </a:lnTo>
                  <a:lnTo>
                    <a:pt x="142" y="296"/>
                  </a:lnTo>
                  <a:lnTo>
                    <a:pt x="142" y="296"/>
                  </a:lnTo>
                  <a:lnTo>
                    <a:pt x="142" y="296"/>
                  </a:lnTo>
                  <a:lnTo>
                    <a:pt x="142" y="296"/>
                  </a:lnTo>
                  <a:lnTo>
                    <a:pt x="142" y="296"/>
                  </a:lnTo>
                  <a:lnTo>
                    <a:pt x="142" y="296"/>
                  </a:lnTo>
                  <a:lnTo>
                    <a:pt x="142" y="296"/>
                  </a:lnTo>
                  <a:lnTo>
                    <a:pt x="142" y="292"/>
                  </a:lnTo>
                  <a:lnTo>
                    <a:pt x="138" y="296"/>
                  </a:lnTo>
                  <a:lnTo>
                    <a:pt x="138" y="296"/>
                  </a:lnTo>
                  <a:lnTo>
                    <a:pt x="142" y="301"/>
                  </a:lnTo>
                  <a:lnTo>
                    <a:pt x="142" y="301"/>
                  </a:lnTo>
                  <a:lnTo>
                    <a:pt x="142" y="301"/>
                  </a:lnTo>
                  <a:lnTo>
                    <a:pt x="142" y="301"/>
                  </a:lnTo>
                  <a:lnTo>
                    <a:pt x="142" y="301"/>
                  </a:lnTo>
                  <a:lnTo>
                    <a:pt x="142" y="301"/>
                  </a:lnTo>
                  <a:lnTo>
                    <a:pt x="142" y="301"/>
                  </a:lnTo>
                  <a:lnTo>
                    <a:pt x="142" y="301"/>
                  </a:lnTo>
                  <a:lnTo>
                    <a:pt x="142" y="301"/>
                  </a:lnTo>
                  <a:lnTo>
                    <a:pt x="142" y="301"/>
                  </a:lnTo>
                  <a:lnTo>
                    <a:pt x="142" y="301"/>
                  </a:lnTo>
                  <a:lnTo>
                    <a:pt x="142" y="301"/>
                  </a:lnTo>
                  <a:lnTo>
                    <a:pt x="142" y="305"/>
                  </a:lnTo>
                  <a:lnTo>
                    <a:pt x="142" y="305"/>
                  </a:lnTo>
                  <a:lnTo>
                    <a:pt x="138" y="301"/>
                  </a:lnTo>
                  <a:lnTo>
                    <a:pt x="138" y="301"/>
                  </a:lnTo>
                  <a:lnTo>
                    <a:pt x="138" y="305"/>
                  </a:lnTo>
                  <a:lnTo>
                    <a:pt x="142" y="305"/>
                  </a:lnTo>
                  <a:lnTo>
                    <a:pt x="147" y="305"/>
                  </a:lnTo>
                  <a:lnTo>
                    <a:pt x="147" y="305"/>
                  </a:lnTo>
                  <a:lnTo>
                    <a:pt x="147" y="305"/>
                  </a:lnTo>
                  <a:lnTo>
                    <a:pt x="147" y="305"/>
                  </a:lnTo>
                  <a:lnTo>
                    <a:pt x="147" y="305"/>
                  </a:lnTo>
                  <a:lnTo>
                    <a:pt x="147" y="305"/>
                  </a:lnTo>
                  <a:lnTo>
                    <a:pt x="147" y="305"/>
                  </a:lnTo>
                  <a:lnTo>
                    <a:pt x="147" y="305"/>
                  </a:lnTo>
                  <a:lnTo>
                    <a:pt x="147" y="305"/>
                  </a:lnTo>
                  <a:lnTo>
                    <a:pt x="151" y="305"/>
                  </a:lnTo>
                  <a:lnTo>
                    <a:pt x="151" y="305"/>
                  </a:lnTo>
                  <a:lnTo>
                    <a:pt x="151" y="305"/>
                  </a:lnTo>
                  <a:lnTo>
                    <a:pt x="151" y="305"/>
                  </a:lnTo>
                  <a:lnTo>
                    <a:pt x="151" y="305"/>
                  </a:lnTo>
                  <a:lnTo>
                    <a:pt x="155" y="305"/>
                  </a:lnTo>
                  <a:lnTo>
                    <a:pt x="155" y="305"/>
                  </a:lnTo>
                  <a:lnTo>
                    <a:pt x="155" y="305"/>
                  </a:lnTo>
                  <a:lnTo>
                    <a:pt x="155" y="305"/>
                  </a:lnTo>
                  <a:lnTo>
                    <a:pt x="155" y="305"/>
                  </a:lnTo>
                  <a:lnTo>
                    <a:pt x="155" y="305"/>
                  </a:lnTo>
                  <a:lnTo>
                    <a:pt x="160" y="301"/>
                  </a:lnTo>
                  <a:lnTo>
                    <a:pt x="164" y="301"/>
                  </a:lnTo>
                  <a:lnTo>
                    <a:pt x="169" y="301"/>
                  </a:lnTo>
                  <a:lnTo>
                    <a:pt x="169" y="301"/>
                  </a:lnTo>
                  <a:lnTo>
                    <a:pt x="169" y="305"/>
                  </a:lnTo>
                  <a:lnTo>
                    <a:pt x="169" y="305"/>
                  </a:lnTo>
                  <a:lnTo>
                    <a:pt x="173" y="305"/>
                  </a:lnTo>
                  <a:lnTo>
                    <a:pt x="173" y="305"/>
                  </a:lnTo>
                  <a:lnTo>
                    <a:pt x="173" y="305"/>
                  </a:lnTo>
                  <a:lnTo>
                    <a:pt x="178" y="309"/>
                  </a:lnTo>
                  <a:lnTo>
                    <a:pt x="178" y="309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78" y="309"/>
                  </a:lnTo>
                  <a:lnTo>
                    <a:pt x="178" y="309"/>
                  </a:lnTo>
                  <a:lnTo>
                    <a:pt x="178" y="309"/>
                  </a:lnTo>
                  <a:lnTo>
                    <a:pt x="173" y="309"/>
                  </a:lnTo>
                  <a:lnTo>
                    <a:pt x="173" y="305"/>
                  </a:lnTo>
                  <a:lnTo>
                    <a:pt x="169" y="305"/>
                  </a:lnTo>
                  <a:lnTo>
                    <a:pt x="169" y="305"/>
                  </a:lnTo>
                  <a:lnTo>
                    <a:pt x="173" y="305"/>
                  </a:lnTo>
                  <a:lnTo>
                    <a:pt x="173" y="305"/>
                  </a:lnTo>
                  <a:lnTo>
                    <a:pt x="169" y="305"/>
                  </a:lnTo>
                  <a:lnTo>
                    <a:pt x="169" y="305"/>
                  </a:lnTo>
                  <a:lnTo>
                    <a:pt x="169" y="305"/>
                  </a:lnTo>
                  <a:lnTo>
                    <a:pt x="169" y="305"/>
                  </a:lnTo>
                  <a:lnTo>
                    <a:pt x="169" y="305"/>
                  </a:lnTo>
                  <a:lnTo>
                    <a:pt x="169" y="305"/>
                  </a:lnTo>
                  <a:lnTo>
                    <a:pt x="164" y="305"/>
                  </a:lnTo>
                  <a:lnTo>
                    <a:pt x="164" y="305"/>
                  </a:lnTo>
                  <a:lnTo>
                    <a:pt x="164" y="305"/>
                  </a:lnTo>
                  <a:lnTo>
                    <a:pt x="164" y="305"/>
                  </a:lnTo>
                  <a:lnTo>
                    <a:pt x="164" y="305"/>
                  </a:lnTo>
                  <a:lnTo>
                    <a:pt x="160" y="305"/>
                  </a:lnTo>
                  <a:lnTo>
                    <a:pt x="160" y="305"/>
                  </a:lnTo>
                  <a:lnTo>
                    <a:pt x="160" y="305"/>
                  </a:lnTo>
                  <a:lnTo>
                    <a:pt x="160" y="305"/>
                  </a:lnTo>
                  <a:lnTo>
                    <a:pt x="155" y="305"/>
                  </a:lnTo>
                  <a:lnTo>
                    <a:pt x="155" y="309"/>
                  </a:lnTo>
                  <a:lnTo>
                    <a:pt x="155" y="309"/>
                  </a:lnTo>
                  <a:lnTo>
                    <a:pt x="160" y="309"/>
                  </a:lnTo>
                  <a:lnTo>
                    <a:pt x="160" y="309"/>
                  </a:lnTo>
                  <a:lnTo>
                    <a:pt x="160" y="314"/>
                  </a:lnTo>
                  <a:lnTo>
                    <a:pt x="160" y="314"/>
                  </a:lnTo>
                  <a:lnTo>
                    <a:pt x="155" y="314"/>
                  </a:lnTo>
                  <a:lnTo>
                    <a:pt x="155" y="314"/>
                  </a:lnTo>
                  <a:lnTo>
                    <a:pt x="155" y="314"/>
                  </a:lnTo>
                  <a:lnTo>
                    <a:pt x="155" y="314"/>
                  </a:lnTo>
                  <a:lnTo>
                    <a:pt x="155" y="314"/>
                  </a:lnTo>
                  <a:lnTo>
                    <a:pt x="155" y="318"/>
                  </a:lnTo>
                  <a:lnTo>
                    <a:pt x="160" y="318"/>
                  </a:lnTo>
                  <a:lnTo>
                    <a:pt x="164" y="318"/>
                  </a:lnTo>
                  <a:lnTo>
                    <a:pt x="164" y="318"/>
                  </a:lnTo>
                  <a:lnTo>
                    <a:pt x="164" y="323"/>
                  </a:lnTo>
                  <a:lnTo>
                    <a:pt x="169" y="323"/>
                  </a:lnTo>
                  <a:lnTo>
                    <a:pt x="169" y="323"/>
                  </a:lnTo>
                  <a:lnTo>
                    <a:pt x="164" y="323"/>
                  </a:lnTo>
                  <a:lnTo>
                    <a:pt x="164" y="327"/>
                  </a:lnTo>
                  <a:lnTo>
                    <a:pt x="164" y="327"/>
                  </a:lnTo>
                  <a:lnTo>
                    <a:pt x="164" y="327"/>
                  </a:lnTo>
                  <a:lnTo>
                    <a:pt x="160" y="332"/>
                  </a:lnTo>
                  <a:lnTo>
                    <a:pt x="160" y="332"/>
                  </a:lnTo>
                  <a:lnTo>
                    <a:pt x="160" y="332"/>
                  </a:lnTo>
                  <a:lnTo>
                    <a:pt x="160" y="332"/>
                  </a:lnTo>
                  <a:lnTo>
                    <a:pt x="160" y="336"/>
                  </a:lnTo>
                  <a:lnTo>
                    <a:pt x="160" y="336"/>
                  </a:lnTo>
                  <a:lnTo>
                    <a:pt x="160" y="336"/>
                  </a:lnTo>
                  <a:lnTo>
                    <a:pt x="160" y="340"/>
                  </a:lnTo>
                  <a:lnTo>
                    <a:pt x="160" y="340"/>
                  </a:lnTo>
                  <a:lnTo>
                    <a:pt x="160" y="340"/>
                  </a:lnTo>
                  <a:lnTo>
                    <a:pt x="164" y="340"/>
                  </a:lnTo>
                  <a:lnTo>
                    <a:pt x="164" y="340"/>
                  </a:lnTo>
                  <a:lnTo>
                    <a:pt x="169" y="345"/>
                  </a:lnTo>
                  <a:lnTo>
                    <a:pt x="169" y="349"/>
                  </a:lnTo>
                  <a:lnTo>
                    <a:pt x="169" y="349"/>
                  </a:lnTo>
                  <a:lnTo>
                    <a:pt x="169" y="349"/>
                  </a:lnTo>
                  <a:lnTo>
                    <a:pt x="169" y="349"/>
                  </a:lnTo>
                  <a:lnTo>
                    <a:pt x="173" y="349"/>
                  </a:lnTo>
                  <a:lnTo>
                    <a:pt x="173" y="354"/>
                  </a:lnTo>
                  <a:lnTo>
                    <a:pt x="173" y="354"/>
                  </a:lnTo>
                  <a:lnTo>
                    <a:pt x="173" y="354"/>
                  </a:lnTo>
                  <a:lnTo>
                    <a:pt x="173" y="354"/>
                  </a:lnTo>
                  <a:lnTo>
                    <a:pt x="173" y="354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8" y="358"/>
                  </a:lnTo>
                  <a:lnTo>
                    <a:pt x="178" y="358"/>
                  </a:lnTo>
                  <a:lnTo>
                    <a:pt x="178" y="363"/>
                  </a:lnTo>
                  <a:lnTo>
                    <a:pt x="178" y="367"/>
                  </a:lnTo>
                  <a:lnTo>
                    <a:pt x="178" y="367"/>
                  </a:lnTo>
                  <a:lnTo>
                    <a:pt x="178" y="367"/>
                  </a:lnTo>
                  <a:lnTo>
                    <a:pt x="178" y="363"/>
                  </a:lnTo>
                  <a:lnTo>
                    <a:pt x="178" y="363"/>
                  </a:lnTo>
                  <a:lnTo>
                    <a:pt x="178" y="363"/>
                  </a:lnTo>
                  <a:lnTo>
                    <a:pt x="178" y="363"/>
                  </a:lnTo>
                  <a:lnTo>
                    <a:pt x="178" y="363"/>
                  </a:lnTo>
                  <a:lnTo>
                    <a:pt x="178" y="367"/>
                  </a:lnTo>
                  <a:lnTo>
                    <a:pt x="178" y="367"/>
                  </a:lnTo>
                  <a:lnTo>
                    <a:pt x="182" y="367"/>
                  </a:lnTo>
                  <a:lnTo>
                    <a:pt x="182" y="367"/>
                  </a:lnTo>
                  <a:lnTo>
                    <a:pt x="186" y="367"/>
                  </a:lnTo>
                  <a:lnTo>
                    <a:pt x="186" y="367"/>
                  </a:lnTo>
                  <a:lnTo>
                    <a:pt x="186" y="371"/>
                  </a:lnTo>
                  <a:lnTo>
                    <a:pt x="186" y="371"/>
                  </a:lnTo>
                  <a:lnTo>
                    <a:pt x="191" y="371"/>
                  </a:lnTo>
                  <a:lnTo>
                    <a:pt x="191" y="371"/>
                  </a:lnTo>
                  <a:lnTo>
                    <a:pt x="195" y="371"/>
                  </a:lnTo>
                  <a:lnTo>
                    <a:pt x="195" y="371"/>
                  </a:lnTo>
                  <a:lnTo>
                    <a:pt x="195" y="376"/>
                  </a:lnTo>
                  <a:lnTo>
                    <a:pt x="195" y="376"/>
                  </a:lnTo>
                  <a:lnTo>
                    <a:pt x="195" y="376"/>
                  </a:lnTo>
                  <a:lnTo>
                    <a:pt x="200" y="376"/>
                  </a:lnTo>
                  <a:lnTo>
                    <a:pt x="200" y="376"/>
                  </a:lnTo>
                  <a:lnTo>
                    <a:pt x="200" y="376"/>
                  </a:lnTo>
                  <a:lnTo>
                    <a:pt x="204" y="376"/>
                  </a:lnTo>
                  <a:lnTo>
                    <a:pt x="204" y="376"/>
                  </a:lnTo>
                  <a:lnTo>
                    <a:pt x="204" y="380"/>
                  </a:lnTo>
                  <a:lnTo>
                    <a:pt x="204" y="380"/>
                  </a:lnTo>
                  <a:lnTo>
                    <a:pt x="208" y="380"/>
                  </a:lnTo>
                  <a:lnTo>
                    <a:pt x="208" y="380"/>
                  </a:lnTo>
                  <a:lnTo>
                    <a:pt x="208" y="380"/>
                  </a:lnTo>
                  <a:lnTo>
                    <a:pt x="208" y="376"/>
                  </a:lnTo>
                  <a:lnTo>
                    <a:pt x="213" y="376"/>
                  </a:lnTo>
                  <a:lnTo>
                    <a:pt x="213" y="380"/>
                  </a:lnTo>
                  <a:lnTo>
                    <a:pt x="213" y="380"/>
                  </a:lnTo>
                  <a:lnTo>
                    <a:pt x="213" y="380"/>
                  </a:lnTo>
                  <a:lnTo>
                    <a:pt x="213" y="380"/>
                  </a:lnTo>
                  <a:lnTo>
                    <a:pt x="213" y="385"/>
                  </a:lnTo>
                  <a:lnTo>
                    <a:pt x="208" y="385"/>
                  </a:lnTo>
                  <a:lnTo>
                    <a:pt x="208" y="385"/>
                  </a:lnTo>
                  <a:lnTo>
                    <a:pt x="208" y="389"/>
                  </a:lnTo>
                  <a:lnTo>
                    <a:pt x="208" y="389"/>
                  </a:lnTo>
                  <a:lnTo>
                    <a:pt x="208" y="389"/>
                  </a:lnTo>
                  <a:lnTo>
                    <a:pt x="208" y="389"/>
                  </a:lnTo>
                  <a:lnTo>
                    <a:pt x="208" y="389"/>
                  </a:lnTo>
                  <a:lnTo>
                    <a:pt x="208" y="389"/>
                  </a:lnTo>
                  <a:lnTo>
                    <a:pt x="208" y="389"/>
                  </a:lnTo>
                  <a:lnTo>
                    <a:pt x="208" y="389"/>
                  </a:lnTo>
                  <a:lnTo>
                    <a:pt x="208" y="389"/>
                  </a:lnTo>
                  <a:lnTo>
                    <a:pt x="213" y="389"/>
                  </a:lnTo>
                  <a:lnTo>
                    <a:pt x="213" y="389"/>
                  </a:lnTo>
                  <a:lnTo>
                    <a:pt x="213" y="389"/>
                  </a:lnTo>
                  <a:lnTo>
                    <a:pt x="213" y="389"/>
                  </a:lnTo>
                  <a:lnTo>
                    <a:pt x="213" y="394"/>
                  </a:lnTo>
                  <a:lnTo>
                    <a:pt x="213" y="394"/>
                  </a:lnTo>
                  <a:lnTo>
                    <a:pt x="213" y="394"/>
                  </a:lnTo>
                  <a:lnTo>
                    <a:pt x="213" y="394"/>
                  </a:lnTo>
                  <a:lnTo>
                    <a:pt x="213" y="394"/>
                  </a:lnTo>
                  <a:lnTo>
                    <a:pt x="213" y="394"/>
                  </a:lnTo>
                  <a:lnTo>
                    <a:pt x="213" y="394"/>
                  </a:lnTo>
                  <a:lnTo>
                    <a:pt x="213" y="394"/>
                  </a:lnTo>
                  <a:lnTo>
                    <a:pt x="213" y="394"/>
                  </a:lnTo>
                  <a:lnTo>
                    <a:pt x="213" y="394"/>
                  </a:lnTo>
                  <a:lnTo>
                    <a:pt x="213" y="394"/>
                  </a:lnTo>
                  <a:lnTo>
                    <a:pt x="213" y="394"/>
                  </a:lnTo>
                  <a:lnTo>
                    <a:pt x="213" y="394"/>
                  </a:lnTo>
                  <a:lnTo>
                    <a:pt x="213" y="398"/>
                  </a:lnTo>
                  <a:lnTo>
                    <a:pt x="213" y="398"/>
                  </a:lnTo>
                  <a:lnTo>
                    <a:pt x="213" y="398"/>
                  </a:lnTo>
                  <a:lnTo>
                    <a:pt x="217" y="398"/>
                  </a:lnTo>
                  <a:lnTo>
                    <a:pt x="217" y="398"/>
                  </a:lnTo>
                  <a:lnTo>
                    <a:pt x="217" y="398"/>
                  </a:lnTo>
                  <a:lnTo>
                    <a:pt x="217" y="398"/>
                  </a:lnTo>
                  <a:lnTo>
                    <a:pt x="217" y="398"/>
                  </a:lnTo>
                  <a:lnTo>
                    <a:pt x="217" y="402"/>
                  </a:lnTo>
                  <a:lnTo>
                    <a:pt x="217" y="402"/>
                  </a:lnTo>
                  <a:lnTo>
                    <a:pt x="213" y="402"/>
                  </a:lnTo>
                  <a:lnTo>
                    <a:pt x="213" y="402"/>
                  </a:lnTo>
                  <a:lnTo>
                    <a:pt x="213" y="402"/>
                  </a:lnTo>
                  <a:lnTo>
                    <a:pt x="213" y="402"/>
                  </a:lnTo>
                  <a:lnTo>
                    <a:pt x="217" y="407"/>
                  </a:lnTo>
                  <a:lnTo>
                    <a:pt x="217" y="407"/>
                  </a:lnTo>
                  <a:lnTo>
                    <a:pt x="213" y="407"/>
                  </a:lnTo>
                  <a:lnTo>
                    <a:pt x="213" y="407"/>
                  </a:lnTo>
                  <a:lnTo>
                    <a:pt x="213" y="407"/>
                  </a:lnTo>
                  <a:lnTo>
                    <a:pt x="213" y="407"/>
                  </a:lnTo>
                  <a:lnTo>
                    <a:pt x="217" y="407"/>
                  </a:lnTo>
                  <a:lnTo>
                    <a:pt x="217" y="407"/>
                  </a:lnTo>
                  <a:lnTo>
                    <a:pt x="217" y="411"/>
                  </a:lnTo>
                  <a:lnTo>
                    <a:pt x="213" y="411"/>
                  </a:lnTo>
                  <a:lnTo>
                    <a:pt x="213" y="411"/>
                  </a:lnTo>
                  <a:lnTo>
                    <a:pt x="213" y="411"/>
                  </a:lnTo>
                  <a:lnTo>
                    <a:pt x="213" y="411"/>
                  </a:lnTo>
                  <a:lnTo>
                    <a:pt x="213" y="411"/>
                  </a:lnTo>
                  <a:lnTo>
                    <a:pt x="213" y="411"/>
                  </a:lnTo>
                  <a:lnTo>
                    <a:pt x="213" y="411"/>
                  </a:lnTo>
                  <a:lnTo>
                    <a:pt x="213" y="411"/>
                  </a:lnTo>
                  <a:lnTo>
                    <a:pt x="213" y="411"/>
                  </a:lnTo>
                  <a:lnTo>
                    <a:pt x="213" y="411"/>
                  </a:lnTo>
                  <a:lnTo>
                    <a:pt x="213" y="416"/>
                  </a:lnTo>
                  <a:lnTo>
                    <a:pt x="213" y="416"/>
                  </a:lnTo>
                  <a:lnTo>
                    <a:pt x="213" y="416"/>
                  </a:lnTo>
                  <a:lnTo>
                    <a:pt x="213" y="416"/>
                  </a:lnTo>
                  <a:lnTo>
                    <a:pt x="213" y="420"/>
                  </a:lnTo>
                  <a:lnTo>
                    <a:pt x="217" y="425"/>
                  </a:lnTo>
                  <a:lnTo>
                    <a:pt x="222" y="425"/>
                  </a:lnTo>
                  <a:lnTo>
                    <a:pt x="217" y="420"/>
                  </a:lnTo>
                  <a:lnTo>
                    <a:pt x="217" y="420"/>
                  </a:lnTo>
                  <a:lnTo>
                    <a:pt x="213" y="420"/>
                  </a:lnTo>
                  <a:lnTo>
                    <a:pt x="213" y="416"/>
                  </a:lnTo>
                  <a:lnTo>
                    <a:pt x="208" y="416"/>
                  </a:lnTo>
                  <a:lnTo>
                    <a:pt x="208" y="420"/>
                  </a:lnTo>
                  <a:lnTo>
                    <a:pt x="208" y="420"/>
                  </a:lnTo>
                  <a:lnTo>
                    <a:pt x="204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13" y="425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3" y="429"/>
                  </a:lnTo>
                  <a:lnTo>
                    <a:pt x="217" y="429"/>
                  </a:lnTo>
                  <a:lnTo>
                    <a:pt x="217" y="433"/>
                  </a:lnTo>
                  <a:lnTo>
                    <a:pt x="222" y="433"/>
                  </a:lnTo>
                  <a:lnTo>
                    <a:pt x="222" y="433"/>
                  </a:lnTo>
                  <a:lnTo>
                    <a:pt x="222" y="433"/>
                  </a:lnTo>
                  <a:lnTo>
                    <a:pt x="226" y="438"/>
                  </a:lnTo>
                  <a:lnTo>
                    <a:pt x="231" y="442"/>
                  </a:lnTo>
                  <a:lnTo>
                    <a:pt x="231" y="442"/>
                  </a:lnTo>
                  <a:lnTo>
                    <a:pt x="231" y="447"/>
                  </a:lnTo>
                  <a:lnTo>
                    <a:pt x="235" y="451"/>
                  </a:lnTo>
                  <a:lnTo>
                    <a:pt x="235" y="456"/>
                  </a:lnTo>
                  <a:lnTo>
                    <a:pt x="235" y="469"/>
                  </a:lnTo>
                  <a:lnTo>
                    <a:pt x="239" y="469"/>
                  </a:lnTo>
                  <a:lnTo>
                    <a:pt x="239" y="473"/>
                  </a:lnTo>
                  <a:lnTo>
                    <a:pt x="239" y="473"/>
                  </a:lnTo>
                  <a:lnTo>
                    <a:pt x="244" y="473"/>
                  </a:lnTo>
                  <a:lnTo>
                    <a:pt x="244" y="473"/>
                  </a:lnTo>
                  <a:lnTo>
                    <a:pt x="244" y="478"/>
                  </a:lnTo>
                  <a:lnTo>
                    <a:pt x="244" y="478"/>
                  </a:lnTo>
                  <a:lnTo>
                    <a:pt x="244" y="478"/>
                  </a:lnTo>
                  <a:lnTo>
                    <a:pt x="244" y="478"/>
                  </a:lnTo>
                  <a:lnTo>
                    <a:pt x="239" y="478"/>
                  </a:lnTo>
                  <a:lnTo>
                    <a:pt x="239" y="478"/>
                  </a:lnTo>
                  <a:lnTo>
                    <a:pt x="244" y="478"/>
                  </a:lnTo>
                  <a:lnTo>
                    <a:pt x="244" y="478"/>
                  </a:lnTo>
                  <a:lnTo>
                    <a:pt x="244" y="482"/>
                  </a:lnTo>
                  <a:lnTo>
                    <a:pt x="244" y="482"/>
                  </a:lnTo>
                  <a:lnTo>
                    <a:pt x="244" y="482"/>
                  </a:lnTo>
                  <a:lnTo>
                    <a:pt x="244" y="487"/>
                  </a:lnTo>
                  <a:lnTo>
                    <a:pt x="244" y="487"/>
                  </a:lnTo>
                  <a:lnTo>
                    <a:pt x="244" y="482"/>
                  </a:lnTo>
                  <a:lnTo>
                    <a:pt x="244" y="482"/>
                  </a:lnTo>
                  <a:lnTo>
                    <a:pt x="244" y="482"/>
                  </a:lnTo>
                  <a:lnTo>
                    <a:pt x="244" y="478"/>
                  </a:lnTo>
                  <a:lnTo>
                    <a:pt x="244" y="478"/>
                  </a:lnTo>
                  <a:lnTo>
                    <a:pt x="244" y="478"/>
                  </a:lnTo>
                  <a:lnTo>
                    <a:pt x="239" y="478"/>
                  </a:lnTo>
                  <a:lnTo>
                    <a:pt x="239" y="478"/>
                  </a:lnTo>
                  <a:lnTo>
                    <a:pt x="239" y="473"/>
                  </a:lnTo>
                  <a:lnTo>
                    <a:pt x="235" y="473"/>
                  </a:lnTo>
                  <a:lnTo>
                    <a:pt x="235" y="469"/>
                  </a:lnTo>
                  <a:lnTo>
                    <a:pt x="235" y="464"/>
                  </a:lnTo>
                  <a:lnTo>
                    <a:pt x="235" y="460"/>
                  </a:lnTo>
                  <a:lnTo>
                    <a:pt x="231" y="456"/>
                  </a:lnTo>
                  <a:lnTo>
                    <a:pt x="231" y="456"/>
                  </a:lnTo>
                  <a:lnTo>
                    <a:pt x="231" y="451"/>
                  </a:lnTo>
                  <a:lnTo>
                    <a:pt x="231" y="451"/>
                  </a:lnTo>
                  <a:lnTo>
                    <a:pt x="222" y="442"/>
                  </a:lnTo>
                  <a:lnTo>
                    <a:pt x="222" y="442"/>
                  </a:lnTo>
                  <a:lnTo>
                    <a:pt x="222" y="442"/>
                  </a:lnTo>
                  <a:lnTo>
                    <a:pt x="217" y="438"/>
                  </a:lnTo>
                  <a:lnTo>
                    <a:pt x="217" y="438"/>
                  </a:lnTo>
                  <a:lnTo>
                    <a:pt x="217" y="438"/>
                  </a:lnTo>
                  <a:lnTo>
                    <a:pt x="217" y="438"/>
                  </a:lnTo>
                  <a:lnTo>
                    <a:pt x="217" y="438"/>
                  </a:lnTo>
                  <a:lnTo>
                    <a:pt x="217" y="438"/>
                  </a:lnTo>
                  <a:lnTo>
                    <a:pt x="217" y="438"/>
                  </a:lnTo>
                  <a:lnTo>
                    <a:pt x="217" y="438"/>
                  </a:lnTo>
                  <a:lnTo>
                    <a:pt x="217" y="433"/>
                  </a:lnTo>
                  <a:lnTo>
                    <a:pt x="217" y="433"/>
                  </a:lnTo>
                  <a:lnTo>
                    <a:pt x="217" y="433"/>
                  </a:lnTo>
                  <a:lnTo>
                    <a:pt x="213" y="433"/>
                  </a:lnTo>
                  <a:lnTo>
                    <a:pt x="213" y="438"/>
                  </a:lnTo>
                  <a:lnTo>
                    <a:pt x="213" y="438"/>
                  </a:lnTo>
                  <a:lnTo>
                    <a:pt x="213" y="442"/>
                  </a:lnTo>
                  <a:lnTo>
                    <a:pt x="213" y="456"/>
                  </a:lnTo>
                  <a:lnTo>
                    <a:pt x="208" y="469"/>
                  </a:lnTo>
                  <a:lnTo>
                    <a:pt x="204" y="504"/>
                  </a:lnTo>
                  <a:lnTo>
                    <a:pt x="204" y="504"/>
                  </a:lnTo>
                  <a:lnTo>
                    <a:pt x="204" y="504"/>
                  </a:lnTo>
                  <a:lnTo>
                    <a:pt x="208" y="500"/>
                  </a:lnTo>
                  <a:lnTo>
                    <a:pt x="208" y="495"/>
                  </a:lnTo>
                  <a:lnTo>
                    <a:pt x="208" y="495"/>
                  </a:lnTo>
                  <a:lnTo>
                    <a:pt x="208" y="495"/>
                  </a:lnTo>
                  <a:lnTo>
                    <a:pt x="208" y="495"/>
                  </a:lnTo>
                  <a:lnTo>
                    <a:pt x="208" y="495"/>
                  </a:lnTo>
                  <a:lnTo>
                    <a:pt x="208" y="495"/>
                  </a:lnTo>
                  <a:lnTo>
                    <a:pt x="208" y="495"/>
                  </a:lnTo>
                  <a:lnTo>
                    <a:pt x="208" y="495"/>
                  </a:lnTo>
                  <a:lnTo>
                    <a:pt x="213" y="495"/>
                  </a:lnTo>
                  <a:lnTo>
                    <a:pt x="213" y="495"/>
                  </a:lnTo>
                  <a:lnTo>
                    <a:pt x="213" y="495"/>
                  </a:lnTo>
                  <a:lnTo>
                    <a:pt x="217" y="500"/>
                  </a:lnTo>
                  <a:lnTo>
                    <a:pt x="217" y="500"/>
                  </a:lnTo>
                  <a:lnTo>
                    <a:pt x="217" y="500"/>
                  </a:lnTo>
                  <a:lnTo>
                    <a:pt x="217" y="500"/>
                  </a:lnTo>
                  <a:lnTo>
                    <a:pt x="217" y="500"/>
                  </a:lnTo>
                  <a:lnTo>
                    <a:pt x="217" y="504"/>
                  </a:lnTo>
                  <a:lnTo>
                    <a:pt x="213" y="504"/>
                  </a:lnTo>
                  <a:lnTo>
                    <a:pt x="208" y="504"/>
                  </a:lnTo>
                  <a:lnTo>
                    <a:pt x="208" y="504"/>
                  </a:lnTo>
                  <a:lnTo>
                    <a:pt x="208" y="504"/>
                  </a:lnTo>
                  <a:lnTo>
                    <a:pt x="208" y="509"/>
                  </a:lnTo>
                  <a:lnTo>
                    <a:pt x="208" y="509"/>
                  </a:lnTo>
                  <a:lnTo>
                    <a:pt x="208" y="509"/>
                  </a:lnTo>
                  <a:lnTo>
                    <a:pt x="204" y="509"/>
                  </a:lnTo>
                  <a:lnTo>
                    <a:pt x="204" y="513"/>
                  </a:lnTo>
                  <a:lnTo>
                    <a:pt x="204" y="513"/>
                  </a:lnTo>
                  <a:lnTo>
                    <a:pt x="204" y="513"/>
                  </a:lnTo>
                  <a:lnTo>
                    <a:pt x="204" y="518"/>
                  </a:lnTo>
                  <a:lnTo>
                    <a:pt x="204" y="531"/>
                  </a:lnTo>
                  <a:lnTo>
                    <a:pt x="200" y="549"/>
                  </a:lnTo>
                  <a:lnTo>
                    <a:pt x="200" y="557"/>
                  </a:lnTo>
                  <a:lnTo>
                    <a:pt x="200" y="562"/>
                  </a:lnTo>
                  <a:lnTo>
                    <a:pt x="195" y="575"/>
                  </a:lnTo>
                  <a:lnTo>
                    <a:pt x="195" y="580"/>
                  </a:lnTo>
                  <a:lnTo>
                    <a:pt x="195" y="580"/>
                  </a:lnTo>
                  <a:lnTo>
                    <a:pt x="191" y="584"/>
                  </a:lnTo>
                  <a:lnTo>
                    <a:pt x="191" y="584"/>
                  </a:lnTo>
                  <a:lnTo>
                    <a:pt x="191" y="588"/>
                  </a:lnTo>
                  <a:lnTo>
                    <a:pt x="191" y="588"/>
                  </a:lnTo>
                  <a:lnTo>
                    <a:pt x="191" y="588"/>
                  </a:lnTo>
                  <a:lnTo>
                    <a:pt x="186" y="593"/>
                  </a:lnTo>
                  <a:lnTo>
                    <a:pt x="186" y="593"/>
                  </a:lnTo>
                  <a:lnTo>
                    <a:pt x="186" y="593"/>
                  </a:lnTo>
                  <a:lnTo>
                    <a:pt x="186" y="593"/>
                  </a:lnTo>
                  <a:lnTo>
                    <a:pt x="186" y="593"/>
                  </a:lnTo>
                  <a:lnTo>
                    <a:pt x="178" y="597"/>
                  </a:lnTo>
                  <a:lnTo>
                    <a:pt x="178" y="597"/>
                  </a:lnTo>
                  <a:lnTo>
                    <a:pt x="178" y="597"/>
                  </a:lnTo>
                  <a:lnTo>
                    <a:pt x="178" y="597"/>
                  </a:lnTo>
                  <a:lnTo>
                    <a:pt x="178" y="597"/>
                  </a:lnTo>
                  <a:lnTo>
                    <a:pt x="178" y="597"/>
                  </a:lnTo>
                  <a:lnTo>
                    <a:pt x="178" y="597"/>
                  </a:lnTo>
                  <a:lnTo>
                    <a:pt x="178" y="597"/>
                  </a:lnTo>
                  <a:lnTo>
                    <a:pt x="178" y="597"/>
                  </a:lnTo>
                  <a:lnTo>
                    <a:pt x="178" y="602"/>
                  </a:lnTo>
                  <a:lnTo>
                    <a:pt x="178" y="602"/>
                  </a:lnTo>
                  <a:lnTo>
                    <a:pt x="178" y="602"/>
                  </a:lnTo>
                  <a:lnTo>
                    <a:pt x="178" y="602"/>
                  </a:lnTo>
                  <a:lnTo>
                    <a:pt x="182" y="602"/>
                  </a:lnTo>
                  <a:lnTo>
                    <a:pt x="182" y="602"/>
                  </a:lnTo>
                  <a:lnTo>
                    <a:pt x="182" y="602"/>
                  </a:lnTo>
                  <a:lnTo>
                    <a:pt x="182" y="602"/>
                  </a:lnTo>
                  <a:lnTo>
                    <a:pt x="182" y="602"/>
                  </a:lnTo>
                  <a:lnTo>
                    <a:pt x="182" y="602"/>
                  </a:lnTo>
                  <a:lnTo>
                    <a:pt x="186" y="602"/>
                  </a:lnTo>
                  <a:lnTo>
                    <a:pt x="186" y="602"/>
                  </a:lnTo>
                  <a:lnTo>
                    <a:pt x="186" y="602"/>
                  </a:lnTo>
                  <a:lnTo>
                    <a:pt x="186" y="602"/>
                  </a:lnTo>
                  <a:lnTo>
                    <a:pt x="186" y="606"/>
                  </a:lnTo>
                  <a:lnTo>
                    <a:pt x="186" y="606"/>
                  </a:lnTo>
                  <a:lnTo>
                    <a:pt x="186" y="606"/>
                  </a:lnTo>
                  <a:lnTo>
                    <a:pt x="186" y="606"/>
                  </a:lnTo>
                  <a:lnTo>
                    <a:pt x="186" y="606"/>
                  </a:lnTo>
                  <a:lnTo>
                    <a:pt x="186" y="606"/>
                  </a:lnTo>
                  <a:lnTo>
                    <a:pt x="186" y="606"/>
                  </a:lnTo>
                  <a:lnTo>
                    <a:pt x="186" y="606"/>
                  </a:lnTo>
                  <a:lnTo>
                    <a:pt x="191" y="602"/>
                  </a:lnTo>
                  <a:lnTo>
                    <a:pt x="191" y="602"/>
                  </a:lnTo>
                  <a:lnTo>
                    <a:pt x="191" y="602"/>
                  </a:lnTo>
                  <a:lnTo>
                    <a:pt x="191" y="602"/>
                  </a:lnTo>
                  <a:lnTo>
                    <a:pt x="195" y="606"/>
                  </a:lnTo>
                  <a:lnTo>
                    <a:pt x="195" y="606"/>
                  </a:lnTo>
                  <a:lnTo>
                    <a:pt x="195" y="606"/>
                  </a:lnTo>
                  <a:lnTo>
                    <a:pt x="195" y="606"/>
                  </a:lnTo>
                  <a:lnTo>
                    <a:pt x="200" y="606"/>
                  </a:lnTo>
                  <a:lnTo>
                    <a:pt x="200" y="611"/>
                  </a:lnTo>
                  <a:lnTo>
                    <a:pt x="200" y="611"/>
                  </a:lnTo>
                  <a:lnTo>
                    <a:pt x="195" y="615"/>
                  </a:lnTo>
                  <a:lnTo>
                    <a:pt x="195" y="615"/>
                  </a:lnTo>
                  <a:lnTo>
                    <a:pt x="195" y="615"/>
                  </a:lnTo>
                  <a:lnTo>
                    <a:pt x="195" y="619"/>
                  </a:lnTo>
                  <a:lnTo>
                    <a:pt x="195" y="619"/>
                  </a:lnTo>
                  <a:lnTo>
                    <a:pt x="195" y="619"/>
                  </a:lnTo>
                  <a:lnTo>
                    <a:pt x="195" y="619"/>
                  </a:lnTo>
                  <a:lnTo>
                    <a:pt x="200" y="619"/>
                  </a:lnTo>
                  <a:lnTo>
                    <a:pt x="200" y="619"/>
                  </a:lnTo>
                  <a:lnTo>
                    <a:pt x="200" y="619"/>
                  </a:lnTo>
                  <a:lnTo>
                    <a:pt x="200" y="619"/>
                  </a:lnTo>
                  <a:lnTo>
                    <a:pt x="200" y="619"/>
                  </a:lnTo>
                  <a:lnTo>
                    <a:pt x="200" y="615"/>
                  </a:lnTo>
                  <a:lnTo>
                    <a:pt x="200" y="615"/>
                  </a:lnTo>
                  <a:lnTo>
                    <a:pt x="204" y="615"/>
                  </a:lnTo>
                  <a:lnTo>
                    <a:pt x="204" y="615"/>
                  </a:lnTo>
                  <a:lnTo>
                    <a:pt x="204" y="615"/>
                  </a:lnTo>
                  <a:lnTo>
                    <a:pt x="204" y="619"/>
                  </a:lnTo>
                  <a:lnTo>
                    <a:pt x="204" y="619"/>
                  </a:lnTo>
                  <a:lnTo>
                    <a:pt x="204" y="619"/>
                  </a:lnTo>
                  <a:lnTo>
                    <a:pt x="204" y="619"/>
                  </a:lnTo>
                  <a:lnTo>
                    <a:pt x="208" y="619"/>
                  </a:lnTo>
                  <a:lnTo>
                    <a:pt x="208" y="624"/>
                  </a:lnTo>
                  <a:lnTo>
                    <a:pt x="213" y="624"/>
                  </a:lnTo>
                  <a:lnTo>
                    <a:pt x="213" y="624"/>
                  </a:lnTo>
                  <a:lnTo>
                    <a:pt x="213" y="624"/>
                  </a:lnTo>
                  <a:lnTo>
                    <a:pt x="213" y="624"/>
                  </a:lnTo>
                  <a:lnTo>
                    <a:pt x="213" y="624"/>
                  </a:lnTo>
                  <a:lnTo>
                    <a:pt x="217" y="624"/>
                  </a:lnTo>
                  <a:lnTo>
                    <a:pt x="217" y="624"/>
                  </a:lnTo>
                  <a:lnTo>
                    <a:pt x="217" y="624"/>
                  </a:lnTo>
                  <a:lnTo>
                    <a:pt x="222" y="628"/>
                  </a:lnTo>
                  <a:lnTo>
                    <a:pt x="222" y="628"/>
                  </a:lnTo>
                  <a:lnTo>
                    <a:pt x="226" y="628"/>
                  </a:lnTo>
                  <a:lnTo>
                    <a:pt x="231" y="628"/>
                  </a:lnTo>
                  <a:lnTo>
                    <a:pt x="231" y="628"/>
                  </a:lnTo>
                  <a:lnTo>
                    <a:pt x="231" y="628"/>
                  </a:lnTo>
                  <a:lnTo>
                    <a:pt x="231" y="628"/>
                  </a:lnTo>
                  <a:lnTo>
                    <a:pt x="231" y="633"/>
                  </a:lnTo>
                  <a:lnTo>
                    <a:pt x="231" y="633"/>
                  </a:lnTo>
                  <a:lnTo>
                    <a:pt x="231" y="633"/>
                  </a:lnTo>
                  <a:lnTo>
                    <a:pt x="231" y="633"/>
                  </a:lnTo>
                  <a:lnTo>
                    <a:pt x="235" y="633"/>
                  </a:lnTo>
                  <a:lnTo>
                    <a:pt x="235" y="633"/>
                  </a:lnTo>
                  <a:lnTo>
                    <a:pt x="235" y="633"/>
                  </a:lnTo>
                  <a:lnTo>
                    <a:pt x="235" y="633"/>
                  </a:lnTo>
                  <a:lnTo>
                    <a:pt x="235" y="633"/>
                  </a:lnTo>
                  <a:lnTo>
                    <a:pt x="239" y="633"/>
                  </a:lnTo>
                  <a:lnTo>
                    <a:pt x="239" y="637"/>
                  </a:lnTo>
                  <a:lnTo>
                    <a:pt x="239" y="637"/>
                  </a:lnTo>
                  <a:lnTo>
                    <a:pt x="239" y="637"/>
                  </a:lnTo>
                  <a:lnTo>
                    <a:pt x="239" y="637"/>
                  </a:lnTo>
                  <a:lnTo>
                    <a:pt x="239" y="637"/>
                  </a:lnTo>
                  <a:lnTo>
                    <a:pt x="239" y="637"/>
                  </a:lnTo>
                  <a:lnTo>
                    <a:pt x="239" y="637"/>
                  </a:lnTo>
                  <a:lnTo>
                    <a:pt x="239" y="637"/>
                  </a:lnTo>
                  <a:lnTo>
                    <a:pt x="239" y="637"/>
                  </a:lnTo>
                  <a:lnTo>
                    <a:pt x="239" y="642"/>
                  </a:lnTo>
                  <a:lnTo>
                    <a:pt x="244" y="642"/>
                  </a:lnTo>
                  <a:lnTo>
                    <a:pt x="244" y="642"/>
                  </a:lnTo>
                  <a:lnTo>
                    <a:pt x="244" y="637"/>
                  </a:lnTo>
                  <a:lnTo>
                    <a:pt x="244" y="637"/>
                  </a:lnTo>
                  <a:lnTo>
                    <a:pt x="244" y="637"/>
                  </a:lnTo>
                  <a:lnTo>
                    <a:pt x="244" y="637"/>
                  </a:lnTo>
                  <a:lnTo>
                    <a:pt x="248" y="637"/>
                  </a:lnTo>
                  <a:lnTo>
                    <a:pt x="248" y="637"/>
                  </a:lnTo>
                  <a:lnTo>
                    <a:pt x="253" y="637"/>
                  </a:lnTo>
                  <a:lnTo>
                    <a:pt x="253" y="637"/>
                  </a:lnTo>
                  <a:lnTo>
                    <a:pt x="253" y="637"/>
                  </a:lnTo>
                  <a:lnTo>
                    <a:pt x="253" y="637"/>
                  </a:lnTo>
                  <a:lnTo>
                    <a:pt x="253" y="637"/>
                  </a:lnTo>
                  <a:lnTo>
                    <a:pt x="253" y="633"/>
                  </a:lnTo>
                  <a:lnTo>
                    <a:pt x="257" y="637"/>
                  </a:lnTo>
                  <a:lnTo>
                    <a:pt x="257" y="637"/>
                  </a:lnTo>
                  <a:lnTo>
                    <a:pt x="257" y="637"/>
                  </a:lnTo>
                  <a:lnTo>
                    <a:pt x="262" y="637"/>
                  </a:lnTo>
                  <a:lnTo>
                    <a:pt x="262" y="637"/>
                  </a:lnTo>
                  <a:lnTo>
                    <a:pt x="262" y="637"/>
                  </a:lnTo>
                  <a:lnTo>
                    <a:pt x="262" y="637"/>
                  </a:lnTo>
                  <a:lnTo>
                    <a:pt x="262" y="642"/>
                  </a:lnTo>
                  <a:lnTo>
                    <a:pt x="262" y="642"/>
                  </a:lnTo>
                  <a:lnTo>
                    <a:pt x="266" y="642"/>
                  </a:lnTo>
                  <a:lnTo>
                    <a:pt x="266" y="642"/>
                  </a:lnTo>
                  <a:lnTo>
                    <a:pt x="266" y="642"/>
                  </a:lnTo>
                  <a:lnTo>
                    <a:pt x="266" y="642"/>
                  </a:lnTo>
                  <a:lnTo>
                    <a:pt x="266" y="646"/>
                  </a:lnTo>
                  <a:lnTo>
                    <a:pt x="266" y="646"/>
                  </a:lnTo>
                  <a:lnTo>
                    <a:pt x="266" y="646"/>
                  </a:lnTo>
                  <a:lnTo>
                    <a:pt x="266" y="646"/>
                  </a:lnTo>
                  <a:lnTo>
                    <a:pt x="266" y="646"/>
                  </a:lnTo>
                  <a:lnTo>
                    <a:pt x="266" y="646"/>
                  </a:lnTo>
                  <a:lnTo>
                    <a:pt x="270" y="646"/>
                  </a:lnTo>
                  <a:lnTo>
                    <a:pt x="270" y="646"/>
                  </a:lnTo>
                  <a:lnTo>
                    <a:pt x="275" y="646"/>
                  </a:lnTo>
                  <a:lnTo>
                    <a:pt x="279" y="646"/>
                  </a:lnTo>
                  <a:lnTo>
                    <a:pt x="279" y="642"/>
                  </a:lnTo>
                  <a:lnTo>
                    <a:pt x="279" y="642"/>
                  </a:lnTo>
                  <a:lnTo>
                    <a:pt x="284" y="646"/>
                  </a:lnTo>
                  <a:lnTo>
                    <a:pt x="284" y="646"/>
                  </a:lnTo>
                  <a:lnTo>
                    <a:pt x="284" y="646"/>
                  </a:lnTo>
                  <a:lnTo>
                    <a:pt x="288" y="646"/>
                  </a:lnTo>
                  <a:lnTo>
                    <a:pt x="288" y="646"/>
                  </a:lnTo>
                  <a:lnTo>
                    <a:pt x="288" y="646"/>
                  </a:lnTo>
                  <a:lnTo>
                    <a:pt x="288" y="646"/>
                  </a:lnTo>
                  <a:lnTo>
                    <a:pt x="293" y="646"/>
                  </a:lnTo>
                  <a:lnTo>
                    <a:pt x="293" y="646"/>
                  </a:lnTo>
                  <a:lnTo>
                    <a:pt x="293" y="646"/>
                  </a:lnTo>
                  <a:lnTo>
                    <a:pt x="293" y="646"/>
                  </a:lnTo>
                  <a:lnTo>
                    <a:pt x="293" y="646"/>
                  </a:lnTo>
                  <a:lnTo>
                    <a:pt x="293" y="646"/>
                  </a:lnTo>
                  <a:lnTo>
                    <a:pt x="293" y="646"/>
                  </a:lnTo>
                  <a:lnTo>
                    <a:pt x="293" y="646"/>
                  </a:lnTo>
                  <a:lnTo>
                    <a:pt x="297" y="646"/>
                  </a:lnTo>
                  <a:lnTo>
                    <a:pt x="297" y="646"/>
                  </a:lnTo>
                  <a:lnTo>
                    <a:pt x="306" y="646"/>
                  </a:lnTo>
                  <a:lnTo>
                    <a:pt x="306" y="646"/>
                  </a:lnTo>
                  <a:lnTo>
                    <a:pt x="306" y="646"/>
                  </a:lnTo>
                  <a:lnTo>
                    <a:pt x="306" y="646"/>
                  </a:lnTo>
                  <a:lnTo>
                    <a:pt x="306" y="646"/>
                  </a:lnTo>
                  <a:lnTo>
                    <a:pt x="306" y="646"/>
                  </a:lnTo>
                  <a:lnTo>
                    <a:pt x="306" y="642"/>
                  </a:lnTo>
                  <a:lnTo>
                    <a:pt x="306" y="642"/>
                  </a:lnTo>
                  <a:lnTo>
                    <a:pt x="306" y="642"/>
                  </a:lnTo>
                  <a:lnTo>
                    <a:pt x="306" y="642"/>
                  </a:lnTo>
                  <a:lnTo>
                    <a:pt x="306" y="642"/>
                  </a:lnTo>
                  <a:lnTo>
                    <a:pt x="306" y="642"/>
                  </a:lnTo>
                  <a:lnTo>
                    <a:pt x="306" y="642"/>
                  </a:lnTo>
                  <a:lnTo>
                    <a:pt x="306" y="637"/>
                  </a:lnTo>
                  <a:lnTo>
                    <a:pt x="306" y="637"/>
                  </a:lnTo>
                  <a:lnTo>
                    <a:pt x="306" y="637"/>
                  </a:lnTo>
                  <a:lnTo>
                    <a:pt x="306" y="633"/>
                  </a:lnTo>
                  <a:lnTo>
                    <a:pt x="310" y="633"/>
                  </a:lnTo>
                  <a:lnTo>
                    <a:pt x="310" y="633"/>
                  </a:lnTo>
                  <a:lnTo>
                    <a:pt x="310" y="637"/>
                  </a:lnTo>
                  <a:lnTo>
                    <a:pt x="315" y="637"/>
                  </a:lnTo>
                  <a:lnTo>
                    <a:pt x="315" y="637"/>
                  </a:lnTo>
                  <a:lnTo>
                    <a:pt x="315" y="637"/>
                  </a:lnTo>
                  <a:lnTo>
                    <a:pt x="319" y="637"/>
                  </a:lnTo>
                  <a:lnTo>
                    <a:pt x="319" y="637"/>
                  </a:lnTo>
                  <a:lnTo>
                    <a:pt x="319" y="637"/>
                  </a:lnTo>
                  <a:lnTo>
                    <a:pt x="319" y="637"/>
                  </a:lnTo>
                  <a:lnTo>
                    <a:pt x="319" y="637"/>
                  </a:lnTo>
                  <a:lnTo>
                    <a:pt x="319" y="637"/>
                  </a:lnTo>
                  <a:lnTo>
                    <a:pt x="324" y="637"/>
                  </a:lnTo>
                  <a:lnTo>
                    <a:pt x="324" y="637"/>
                  </a:lnTo>
                  <a:lnTo>
                    <a:pt x="324" y="637"/>
                  </a:lnTo>
                  <a:lnTo>
                    <a:pt x="324" y="637"/>
                  </a:lnTo>
                  <a:lnTo>
                    <a:pt x="324" y="642"/>
                  </a:lnTo>
                  <a:lnTo>
                    <a:pt x="328" y="642"/>
                  </a:lnTo>
                  <a:lnTo>
                    <a:pt x="328" y="642"/>
                  </a:lnTo>
                  <a:lnTo>
                    <a:pt x="328" y="642"/>
                  </a:lnTo>
                  <a:lnTo>
                    <a:pt x="332" y="642"/>
                  </a:lnTo>
                  <a:lnTo>
                    <a:pt x="332" y="642"/>
                  </a:lnTo>
                  <a:lnTo>
                    <a:pt x="332" y="646"/>
                  </a:lnTo>
                  <a:lnTo>
                    <a:pt x="332" y="646"/>
                  </a:lnTo>
                  <a:lnTo>
                    <a:pt x="332" y="646"/>
                  </a:lnTo>
                  <a:lnTo>
                    <a:pt x="337" y="646"/>
                  </a:lnTo>
                  <a:lnTo>
                    <a:pt x="341" y="646"/>
                  </a:lnTo>
                  <a:lnTo>
                    <a:pt x="341" y="646"/>
                  </a:lnTo>
                  <a:lnTo>
                    <a:pt x="341" y="646"/>
                  </a:lnTo>
                  <a:lnTo>
                    <a:pt x="341" y="646"/>
                  </a:lnTo>
                  <a:lnTo>
                    <a:pt x="341" y="646"/>
                  </a:lnTo>
                  <a:lnTo>
                    <a:pt x="346" y="646"/>
                  </a:lnTo>
                  <a:lnTo>
                    <a:pt x="346" y="646"/>
                  </a:lnTo>
                  <a:lnTo>
                    <a:pt x="346" y="650"/>
                  </a:lnTo>
                  <a:lnTo>
                    <a:pt x="346" y="650"/>
                  </a:lnTo>
                  <a:lnTo>
                    <a:pt x="346" y="650"/>
                  </a:lnTo>
                  <a:lnTo>
                    <a:pt x="350" y="650"/>
                  </a:lnTo>
                  <a:lnTo>
                    <a:pt x="350" y="650"/>
                  </a:lnTo>
                  <a:lnTo>
                    <a:pt x="350" y="650"/>
                  </a:lnTo>
                  <a:lnTo>
                    <a:pt x="355" y="650"/>
                  </a:lnTo>
                  <a:lnTo>
                    <a:pt x="355" y="650"/>
                  </a:lnTo>
                  <a:lnTo>
                    <a:pt x="355" y="650"/>
                  </a:lnTo>
                  <a:lnTo>
                    <a:pt x="355" y="650"/>
                  </a:lnTo>
                  <a:lnTo>
                    <a:pt x="363" y="650"/>
                  </a:lnTo>
                  <a:lnTo>
                    <a:pt x="363" y="655"/>
                  </a:lnTo>
                  <a:lnTo>
                    <a:pt x="363" y="655"/>
                  </a:lnTo>
                  <a:lnTo>
                    <a:pt x="363" y="655"/>
                  </a:lnTo>
                  <a:lnTo>
                    <a:pt x="363" y="655"/>
                  </a:lnTo>
                  <a:lnTo>
                    <a:pt x="363" y="655"/>
                  </a:lnTo>
                  <a:lnTo>
                    <a:pt x="363" y="655"/>
                  </a:lnTo>
                  <a:lnTo>
                    <a:pt x="363" y="655"/>
                  </a:lnTo>
                  <a:lnTo>
                    <a:pt x="363" y="659"/>
                  </a:lnTo>
                  <a:lnTo>
                    <a:pt x="363" y="659"/>
                  </a:lnTo>
                  <a:lnTo>
                    <a:pt x="363" y="659"/>
                  </a:lnTo>
                  <a:lnTo>
                    <a:pt x="363" y="659"/>
                  </a:lnTo>
                  <a:lnTo>
                    <a:pt x="363" y="659"/>
                  </a:lnTo>
                  <a:lnTo>
                    <a:pt x="363" y="659"/>
                  </a:lnTo>
                  <a:lnTo>
                    <a:pt x="363" y="659"/>
                  </a:lnTo>
                  <a:lnTo>
                    <a:pt x="368" y="659"/>
                  </a:lnTo>
                  <a:lnTo>
                    <a:pt x="368" y="659"/>
                  </a:lnTo>
                  <a:lnTo>
                    <a:pt x="372" y="664"/>
                  </a:lnTo>
                  <a:lnTo>
                    <a:pt x="372" y="664"/>
                  </a:lnTo>
                  <a:lnTo>
                    <a:pt x="372" y="664"/>
                  </a:lnTo>
                  <a:lnTo>
                    <a:pt x="372" y="664"/>
                  </a:lnTo>
                  <a:lnTo>
                    <a:pt x="372" y="664"/>
                  </a:lnTo>
                  <a:lnTo>
                    <a:pt x="377" y="668"/>
                  </a:lnTo>
                  <a:lnTo>
                    <a:pt x="377" y="668"/>
                  </a:lnTo>
                  <a:lnTo>
                    <a:pt x="377" y="668"/>
                  </a:lnTo>
                  <a:lnTo>
                    <a:pt x="377" y="668"/>
                  </a:lnTo>
                  <a:lnTo>
                    <a:pt x="377" y="668"/>
                  </a:lnTo>
                  <a:lnTo>
                    <a:pt x="381" y="668"/>
                  </a:lnTo>
                  <a:lnTo>
                    <a:pt x="381" y="668"/>
                  </a:lnTo>
                  <a:lnTo>
                    <a:pt x="381" y="668"/>
                  </a:lnTo>
                  <a:lnTo>
                    <a:pt x="381" y="668"/>
                  </a:lnTo>
                  <a:lnTo>
                    <a:pt x="381" y="668"/>
                  </a:lnTo>
                  <a:lnTo>
                    <a:pt x="381" y="668"/>
                  </a:lnTo>
                  <a:lnTo>
                    <a:pt x="386" y="668"/>
                  </a:lnTo>
                  <a:lnTo>
                    <a:pt x="386" y="664"/>
                  </a:lnTo>
                  <a:lnTo>
                    <a:pt x="386" y="664"/>
                  </a:lnTo>
                  <a:lnTo>
                    <a:pt x="386" y="664"/>
                  </a:lnTo>
                  <a:lnTo>
                    <a:pt x="390" y="664"/>
                  </a:lnTo>
                  <a:lnTo>
                    <a:pt x="390" y="664"/>
                  </a:lnTo>
                  <a:lnTo>
                    <a:pt x="394" y="664"/>
                  </a:lnTo>
                  <a:lnTo>
                    <a:pt x="394" y="664"/>
                  </a:lnTo>
                  <a:lnTo>
                    <a:pt x="399" y="668"/>
                  </a:lnTo>
                  <a:lnTo>
                    <a:pt x="399" y="668"/>
                  </a:lnTo>
                  <a:lnTo>
                    <a:pt x="399" y="668"/>
                  </a:lnTo>
                  <a:lnTo>
                    <a:pt x="399" y="668"/>
                  </a:lnTo>
                  <a:lnTo>
                    <a:pt x="399" y="668"/>
                  </a:lnTo>
                  <a:lnTo>
                    <a:pt x="403" y="673"/>
                  </a:lnTo>
                  <a:lnTo>
                    <a:pt x="403" y="673"/>
                  </a:lnTo>
                  <a:lnTo>
                    <a:pt x="403" y="673"/>
                  </a:lnTo>
                  <a:lnTo>
                    <a:pt x="403" y="673"/>
                  </a:lnTo>
                  <a:lnTo>
                    <a:pt x="403" y="673"/>
                  </a:lnTo>
                  <a:lnTo>
                    <a:pt x="403" y="673"/>
                  </a:lnTo>
                  <a:lnTo>
                    <a:pt x="408" y="668"/>
                  </a:lnTo>
                  <a:lnTo>
                    <a:pt x="408" y="668"/>
                  </a:lnTo>
                  <a:lnTo>
                    <a:pt x="408" y="668"/>
                  </a:lnTo>
                  <a:lnTo>
                    <a:pt x="408" y="673"/>
                  </a:lnTo>
                  <a:lnTo>
                    <a:pt x="412" y="673"/>
                  </a:lnTo>
                  <a:lnTo>
                    <a:pt x="412" y="673"/>
                  </a:lnTo>
                  <a:lnTo>
                    <a:pt x="412" y="673"/>
                  </a:lnTo>
                  <a:lnTo>
                    <a:pt x="412" y="668"/>
                  </a:lnTo>
                  <a:lnTo>
                    <a:pt x="412" y="668"/>
                  </a:lnTo>
                  <a:lnTo>
                    <a:pt x="412" y="668"/>
                  </a:lnTo>
                  <a:lnTo>
                    <a:pt x="412" y="668"/>
                  </a:lnTo>
                  <a:lnTo>
                    <a:pt x="417" y="664"/>
                  </a:lnTo>
                  <a:lnTo>
                    <a:pt x="417" y="664"/>
                  </a:lnTo>
                  <a:lnTo>
                    <a:pt x="417" y="664"/>
                  </a:lnTo>
                  <a:lnTo>
                    <a:pt x="421" y="664"/>
                  </a:lnTo>
                  <a:lnTo>
                    <a:pt x="421" y="664"/>
                  </a:lnTo>
                  <a:lnTo>
                    <a:pt x="421" y="664"/>
                  </a:lnTo>
                  <a:lnTo>
                    <a:pt x="421" y="664"/>
                  </a:lnTo>
                  <a:lnTo>
                    <a:pt x="421" y="664"/>
                  </a:lnTo>
                  <a:lnTo>
                    <a:pt x="425" y="664"/>
                  </a:lnTo>
                  <a:lnTo>
                    <a:pt x="425" y="664"/>
                  </a:lnTo>
                  <a:lnTo>
                    <a:pt x="425" y="664"/>
                  </a:lnTo>
                  <a:lnTo>
                    <a:pt x="430" y="664"/>
                  </a:lnTo>
                  <a:lnTo>
                    <a:pt x="430" y="664"/>
                  </a:lnTo>
                  <a:lnTo>
                    <a:pt x="430" y="664"/>
                  </a:lnTo>
                  <a:lnTo>
                    <a:pt x="430" y="664"/>
                  </a:lnTo>
                  <a:lnTo>
                    <a:pt x="430" y="664"/>
                  </a:lnTo>
                  <a:lnTo>
                    <a:pt x="430" y="664"/>
                  </a:lnTo>
                  <a:lnTo>
                    <a:pt x="434" y="664"/>
                  </a:lnTo>
                  <a:lnTo>
                    <a:pt x="434" y="664"/>
                  </a:lnTo>
                  <a:lnTo>
                    <a:pt x="434" y="664"/>
                  </a:lnTo>
                  <a:lnTo>
                    <a:pt x="434" y="664"/>
                  </a:lnTo>
                  <a:lnTo>
                    <a:pt x="434" y="664"/>
                  </a:lnTo>
                  <a:lnTo>
                    <a:pt x="439" y="664"/>
                  </a:lnTo>
                  <a:lnTo>
                    <a:pt x="439" y="664"/>
                  </a:lnTo>
                  <a:lnTo>
                    <a:pt x="439" y="664"/>
                  </a:lnTo>
                  <a:lnTo>
                    <a:pt x="439" y="664"/>
                  </a:lnTo>
                  <a:lnTo>
                    <a:pt x="439" y="659"/>
                  </a:lnTo>
                  <a:lnTo>
                    <a:pt x="439" y="659"/>
                  </a:lnTo>
                  <a:lnTo>
                    <a:pt x="439" y="659"/>
                  </a:lnTo>
                  <a:lnTo>
                    <a:pt x="439" y="659"/>
                  </a:lnTo>
                  <a:lnTo>
                    <a:pt x="439" y="659"/>
                  </a:lnTo>
                  <a:lnTo>
                    <a:pt x="439" y="659"/>
                  </a:lnTo>
                  <a:lnTo>
                    <a:pt x="434" y="659"/>
                  </a:lnTo>
                  <a:lnTo>
                    <a:pt x="434" y="655"/>
                  </a:lnTo>
                  <a:lnTo>
                    <a:pt x="434" y="655"/>
                  </a:lnTo>
                  <a:lnTo>
                    <a:pt x="434" y="655"/>
                  </a:lnTo>
                  <a:lnTo>
                    <a:pt x="434" y="655"/>
                  </a:lnTo>
                  <a:lnTo>
                    <a:pt x="434" y="650"/>
                  </a:lnTo>
                  <a:lnTo>
                    <a:pt x="430" y="646"/>
                  </a:lnTo>
                  <a:lnTo>
                    <a:pt x="434" y="642"/>
                  </a:lnTo>
                  <a:lnTo>
                    <a:pt x="434" y="642"/>
                  </a:lnTo>
                  <a:lnTo>
                    <a:pt x="434" y="637"/>
                  </a:lnTo>
                  <a:lnTo>
                    <a:pt x="434" y="633"/>
                  </a:lnTo>
                  <a:lnTo>
                    <a:pt x="434" y="628"/>
                  </a:lnTo>
                  <a:lnTo>
                    <a:pt x="434" y="628"/>
                  </a:lnTo>
                  <a:lnTo>
                    <a:pt x="434" y="628"/>
                  </a:lnTo>
                  <a:lnTo>
                    <a:pt x="434" y="628"/>
                  </a:lnTo>
                  <a:lnTo>
                    <a:pt x="434" y="628"/>
                  </a:lnTo>
                  <a:lnTo>
                    <a:pt x="434" y="624"/>
                  </a:lnTo>
                  <a:lnTo>
                    <a:pt x="434" y="624"/>
                  </a:lnTo>
                  <a:lnTo>
                    <a:pt x="434" y="624"/>
                  </a:lnTo>
                  <a:lnTo>
                    <a:pt x="434" y="619"/>
                  </a:lnTo>
                  <a:lnTo>
                    <a:pt x="434" y="619"/>
                  </a:lnTo>
                  <a:lnTo>
                    <a:pt x="434" y="619"/>
                  </a:lnTo>
                  <a:lnTo>
                    <a:pt x="434" y="615"/>
                  </a:lnTo>
                  <a:lnTo>
                    <a:pt x="439" y="615"/>
                  </a:lnTo>
                  <a:lnTo>
                    <a:pt x="439" y="615"/>
                  </a:lnTo>
                  <a:lnTo>
                    <a:pt x="439" y="611"/>
                  </a:lnTo>
                  <a:lnTo>
                    <a:pt x="439" y="611"/>
                  </a:lnTo>
                  <a:lnTo>
                    <a:pt x="439" y="611"/>
                  </a:lnTo>
                  <a:lnTo>
                    <a:pt x="443" y="611"/>
                  </a:lnTo>
                  <a:lnTo>
                    <a:pt x="443" y="611"/>
                  </a:lnTo>
                  <a:lnTo>
                    <a:pt x="443" y="611"/>
                  </a:lnTo>
                  <a:lnTo>
                    <a:pt x="443" y="606"/>
                  </a:lnTo>
                  <a:lnTo>
                    <a:pt x="447" y="606"/>
                  </a:lnTo>
                  <a:lnTo>
                    <a:pt x="452" y="602"/>
                  </a:lnTo>
                  <a:lnTo>
                    <a:pt x="452" y="602"/>
                  </a:lnTo>
                  <a:lnTo>
                    <a:pt x="452" y="602"/>
                  </a:lnTo>
                  <a:lnTo>
                    <a:pt x="456" y="602"/>
                  </a:lnTo>
                  <a:lnTo>
                    <a:pt x="456" y="602"/>
                  </a:lnTo>
                  <a:lnTo>
                    <a:pt x="461" y="597"/>
                  </a:lnTo>
                  <a:lnTo>
                    <a:pt x="461" y="597"/>
                  </a:lnTo>
                  <a:lnTo>
                    <a:pt x="470" y="593"/>
                  </a:lnTo>
                  <a:lnTo>
                    <a:pt x="478" y="584"/>
                  </a:lnTo>
                  <a:lnTo>
                    <a:pt x="478" y="584"/>
                  </a:lnTo>
                  <a:lnTo>
                    <a:pt x="483" y="584"/>
                  </a:lnTo>
                  <a:lnTo>
                    <a:pt x="487" y="584"/>
                  </a:lnTo>
                  <a:lnTo>
                    <a:pt x="487" y="584"/>
                  </a:lnTo>
                  <a:lnTo>
                    <a:pt x="492" y="584"/>
                  </a:lnTo>
                  <a:lnTo>
                    <a:pt x="492" y="584"/>
                  </a:lnTo>
                  <a:lnTo>
                    <a:pt x="487" y="588"/>
                  </a:lnTo>
                  <a:lnTo>
                    <a:pt x="492" y="588"/>
                  </a:lnTo>
                  <a:lnTo>
                    <a:pt x="492" y="588"/>
                  </a:lnTo>
                  <a:lnTo>
                    <a:pt x="492" y="588"/>
                  </a:lnTo>
                  <a:lnTo>
                    <a:pt x="492" y="588"/>
                  </a:lnTo>
                  <a:lnTo>
                    <a:pt x="505" y="593"/>
                  </a:lnTo>
                  <a:lnTo>
                    <a:pt x="509" y="593"/>
                  </a:lnTo>
                  <a:lnTo>
                    <a:pt x="514" y="593"/>
                  </a:lnTo>
                  <a:lnTo>
                    <a:pt x="514" y="593"/>
                  </a:lnTo>
                  <a:lnTo>
                    <a:pt x="514" y="593"/>
                  </a:lnTo>
                  <a:lnTo>
                    <a:pt x="514" y="593"/>
                  </a:lnTo>
                  <a:lnTo>
                    <a:pt x="514" y="597"/>
                  </a:lnTo>
                  <a:lnTo>
                    <a:pt x="514" y="597"/>
                  </a:lnTo>
                  <a:lnTo>
                    <a:pt x="514" y="597"/>
                  </a:lnTo>
                  <a:lnTo>
                    <a:pt x="518" y="597"/>
                  </a:lnTo>
                  <a:lnTo>
                    <a:pt x="523" y="597"/>
                  </a:lnTo>
                  <a:lnTo>
                    <a:pt x="527" y="597"/>
                  </a:lnTo>
                  <a:lnTo>
                    <a:pt x="527" y="597"/>
                  </a:lnTo>
                  <a:lnTo>
                    <a:pt x="523" y="597"/>
                  </a:lnTo>
                  <a:lnTo>
                    <a:pt x="523" y="593"/>
                  </a:lnTo>
                  <a:lnTo>
                    <a:pt x="523" y="593"/>
                  </a:lnTo>
                  <a:lnTo>
                    <a:pt x="523" y="593"/>
                  </a:lnTo>
                  <a:lnTo>
                    <a:pt x="523" y="584"/>
                  </a:lnTo>
                  <a:lnTo>
                    <a:pt x="523" y="584"/>
                  </a:lnTo>
                  <a:lnTo>
                    <a:pt x="518" y="584"/>
                  </a:lnTo>
                  <a:lnTo>
                    <a:pt x="518" y="584"/>
                  </a:lnTo>
                  <a:lnTo>
                    <a:pt x="518" y="584"/>
                  </a:lnTo>
                  <a:lnTo>
                    <a:pt x="523" y="584"/>
                  </a:lnTo>
                  <a:lnTo>
                    <a:pt x="523" y="584"/>
                  </a:lnTo>
                  <a:lnTo>
                    <a:pt x="523" y="584"/>
                  </a:lnTo>
                  <a:lnTo>
                    <a:pt x="523" y="588"/>
                  </a:lnTo>
                  <a:lnTo>
                    <a:pt x="523" y="593"/>
                  </a:lnTo>
                  <a:lnTo>
                    <a:pt x="523" y="593"/>
                  </a:lnTo>
                  <a:lnTo>
                    <a:pt x="523" y="593"/>
                  </a:lnTo>
                  <a:lnTo>
                    <a:pt x="527" y="597"/>
                  </a:lnTo>
                  <a:lnTo>
                    <a:pt x="527" y="597"/>
                  </a:lnTo>
                  <a:lnTo>
                    <a:pt x="527" y="597"/>
                  </a:lnTo>
                  <a:lnTo>
                    <a:pt x="527" y="597"/>
                  </a:lnTo>
                  <a:lnTo>
                    <a:pt x="532" y="597"/>
                  </a:lnTo>
                  <a:lnTo>
                    <a:pt x="527" y="597"/>
                  </a:lnTo>
                  <a:lnTo>
                    <a:pt x="527" y="597"/>
                  </a:lnTo>
                  <a:lnTo>
                    <a:pt x="527" y="593"/>
                  </a:lnTo>
                  <a:lnTo>
                    <a:pt x="527" y="593"/>
                  </a:lnTo>
                  <a:lnTo>
                    <a:pt x="527" y="593"/>
                  </a:lnTo>
                  <a:lnTo>
                    <a:pt x="527" y="593"/>
                  </a:lnTo>
                  <a:lnTo>
                    <a:pt x="532" y="593"/>
                  </a:lnTo>
                  <a:lnTo>
                    <a:pt x="532" y="593"/>
                  </a:lnTo>
                  <a:lnTo>
                    <a:pt x="532" y="593"/>
                  </a:lnTo>
                  <a:lnTo>
                    <a:pt x="536" y="593"/>
                  </a:lnTo>
                  <a:lnTo>
                    <a:pt x="536" y="593"/>
                  </a:lnTo>
                  <a:lnTo>
                    <a:pt x="536" y="593"/>
                  </a:lnTo>
                  <a:lnTo>
                    <a:pt x="536" y="593"/>
                  </a:lnTo>
                  <a:lnTo>
                    <a:pt x="540" y="593"/>
                  </a:lnTo>
                  <a:lnTo>
                    <a:pt x="536" y="588"/>
                  </a:lnTo>
                  <a:lnTo>
                    <a:pt x="536" y="588"/>
                  </a:lnTo>
                  <a:lnTo>
                    <a:pt x="536" y="588"/>
                  </a:lnTo>
                  <a:lnTo>
                    <a:pt x="536" y="588"/>
                  </a:lnTo>
                  <a:lnTo>
                    <a:pt x="536" y="588"/>
                  </a:lnTo>
                  <a:lnTo>
                    <a:pt x="536" y="584"/>
                  </a:lnTo>
                  <a:lnTo>
                    <a:pt x="536" y="584"/>
                  </a:lnTo>
                  <a:lnTo>
                    <a:pt x="536" y="584"/>
                  </a:lnTo>
                  <a:lnTo>
                    <a:pt x="536" y="584"/>
                  </a:lnTo>
                  <a:lnTo>
                    <a:pt x="536" y="584"/>
                  </a:lnTo>
                  <a:lnTo>
                    <a:pt x="536" y="584"/>
                  </a:lnTo>
                  <a:lnTo>
                    <a:pt x="540" y="584"/>
                  </a:lnTo>
                  <a:lnTo>
                    <a:pt x="540" y="584"/>
                  </a:lnTo>
                  <a:lnTo>
                    <a:pt x="540" y="584"/>
                  </a:lnTo>
                  <a:lnTo>
                    <a:pt x="540" y="584"/>
                  </a:lnTo>
                  <a:lnTo>
                    <a:pt x="540" y="584"/>
                  </a:lnTo>
                  <a:lnTo>
                    <a:pt x="540" y="584"/>
                  </a:lnTo>
                  <a:lnTo>
                    <a:pt x="540" y="588"/>
                  </a:lnTo>
                  <a:lnTo>
                    <a:pt x="545" y="588"/>
                  </a:lnTo>
                  <a:lnTo>
                    <a:pt x="545" y="588"/>
                  </a:lnTo>
                  <a:lnTo>
                    <a:pt x="545" y="588"/>
                  </a:lnTo>
                  <a:lnTo>
                    <a:pt x="549" y="588"/>
                  </a:lnTo>
                  <a:lnTo>
                    <a:pt x="549" y="588"/>
                  </a:lnTo>
                  <a:lnTo>
                    <a:pt x="545" y="588"/>
                  </a:lnTo>
                  <a:lnTo>
                    <a:pt x="545" y="593"/>
                  </a:lnTo>
                  <a:lnTo>
                    <a:pt x="545" y="593"/>
                  </a:lnTo>
                  <a:lnTo>
                    <a:pt x="545" y="593"/>
                  </a:lnTo>
                  <a:lnTo>
                    <a:pt x="540" y="593"/>
                  </a:lnTo>
                  <a:lnTo>
                    <a:pt x="536" y="593"/>
                  </a:lnTo>
                  <a:lnTo>
                    <a:pt x="536" y="597"/>
                  </a:lnTo>
                  <a:lnTo>
                    <a:pt x="536" y="597"/>
                  </a:lnTo>
                  <a:lnTo>
                    <a:pt x="536" y="597"/>
                  </a:lnTo>
                  <a:lnTo>
                    <a:pt x="540" y="602"/>
                  </a:lnTo>
                  <a:lnTo>
                    <a:pt x="540" y="602"/>
                  </a:lnTo>
                  <a:lnTo>
                    <a:pt x="545" y="602"/>
                  </a:lnTo>
                  <a:lnTo>
                    <a:pt x="549" y="602"/>
                  </a:lnTo>
                  <a:lnTo>
                    <a:pt x="549" y="597"/>
                  </a:lnTo>
                  <a:lnTo>
                    <a:pt x="554" y="602"/>
                  </a:lnTo>
                  <a:lnTo>
                    <a:pt x="554" y="602"/>
                  </a:lnTo>
                  <a:lnTo>
                    <a:pt x="554" y="602"/>
                  </a:lnTo>
                  <a:lnTo>
                    <a:pt x="554" y="602"/>
                  </a:lnTo>
                  <a:lnTo>
                    <a:pt x="554" y="606"/>
                  </a:lnTo>
                  <a:lnTo>
                    <a:pt x="554" y="606"/>
                  </a:lnTo>
                  <a:lnTo>
                    <a:pt x="554" y="606"/>
                  </a:lnTo>
                  <a:lnTo>
                    <a:pt x="554" y="606"/>
                  </a:lnTo>
                  <a:lnTo>
                    <a:pt x="554" y="606"/>
                  </a:lnTo>
                  <a:lnTo>
                    <a:pt x="554" y="611"/>
                  </a:lnTo>
                  <a:lnTo>
                    <a:pt x="558" y="606"/>
                  </a:lnTo>
                  <a:lnTo>
                    <a:pt x="558" y="611"/>
                  </a:lnTo>
                  <a:lnTo>
                    <a:pt x="558" y="611"/>
                  </a:lnTo>
                  <a:lnTo>
                    <a:pt x="558" y="611"/>
                  </a:lnTo>
                  <a:lnTo>
                    <a:pt x="563" y="611"/>
                  </a:lnTo>
                  <a:lnTo>
                    <a:pt x="563" y="611"/>
                  </a:lnTo>
                  <a:lnTo>
                    <a:pt x="563" y="606"/>
                  </a:lnTo>
                  <a:lnTo>
                    <a:pt x="563" y="611"/>
                  </a:lnTo>
                  <a:lnTo>
                    <a:pt x="563" y="611"/>
                  </a:lnTo>
                  <a:lnTo>
                    <a:pt x="567" y="611"/>
                  </a:lnTo>
                  <a:lnTo>
                    <a:pt x="567" y="611"/>
                  </a:lnTo>
                  <a:lnTo>
                    <a:pt x="567" y="611"/>
                  </a:lnTo>
                  <a:lnTo>
                    <a:pt x="567" y="611"/>
                  </a:lnTo>
                  <a:lnTo>
                    <a:pt x="567" y="611"/>
                  </a:lnTo>
                  <a:lnTo>
                    <a:pt x="567" y="611"/>
                  </a:lnTo>
                  <a:lnTo>
                    <a:pt x="571" y="611"/>
                  </a:lnTo>
                  <a:lnTo>
                    <a:pt x="571" y="611"/>
                  </a:lnTo>
                  <a:lnTo>
                    <a:pt x="571" y="611"/>
                  </a:lnTo>
                  <a:lnTo>
                    <a:pt x="571" y="615"/>
                  </a:lnTo>
                  <a:lnTo>
                    <a:pt x="576" y="615"/>
                  </a:lnTo>
                  <a:lnTo>
                    <a:pt x="576" y="615"/>
                  </a:lnTo>
                  <a:lnTo>
                    <a:pt x="576" y="615"/>
                  </a:lnTo>
                  <a:lnTo>
                    <a:pt x="576" y="615"/>
                  </a:lnTo>
                  <a:lnTo>
                    <a:pt x="576" y="615"/>
                  </a:lnTo>
                  <a:lnTo>
                    <a:pt x="576" y="615"/>
                  </a:lnTo>
                  <a:lnTo>
                    <a:pt x="580" y="615"/>
                  </a:lnTo>
                  <a:lnTo>
                    <a:pt x="580" y="615"/>
                  </a:lnTo>
                  <a:lnTo>
                    <a:pt x="576" y="619"/>
                  </a:lnTo>
                  <a:lnTo>
                    <a:pt x="576" y="619"/>
                  </a:lnTo>
                  <a:lnTo>
                    <a:pt x="576" y="619"/>
                  </a:lnTo>
                  <a:lnTo>
                    <a:pt x="580" y="619"/>
                  </a:lnTo>
                  <a:lnTo>
                    <a:pt x="580" y="619"/>
                  </a:lnTo>
                  <a:lnTo>
                    <a:pt x="580" y="619"/>
                  </a:lnTo>
                  <a:lnTo>
                    <a:pt x="580" y="619"/>
                  </a:lnTo>
                  <a:lnTo>
                    <a:pt x="585" y="619"/>
                  </a:lnTo>
                  <a:lnTo>
                    <a:pt x="585" y="619"/>
                  </a:lnTo>
                  <a:lnTo>
                    <a:pt x="585" y="619"/>
                  </a:lnTo>
                  <a:lnTo>
                    <a:pt x="585" y="619"/>
                  </a:lnTo>
                  <a:lnTo>
                    <a:pt x="585" y="615"/>
                  </a:lnTo>
                  <a:lnTo>
                    <a:pt x="585" y="615"/>
                  </a:lnTo>
                  <a:lnTo>
                    <a:pt x="580" y="615"/>
                  </a:lnTo>
                  <a:lnTo>
                    <a:pt x="585" y="615"/>
                  </a:lnTo>
                  <a:lnTo>
                    <a:pt x="585" y="615"/>
                  </a:lnTo>
                  <a:lnTo>
                    <a:pt x="585" y="615"/>
                  </a:lnTo>
                  <a:lnTo>
                    <a:pt x="585" y="615"/>
                  </a:lnTo>
                  <a:lnTo>
                    <a:pt x="585" y="615"/>
                  </a:lnTo>
                  <a:lnTo>
                    <a:pt x="585" y="615"/>
                  </a:lnTo>
                  <a:lnTo>
                    <a:pt x="585" y="615"/>
                  </a:lnTo>
                  <a:lnTo>
                    <a:pt x="589" y="615"/>
                  </a:lnTo>
                  <a:lnTo>
                    <a:pt x="589" y="615"/>
                  </a:lnTo>
                  <a:lnTo>
                    <a:pt x="589" y="619"/>
                  </a:lnTo>
                  <a:lnTo>
                    <a:pt x="589" y="619"/>
                  </a:lnTo>
                  <a:lnTo>
                    <a:pt x="594" y="619"/>
                  </a:lnTo>
                  <a:lnTo>
                    <a:pt x="594" y="619"/>
                  </a:lnTo>
                  <a:lnTo>
                    <a:pt x="594" y="619"/>
                  </a:lnTo>
                  <a:lnTo>
                    <a:pt x="594" y="619"/>
                  </a:lnTo>
                  <a:lnTo>
                    <a:pt x="594" y="619"/>
                  </a:lnTo>
                  <a:lnTo>
                    <a:pt x="594" y="619"/>
                  </a:lnTo>
                  <a:lnTo>
                    <a:pt x="594" y="619"/>
                  </a:lnTo>
                  <a:lnTo>
                    <a:pt x="594" y="619"/>
                  </a:lnTo>
                  <a:lnTo>
                    <a:pt x="598" y="619"/>
                  </a:lnTo>
                  <a:lnTo>
                    <a:pt x="598" y="619"/>
                  </a:lnTo>
                  <a:lnTo>
                    <a:pt x="598" y="619"/>
                  </a:lnTo>
                  <a:lnTo>
                    <a:pt x="598" y="619"/>
                  </a:lnTo>
                  <a:lnTo>
                    <a:pt x="598" y="619"/>
                  </a:lnTo>
                  <a:lnTo>
                    <a:pt x="598" y="619"/>
                  </a:lnTo>
                  <a:lnTo>
                    <a:pt x="598" y="615"/>
                  </a:lnTo>
                  <a:lnTo>
                    <a:pt x="598" y="615"/>
                  </a:lnTo>
                  <a:lnTo>
                    <a:pt x="598" y="615"/>
                  </a:lnTo>
                  <a:lnTo>
                    <a:pt x="598" y="615"/>
                  </a:lnTo>
                  <a:lnTo>
                    <a:pt x="602" y="615"/>
                  </a:lnTo>
                  <a:lnTo>
                    <a:pt x="602" y="615"/>
                  </a:lnTo>
                  <a:lnTo>
                    <a:pt x="602" y="615"/>
                  </a:lnTo>
                  <a:lnTo>
                    <a:pt x="607" y="615"/>
                  </a:lnTo>
                  <a:lnTo>
                    <a:pt x="607" y="615"/>
                  </a:lnTo>
                  <a:lnTo>
                    <a:pt x="607" y="615"/>
                  </a:lnTo>
                  <a:lnTo>
                    <a:pt x="607" y="615"/>
                  </a:lnTo>
                  <a:lnTo>
                    <a:pt x="607" y="615"/>
                  </a:lnTo>
                  <a:lnTo>
                    <a:pt x="607" y="615"/>
                  </a:lnTo>
                  <a:lnTo>
                    <a:pt x="607" y="615"/>
                  </a:lnTo>
                  <a:lnTo>
                    <a:pt x="611" y="615"/>
                  </a:lnTo>
                  <a:lnTo>
                    <a:pt x="611" y="611"/>
                  </a:lnTo>
                  <a:lnTo>
                    <a:pt x="611" y="611"/>
                  </a:lnTo>
                  <a:lnTo>
                    <a:pt x="611" y="611"/>
                  </a:lnTo>
                  <a:lnTo>
                    <a:pt x="616" y="611"/>
                  </a:lnTo>
                  <a:lnTo>
                    <a:pt x="616" y="611"/>
                  </a:lnTo>
                  <a:lnTo>
                    <a:pt x="616" y="611"/>
                  </a:lnTo>
                  <a:lnTo>
                    <a:pt x="616" y="611"/>
                  </a:lnTo>
                  <a:lnTo>
                    <a:pt x="616" y="611"/>
                  </a:lnTo>
                  <a:lnTo>
                    <a:pt x="620" y="611"/>
                  </a:lnTo>
                  <a:lnTo>
                    <a:pt x="620" y="611"/>
                  </a:lnTo>
                  <a:lnTo>
                    <a:pt x="620" y="611"/>
                  </a:lnTo>
                  <a:lnTo>
                    <a:pt x="620" y="611"/>
                  </a:lnTo>
                  <a:lnTo>
                    <a:pt x="620" y="611"/>
                  </a:lnTo>
                  <a:lnTo>
                    <a:pt x="620" y="611"/>
                  </a:lnTo>
                  <a:lnTo>
                    <a:pt x="620" y="611"/>
                  </a:lnTo>
                  <a:lnTo>
                    <a:pt x="625" y="611"/>
                  </a:lnTo>
                  <a:lnTo>
                    <a:pt x="625" y="611"/>
                  </a:lnTo>
                  <a:lnTo>
                    <a:pt x="625" y="606"/>
                  </a:lnTo>
                  <a:lnTo>
                    <a:pt x="625" y="606"/>
                  </a:lnTo>
                  <a:lnTo>
                    <a:pt x="625" y="606"/>
                  </a:lnTo>
                  <a:lnTo>
                    <a:pt x="625" y="606"/>
                  </a:lnTo>
                  <a:lnTo>
                    <a:pt x="625" y="606"/>
                  </a:lnTo>
                  <a:lnTo>
                    <a:pt x="625" y="606"/>
                  </a:lnTo>
                  <a:lnTo>
                    <a:pt x="625" y="602"/>
                  </a:lnTo>
                  <a:lnTo>
                    <a:pt x="620" y="606"/>
                  </a:lnTo>
                  <a:lnTo>
                    <a:pt x="620" y="606"/>
                  </a:lnTo>
                  <a:lnTo>
                    <a:pt x="620" y="602"/>
                  </a:lnTo>
                  <a:lnTo>
                    <a:pt x="620" y="602"/>
                  </a:lnTo>
                  <a:lnTo>
                    <a:pt x="625" y="602"/>
                  </a:lnTo>
                  <a:lnTo>
                    <a:pt x="625" y="602"/>
                  </a:lnTo>
                  <a:lnTo>
                    <a:pt x="625" y="602"/>
                  </a:lnTo>
                  <a:lnTo>
                    <a:pt x="625" y="597"/>
                  </a:lnTo>
                  <a:lnTo>
                    <a:pt x="625" y="597"/>
                  </a:lnTo>
                  <a:lnTo>
                    <a:pt x="625" y="597"/>
                  </a:lnTo>
                  <a:lnTo>
                    <a:pt x="625" y="597"/>
                  </a:lnTo>
                  <a:lnTo>
                    <a:pt x="629" y="597"/>
                  </a:lnTo>
                  <a:lnTo>
                    <a:pt x="625" y="593"/>
                  </a:lnTo>
                  <a:lnTo>
                    <a:pt x="629" y="593"/>
                  </a:lnTo>
                  <a:lnTo>
                    <a:pt x="629" y="593"/>
                  </a:lnTo>
                  <a:lnTo>
                    <a:pt x="629" y="593"/>
                  </a:lnTo>
                  <a:lnTo>
                    <a:pt x="629" y="593"/>
                  </a:lnTo>
                  <a:lnTo>
                    <a:pt x="633" y="593"/>
                  </a:lnTo>
                  <a:lnTo>
                    <a:pt x="633" y="593"/>
                  </a:lnTo>
                  <a:lnTo>
                    <a:pt x="633" y="593"/>
                  </a:lnTo>
                  <a:lnTo>
                    <a:pt x="633" y="593"/>
                  </a:lnTo>
                  <a:lnTo>
                    <a:pt x="633" y="593"/>
                  </a:lnTo>
                  <a:lnTo>
                    <a:pt x="633" y="593"/>
                  </a:lnTo>
                  <a:lnTo>
                    <a:pt x="633" y="593"/>
                  </a:lnTo>
                  <a:lnTo>
                    <a:pt x="633" y="593"/>
                  </a:lnTo>
                  <a:lnTo>
                    <a:pt x="633" y="593"/>
                  </a:lnTo>
                  <a:lnTo>
                    <a:pt x="633" y="593"/>
                  </a:lnTo>
                  <a:lnTo>
                    <a:pt x="633" y="593"/>
                  </a:lnTo>
                  <a:lnTo>
                    <a:pt x="633" y="593"/>
                  </a:lnTo>
                  <a:lnTo>
                    <a:pt x="638" y="593"/>
                  </a:lnTo>
                  <a:lnTo>
                    <a:pt x="638" y="588"/>
                  </a:lnTo>
                  <a:lnTo>
                    <a:pt x="638" y="588"/>
                  </a:lnTo>
                  <a:lnTo>
                    <a:pt x="638" y="588"/>
                  </a:lnTo>
                  <a:lnTo>
                    <a:pt x="638" y="588"/>
                  </a:lnTo>
                  <a:lnTo>
                    <a:pt x="638" y="588"/>
                  </a:lnTo>
                  <a:lnTo>
                    <a:pt x="638" y="588"/>
                  </a:lnTo>
                  <a:lnTo>
                    <a:pt x="638" y="584"/>
                  </a:lnTo>
                  <a:lnTo>
                    <a:pt x="638" y="584"/>
                  </a:lnTo>
                  <a:lnTo>
                    <a:pt x="638" y="584"/>
                  </a:lnTo>
                  <a:lnTo>
                    <a:pt x="642" y="584"/>
                  </a:lnTo>
                  <a:lnTo>
                    <a:pt x="642" y="584"/>
                  </a:lnTo>
                  <a:lnTo>
                    <a:pt x="642" y="584"/>
                  </a:lnTo>
                  <a:lnTo>
                    <a:pt x="642" y="584"/>
                  </a:lnTo>
                  <a:lnTo>
                    <a:pt x="642" y="584"/>
                  </a:lnTo>
                  <a:lnTo>
                    <a:pt x="642" y="584"/>
                  </a:lnTo>
                  <a:lnTo>
                    <a:pt x="647" y="584"/>
                  </a:lnTo>
                  <a:lnTo>
                    <a:pt x="647" y="584"/>
                  </a:lnTo>
                  <a:lnTo>
                    <a:pt x="647" y="584"/>
                  </a:lnTo>
                  <a:lnTo>
                    <a:pt x="647" y="584"/>
                  </a:lnTo>
                  <a:lnTo>
                    <a:pt x="647" y="584"/>
                  </a:lnTo>
                  <a:lnTo>
                    <a:pt x="647" y="584"/>
                  </a:lnTo>
                  <a:lnTo>
                    <a:pt x="647" y="584"/>
                  </a:lnTo>
                  <a:lnTo>
                    <a:pt x="647" y="584"/>
                  </a:lnTo>
                  <a:lnTo>
                    <a:pt x="647" y="584"/>
                  </a:lnTo>
                  <a:lnTo>
                    <a:pt x="647" y="580"/>
                  </a:lnTo>
                  <a:lnTo>
                    <a:pt x="647" y="580"/>
                  </a:lnTo>
                  <a:lnTo>
                    <a:pt x="647" y="575"/>
                  </a:lnTo>
                  <a:lnTo>
                    <a:pt x="647" y="575"/>
                  </a:lnTo>
                  <a:lnTo>
                    <a:pt x="647" y="575"/>
                  </a:lnTo>
                  <a:lnTo>
                    <a:pt x="651" y="575"/>
                  </a:lnTo>
                  <a:lnTo>
                    <a:pt x="651" y="575"/>
                  </a:lnTo>
                  <a:lnTo>
                    <a:pt x="651" y="575"/>
                  </a:lnTo>
                  <a:lnTo>
                    <a:pt x="651" y="575"/>
                  </a:lnTo>
                  <a:lnTo>
                    <a:pt x="651" y="575"/>
                  </a:lnTo>
                  <a:lnTo>
                    <a:pt x="651" y="575"/>
                  </a:lnTo>
                  <a:lnTo>
                    <a:pt x="651" y="575"/>
                  </a:lnTo>
                  <a:lnTo>
                    <a:pt x="656" y="575"/>
                  </a:lnTo>
                  <a:lnTo>
                    <a:pt x="656" y="575"/>
                  </a:lnTo>
                  <a:lnTo>
                    <a:pt x="656" y="575"/>
                  </a:lnTo>
                  <a:lnTo>
                    <a:pt x="656" y="575"/>
                  </a:lnTo>
                  <a:lnTo>
                    <a:pt x="656" y="575"/>
                  </a:lnTo>
                  <a:lnTo>
                    <a:pt x="660" y="575"/>
                  </a:lnTo>
                  <a:lnTo>
                    <a:pt x="660" y="575"/>
                  </a:lnTo>
                  <a:lnTo>
                    <a:pt x="660" y="571"/>
                  </a:lnTo>
                  <a:lnTo>
                    <a:pt x="660" y="571"/>
                  </a:lnTo>
                  <a:lnTo>
                    <a:pt x="660" y="571"/>
                  </a:lnTo>
                  <a:lnTo>
                    <a:pt x="660" y="571"/>
                  </a:lnTo>
                  <a:lnTo>
                    <a:pt x="660" y="571"/>
                  </a:lnTo>
                  <a:lnTo>
                    <a:pt x="660" y="571"/>
                  </a:lnTo>
                  <a:lnTo>
                    <a:pt x="664" y="566"/>
                  </a:lnTo>
                  <a:lnTo>
                    <a:pt x="664" y="571"/>
                  </a:lnTo>
                  <a:lnTo>
                    <a:pt x="664" y="571"/>
                  </a:lnTo>
                  <a:lnTo>
                    <a:pt x="664" y="571"/>
                  </a:lnTo>
                  <a:lnTo>
                    <a:pt x="664" y="571"/>
                  </a:lnTo>
                  <a:lnTo>
                    <a:pt x="664" y="571"/>
                  </a:lnTo>
                  <a:lnTo>
                    <a:pt x="664" y="571"/>
                  </a:lnTo>
                  <a:lnTo>
                    <a:pt x="664" y="566"/>
                  </a:lnTo>
                  <a:lnTo>
                    <a:pt x="664" y="566"/>
                  </a:lnTo>
                  <a:lnTo>
                    <a:pt x="664" y="566"/>
                  </a:lnTo>
                  <a:lnTo>
                    <a:pt x="664" y="566"/>
                  </a:lnTo>
                  <a:lnTo>
                    <a:pt x="664" y="566"/>
                  </a:lnTo>
                  <a:lnTo>
                    <a:pt x="664" y="566"/>
                  </a:lnTo>
                  <a:lnTo>
                    <a:pt x="669" y="566"/>
                  </a:lnTo>
                  <a:lnTo>
                    <a:pt x="669" y="566"/>
                  </a:lnTo>
                  <a:lnTo>
                    <a:pt x="664" y="562"/>
                  </a:lnTo>
                  <a:lnTo>
                    <a:pt x="664" y="562"/>
                  </a:lnTo>
                  <a:lnTo>
                    <a:pt x="669" y="557"/>
                  </a:lnTo>
                  <a:lnTo>
                    <a:pt x="669" y="557"/>
                  </a:lnTo>
                  <a:lnTo>
                    <a:pt x="669" y="557"/>
                  </a:lnTo>
                  <a:lnTo>
                    <a:pt x="673" y="553"/>
                  </a:lnTo>
                  <a:lnTo>
                    <a:pt x="673" y="553"/>
                  </a:lnTo>
                  <a:lnTo>
                    <a:pt x="673" y="553"/>
                  </a:lnTo>
                  <a:lnTo>
                    <a:pt x="673" y="549"/>
                  </a:lnTo>
                  <a:lnTo>
                    <a:pt x="673" y="549"/>
                  </a:lnTo>
                  <a:lnTo>
                    <a:pt x="678" y="549"/>
                  </a:lnTo>
                  <a:lnTo>
                    <a:pt x="678" y="549"/>
                  </a:lnTo>
                  <a:lnTo>
                    <a:pt x="678" y="544"/>
                  </a:lnTo>
                  <a:lnTo>
                    <a:pt x="678" y="544"/>
                  </a:lnTo>
                  <a:lnTo>
                    <a:pt x="678" y="544"/>
                  </a:lnTo>
                  <a:lnTo>
                    <a:pt x="678" y="544"/>
                  </a:lnTo>
                  <a:lnTo>
                    <a:pt x="673" y="544"/>
                  </a:lnTo>
                  <a:lnTo>
                    <a:pt x="673" y="540"/>
                  </a:lnTo>
                  <a:lnTo>
                    <a:pt x="673" y="540"/>
                  </a:lnTo>
                  <a:lnTo>
                    <a:pt x="673" y="540"/>
                  </a:lnTo>
                  <a:lnTo>
                    <a:pt x="673" y="540"/>
                  </a:lnTo>
                  <a:lnTo>
                    <a:pt x="669" y="540"/>
                  </a:lnTo>
                  <a:lnTo>
                    <a:pt x="660" y="544"/>
                  </a:lnTo>
                  <a:lnTo>
                    <a:pt x="660" y="544"/>
                  </a:lnTo>
                  <a:lnTo>
                    <a:pt x="660" y="544"/>
                  </a:lnTo>
                  <a:lnTo>
                    <a:pt x="660" y="540"/>
                  </a:lnTo>
                  <a:lnTo>
                    <a:pt x="656" y="540"/>
                  </a:lnTo>
                  <a:lnTo>
                    <a:pt x="656" y="540"/>
                  </a:lnTo>
                  <a:lnTo>
                    <a:pt x="656" y="540"/>
                  </a:lnTo>
                  <a:lnTo>
                    <a:pt x="656" y="540"/>
                  </a:lnTo>
                  <a:lnTo>
                    <a:pt x="656" y="540"/>
                  </a:lnTo>
                  <a:lnTo>
                    <a:pt x="647" y="535"/>
                  </a:lnTo>
                  <a:lnTo>
                    <a:pt x="647" y="535"/>
                  </a:lnTo>
                  <a:lnTo>
                    <a:pt x="642" y="535"/>
                  </a:lnTo>
                  <a:lnTo>
                    <a:pt x="642" y="535"/>
                  </a:lnTo>
                  <a:lnTo>
                    <a:pt x="642" y="535"/>
                  </a:lnTo>
                  <a:lnTo>
                    <a:pt x="642" y="535"/>
                  </a:lnTo>
                  <a:lnTo>
                    <a:pt x="642" y="535"/>
                  </a:lnTo>
                  <a:lnTo>
                    <a:pt x="638" y="535"/>
                  </a:lnTo>
                  <a:lnTo>
                    <a:pt x="638" y="531"/>
                  </a:lnTo>
                  <a:lnTo>
                    <a:pt x="638" y="531"/>
                  </a:lnTo>
                  <a:lnTo>
                    <a:pt x="638" y="531"/>
                  </a:lnTo>
                  <a:lnTo>
                    <a:pt x="638" y="531"/>
                  </a:lnTo>
                  <a:lnTo>
                    <a:pt x="638" y="531"/>
                  </a:lnTo>
                  <a:lnTo>
                    <a:pt x="638" y="531"/>
                  </a:lnTo>
                  <a:lnTo>
                    <a:pt x="638" y="531"/>
                  </a:lnTo>
                  <a:lnTo>
                    <a:pt x="638" y="526"/>
                  </a:lnTo>
                  <a:lnTo>
                    <a:pt x="638" y="526"/>
                  </a:lnTo>
                  <a:lnTo>
                    <a:pt x="633" y="526"/>
                  </a:lnTo>
                  <a:lnTo>
                    <a:pt x="633" y="526"/>
                  </a:lnTo>
                  <a:lnTo>
                    <a:pt x="633" y="526"/>
                  </a:lnTo>
                  <a:lnTo>
                    <a:pt x="633" y="522"/>
                  </a:lnTo>
                  <a:lnTo>
                    <a:pt x="633" y="522"/>
                  </a:lnTo>
                  <a:lnTo>
                    <a:pt x="633" y="522"/>
                  </a:lnTo>
                  <a:lnTo>
                    <a:pt x="633" y="522"/>
                  </a:lnTo>
                  <a:lnTo>
                    <a:pt x="633" y="522"/>
                  </a:lnTo>
                  <a:lnTo>
                    <a:pt x="638" y="518"/>
                  </a:lnTo>
                  <a:lnTo>
                    <a:pt x="633" y="518"/>
                  </a:lnTo>
                  <a:lnTo>
                    <a:pt x="633" y="518"/>
                  </a:lnTo>
                  <a:lnTo>
                    <a:pt x="633" y="513"/>
                  </a:lnTo>
                  <a:lnTo>
                    <a:pt x="633" y="513"/>
                  </a:lnTo>
                  <a:lnTo>
                    <a:pt x="633" y="513"/>
                  </a:lnTo>
                  <a:lnTo>
                    <a:pt x="633" y="509"/>
                  </a:lnTo>
                  <a:lnTo>
                    <a:pt x="638" y="504"/>
                  </a:lnTo>
                  <a:lnTo>
                    <a:pt x="638" y="504"/>
                  </a:lnTo>
                  <a:lnTo>
                    <a:pt x="638" y="504"/>
                  </a:lnTo>
                  <a:lnTo>
                    <a:pt x="638" y="504"/>
                  </a:lnTo>
                  <a:lnTo>
                    <a:pt x="638" y="500"/>
                  </a:lnTo>
                  <a:lnTo>
                    <a:pt x="638" y="500"/>
                  </a:lnTo>
                  <a:lnTo>
                    <a:pt x="642" y="500"/>
                  </a:lnTo>
                  <a:lnTo>
                    <a:pt x="642" y="500"/>
                  </a:lnTo>
                  <a:lnTo>
                    <a:pt x="642" y="500"/>
                  </a:lnTo>
                  <a:lnTo>
                    <a:pt x="642" y="500"/>
                  </a:lnTo>
                  <a:lnTo>
                    <a:pt x="642" y="495"/>
                  </a:lnTo>
                  <a:lnTo>
                    <a:pt x="642" y="495"/>
                  </a:lnTo>
                  <a:lnTo>
                    <a:pt x="642" y="495"/>
                  </a:lnTo>
                  <a:lnTo>
                    <a:pt x="642" y="491"/>
                  </a:lnTo>
                  <a:lnTo>
                    <a:pt x="642" y="491"/>
                  </a:lnTo>
                  <a:lnTo>
                    <a:pt x="642" y="491"/>
                  </a:lnTo>
                  <a:lnTo>
                    <a:pt x="642" y="491"/>
                  </a:lnTo>
                  <a:lnTo>
                    <a:pt x="642" y="491"/>
                  </a:lnTo>
                  <a:lnTo>
                    <a:pt x="642" y="491"/>
                  </a:lnTo>
                  <a:lnTo>
                    <a:pt x="642" y="491"/>
                  </a:lnTo>
                  <a:lnTo>
                    <a:pt x="642" y="491"/>
                  </a:lnTo>
                  <a:lnTo>
                    <a:pt x="642" y="491"/>
                  </a:lnTo>
                  <a:lnTo>
                    <a:pt x="638" y="491"/>
                  </a:lnTo>
                  <a:lnTo>
                    <a:pt x="638" y="487"/>
                  </a:lnTo>
                  <a:lnTo>
                    <a:pt x="638" y="487"/>
                  </a:lnTo>
                  <a:lnTo>
                    <a:pt x="633" y="487"/>
                  </a:lnTo>
                  <a:lnTo>
                    <a:pt x="633" y="487"/>
                  </a:lnTo>
                  <a:lnTo>
                    <a:pt x="629" y="487"/>
                  </a:lnTo>
                  <a:lnTo>
                    <a:pt x="629" y="482"/>
                  </a:lnTo>
                  <a:lnTo>
                    <a:pt x="625" y="482"/>
                  </a:lnTo>
                  <a:lnTo>
                    <a:pt x="625" y="478"/>
                  </a:lnTo>
                  <a:lnTo>
                    <a:pt x="625" y="478"/>
                  </a:lnTo>
                  <a:lnTo>
                    <a:pt x="625" y="473"/>
                  </a:lnTo>
                  <a:lnTo>
                    <a:pt x="625" y="473"/>
                  </a:lnTo>
                  <a:lnTo>
                    <a:pt x="625" y="473"/>
                  </a:lnTo>
                  <a:lnTo>
                    <a:pt x="620" y="473"/>
                  </a:lnTo>
                  <a:lnTo>
                    <a:pt x="620" y="473"/>
                  </a:lnTo>
                  <a:lnTo>
                    <a:pt x="620" y="473"/>
                  </a:lnTo>
                  <a:lnTo>
                    <a:pt x="620" y="473"/>
                  </a:lnTo>
                  <a:lnTo>
                    <a:pt x="620" y="473"/>
                  </a:lnTo>
                  <a:lnTo>
                    <a:pt x="620" y="469"/>
                  </a:lnTo>
                  <a:lnTo>
                    <a:pt x="620" y="469"/>
                  </a:lnTo>
                  <a:lnTo>
                    <a:pt x="620" y="469"/>
                  </a:lnTo>
                  <a:lnTo>
                    <a:pt x="620" y="469"/>
                  </a:lnTo>
                  <a:lnTo>
                    <a:pt x="625" y="469"/>
                  </a:lnTo>
                  <a:lnTo>
                    <a:pt x="625" y="469"/>
                  </a:lnTo>
                  <a:lnTo>
                    <a:pt x="625" y="469"/>
                  </a:lnTo>
                  <a:lnTo>
                    <a:pt x="625" y="469"/>
                  </a:lnTo>
                  <a:lnTo>
                    <a:pt x="625" y="469"/>
                  </a:lnTo>
                  <a:lnTo>
                    <a:pt x="625" y="464"/>
                  </a:lnTo>
                  <a:lnTo>
                    <a:pt x="629" y="464"/>
                  </a:lnTo>
                  <a:lnTo>
                    <a:pt x="629" y="464"/>
                  </a:lnTo>
                  <a:lnTo>
                    <a:pt x="629" y="469"/>
                  </a:lnTo>
                  <a:lnTo>
                    <a:pt x="633" y="469"/>
                  </a:lnTo>
                  <a:lnTo>
                    <a:pt x="633" y="469"/>
                  </a:lnTo>
                  <a:lnTo>
                    <a:pt x="633" y="464"/>
                  </a:lnTo>
                  <a:lnTo>
                    <a:pt x="633" y="464"/>
                  </a:lnTo>
                  <a:lnTo>
                    <a:pt x="633" y="464"/>
                  </a:lnTo>
                  <a:lnTo>
                    <a:pt x="633" y="464"/>
                  </a:lnTo>
                  <a:lnTo>
                    <a:pt x="633" y="464"/>
                  </a:lnTo>
                  <a:lnTo>
                    <a:pt x="638" y="464"/>
                  </a:lnTo>
                  <a:lnTo>
                    <a:pt x="638" y="464"/>
                  </a:lnTo>
                  <a:lnTo>
                    <a:pt x="638" y="464"/>
                  </a:lnTo>
                  <a:lnTo>
                    <a:pt x="638" y="464"/>
                  </a:lnTo>
                  <a:lnTo>
                    <a:pt x="638" y="460"/>
                  </a:lnTo>
                  <a:lnTo>
                    <a:pt x="642" y="460"/>
                  </a:lnTo>
                  <a:lnTo>
                    <a:pt x="642" y="460"/>
                  </a:lnTo>
                  <a:lnTo>
                    <a:pt x="642" y="460"/>
                  </a:lnTo>
                  <a:lnTo>
                    <a:pt x="642" y="460"/>
                  </a:lnTo>
                  <a:lnTo>
                    <a:pt x="642" y="460"/>
                  </a:lnTo>
                  <a:lnTo>
                    <a:pt x="642" y="460"/>
                  </a:lnTo>
                  <a:lnTo>
                    <a:pt x="647" y="460"/>
                  </a:lnTo>
                  <a:lnTo>
                    <a:pt x="647" y="460"/>
                  </a:lnTo>
                  <a:lnTo>
                    <a:pt x="647" y="456"/>
                  </a:lnTo>
                  <a:lnTo>
                    <a:pt x="647" y="456"/>
                  </a:lnTo>
                  <a:lnTo>
                    <a:pt x="647" y="451"/>
                  </a:lnTo>
                  <a:lnTo>
                    <a:pt x="647" y="451"/>
                  </a:lnTo>
                  <a:lnTo>
                    <a:pt x="647" y="451"/>
                  </a:lnTo>
                  <a:lnTo>
                    <a:pt x="647" y="447"/>
                  </a:lnTo>
                  <a:lnTo>
                    <a:pt x="651" y="447"/>
                  </a:lnTo>
                  <a:lnTo>
                    <a:pt x="651" y="447"/>
                  </a:lnTo>
                  <a:lnTo>
                    <a:pt x="651" y="447"/>
                  </a:lnTo>
                  <a:lnTo>
                    <a:pt x="647" y="447"/>
                  </a:lnTo>
                  <a:lnTo>
                    <a:pt x="647" y="447"/>
                  </a:lnTo>
                  <a:lnTo>
                    <a:pt x="647" y="442"/>
                  </a:lnTo>
                  <a:lnTo>
                    <a:pt x="647" y="442"/>
                  </a:lnTo>
                  <a:lnTo>
                    <a:pt x="647" y="442"/>
                  </a:lnTo>
                  <a:lnTo>
                    <a:pt x="647" y="442"/>
                  </a:lnTo>
                  <a:lnTo>
                    <a:pt x="642" y="442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3"/>
                  </a:lnTo>
                  <a:lnTo>
                    <a:pt x="638" y="433"/>
                  </a:lnTo>
                  <a:lnTo>
                    <a:pt x="638" y="433"/>
                  </a:lnTo>
                  <a:lnTo>
                    <a:pt x="638" y="433"/>
                  </a:lnTo>
                  <a:lnTo>
                    <a:pt x="638" y="433"/>
                  </a:lnTo>
                  <a:lnTo>
                    <a:pt x="638" y="429"/>
                  </a:lnTo>
                  <a:lnTo>
                    <a:pt x="638" y="429"/>
                  </a:lnTo>
                  <a:lnTo>
                    <a:pt x="638" y="429"/>
                  </a:lnTo>
                  <a:lnTo>
                    <a:pt x="638" y="429"/>
                  </a:lnTo>
                  <a:lnTo>
                    <a:pt x="638" y="429"/>
                  </a:lnTo>
                  <a:lnTo>
                    <a:pt x="638" y="429"/>
                  </a:lnTo>
                  <a:lnTo>
                    <a:pt x="633" y="429"/>
                  </a:lnTo>
                  <a:lnTo>
                    <a:pt x="633" y="425"/>
                  </a:lnTo>
                  <a:lnTo>
                    <a:pt x="633" y="425"/>
                  </a:lnTo>
                  <a:lnTo>
                    <a:pt x="629" y="425"/>
                  </a:lnTo>
                  <a:lnTo>
                    <a:pt x="629" y="425"/>
                  </a:lnTo>
                  <a:lnTo>
                    <a:pt x="629" y="420"/>
                  </a:lnTo>
                  <a:lnTo>
                    <a:pt x="629" y="420"/>
                  </a:lnTo>
                  <a:lnTo>
                    <a:pt x="629" y="416"/>
                  </a:lnTo>
                  <a:lnTo>
                    <a:pt x="629" y="416"/>
                  </a:lnTo>
                  <a:lnTo>
                    <a:pt x="629" y="416"/>
                  </a:lnTo>
                  <a:lnTo>
                    <a:pt x="629" y="416"/>
                  </a:lnTo>
                  <a:lnTo>
                    <a:pt x="633" y="416"/>
                  </a:lnTo>
                  <a:lnTo>
                    <a:pt x="633" y="416"/>
                  </a:lnTo>
                  <a:lnTo>
                    <a:pt x="633" y="416"/>
                  </a:lnTo>
                  <a:lnTo>
                    <a:pt x="633" y="416"/>
                  </a:lnTo>
                  <a:lnTo>
                    <a:pt x="633" y="416"/>
                  </a:lnTo>
                  <a:lnTo>
                    <a:pt x="633" y="416"/>
                  </a:lnTo>
                  <a:lnTo>
                    <a:pt x="633" y="416"/>
                  </a:lnTo>
                  <a:lnTo>
                    <a:pt x="633" y="416"/>
                  </a:lnTo>
                  <a:lnTo>
                    <a:pt x="633" y="416"/>
                  </a:lnTo>
                  <a:lnTo>
                    <a:pt x="638" y="416"/>
                  </a:lnTo>
                  <a:lnTo>
                    <a:pt x="638" y="416"/>
                  </a:lnTo>
                  <a:lnTo>
                    <a:pt x="638" y="411"/>
                  </a:lnTo>
                  <a:lnTo>
                    <a:pt x="638" y="411"/>
                  </a:lnTo>
                  <a:lnTo>
                    <a:pt x="638" y="411"/>
                  </a:lnTo>
                  <a:lnTo>
                    <a:pt x="642" y="411"/>
                  </a:lnTo>
                  <a:lnTo>
                    <a:pt x="642" y="411"/>
                  </a:lnTo>
                  <a:lnTo>
                    <a:pt x="642" y="407"/>
                  </a:lnTo>
                  <a:lnTo>
                    <a:pt x="642" y="407"/>
                  </a:lnTo>
                  <a:lnTo>
                    <a:pt x="642" y="407"/>
                  </a:lnTo>
                  <a:lnTo>
                    <a:pt x="642" y="407"/>
                  </a:lnTo>
                  <a:lnTo>
                    <a:pt x="642" y="407"/>
                  </a:lnTo>
                  <a:lnTo>
                    <a:pt x="642" y="402"/>
                  </a:lnTo>
                  <a:lnTo>
                    <a:pt x="642" y="402"/>
                  </a:lnTo>
                  <a:lnTo>
                    <a:pt x="638" y="402"/>
                  </a:lnTo>
                  <a:lnTo>
                    <a:pt x="638" y="398"/>
                  </a:lnTo>
                  <a:lnTo>
                    <a:pt x="633" y="398"/>
                  </a:lnTo>
                  <a:lnTo>
                    <a:pt x="633" y="398"/>
                  </a:lnTo>
                  <a:lnTo>
                    <a:pt x="633" y="398"/>
                  </a:lnTo>
                  <a:lnTo>
                    <a:pt x="633" y="398"/>
                  </a:lnTo>
                  <a:lnTo>
                    <a:pt x="633" y="398"/>
                  </a:lnTo>
                  <a:lnTo>
                    <a:pt x="633" y="398"/>
                  </a:lnTo>
                  <a:lnTo>
                    <a:pt x="633" y="398"/>
                  </a:lnTo>
                  <a:lnTo>
                    <a:pt x="633" y="398"/>
                  </a:lnTo>
                  <a:lnTo>
                    <a:pt x="633" y="398"/>
                  </a:lnTo>
                  <a:lnTo>
                    <a:pt x="633" y="398"/>
                  </a:lnTo>
                  <a:lnTo>
                    <a:pt x="633" y="398"/>
                  </a:lnTo>
                  <a:lnTo>
                    <a:pt x="633" y="398"/>
                  </a:lnTo>
                  <a:lnTo>
                    <a:pt x="633" y="398"/>
                  </a:lnTo>
                  <a:lnTo>
                    <a:pt x="633" y="394"/>
                  </a:lnTo>
                  <a:lnTo>
                    <a:pt x="633" y="394"/>
                  </a:lnTo>
                  <a:lnTo>
                    <a:pt x="633" y="394"/>
                  </a:lnTo>
                  <a:lnTo>
                    <a:pt x="633" y="394"/>
                  </a:lnTo>
                  <a:lnTo>
                    <a:pt x="633" y="394"/>
                  </a:lnTo>
                  <a:lnTo>
                    <a:pt x="629" y="394"/>
                  </a:lnTo>
                  <a:lnTo>
                    <a:pt x="629" y="389"/>
                  </a:lnTo>
                  <a:lnTo>
                    <a:pt x="629" y="389"/>
                  </a:lnTo>
                  <a:lnTo>
                    <a:pt x="629" y="385"/>
                  </a:lnTo>
                  <a:lnTo>
                    <a:pt x="633" y="380"/>
                  </a:lnTo>
                  <a:lnTo>
                    <a:pt x="629" y="380"/>
                  </a:lnTo>
                  <a:lnTo>
                    <a:pt x="629" y="376"/>
                  </a:lnTo>
                  <a:lnTo>
                    <a:pt x="629" y="376"/>
                  </a:lnTo>
                  <a:lnTo>
                    <a:pt x="629" y="376"/>
                  </a:lnTo>
                  <a:lnTo>
                    <a:pt x="629" y="376"/>
                  </a:lnTo>
                  <a:lnTo>
                    <a:pt x="629" y="371"/>
                  </a:lnTo>
                  <a:lnTo>
                    <a:pt x="629" y="371"/>
                  </a:lnTo>
                  <a:lnTo>
                    <a:pt x="629" y="371"/>
                  </a:lnTo>
                  <a:lnTo>
                    <a:pt x="629" y="371"/>
                  </a:lnTo>
                  <a:lnTo>
                    <a:pt x="629" y="371"/>
                  </a:lnTo>
                  <a:lnTo>
                    <a:pt x="629" y="371"/>
                  </a:lnTo>
                  <a:lnTo>
                    <a:pt x="620" y="367"/>
                  </a:lnTo>
                  <a:lnTo>
                    <a:pt x="616" y="367"/>
                  </a:lnTo>
                  <a:lnTo>
                    <a:pt x="616" y="367"/>
                  </a:lnTo>
                  <a:lnTo>
                    <a:pt x="611" y="371"/>
                  </a:lnTo>
                  <a:lnTo>
                    <a:pt x="607" y="371"/>
                  </a:lnTo>
                  <a:lnTo>
                    <a:pt x="607" y="371"/>
                  </a:lnTo>
                  <a:lnTo>
                    <a:pt x="602" y="371"/>
                  </a:lnTo>
                  <a:lnTo>
                    <a:pt x="602" y="376"/>
                  </a:lnTo>
                  <a:lnTo>
                    <a:pt x="602" y="376"/>
                  </a:lnTo>
                  <a:lnTo>
                    <a:pt x="598" y="376"/>
                  </a:lnTo>
                  <a:lnTo>
                    <a:pt x="598" y="380"/>
                  </a:lnTo>
                  <a:lnTo>
                    <a:pt x="598" y="380"/>
                  </a:lnTo>
                  <a:lnTo>
                    <a:pt x="598" y="380"/>
                  </a:lnTo>
                  <a:lnTo>
                    <a:pt x="598" y="380"/>
                  </a:lnTo>
                  <a:lnTo>
                    <a:pt x="602" y="380"/>
                  </a:lnTo>
                  <a:lnTo>
                    <a:pt x="602" y="380"/>
                  </a:lnTo>
                  <a:lnTo>
                    <a:pt x="602" y="385"/>
                  </a:lnTo>
                  <a:lnTo>
                    <a:pt x="602" y="380"/>
                  </a:lnTo>
                  <a:lnTo>
                    <a:pt x="602" y="380"/>
                  </a:lnTo>
                  <a:lnTo>
                    <a:pt x="602" y="385"/>
                  </a:lnTo>
                  <a:lnTo>
                    <a:pt x="602" y="385"/>
                  </a:lnTo>
                  <a:lnTo>
                    <a:pt x="598" y="389"/>
                  </a:lnTo>
                  <a:lnTo>
                    <a:pt x="594" y="389"/>
                  </a:lnTo>
                  <a:lnTo>
                    <a:pt x="594" y="394"/>
                  </a:lnTo>
                  <a:lnTo>
                    <a:pt x="594" y="389"/>
                  </a:lnTo>
                  <a:lnTo>
                    <a:pt x="589" y="389"/>
                  </a:lnTo>
                  <a:lnTo>
                    <a:pt x="589" y="394"/>
                  </a:lnTo>
                  <a:lnTo>
                    <a:pt x="585" y="394"/>
                  </a:lnTo>
                  <a:lnTo>
                    <a:pt x="585" y="389"/>
                  </a:lnTo>
                  <a:lnTo>
                    <a:pt x="589" y="389"/>
                  </a:lnTo>
                  <a:lnTo>
                    <a:pt x="589" y="389"/>
                  </a:lnTo>
                  <a:lnTo>
                    <a:pt x="585" y="389"/>
                  </a:lnTo>
                  <a:lnTo>
                    <a:pt x="585" y="389"/>
                  </a:lnTo>
                  <a:lnTo>
                    <a:pt x="585" y="385"/>
                  </a:lnTo>
                  <a:lnTo>
                    <a:pt x="589" y="385"/>
                  </a:lnTo>
                  <a:lnTo>
                    <a:pt x="589" y="385"/>
                  </a:lnTo>
                  <a:lnTo>
                    <a:pt x="589" y="385"/>
                  </a:lnTo>
                  <a:lnTo>
                    <a:pt x="589" y="385"/>
                  </a:lnTo>
                  <a:lnTo>
                    <a:pt x="589" y="385"/>
                  </a:lnTo>
                  <a:lnTo>
                    <a:pt x="589" y="385"/>
                  </a:lnTo>
                  <a:lnTo>
                    <a:pt x="594" y="385"/>
                  </a:lnTo>
                  <a:lnTo>
                    <a:pt x="594" y="385"/>
                  </a:lnTo>
                  <a:lnTo>
                    <a:pt x="594" y="385"/>
                  </a:lnTo>
                  <a:lnTo>
                    <a:pt x="594" y="385"/>
                  </a:lnTo>
                  <a:lnTo>
                    <a:pt x="594" y="385"/>
                  </a:lnTo>
                  <a:lnTo>
                    <a:pt x="594" y="380"/>
                  </a:lnTo>
                  <a:lnTo>
                    <a:pt x="594" y="380"/>
                  </a:lnTo>
                  <a:lnTo>
                    <a:pt x="594" y="380"/>
                  </a:lnTo>
                  <a:lnTo>
                    <a:pt x="594" y="376"/>
                  </a:lnTo>
                  <a:lnTo>
                    <a:pt x="594" y="376"/>
                  </a:lnTo>
                  <a:lnTo>
                    <a:pt x="594" y="376"/>
                  </a:lnTo>
                  <a:lnTo>
                    <a:pt x="594" y="371"/>
                  </a:lnTo>
                  <a:lnTo>
                    <a:pt x="594" y="371"/>
                  </a:lnTo>
                  <a:lnTo>
                    <a:pt x="589" y="371"/>
                  </a:lnTo>
                  <a:lnTo>
                    <a:pt x="589" y="371"/>
                  </a:lnTo>
                  <a:lnTo>
                    <a:pt x="594" y="371"/>
                  </a:lnTo>
                  <a:lnTo>
                    <a:pt x="594" y="371"/>
                  </a:lnTo>
                  <a:lnTo>
                    <a:pt x="594" y="367"/>
                  </a:lnTo>
                  <a:lnTo>
                    <a:pt x="594" y="367"/>
                  </a:lnTo>
                  <a:lnTo>
                    <a:pt x="594" y="367"/>
                  </a:lnTo>
                  <a:lnTo>
                    <a:pt x="594" y="367"/>
                  </a:lnTo>
                  <a:lnTo>
                    <a:pt x="589" y="367"/>
                  </a:lnTo>
                  <a:lnTo>
                    <a:pt x="589" y="367"/>
                  </a:lnTo>
                  <a:lnTo>
                    <a:pt x="594" y="367"/>
                  </a:lnTo>
                  <a:lnTo>
                    <a:pt x="594" y="367"/>
                  </a:lnTo>
                  <a:lnTo>
                    <a:pt x="594" y="363"/>
                  </a:lnTo>
                  <a:lnTo>
                    <a:pt x="598" y="363"/>
                  </a:lnTo>
                  <a:lnTo>
                    <a:pt x="594" y="358"/>
                  </a:lnTo>
                  <a:lnTo>
                    <a:pt x="594" y="358"/>
                  </a:lnTo>
                  <a:lnTo>
                    <a:pt x="594" y="358"/>
                  </a:lnTo>
                  <a:lnTo>
                    <a:pt x="602" y="349"/>
                  </a:lnTo>
                  <a:lnTo>
                    <a:pt x="607" y="349"/>
                  </a:lnTo>
                  <a:lnTo>
                    <a:pt x="607" y="349"/>
                  </a:lnTo>
                  <a:lnTo>
                    <a:pt x="607" y="345"/>
                  </a:lnTo>
                  <a:lnTo>
                    <a:pt x="611" y="345"/>
                  </a:lnTo>
                  <a:lnTo>
                    <a:pt x="611" y="345"/>
                  </a:lnTo>
                  <a:lnTo>
                    <a:pt x="611" y="345"/>
                  </a:lnTo>
                  <a:lnTo>
                    <a:pt x="611" y="345"/>
                  </a:lnTo>
                  <a:lnTo>
                    <a:pt x="611" y="340"/>
                  </a:lnTo>
                  <a:lnTo>
                    <a:pt x="611" y="340"/>
                  </a:lnTo>
                  <a:lnTo>
                    <a:pt x="611" y="340"/>
                  </a:lnTo>
                  <a:lnTo>
                    <a:pt x="611" y="340"/>
                  </a:lnTo>
                  <a:lnTo>
                    <a:pt x="611" y="340"/>
                  </a:lnTo>
                  <a:lnTo>
                    <a:pt x="611" y="340"/>
                  </a:lnTo>
                  <a:lnTo>
                    <a:pt x="611" y="336"/>
                  </a:lnTo>
                  <a:lnTo>
                    <a:pt x="611" y="336"/>
                  </a:lnTo>
                  <a:lnTo>
                    <a:pt x="611" y="336"/>
                  </a:lnTo>
                  <a:lnTo>
                    <a:pt x="611" y="336"/>
                  </a:lnTo>
                  <a:lnTo>
                    <a:pt x="611" y="336"/>
                  </a:lnTo>
                  <a:lnTo>
                    <a:pt x="611" y="332"/>
                  </a:lnTo>
                  <a:lnTo>
                    <a:pt x="611" y="332"/>
                  </a:lnTo>
                  <a:lnTo>
                    <a:pt x="611" y="332"/>
                  </a:lnTo>
                  <a:lnTo>
                    <a:pt x="616" y="327"/>
                  </a:lnTo>
                  <a:lnTo>
                    <a:pt x="620" y="327"/>
                  </a:lnTo>
                  <a:lnTo>
                    <a:pt x="625" y="323"/>
                  </a:lnTo>
                  <a:lnTo>
                    <a:pt x="625" y="323"/>
                  </a:lnTo>
                  <a:lnTo>
                    <a:pt x="625" y="323"/>
                  </a:lnTo>
                  <a:lnTo>
                    <a:pt x="625" y="318"/>
                  </a:lnTo>
                  <a:lnTo>
                    <a:pt x="625" y="318"/>
                  </a:lnTo>
                  <a:lnTo>
                    <a:pt x="625" y="318"/>
                  </a:lnTo>
                  <a:lnTo>
                    <a:pt x="625" y="318"/>
                  </a:lnTo>
                  <a:lnTo>
                    <a:pt x="625" y="318"/>
                  </a:lnTo>
                  <a:lnTo>
                    <a:pt x="629" y="318"/>
                  </a:lnTo>
                  <a:lnTo>
                    <a:pt x="629" y="318"/>
                  </a:lnTo>
                  <a:lnTo>
                    <a:pt x="629" y="318"/>
                  </a:lnTo>
                  <a:lnTo>
                    <a:pt x="633" y="314"/>
                  </a:lnTo>
                  <a:lnTo>
                    <a:pt x="633" y="314"/>
                  </a:lnTo>
                  <a:lnTo>
                    <a:pt x="633" y="309"/>
                  </a:lnTo>
                  <a:lnTo>
                    <a:pt x="633" y="309"/>
                  </a:lnTo>
                  <a:lnTo>
                    <a:pt x="638" y="305"/>
                  </a:lnTo>
                  <a:lnTo>
                    <a:pt x="638" y="305"/>
                  </a:lnTo>
                  <a:lnTo>
                    <a:pt x="638" y="305"/>
                  </a:lnTo>
                  <a:lnTo>
                    <a:pt x="638" y="301"/>
                  </a:lnTo>
                  <a:lnTo>
                    <a:pt x="642" y="301"/>
                  </a:lnTo>
                  <a:lnTo>
                    <a:pt x="642" y="301"/>
                  </a:lnTo>
                  <a:lnTo>
                    <a:pt x="642" y="301"/>
                  </a:lnTo>
                  <a:lnTo>
                    <a:pt x="642" y="301"/>
                  </a:lnTo>
                  <a:lnTo>
                    <a:pt x="642" y="301"/>
                  </a:lnTo>
                  <a:lnTo>
                    <a:pt x="642" y="301"/>
                  </a:lnTo>
                  <a:lnTo>
                    <a:pt x="642" y="301"/>
                  </a:lnTo>
                  <a:lnTo>
                    <a:pt x="642" y="301"/>
                  </a:lnTo>
                  <a:lnTo>
                    <a:pt x="642" y="296"/>
                  </a:lnTo>
                  <a:lnTo>
                    <a:pt x="642" y="296"/>
                  </a:lnTo>
                  <a:lnTo>
                    <a:pt x="642" y="296"/>
                  </a:lnTo>
                  <a:lnTo>
                    <a:pt x="633" y="301"/>
                  </a:lnTo>
                  <a:lnTo>
                    <a:pt x="633" y="296"/>
                  </a:lnTo>
                  <a:lnTo>
                    <a:pt x="633" y="296"/>
                  </a:lnTo>
                  <a:lnTo>
                    <a:pt x="633" y="296"/>
                  </a:lnTo>
                  <a:lnTo>
                    <a:pt x="638" y="296"/>
                  </a:lnTo>
                  <a:lnTo>
                    <a:pt x="638" y="292"/>
                  </a:lnTo>
                  <a:lnTo>
                    <a:pt x="638" y="292"/>
                  </a:lnTo>
                  <a:lnTo>
                    <a:pt x="638" y="292"/>
                  </a:lnTo>
                  <a:lnTo>
                    <a:pt x="638" y="292"/>
                  </a:lnTo>
                  <a:lnTo>
                    <a:pt x="642" y="292"/>
                  </a:lnTo>
                  <a:lnTo>
                    <a:pt x="642" y="292"/>
                  </a:lnTo>
                  <a:lnTo>
                    <a:pt x="638" y="287"/>
                  </a:lnTo>
                  <a:lnTo>
                    <a:pt x="638" y="287"/>
                  </a:lnTo>
                  <a:lnTo>
                    <a:pt x="642" y="287"/>
                  </a:lnTo>
                  <a:lnTo>
                    <a:pt x="642" y="287"/>
                  </a:lnTo>
                  <a:lnTo>
                    <a:pt x="642" y="287"/>
                  </a:lnTo>
                  <a:lnTo>
                    <a:pt x="642" y="287"/>
                  </a:lnTo>
                  <a:lnTo>
                    <a:pt x="642" y="287"/>
                  </a:lnTo>
                  <a:lnTo>
                    <a:pt x="642" y="287"/>
                  </a:lnTo>
                  <a:lnTo>
                    <a:pt x="647" y="287"/>
                  </a:lnTo>
                  <a:lnTo>
                    <a:pt x="647" y="287"/>
                  </a:lnTo>
                  <a:lnTo>
                    <a:pt x="647" y="287"/>
                  </a:lnTo>
                  <a:lnTo>
                    <a:pt x="647" y="287"/>
                  </a:lnTo>
                  <a:lnTo>
                    <a:pt x="651" y="287"/>
                  </a:lnTo>
                  <a:lnTo>
                    <a:pt x="651" y="287"/>
                  </a:lnTo>
                  <a:lnTo>
                    <a:pt x="651" y="292"/>
                  </a:lnTo>
                  <a:lnTo>
                    <a:pt x="651" y="292"/>
                  </a:lnTo>
                  <a:lnTo>
                    <a:pt x="651" y="292"/>
                  </a:lnTo>
                  <a:lnTo>
                    <a:pt x="651" y="292"/>
                  </a:lnTo>
                  <a:lnTo>
                    <a:pt x="651" y="292"/>
                  </a:lnTo>
                  <a:lnTo>
                    <a:pt x="651" y="292"/>
                  </a:lnTo>
                  <a:lnTo>
                    <a:pt x="651" y="292"/>
                  </a:lnTo>
                  <a:lnTo>
                    <a:pt x="656" y="292"/>
                  </a:lnTo>
                  <a:lnTo>
                    <a:pt x="656" y="292"/>
                  </a:lnTo>
                  <a:lnTo>
                    <a:pt x="656" y="292"/>
                  </a:lnTo>
                  <a:lnTo>
                    <a:pt x="656" y="292"/>
                  </a:lnTo>
                  <a:lnTo>
                    <a:pt x="660" y="292"/>
                  </a:lnTo>
                  <a:lnTo>
                    <a:pt x="660" y="292"/>
                  </a:lnTo>
                  <a:lnTo>
                    <a:pt x="660" y="292"/>
                  </a:lnTo>
                  <a:lnTo>
                    <a:pt x="664" y="292"/>
                  </a:lnTo>
                  <a:lnTo>
                    <a:pt x="664" y="292"/>
                  </a:lnTo>
                  <a:lnTo>
                    <a:pt x="664" y="292"/>
                  </a:lnTo>
                  <a:lnTo>
                    <a:pt x="664" y="292"/>
                  </a:lnTo>
                  <a:lnTo>
                    <a:pt x="664" y="292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4" y="287"/>
                  </a:lnTo>
                  <a:lnTo>
                    <a:pt x="669" y="287"/>
                  </a:lnTo>
                  <a:lnTo>
                    <a:pt x="669" y="287"/>
                  </a:lnTo>
                  <a:lnTo>
                    <a:pt x="669" y="287"/>
                  </a:lnTo>
                  <a:lnTo>
                    <a:pt x="669" y="283"/>
                  </a:lnTo>
                  <a:lnTo>
                    <a:pt x="669" y="283"/>
                  </a:lnTo>
                  <a:lnTo>
                    <a:pt x="664" y="283"/>
                  </a:lnTo>
                  <a:lnTo>
                    <a:pt x="664" y="283"/>
                  </a:lnTo>
                  <a:lnTo>
                    <a:pt x="669" y="283"/>
                  </a:lnTo>
                  <a:lnTo>
                    <a:pt x="669" y="283"/>
                  </a:lnTo>
                  <a:lnTo>
                    <a:pt x="669" y="283"/>
                  </a:lnTo>
                  <a:lnTo>
                    <a:pt x="673" y="283"/>
                  </a:lnTo>
                  <a:lnTo>
                    <a:pt x="673" y="283"/>
                  </a:lnTo>
                  <a:lnTo>
                    <a:pt x="673" y="278"/>
                  </a:lnTo>
                  <a:lnTo>
                    <a:pt x="673" y="278"/>
                  </a:lnTo>
                  <a:lnTo>
                    <a:pt x="673" y="278"/>
                  </a:lnTo>
                  <a:lnTo>
                    <a:pt x="673" y="278"/>
                  </a:lnTo>
                  <a:lnTo>
                    <a:pt x="673" y="278"/>
                  </a:lnTo>
                  <a:lnTo>
                    <a:pt x="673" y="278"/>
                  </a:lnTo>
                  <a:lnTo>
                    <a:pt x="669" y="274"/>
                  </a:lnTo>
                  <a:lnTo>
                    <a:pt x="669" y="274"/>
                  </a:lnTo>
                  <a:lnTo>
                    <a:pt x="669" y="274"/>
                  </a:lnTo>
                  <a:lnTo>
                    <a:pt x="669" y="274"/>
                  </a:lnTo>
                  <a:lnTo>
                    <a:pt x="669" y="274"/>
                  </a:lnTo>
                  <a:lnTo>
                    <a:pt x="669" y="270"/>
                  </a:lnTo>
                  <a:lnTo>
                    <a:pt x="669" y="270"/>
                  </a:lnTo>
                  <a:lnTo>
                    <a:pt x="669" y="270"/>
                  </a:lnTo>
                  <a:lnTo>
                    <a:pt x="669" y="270"/>
                  </a:lnTo>
                  <a:lnTo>
                    <a:pt x="669" y="270"/>
                  </a:lnTo>
                  <a:lnTo>
                    <a:pt x="669" y="265"/>
                  </a:lnTo>
                  <a:lnTo>
                    <a:pt x="669" y="265"/>
                  </a:lnTo>
                  <a:lnTo>
                    <a:pt x="669" y="261"/>
                  </a:lnTo>
                  <a:lnTo>
                    <a:pt x="669" y="261"/>
                  </a:lnTo>
                  <a:lnTo>
                    <a:pt x="669" y="261"/>
                  </a:lnTo>
                  <a:lnTo>
                    <a:pt x="669" y="261"/>
                  </a:lnTo>
                  <a:lnTo>
                    <a:pt x="669" y="261"/>
                  </a:lnTo>
                  <a:lnTo>
                    <a:pt x="669" y="256"/>
                  </a:lnTo>
                  <a:lnTo>
                    <a:pt x="669" y="256"/>
                  </a:lnTo>
                  <a:lnTo>
                    <a:pt x="669" y="256"/>
                  </a:lnTo>
                  <a:lnTo>
                    <a:pt x="669" y="256"/>
                  </a:lnTo>
                  <a:lnTo>
                    <a:pt x="669" y="256"/>
                  </a:lnTo>
                  <a:lnTo>
                    <a:pt x="669" y="256"/>
                  </a:lnTo>
                  <a:lnTo>
                    <a:pt x="673" y="256"/>
                  </a:lnTo>
                  <a:lnTo>
                    <a:pt x="673" y="256"/>
                  </a:lnTo>
                  <a:lnTo>
                    <a:pt x="673" y="256"/>
                  </a:lnTo>
                  <a:lnTo>
                    <a:pt x="673" y="252"/>
                  </a:lnTo>
                  <a:lnTo>
                    <a:pt x="673" y="252"/>
                  </a:lnTo>
                  <a:lnTo>
                    <a:pt x="673" y="252"/>
                  </a:lnTo>
                  <a:lnTo>
                    <a:pt x="673" y="252"/>
                  </a:lnTo>
                  <a:lnTo>
                    <a:pt x="673" y="247"/>
                  </a:lnTo>
                  <a:lnTo>
                    <a:pt x="673" y="243"/>
                  </a:lnTo>
                  <a:lnTo>
                    <a:pt x="673" y="239"/>
                  </a:lnTo>
                  <a:lnTo>
                    <a:pt x="673" y="239"/>
                  </a:lnTo>
                  <a:lnTo>
                    <a:pt x="673" y="239"/>
                  </a:lnTo>
                  <a:lnTo>
                    <a:pt x="673" y="239"/>
                  </a:lnTo>
                  <a:lnTo>
                    <a:pt x="673" y="239"/>
                  </a:lnTo>
                  <a:lnTo>
                    <a:pt x="673" y="234"/>
                  </a:lnTo>
                  <a:lnTo>
                    <a:pt x="673" y="234"/>
                  </a:lnTo>
                  <a:lnTo>
                    <a:pt x="673" y="234"/>
                  </a:lnTo>
                  <a:lnTo>
                    <a:pt x="678" y="230"/>
                  </a:lnTo>
                  <a:lnTo>
                    <a:pt x="678" y="230"/>
                  </a:lnTo>
                  <a:lnTo>
                    <a:pt x="678" y="225"/>
                  </a:lnTo>
                  <a:lnTo>
                    <a:pt x="678" y="225"/>
                  </a:lnTo>
                  <a:lnTo>
                    <a:pt x="678" y="225"/>
                  </a:lnTo>
                  <a:lnTo>
                    <a:pt x="678" y="221"/>
                  </a:lnTo>
                  <a:lnTo>
                    <a:pt x="678" y="221"/>
                  </a:lnTo>
                  <a:lnTo>
                    <a:pt x="682" y="221"/>
                  </a:lnTo>
                  <a:lnTo>
                    <a:pt x="682" y="221"/>
                  </a:lnTo>
                  <a:lnTo>
                    <a:pt x="682" y="221"/>
                  </a:lnTo>
                  <a:lnTo>
                    <a:pt x="678" y="216"/>
                  </a:lnTo>
                  <a:lnTo>
                    <a:pt x="678" y="216"/>
                  </a:lnTo>
                  <a:lnTo>
                    <a:pt x="678" y="216"/>
                  </a:lnTo>
                  <a:lnTo>
                    <a:pt x="682" y="212"/>
                  </a:lnTo>
                  <a:lnTo>
                    <a:pt x="682" y="212"/>
                  </a:lnTo>
                  <a:lnTo>
                    <a:pt x="682" y="212"/>
                  </a:lnTo>
                  <a:lnTo>
                    <a:pt x="682" y="212"/>
                  </a:lnTo>
                  <a:lnTo>
                    <a:pt x="682" y="212"/>
                  </a:lnTo>
                  <a:lnTo>
                    <a:pt x="682" y="208"/>
                  </a:lnTo>
                  <a:lnTo>
                    <a:pt x="682" y="208"/>
                  </a:lnTo>
                  <a:lnTo>
                    <a:pt x="682" y="208"/>
                  </a:lnTo>
                  <a:lnTo>
                    <a:pt x="682" y="208"/>
                  </a:lnTo>
                  <a:lnTo>
                    <a:pt x="682" y="208"/>
                  </a:lnTo>
                  <a:lnTo>
                    <a:pt x="682" y="203"/>
                  </a:lnTo>
                  <a:lnTo>
                    <a:pt x="682" y="203"/>
                  </a:lnTo>
                  <a:lnTo>
                    <a:pt x="682" y="199"/>
                  </a:lnTo>
                  <a:lnTo>
                    <a:pt x="687" y="194"/>
                  </a:lnTo>
                  <a:lnTo>
                    <a:pt x="687" y="194"/>
                  </a:lnTo>
                  <a:lnTo>
                    <a:pt x="687" y="194"/>
                  </a:lnTo>
                  <a:lnTo>
                    <a:pt x="687" y="194"/>
                  </a:lnTo>
                  <a:lnTo>
                    <a:pt x="691" y="194"/>
                  </a:lnTo>
                  <a:lnTo>
                    <a:pt x="691" y="194"/>
                  </a:lnTo>
                  <a:lnTo>
                    <a:pt x="691" y="190"/>
                  </a:lnTo>
                  <a:lnTo>
                    <a:pt x="691" y="190"/>
                  </a:lnTo>
                  <a:lnTo>
                    <a:pt x="691" y="190"/>
                  </a:lnTo>
                  <a:lnTo>
                    <a:pt x="691" y="190"/>
                  </a:lnTo>
                  <a:lnTo>
                    <a:pt x="691" y="190"/>
                  </a:lnTo>
                  <a:lnTo>
                    <a:pt x="691" y="190"/>
                  </a:lnTo>
                  <a:lnTo>
                    <a:pt x="695" y="190"/>
                  </a:lnTo>
                  <a:lnTo>
                    <a:pt x="695" y="190"/>
                  </a:lnTo>
                  <a:lnTo>
                    <a:pt x="695" y="190"/>
                  </a:lnTo>
                  <a:lnTo>
                    <a:pt x="695" y="186"/>
                  </a:lnTo>
                  <a:lnTo>
                    <a:pt x="695" y="186"/>
                  </a:lnTo>
                  <a:lnTo>
                    <a:pt x="695" y="186"/>
                  </a:lnTo>
                  <a:lnTo>
                    <a:pt x="695" y="186"/>
                  </a:lnTo>
                  <a:lnTo>
                    <a:pt x="695" y="186"/>
                  </a:lnTo>
                  <a:lnTo>
                    <a:pt x="695" y="186"/>
                  </a:lnTo>
                  <a:lnTo>
                    <a:pt x="700" y="186"/>
                  </a:lnTo>
                  <a:lnTo>
                    <a:pt x="700" y="186"/>
                  </a:lnTo>
                  <a:lnTo>
                    <a:pt x="700" y="181"/>
                  </a:lnTo>
                  <a:lnTo>
                    <a:pt x="700" y="177"/>
                  </a:lnTo>
                  <a:lnTo>
                    <a:pt x="704" y="172"/>
                  </a:lnTo>
                  <a:lnTo>
                    <a:pt x="704" y="172"/>
                  </a:lnTo>
                  <a:lnTo>
                    <a:pt x="704" y="172"/>
                  </a:lnTo>
                  <a:lnTo>
                    <a:pt x="704" y="172"/>
                  </a:lnTo>
                  <a:lnTo>
                    <a:pt x="700" y="172"/>
                  </a:lnTo>
                  <a:close/>
                  <a:moveTo>
                    <a:pt x="377" y="664"/>
                  </a:moveTo>
                  <a:lnTo>
                    <a:pt x="377" y="664"/>
                  </a:lnTo>
                  <a:lnTo>
                    <a:pt x="377" y="664"/>
                  </a:lnTo>
                  <a:lnTo>
                    <a:pt x="377" y="664"/>
                  </a:lnTo>
                  <a:lnTo>
                    <a:pt x="377" y="664"/>
                  </a:lnTo>
                  <a:lnTo>
                    <a:pt x="372" y="664"/>
                  </a:lnTo>
                  <a:lnTo>
                    <a:pt x="377" y="659"/>
                  </a:lnTo>
                  <a:lnTo>
                    <a:pt x="377" y="659"/>
                  </a:lnTo>
                  <a:lnTo>
                    <a:pt x="377" y="659"/>
                  </a:lnTo>
                  <a:lnTo>
                    <a:pt x="377" y="664"/>
                  </a:lnTo>
                  <a:lnTo>
                    <a:pt x="377" y="664"/>
                  </a:lnTo>
                  <a:lnTo>
                    <a:pt x="377" y="664"/>
                  </a:lnTo>
                  <a:close/>
                </a:path>
              </a:pathLst>
            </a:custGeom>
            <a:solidFill>
              <a:srgbClr val="565A5C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34" name="Freeform 66"/>
            <p:cNvSpPr>
              <a:spLocks noEditPoints="1"/>
            </p:cNvSpPr>
            <p:nvPr/>
          </p:nvSpPr>
          <p:spPr bwMode="auto">
            <a:xfrm>
              <a:off x="4216400" y="1139826"/>
              <a:ext cx="914400" cy="2052638"/>
            </a:xfrm>
            <a:custGeom>
              <a:avLst/>
              <a:gdLst>
                <a:gd name="T0" fmla="*/ 93 w 576"/>
                <a:gd name="T1" fmla="*/ 1266 h 1293"/>
                <a:gd name="T2" fmla="*/ 89 w 576"/>
                <a:gd name="T3" fmla="*/ 1253 h 1293"/>
                <a:gd name="T4" fmla="*/ 115 w 576"/>
                <a:gd name="T5" fmla="*/ 1257 h 1293"/>
                <a:gd name="T6" fmla="*/ 98 w 576"/>
                <a:gd name="T7" fmla="*/ 1271 h 1293"/>
                <a:gd name="T8" fmla="*/ 98 w 576"/>
                <a:gd name="T9" fmla="*/ 1240 h 1293"/>
                <a:gd name="T10" fmla="*/ 315 w 576"/>
                <a:gd name="T11" fmla="*/ 1227 h 1293"/>
                <a:gd name="T12" fmla="*/ 62 w 576"/>
                <a:gd name="T13" fmla="*/ 1222 h 1293"/>
                <a:gd name="T14" fmla="*/ 45 w 576"/>
                <a:gd name="T15" fmla="*/ 1222 h 1293"/>
                <a:gd name="T16" fmla="*/ 31 w 576"/>
                <a:gd name="T17" fmla="*/ 1182 h 1293"/>
                <a:gd name="T18" fmla="*/ 40 w 576"/>
                <a:gd name="T19" fmla="*/ 1147 h 1293"/>
                <a:gd name="T20" fmla="*/ 31 w 576"/>
                <a:gd name="T21" fmla="*/ 921 h 1293"/>
                <a:gd name="T22" fmla="*/ 76 w 576"/>
                <a:gd name="T23" fmla="*/ 908 h 1293"/>
                <a:gd name="T24" fmla="*/ 80 w 576"/>
                <a:gd name="T25" fmla="*/ 903 h 1293"/>
                <a:gd name="T26" fmla="*/ 36 w 576"/>
                <a:gd name="T27" fmla="*/ 908 h 1293"/>
                <a:gd name="T28" fmla="*/ 115 w 576"/>
                <a:gd name="T29" fmla="*/ 850 h 1293"/>
                <a:gd name="T30" fmla="*/ 217 w 576"/>
                <a:gd name="T31" fmla="*/ 704 h 1293"/>
                <a:gd name="T32" fmla="*/ 505 w 576"/>
                <a:gd name="T33" fmla="*/ 872 h 1293"/>
                <a:gd name="T34" fmla="*/ 492 w 576"/>
                <a:gd name="T35" fmla="*/ 753 h 1293"/>
                <a:gd name="T36" fmla="*/ 478 w 576"/>
                <a:gd name="T37" fmla="*/ 638 h 1293"/>
                <a:gd name="T38" fmla="*/ 465 w 576"/>
                <a:gd name="T39" fmla="*/ 412 h 1293"/>
                <a:gd name="T40" fmla="*/ 434 w 576"/>
                <a:gd name="T41" fmla="*/ 133 h 1293"/>
                <a:gd name="T42" fmla="*/ 306 w 576"/>
                <a:gd name="T43" fmla="*/ 27 h 1293"/>
                <a:gd name="T44" fmla="*/ 270 w 576"/>
                <a:gd name="T45" fmla="*/ 151 h 1293"/>
                <a:gd name="T46" fmla="*/ 217 w 576"/>
                <a:gd name="T47" fmla="*/ 213 h 1293"/>
                <a:gd name="T48" fmla="*/ 5 w 576"/>
                <a:gd name="T49" fmla="*/ 146 h 1293"/>
                <a:gd name="T50" fmla="*/ 93 w 576"/>
                <a:gd name="T51" fmla="*/ 239 h 1293"/>
                <a:gd name="T52" fmla="*/ 160 w 576"/>
                <a:gd name="T53" fmla="*/ 314 h 1293"/>
                <a:gd name="T54" fmla="*/ 155 w 576"/>
                <a:gd name="T55" fmla="*/ 416 h 1293"/>
                <a:gd name="T56" fmla="*/ 164 w 576"/>
                <a:gd name="T57" fmla="*/ 509 h 1293"/>
                <a:gd name="T58" fmla="*/ 195 w 576"/>
                <a:gd name="T59" fmla="*/ 602 h 1293"/>
                <a:gd name="T60" fmla="*/ 222 w 576"/>
                <a:gd name="T61" fmla="*/ 620 h 1293"/>
                <a:gd name="T62" fmla="*/ 248 w 576"/>
                <a:gd name="T63" fmla="*/ 673 h 1293"/>
                <a:gd name="T64" fmla="*/ 248 w 576"/>
                <a:gd name="T65" fmla="*/ 713 h 1293"/>
                <a:gd name="T66" fmla="*/ 208 w 576"/>
                <a:gd name="T67" fmla="*/ 726 h 1293"/>
                <a:gd name="T68" fmla="*/ 182 w 576"/>
                <a:gd name="T69" fmla="*/ 770 h 1293"/>
                <a:gd name="T70" fmla="*/ 151 w 576"/>
                <a:gd name="T71" fmla="*/ 819 h 1293"/>
                <a:gd name="T72" fmla="*/ 120 w 576"/>
                <a:gd name="T73" fmla="*/ 846 h 1293"/>
                <a:gd name="T74" fmla="*/ 102 w 576"/>
                <a:gd name="T75" fmla="*/ 859 h 1293"/>
                <a:gd name="T76" fmla="*/ 84 w 576"/>
                <a:gd name="T77" fmla="*/ 886 h 1293"/>
                <a:gd name="T78" fmla="*/ 71 w 576"/>
                <a:gd name="T79" fmla="*/ 921 h 1293"/>
                <a:gd name="T80" fmla="*/ 49 w 576"/>
                <a:gd name="T81" fmla="*/ 930 h 1293"/>
                <a:gd name="T82" fmla="*/ 27 w 576"/>
                <a:gd name="T83" fmla="*/ 970 h 1293"/>
                <a:gd name="T84" fmla="*/ 31 w 576"/>
                <a:gd name="T85" fmla="*/ 1010 h 1293"/>
                <a:gd name="T86" fmla="*/ 40 w 576"/>
                <a:gd name="T87" fmla="*/ 1063 h 1293"/>
                <a:gd name="T88" fmla="*/ 49 w 576"/>
                <a:gd name="T89" fmla="*/ 1107 h 1293"/>
                <a:gd name="T90" fmla="*/ 45 w 576"/>
                <a:gd name="T91" fmla="*/ 1151 h 1293"/>
                <a:gd name="T92" fmla="*/ 40 w 576"/>
                <a:gd name="T93" fmla="*/ 1178 h 1293"/>
                <a:gd name="T94" fmla="*/ 40 w 576"/>
                <a:gd name="T95" fmla="*/ 1209 h 1293"/>
                <a:gd name="T96" fmla="*/ 62 w 576"/>
                <a:gd name="T97" fmla="*/ 1222 h 1293"/>
                <a:gd name="T98" fmla="*/ 98 w 576"/>
                <a:gd name="T99" fmla="*/ 1244 h 1293"/>
                <a:gd name="T100" fmla="*/ 124 w 576"/>
                <a:gd name="T101" fmla="*/ 1262 h 1293"/>
                <a:gd name="T102" fmla="*/ 137 w 576"/>
                <a:gd name="T103" fmla="*/ 1280 h 1293"/>
                <a:gd name="T104" fmla="*/ 155 w 576"/>
                <a:gd name="T105" fmla="*/ 1271 h 1293"/>
                <a:gd name="T106" fmla="*/ 195 w 576"/>
                <a:gd name="T107" fmla="*/ 1266 h 1293"/>
                <a:gd name="T108" fmla="*/ 213 w 576"/>
                <a:gd name="T109" fmla="*/ 1262 h 1293"/>
                <a:gd name="T110" fmla="*/ 239 w 576"/>
                <a:gd name="T111" fmla="*/ 1249 h 1293"/>
                <a:gd name="T112" fmla="*/ 270 w 576"/>
                <a:gd name="T113" fmla="*/ 1240 h 1293"/>
                <a:gd name="T114" fmla="*/ 284 w 576"/>
                <a:gd name="T115" fmla="*/ 1227 h 1293"/>
                <a:gd name="T116" fmla="*/ 306 w 576"/>
                <a:gd name="T117" fmla="*/ 1222 h 1293"/>
                <a:gd name="T118" fmla="*/ 332 w 576"/>
                <a:gd name="T119" fmla="*/ 1222 h 1293"/>
                <a:gd name="T120" fmla="*/ 363 w 576"/>
                <a:gd name="T121" fmla="*/ 1222 h 1293"/>
                <a:gd name="T122" fmla="*/ 412 w 576"/>
                <a:gd name="T123" fmla="*/ 1178 h 1293"/>
                <a:gd name="T124" fmla="*/ 536 w 576"/>
                <a:gd name="T125" fmla="*/ 1027 h 1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6" h="1293">
                  <a:moveTo>
                    <a:pt x="173" y="1275"/>
                  </a:moveTo>
                  <a:lnTo>
                    <a:pt x="173" y="1275"/>
                  </a:lnTo>
                  <a:lnTo>
                    <a:pt x="173" y="1275"/>
                  </a:lnTo>
                  <a:lnTo>
                    <a:pt x="168" y="1275"/>
                  </a:lnTo>
                  <a:lnTo>
                    <a:pt x="168" y="1280"/>
                  </a:lnTo>
                  <a:lnTo>
                    <a:pt x="168" y="1280"/>
                  </a:lnTo>
                  <a:lnTo>
                    <a:pt x="168" y="1280"/>
                  </a:lnTo>
                  <a:lnTo>
                    <a:pt x="173" y="1280"/>
                  </a:lnTo>
                  <a:lnTo>
                    <a:pt x="173" y="1280"/>
                  </a:lnTo>
                  <a:lnTo>
                    <a:pt x="173" y="1280"/>
                  </a:lnTo>
                  <a:lnTo>
                    <a:pt x="173" y="1280"/>
                  </a:lnTo>
                  <a:lnTo>
                    <a:pt x="173" y="1280"/>
                  </a:lnTo>
                  <a:lnTo>
                    <a:pt x="173" y="1280"/>
                  </a:lnTo>
                  <a:lnTo>
                    <a:pt x="173" y="1275"/>
                  </a:lnTo>
                  <a:lnTo>
                    <a:pt x="173" y="1275"/>
                  </a:lnTo>
                  <a:lnTo>
                    <a:pt x="173" y="1275"/>
                  </a:lnTo>
                  <a:lnTo>
                    <a:pt x="173" y="1275"/>
                  </a:lnTo>
                  <a:close/>
                  <a:moveTo>
                    <a:pt x="120" y="1271"/>
                  </a:moveTo>
                  <a:lnTo>
                    <a:pt x="120" y="1271"/>
                  </a:lnTo>
                  <a:lnTo>
                    <a:pt x="120" y="1266"/>
                  </a:lnTo>
                  <a:lnTo>
                    <a:pt x="120" y="1266"/>
                  </a:lnTo>
                  <a:lnTo>
                    <a:pt x="120" y="1266"/>
                  </a:lnTo>
                  <a:lnTo>
                    <a:pt x="120" y="1266"/>
                  </a:lnTo>
                  <a:lnTo>
                    <a:pt x="120" y="1266"/>
                  </a:lnTo>
                  <a:lnTo>
                    <a:pt x="120" y="1266"/>
                  </a:lnTo>
                  <a:lnTo>
                    <a:pt x="120" y="1266"/>
                  </a:lnTo>
                  <a:lnTo>
                    <a:pt x="120" y="1266"/>
                  </a:lnTo>
                  <a:lnTo>
                    <a:pt x="120" y="1266"/>
                  </a:lnTo>
                  <a:lnTo>
                    <a:pt x="120" y="1266"/>
                  </a:lnTo>
                  <a:lnTo>
                    <a:pt x="120" y="1266"/>
                  </a:lnTo>
                  <a:lnTo>
                    <a:pt x="120" y="1266"/>
                  </a:lnTo>
                  <a:lnTo>
                    <a:pt x="120" y="1266"/>
                  </a:lnTo>
                  <a:lnTo>
                    <a:pt x="115" y="1271"/>
                  </a:lnTo>
                  <a:lnTo>
                    <a:pt x="120" y="1271"/>
                  </a:lnTo>
                  <a:lnTo>
                    <a:pt x="120" y="1271"/>
                  </a:lnTo>
                  <a:lnTo>
                    <a:pt x="120" y="1271"/>
                  </a:lnTo>
                  <a:lnTo>
                    <a:pt x="120" y="1271"/>
                  </a:lnTo>
                  <a:lnTo>
                    <a:pt x="120" y="1271"/>
                  </a:lnTo>
                  <a:lnTo>
                    <a:pt x="120" y="1271"/>
                  </a:lnTo>
                  <a:close/>
                  <a:moveTo>
                    <a:pt x="98" y="1271"/>
                  </a:moveTo>
                  <a:lnTo>
                    <a:pt x="98" y="1271"/>
                  </a:lnTo>
                  <a:lnTo>
                    <a:pt x="98" y="1271"/>
                  </a:lnTo>
                  <a:lnTo>
                    <a:pt x="98" y="1271"/>
                  </a:lnTo>
                  <a:lnTo>
                    <a:pt x="98" y="1266"/>
                  </a:lnTo>
                  <a:lnTo>
                    <a:pt x="93" y="1262"/>
                  </a:lnTo>
                  <a:lnTo>
                    <a:pt x="93" y="1262"/>
                  </a:lnTo>
                  <a:lnTo>
                    <a:pt x="93" y="1266"/>
                  </a:lnTo>
                  <a:lnTo>
                    <a:pt x="93" y="1266"/>
                  </a:lnTo>
                  <a:lnTo>
                    <a:pt x="93" y="1266"/>
                  </a:lnTo>
                  <a:lnTo>
                    <a:pt x="93" y="1266"/>
                  </a:lnTo>
                  <a:lnTo>
                    <a:pt x="93" y="1266"/>
                  </a:lnTo>
                  <a:lnTo>
                    <a:pt x="93" y="1266"/>
                  </a:lnTo>
                  <a:lnTo>
                    <a:pt x="93" y="1266"/>
                  </a:lnTo>
                  <a:lnTo>
                    <a:pt x="89" y="1266"/>
                  </a:lnTo>
                  <a:lnTo>
                    <a:pt x="89" y="1266"/>
                  </a:lnTo>
                  <a:lnTo>
                    <a:pt x="93" y="1271"/>
                  </a:lnTo>
                  <a:lnTo>
                    <a:pt x="93" y="1271"/>
                  </a:lnTo>
                  <a:lnTo>
                    <a:pt x="93" y="1271"/>
                  </a:lnTo>
                  <a:lnTo>
                    <a:pt x="93" y="1275"/>
                  </a:lnTo>
                  <a:lnTo>
                    <a:pt x="93" y="1275"/>
                  </a:lnTo>
                  <a:lnTo>
                    <a:pt x="93" y="1271"/>
                  </a:lnTo>
                  <a:lnTo>
                    <a:pt x="93" y="1271"/>
                  </a:lnTo>
                  <a:lnTo>
                    <a:pt x="93" y="1271"/>
                  </a:lnTo>
                  <a:lnTo>
                    <a:pt x="98" y="1271"/>
                  </a:lnTo>
                  <a:close/>
                  <a:moveTo>
                    <a:pt x="120" y="1262"/>
                  </a:moveTo>
                  <a:lnTo>
                    <a:pt x="120" y="1266"/>
                  </a:lnTo>
                  <a:lnTo>
                    <a:pt x="120" y="1262"/>
                  </a:lnTo>
                  <a:lnTo>
                    <a:pt x="120" y="1262"/>
                  </a:lnTo>
                  <a:lnTo>
                    <a:pt x="120" y="1262"/>
                  </a:lnTo>
                  <a:lnTo>
                    <a:pt x="120" y="1262"/>
                  </a:lnTo>
                  <a:lnTo>
                    <a:pt x="120" y="1262"/>
                  </a:lnTo>
                  <a:lnTo>
                    <a:pt x="124" y="1262"/>
                  </a:lnTo>
                  <a:lnTo>
                    <a:pt x="124" y="1262"/>
                  </a:lnTo>
                  <a:lnTo>
                    <a:pt x="124" y="1262"/>
                  </a:lnTo>
                  <a:lnTo>
                    <a:pt x="124" y="1262"/>
                  </a:lnTo>
                  <a:lnTo>
                    <a:pt x="124" y="1262"/>
                  </a:lnTo>
                  <a:lnTo>
                    <a:pt x="124" y="1262"/>
                  </a:lnTo>
                  <a:lnTo>
                    <a:pt x="120" y="1257"/>
                  </a:lnTo>
                  <a:lnTo>
                    <a:pt x="120" y="1257"/>
                  </a:lnTo>
                  <a:lnTo>
                    <a:pt x="120" y="1262"/>
                  </a:lnTo>
                  <a:lnTo>
                    <a:pt x="120" y="1262"/>
                  </a:lnTo>
                  <a:lnTo>
                    <a:pt x="120" y="1262"/>
                  </a:lnTo>
                  <a:lnTo>
                    <a:pt x="120" y="1262"/>
                  </a:lnTo>
                  <a:lnTo>
                    <a:pt x="120" y="1262"/>
                  </a:lnTo>
                  <a:lnTo>
                    <a:pt x="115" y="1262"/>
                  </a:lnTo>
                  <a:lnTo>
                    <a:pt x="115" y="1262"/>
                  </a:lnTo>
                  <a:lnTo>
                    <a:pt x="120" y="1266"/>
                  </a:lnTo>
                  <a:lnTo>
                    <a:pt x="120" y="1262"/>
                  </a:lnTo>
                  <a:close/>
                  <a:moveTo>
                    <a:pt x="89" y="1253"/>
                  </a:moveTo>
                  <a:lnTo>
                    <a:pt x="93" y="1253"/>
                  </a:lnTo>
                  <a:lnTo>
                    <a:pt x="93" y="1253"/>
                  </a:lnTo>
                  <a:lnTo>
                    <a:pt x="93" y="1253"/>
                  </a:lnTo>
                  <a:lnTo>
                    <a:pt x="89" y="1253"/>
                  </a:lnTo>
                  <a:lnTo>
                    <a:pt x="89" y="1253"/>
                  </a:lnTo>
                  <a:lnTo>
                    <a:pt x="89" y="1253"/>
                  </a:lnTo>
                  <a:lnTo>
                    <a:pt x="89" y="1253"/>
                  </a:lnTo>
                  <a:lnTo>
                    <a:pt x="89" y="1253"/>
                  </a:lnTo>
                  <a:lnTo>
                    <a:pt x="89" y="1253"/>
                  </a:lnTo>
                  <a:lnTo>
                    <a:pt x="89" y="1257"/>
                  </a:lnTo>
                  <a:lnTo>
                    <a:pt x="89" y="1257"/>
                  </a:lnTo>
                  <a:lnTo>
                    <a:pt x="89" y="1257"/>
                  </a:lnTo>
                  <a:lnTo>
                    <a:pt x="89" y="1257"/>
                  </a:lnTo>
                  <a:lnTo>
                    <a:pt x="89" y="1257"/>
                  </a:lnTo>
                  <a:lnTo>
                    <a:pt x="89" y="1257"/>
                  </a:lnTo>
                  <a:lnTo>
                    <a:pt x="89" y="1257"/>
                  </a:lnTo>
                  <a:lnTo>
                    <a:pt x="89" y="1257"/>
                  </a:lnTo>
                  <a:lnTo>
                    <a:pt x="89" y="1257"/>
                  </a:lnTo>
                  <a:lnTo>
                    <a:pt x="89" y="1257"/>
                  </a:lnTo>
                  <a:lnTo>
                    <a:pt x="89" y="1253"/>
                  </a:lnTo>
                  <a:close/>
                  <a:moveTo>
                    <a:pt x="275" y="1249"/>
                  </a:moveTo>
                  <a:lnTo>
                    <a:pt x="275" y="1249"/>
                  </a:lnTo>
                  <a:lnTo>
                    <a:pt x="275" y="1253"/>
                  </a:lnTo>
                  <a:lnTo>
                    <a:pt x="275" y="1253"/>
                  </a:lnTo>
                  <a:lnTo>
                    <a:pt x="275" y="1253"/>
                  </a:lnTo>
                  <a:lnTo>
                    <a:pt x="275" y="1253"/>
                  </a:lnTo>
                  <a:lnTo>
                    <a:pt x="275" y="1249"/>
                  </a:lnTo>
                  <a:lnTo>
                    <a:pt x="275" y="1249"/>
                  </a:lnTo>
                  <a:lnTo>
                    <a:pt x="275" y="1249"/>
                  </a:lnTo>
                  <a:close/>
                  <a:moveTo>
                    <a:pt x="261" y="1240"/>
                  </a:moveTo>
                  <a:lnTo>
                    <a:pt x="261" y="1244"/>
                  </a:lnTo>
                  <a:lnTo>
                    <a:pt x="261" y="1244"/>
                  </a:lnTo>
                  <a:lnTo>
                    <a:pt x="261" y="1249"/>
                  </a:lnTo>
                  <a:lnTo>
                    <a:pt x="261" y="1249"/>
                  </a:lnTo>
                  <a:lnTo>
                    <a:pt x="261" y="1249"/>
                  </a:lnTo>
                  <a:lnTo>
                    <a:pt x="261" y="1249"/>
                  </a:lnTo>
                  <a:lnTo>
                    <a:pt x="261" y="1249"/>
                  </a:lnTo>
                  <a:lnTo>
                    <a:pt x="266" y="1253"/>
                  </a:lnTo>
                  <a:lnTo>
                    <a:pt x="266" y="1249"/>
                  </a:lnTo>
                  <a:lnTo>
                    <a:pt x="266" y="1249"/>
                  </a:lnTo>
                  <a:lnTo>
                    <a:pt x="266" y="1249"/>
                  </a:lnTo>
                  <a:lnTo>
                    <a:pt x="266" y="1249"/>
                  </a:lnTo>
                  <a:lnTo>
                    <a:pt x="266" y="1249"/>
                  </a:lnTo>
                  <a:lnTo>
                    <a:pt x="261" y="1240"/>
                  </a:lnTo>
                  <a:lnTo>
                    <a:pt x="261" y="1240"/>
                  </a:lnTo>
                  <a:close/>
                  <a:moveTo>
                    <a:pt x="115" y="1262"/>
                  </a:moveTo>
                  <a:lnTo>
                    <a:pt x="115" y="1262"/>
                  </a:lnTo>
                  <a:lnTo>
                    <a:pt x="115" y="1257"/>
                  </a:lnTo>
                  <a:lnTo>
                    <a:pt x="115" y="1257"/>
                  </a:lnTo>
                  <a:lnTo>
                    <a:pt x="115" y="1257"/>
                  </a:lnTo>
                  <a:lnTo>
                    <a:pt x="115" y="1257"/>
                  </a:lnTo>
                  <a:lnTo>
                    <a:pt x="115" y="1257"/>
                  </a:lnTo>
                  <a:lnTo>
                    <a:pt x="115" y="1257"/>
                  </a:lnTo>
                  <a:lnTo>
                    <a:pt x="115" y="1253"/>
                  </a:lnTo>
                  <a:lnTo>
                    <a:pt x="115" y="1253"/>
                  </a:lnTo>
                  <a:lnTo>
                    <a:pt x="115" y="1253"/>
                  </a:lnTo>
                  <a:lnTo>
                    <a:pt x="115" y="1253"/>
                  </a:lnTo>
                  <a:lnTo>
                    <a:pt x="115" y="1253"/>
                  </a:lnTo>
                  <a:lnTo>
                    <a:pt x="115" y="1253"/>
                  </a:lnTo>
                  <a:lnTo>
                    <a:pt x="120" y="1249"/>
                  </a:lnTo>
                  <a:lnTo>
                    <a:pt x="120" y="1249"/>
                  </a:lnTo>
                  <a:lnTo>
                    <a:pt x="120" y="1249"/>
                  </a:lnTo>
                  <a:lnTo>
                    <a:pt x="120" y="1249"/>
                  </a:lnTo>
                  <a:lnTo>
                    <a:pt x="120" y="1249"/>
                  </a:lnTo>
                  <a:lnTo>
                    <a:pt x="120" y="1244"/>
                  </a:lnTo>
                  <a:lnTo>
                    <a:pt x="124" y="1244"/>
                  </a:lnTo>
                  <a:lnTo>
                    <a:pt x="124" y="1240"/>
                  </a:lnTo>
                  <a:lnTo>
                    <a:pt x="120" y="1240"/>
                  </a:lnTo>
                  <a:lnTo>
                    <a:pt x="120" y="1244"/>
                  </a:lnTo>
                  <a:lnTo>
                    <a:pt x="120" y="1244"/>
                  </a:lnTo>
                  <a:lnTo>
                    <a:pt x="115" y="1249"/>
                  </a:lnTo>
                  <a:lnTo>
                    <a:pt x="115" y="1249"/>
                  </a:lnTo>
                  <a:lnTo>
                    <a:pt x="107" y="1249"/>
                  </a:lnTo>
                  <a:lnTo>
                    <a:pt x="107" y="1253"/>
                  </a:lnTo>
                  <a:lnTo>
                    <a:pt x="102" y="1253"/>
                  </a:lnTo>
                  <a:lnTo>
                    <a:pt x="98" y="1253"/>
                  </a:lnTo>
                  <a:lnTo>
                    <a:pt x="98" y="1253"/>
                  </a:lnTo>
                  <a:lnTo>
                    <a:pt x="98" y="1253"/>
                  </a:lnTo>
                  <a:lnTo>
                    <a:pt x="98" y="1249"/>
                  </a:lnTo>
                  <a:lnTo>
                    <a:pt x="98" y="1249"/>
                  </a:lnTo>
                  <a:lnTo>
                    <a:pt x="93" y="1253"/>
                  </a:lnTo>
                  <a:lnTo>
                    <a:pt x="93" y="1253"/>
                  </a:lnTo>
                  <a:lnTo>
                    <a:pt x="93" y="1257"/>
                  </a:lnTo>
                  <a:lnTo>
                    <a:pt x="102" y="1257"/>
                  </a:lnTo>
                  <a:lnTo>
                    <a:pt x="102" y="1257"/>
                  </a:lnTo>
                  <a:lnTo>
                    <a:pt x="98" y="1257"/>
                  </a:lnTo>
                  <a:lnTo>
                    <a:pt x="98" y="1257"/>
                  </a:lnTo>
                  <a:lnTo>
                    <a:pt x="98" y="1262"/>
                  </a:lnTo>
                  <a:lnTo>
                    <a:pt x="93" y="1262"/>
                  </a:lnTo>
                  <a:lnTo>
                    <a:pt x="98" y="1262"/>
                  </a:lnTo>
                  <a:lnTo>
                    <a:pt x="98" y="1262"/>
                  </a:lnTo>
                  <a:lnTo>
                    <a:pt x="98" y="1262"/>
                  </a:lnTo>
                  <a:lnTo>
                    <a:pt x="98" y="1262"/>
                  </a:lnTo>
                  <a:lnTo>
                    <a:pt x="98" y="1266"/>
                  </a:lnTo>
                  <a:lnTo>
                    <a:pt x="98" y="1266"/>
                  </a:lnTo>
                  <a:lnTo>
                    <a:pt x="98" y="1266"/>
                  </a:lnTo>
                  <a:lnTo>
                    <a:pt x="98" y="1271"/>
                  </a:lnTo>
                  <a:lnTo>
                    <a:pt x="98" y="1271"/>
                  </a:lnTo>
                  <a:lnTo>
                    <a:pt x="98" y="1271"/>
                  </a:lnTo>
                  <a:lnTo>
                    <a:pt x="98" y="1271"/>
                  </a:lnTo>
                  <a:lnTo>
                    <a:pt x="102" y="1271"/>
                  </a:lnTo>
                  <a:lnTo>
                    <a:pt x="102" y="1271"/>
                  </a:lnTo>
                  <a:lnTo>
                    <a:pt x="102" y="1271"/>
                  </a:lnTo>
                  <a:lnTo>
                    <a:pt x="102" y="1266"/>
                  </a:lnTo>
                  <a:lnTo>
                    <a:pt x="102" y="1271"/>
                  </a:lnTo>
                  <a:lnTo>
                    <a:pt x="102" y="1271"/>
                  </a:lnTo>
                  <a:lnTo>
                    <a:pt x="102" y="1271"/>
                  </a:lnTo>
                  <a:lnTo>
                    <a:pt x="102" y="1271"/>
                  </a:lnTo>
                  <a:lnTo>
                    <a:pt x="102" y="1271"/>
                  </a:lnTo>
                  <a:lnTo>
                    <a:pt x="102" y="1271"/>
                  </a:lnTo>
                  <a:lnTo>
                    <a:pt x="102" y="1271"/>
                  </a:lnTo>
                  <a:lnTo>
                    <a:pt x="102" y="1275"/>
                  </a:lnTo>
                  <a:lnTo>
                    <a:pt x="107" y="1275"/>
                  </a:lnTo>
                  <a:lnTo>
                    <a:pt x="107" y="1275"/>
                  </a:lnTo>
                  <a:lnTo>
                    <a:pt x="107" y="1271"/>
                  </a:lnTo>
                  <a:lnTo>
                    <a:pt x="107" y="1271"/>
                  </a:lnTo>
                  <a:lnTo>
                    <a:pt x="107" y="1271"/>
                  </a:lnTo>
                  <a:lnTo>
                    <a:pt x="107" y="1271"/>
                  </a:lnTo>
                  <a:lnTo>
                    <a:pt x="107" y="1271"/>
                  </a:lnTo>
                  <a:lnTo>
                    <a:pt x="107" y="1271"/>
                  </a:lnTo>
                  <a:lnTo>
                    <a:pt x="111" y="1271"/>
                  </a:lnTo>
                  <a:lnTo>
                    <a:pt x="111" y="1271"/>
                  </a:lnTo>
                  <a:lnTo>
                    <a:pt x="111" y="1271"/>
                  </a:lnTo>
                  <a:lnTo>
                    <a:pt x="111" y="1271"/>
                  </a:lnTo>
                  <a:lnTo>
                    <a:pt x="111" y="1271"/>
                  </a:lnTo>
                  <a:lnTo>
                    <a:pt x="111" y="1271"/>
                  </a:lnTo>
                  <a:lnTo>
                    <a:pt x="111" y="1271"/>
                  </a:lnTo>
                  <a:lnTo>
                    <a:pt x="111" y="1266"/>
                  </a:lnTo>
                  <a:lnTo>
                    <a:pt x="111" y="1266"/>
                  </a:lnTo>
                  <a:lnTo>
                    <a:pt x="111" y="1266"/>
                  </a:lnTo>
                  <a:lnTo>
                    <a:pt x="115" y="1262"/>
                  </a:lnTo>
                  <a:close/>
                  <a:moveTo>
                    <a:pt x="93" y="1235"/>
                  </a:moveTo>
                  <a:lnTo>
                    <a:pt x="93" y="1235"/>
                  </a:lnTo>
                  <a:lnTo>
                    <a:pt x="93" y="1235"/>
                  </a:lnTo>
                  <a:lnTo>
                    <a:pt x="93" y="1235"/>
                  </a:lnTo>
                  <a:lnTo>
                    <a:pt x="89" y="1235"/>
                  </a:lnTo>
                  <a:lnTo>
                    <a:pt x="89" y="1240"/>
                  </a:lnTo>
                  <a:lnTo>
                    <a:pt x="93" y="1240"/>
                  </a:lnTo>
                  <a:lnTo>
                    <a:pt x="93" y="1240"/>
                  </a:lnTo>
                  <a:lnTo>
                    <a:pt x="93" y="1240"/>
                  </a:lnTo>
                  <a:lnTo>
                    <a:pt x="93" y="1240"/>
                  </a:lnTo>
                  <a:lnTo>
                    <a:pt x="93" y="1240"/>
                  </a:lnTo>
                  <a:lnTo>
                    <a:pt x="93" y="1240"/>
                  </a:lnTo>
                  <a:lnTo>
                    <a:pt x="93" y="1240"/>
                  </a:lnTo>
                  <a:lnTo>
                    <a:pt x="93" y="1240"/>
                  </a:lnTo>
                  <a:lnTo>
                    <a:pt x="98" y="1240"/>
                  </a:lnTo>
                  <a:lnTo>
                    <a:pt x="98" y="1240"/>
                  </a:lnTo>
                  <a:lnTo>
                    <a:pt x="98" y="1240"/>
                  </a:lnTo>
                  <a:lnTo>
                    <a:pt x="98" y="1235"/>
                  </a:lnTo>
                  <a:lnTo>
                    <a:pt x="98" y="1235"/>
                  </a:lnTo>
                  <a:lnTo>
                    <a:pt x="93" y="1235"/>
                  </a:lnTo>
                  <a:lnTo>
                    <a:pt x="93" y="1235"/>
                  </a:lnTo>
                  <a:lnTo>
                    <a:pt x="93" y="1235"/>
                  </a:lnTo>
                  <a:lnTo>
                    <a:pt x="93" y="1235"/>
                  </a:lnTo>
                  <a:lnTo>
                    <a:pt x="93" y="1235"/>
                  </a:lnTo>
                  <a:close/>
                  <a:moveTo>
                    <a:pt x="80" y="1235"/>
                  </a:moveTo>
                  <a:lnTo>
                    <a:pt x="80" y="1235"/>
                  </a:lnTo>
                  <a:lnTo>
                    <a:pt x="84" y="1235"/>
                  </a:lnTo>
                  <a:lnTo>
                    <a:pt x="84" y="1235"/>
                  </a:lnTo>
                  <a:lnTo>
                    <a:pt x="89" y="1235"/>
                  </a:lnTo>
                  <a:lnTo>
                    <a:pt x="89" y="1235"/>
                  </a:lnTo>
                  <a:lnTo>
                    <a:pt x="89" y="1231"/>
                  </a:lnTo>
                  <a:lnTo>
                    <a:pt x="84" y="1231"/>
                  </a:lnTo>
                  <a:lnTo>
                    <a:pt x="80" y="1235"/>
                  </a:lnTo>
                  <a:lnTo>
                    <a:pt x="80" y="1235"/>
                  </a:lnTo>
                  <a:lnTo>
                    <a:pt x="80" y="1235"/>
                  </a:lnTo>
                  <a:close/>
                  <a:moveTo>
                    <a:pt x="80" y="1231"/>
                  </a:moveTo>
                  <a:lnTo>
                    <a:pt x="80" y="1231"/>
                  </a:lnTo>
                  <a:lnTo>
                    <a:pt x="80" y="1235"/>
                  </a:lnTo>
                  <a:lnTo>
                    <a:pt x="80" y="1235"/>
                  </a:lnTo>
                  <a:lnTo>
                    <a:pt x="80" y="1235"/>
                  </a:lnTo>
                  <a:lnTo>
                    <a:pt x="84" y="1231"/>
                  </a:lnTo>
                  <a:lnTo>
                    <a:pt x="84" y="1231"/>
                  </a:lnTo>
                  <a:lnTo>
                    <a:pt x="80" y="1231"/>
                  </a:lnTo>
                  <a:close/>
                  <a:moveTo>
                    <a:pt x="315" y="1227"/>
                  </a:moveTo>
                  <a:lnTo>
                    <a:pt x="315" y="1227"/>
                  </a:lnTo>
                  <a:lnTo>
                    <a:pt x="315" y="1227"/>
                  </a:lnTo>
                  <a:lnTo>
                    <a:pt x="315" y="1227"/>
                  </a:lnTo>
                  <a:lnTo>
                    <a:pt x="315" y="1227"/>
                  </a:lnTo>
                  <a:lnTo>
                    <a:pt x="315" y="1227"/>
                  </a:lnTo>
                  <a:lnTo>
                    <a:pt x="315" y="1227"/>
                  </a:lnTo>
                  <a:lnTo>
                    <a:pt x="310" y="1231"/>
                  </a:lnTo>
                  <a:lnTo>
                    <a:pt x="310" y="1231"/>
                  </a:lnTo>
                  <a:lnTo>
                    <a:pt x="310" y="1231"/>
                  </a:lnTo>
                  <a:lnTo>
                    <a:pt x="310" y="1231"/>
                  </a:lnTo>
                  <a:lnTo>
                    <a:pt x="315" y="1231"/>
                  </a:lnTo>
                  <a:lnTo>
                    <a:pt x="315" y="1231"/>
                  </a:lnTo>
                  <a:lnTo>
                    <a:pt x="315" y="1231"/>
                  </a:lnTo>
                  <a:lnTo>
                    <a:pt x="319" y="1231"/>
                  </a:lnTo>
                  <a:lnTo>
                    <a:pt x="319" y="1227"/>
                  </a:lnTo>
                  <a:lnTo>
                    <a:pt x="319" y="1227"/>
                  </a:lnTo>
                  <a:lnTo>
                    <a:pt x="319" y="1227"/>
                  </a:lnTo>
                  <a:lnTo>
                    <a:pt x="315" y="1227"/>
                  </a:lnTo>
                  <a:close/>
                  <a:moveTo>
                    <a:pt x="62" y="1231"/>
                  </a:moveTo>
                  <a:lnTo>
                    <a:pt x="62" y="1231"/>
                  </a:lnTo>
                  <a:lnTo>
                    <a:pt x="62" y="1231"/>
                  </a:lnTo>
                  <a:lnTo>
                    <a:pt x="62" y="1231"/>
                  </a:lnTo>
                  <a:lnTo>
                    <a:pt x="62" y="1231"/>
                  </a:lnTo>
                  <a:lnTo>
                    <a:pt x="62" y="1235"/>
                  </a:lnTo>
                  <a:lnTo>
                    <a:pt x="62" y="1235"/>
                  </a:lnTo>
                  <a:lnTo>
                    <a:pt x="67" y="1235"/>
                  </a:lnTo>
                  <a:lnTo>
                    <a:pt x="67" y="1235"/>
                  </a:lnTo>
                  <a:lnTo>
                    <a:pt x="67" y="1235"/>
                  </a:lnTo>
                  <a:lnTo>
                    <a:pt x="67" y="1235"/>
                  </a:lnTo>
                  <a:lnTo>
                    <a:pt x="67" y="1240"/>
                  </a:lnTo>
                  <a:lnTo>
                    <a:pt x="67" y="1240"/>
                  </a:lnTo>
                  <a:lnTo>
                    <a:pt x="67" y="1240"/>
                  </a:lnTo>
                  <a:lnTo>
                    <a:pt x="67" y="1240"/>
                  </a:lnTo>
                  <a:lnTo>
                    <a:pt x="67" y="1235"/>
                  </a:lnTo>
                  <a:lnTo>
                    <a:pt x="67" y="1235"/>
                  </a:lnTo>
                  <a:lnTo>
                    <a:pt x="71" y="1240"/>
                  </a:lnTo>
                  <a:lnTo>
                    <a:pt x="71" y="1240"/>
                  </a:lnTo>
                  <a:lnTo>
                    <a:pt x="71" y="1240"/>
                  </a:lnTo>
                  <a:lnTo>
                    <a:pt x="71" y="1235"/>
                  </a:lnTo>
                  <a:lnTo>
                    <a:pt x="71" y="1235"/>
                  </a:lnTo>
                  <a:lnTo>
                    <a:pt x="71" y="1235"/>
                  </a:lnTo>
                  <a:lnTo>
                    <a:pt x="71" y="1235"/>
                  </a:lnTo>
                  <a:lnTo>
                    <a:pt x="71" y="1235"/>
                  </a:lnTo>
                  <a:lnTo>
                    <a:pt x="71" y="1235"/>
                  </a:lnTo>
                  <a:lnTo>
                    <a:pt x="71" y="1235"/>
                  </a:lnTo>
                  <a:lnTo>
                    <a:pt x="71" y="1235"/>
                  </a:lnTo>
                  <a:lnTo>
                    <a:pt x="71" y="1235"/>
                  </a:lnTo>
                  <a:lnTo>
                    <a:pt x="71" y="1235"/>
                  </a:lnTo>
                  <a:lnTo>
                    <a:pt x="71" y="1231"/>
                  </a:lnTo>
                  <a:lnTo>
                    <a:pt x="71" y="1231"/>
                  </a:lnTo>
                  <a:lnTo>
                    <a:pt x="67" y="1231"/>
                  </a:lnTo>
                  <a:lnTo>
                    <a:pt x="67" y="1231"/>
                  </a:lnTo>
                  <a:lnTo>
                    <a:pt x="67" y="1231"/>
                  </a:lnTo>
                  <a:lnTo>
                    <a:pt x="67" y="1231"/>
                  </a:lnTo>
                  <a:lnTo>
                    <a:pt x="71" y="1231"/>
                  </a:lnTo>
                  <a:lnTo>
                    <a:pt x="71" y="1231"/>
                  </a:lnTo>
                  <a:lnTo>
                    <a:pt x="71" y="1227"/>
                  </a:lnTo>
                  <a:lnTo>
                    <a:pt x="67" y="1227"/>
                  </a:lnTo>
                  <a:lnTo>
                    <a:pt x="67" y="1227"/>
                  </a:lnTo>
                  <a:lnTo>
                    <a:pt x="67" y="1227"/>
                  </a:lnTo>
                  <a:lnTo>
                    <a:pt x="67" y="1227"/>
                  </a:lnTo>
                  <a:lnTo>
                    <a:pt x="67" y="1227"/>
                  </a:lnTo>
                  <a:lnTo>
                    <a:pt x="67" y="1222"/>
                  </a:lnTo>
                  <a:lnTo>
                    <a:pt x="62" y="1222"/>
                  </a:lnTo>
                  <a:lnTo>
                    <a:pt x="62" y="1222"/>
                  </a:lnTo>
                  <a:lnTo>
                    <a:pt x="62" y="1222"/>
                  </a:lnTo>
                  <a:lnTo>
                    <a:pt x="62" y="1227"/>
                  </a:lnTo>
                  <a:lnTo>
                    <a:pt x="62" y="1227"/>
                  </a:lnTo>
                  <a:lnTo>
                    <a:pt x="62" y="1227"/>
                  </a:lnTo>
                  <a:lnTo>
                    <a:pt x="62" y="1231"/>
                  </a:lnTo>
                  <a:lnTo>
                    <a:pt x="62" y="1231"/>
                  </a:lnTo>
                  <a:close/>
                  <a:moveTo>
                    <a:pt x="58" y="1222"/>
                  </a:moveTo>
                  <a:lnTo>
                    <a:pt x="58" y="1222"/>
                  </a:lnTo>
                  <a:lnTo>
                    <a:pt x="58" y="1218"/>
                  </a:lnTo>
                  <a:lnTo>
                    <a:pt x="58" y="1218"/>
                  </a:lnTo>
                  <a:lnTo>
                    <a:pt x="62" y="1218"/>
                  </a:lnTo>
                  <a:lnTo>
                    <a:pt x="58" y="1218"/>
                  </a:lnTo>
                  <a:lnTo>
                    <a:pt x="58" y="1218"/>
                  </a:lnTo>
                  <a:lnTo>
                    <a:pt x="58" y="1222"/>
                  </a:lnTo>
                  <a:lnTo>
                    <a:pt x="58" y="1222"/>
                  </a:lnTo>
                  <a:lnTo>
                    <a:pt x="58" y="1227"/>
                  </a:lnTo>
                  <a:lnTo>
                    <a:pt x="58" y="1222"/>
                  </a:lnTo>
                  <a:lnTo>
                    <a:pt x="58" y="1222"/>
                  </a:lnTo>
                  <a:close/>
                  <a:moveTo>
                    <a:pt x="36" y="1222"/>
                  </a:moveTo>
                  <a:lnTo>
                    <a:pt x="36" y="1222"/>
                  </a:lnTo>
                  <a:lnTo>
                    <a:pt x="36" y="1218"/>
                  </a:lnTo>
                  <a:lnTo>
                    <a:pt x="36" y="1218"/>
                  </a:lnTo>
                  <a:lnTo>
                    <a:pt x="36" y="1213"/>
                  </a:lnTo>
                  <a:lnTo>
                    <a:pt x="31" y="1213"/>
                  </a:lnTo>
                  <a:lnTo>
                    <a:pt x="31" y="1213"/>
                  </a:lnTo>
                  <a:lnTo>
                    <a:pt x="31" y="1213"/>
                  </a:lnTo>
                  <a:lnTo>
                    <a:pt x="31" y="1218"/>
                  </a:lnTo>
                  <a:lnTo>
                    <a:pt x="36" y="1218"/>
                  </a:lnTo>
                  <a:lnTo>
                    <a:pt x="31" y="1218"/>
                  </a:lnTo>
                  <a:lnTo>
                    <a:pt x="36" y="1222"/>
                  </a:lnTo>
                  <a:lnTo>
                    <a:pt x="36" y="1222"/>
                  </a:lnTo>
                  <a:lnTo>
                    <a:pt x="36" y="1222"/>
                  </a:lnTo>
                  <a:close/>
                  <a:moveTo>
                    <a:pt x="45" y="1218"/>
                  </a:moveTo>
                  <a:lnTo>
                    <a:pt x="40" y="1213"/>
                  </a:lnTo>
                  <a:lnTo>
                    <a:pt x="40" y="1213"/>
                  </a:lnTo>
                  <a:lnTo>
                    <a:pt x="40" y="1213"/>
                  </a:lnTo>
                  <a:lnTo>
                    <a:pt x="36" y="1213"/>
                  </a:lnTo>
                  <a:lnTo>
                    <a:pt x="36" y="1213"/>
                  </a:lnTo>
                  <a:lnTo>
                    <a:pt x="36" y="1218"/>
                  </a:lnTo>
                  <a:lnTo>
                    <a:pt x="36" y="1218"/>
                  </a:lnTo>
                  <a:lnTo>
                    <a:pt x="40" y="1218"/>
                  </a:lnTo>
                  <a:lnTo>
                    <a:pt x="40" y="1218"/>
                  </a:lnTo>
                  <a:lnTo>
                    <a:pt x="40" y="1218"/>
                  </a:lnTo>
                  <a:lnTo>
                    <a:pt x="40" y="1222"/>
                  </a:lnTo>
                  <a:lnTo>
                    <a:pt x="40" y="1222"/>
                  </a:lnTo>
                  <a:lnTo>
                    <a:pt x="45" y="1222"/>
                  </a:lnTo>
                  <a:lnTo>
                    <a:pt x="45" y="1222"/>
                  </a:lnTo>
                  <a:lnTo>
                    <a:pt x="45" y="1222"/>
                  </a:lnTo>
                  <a:lnTo>
                    <a:pt x="45" y="1222"/>
                  </a:lnTo>
                  <a:lnTo>
                    <a:pt x="45" y="1222"/>
                  </a:lnTo>
                  <a:lnTo>
                    <a:pt x="45" y="1218"/>
                  </a:lnTo>
                  <a:lnTo>
                    <a:pt x="45" y="1218"/>
                  </a:lnTo>
                  <a:lnTo>
                    <a:pt x="45" y="1218"/>
                  </a:lnTo>
                  <a:lnTo>
                    <a:pt x="45" y="1218"/>
                  </a:lnTo>
                  <a:lnTo>
                    <a:pt x="45" y="1218"/>
                  </a:lnTo>
                  <a:lnTo>
                    <a:pt x="45" y="1218"/>
                  </a:lnTo>
                  <a:lnTo>
                    <a:pt x="45" y="1218"/>
                  </a:lnTo>
                  <a:lnTo>
                    <a:pt x="45" y="1218"/>
                  </a:lnTo>
                  <a:lnTo>
                    <a:pt x="45" y="1218"/>
                  </a:lnTo>
                  <a:close/>
                  <a:moveTo>
                    <a:pt x="31" y="1209"/>
                  </a:moveTo>
                  <a:lnTo>
                    <a:pt x="36" y="1209"/>
                  </a:lnTo>
                  <a:lnTo>
                    <a:pt x="36" y="1209"/>
                  </a:lnTo>
                  <a:lnTo>
                    <a:pt x="36" y="1213"/>
                  </a:lnTo>
                  <a:lnTo>
                    <a:pt x="36" y="1213"/>
                  </a:lnTo>
                  <a:lnTo>
                    <a:pt x="36" y="1213"/>
                  </a:lnTo>
                  <a:lnTo>
                    <a:pt x="36" y="1213"/>
                  </a:lnTo>
                  <a:lnTo>
                    <a:pt x="36" y="1213"/>
                  </a:lnTo>
                  <a:lnTo>
                    <a:pt x="36" y="1209"/>
                  </a:lnTo>
                  <a:lnTo>
                    <a:pt x="36" y="1209"/>
                  </a:lnTo>
                  <a:lnTo>
                    <a:pt x="36" y="1209"/>
                  </a:lnTo>
                  <a:lnTo>
                    <a:pt x="36" y="1209"/>
                  </a:lnTo>
                  <a:lnTo>
                    <a:pt x="36" y="1204"/>
                  </a:lnTo>
                  <a:lnTo>
                    <a:pt x="36" y="1204"/>
                  </a:lnTo>
                  <a:lnTo>
                    <a:pt x="36" y="1204"/>
                  </a:lnTo>
                  <a:lnTo>
                    <a:pt x="36" y="1204"/>
                  </a:lnTo>
                  <a:lnTo>
                    <a:pt x="31" y="1204"/>
                  </a:lnTo>
                  <a:lnTo>
                    <a:pt x="31" y="1204"/>
                  </a:lnTo>
                  <a:lnTo>
                    <a:pt x="31" y="1204"/>
                  </a:lnTo>
                  <a:lnTo>
                    <a:pt x="31" y="1204"/>
                  </a:lnTo>
                  <a:lnTo>
                    <a:pt x="31" y="1209"/>
                  </a:lnTo>
                  <a:lnTo>
                    <a:pt x="31" y="1209"/>
                  </a:lnTo>
                  <a:lnTo>
                    <a:pt x="31" y="1209"/>
                  </a:lnTo>
                  <a:lnTo>
                    <a:pt x="31" y="1209"/>
                  </a:lnTo>
                  <a:close/>
                  <a:moveTo>
                    <a:pt x="36" y="1182"/>
                  </a:moveTo>
                  <a:lnTo>
                    <a:pt x="36" y="1182"/>
                  </a:lnTo>
                  <a:lnTo>
                    <a:pt x="36" y="1182"/>
                  </a:lnTo>
                  <a:lnTo>
                    <a:pt x="36" y="1182"/>
                  </a:lnTo>
                  <a:lnTo>
                    <a:pt x="31" y="1182"/>
                  </a:lnTo>
                  <a:lnTo>
                    <a:pt x="31" y="1182"/>
                  </a:lnTo>
                  <a:lnTo>
                    <a:pt x="31" y="1182"/>
                  </a:lnTo>
                  <a:lnTo>
                    <a:pt x="31" y="1182"/>
                  </a:lnTo>
                  <a:lnTo>
                    <a:pt x="31" y="1182"/>
                  </a:lnTo>
                  <a:lnTo>
                    <a:pt x="31" y="1182"/>
                  </a:lnTo>
                  <a:lnTo>
                    <a:pt x="31" y="1182"/>
                  </a:lnTo>
                  <a:lnTo>
                    <a:pt x="31" y="1182"/>
                  </a:lnTo>
                  <a:lnTo>
                    <a:pt x="31" y="1182"/>
                  </a:lnTo>
                  <a:lnTo>
                    <a:pt x="31" y="1182"/>
                  </a:lnTo>
                  <a:lnTo>
                    <a:pt x="31" y="1182"/>
                  </a:lnTo>
                  <a:lnTo>
                    <a:pt x="31" y="1182"/>
                  </a:lnTo>
                  <a:lnTo>
                    <a:pt x="31" y="1182"/>
                  </a:lnTo>
                  <a:lnTo>
                    <a:pt x="31" y="1182"/>
                  </a:lnTo>
                  <a:lnTo>
                    <a:pt x="31" y="1182"/>
                  </a:lnTo>
                  <a:lnTo>
                    <a:pt x="31" y="1182"/>
                  </a:lnTo>
                  <a:lnTo>
                    <a:pt x="36" y="1182"/>
                  </a:lnTo>
                  <a:close/>
                  <a:moveTo>
                    <a:pt x="31" y="1178"/>
                  </a:moveTo>
                  <a:lnTo>
                    <a:pt x="31" y="1178"/>
                  </a:lnTo>
                  <a:lnTo>
                    <a:pt x="31" y="1178"/>
                  </a:lnTo>
                  <a:lnTo>
                    <a:pt x="31" y="1178"/>
                  </a:lnTo>
                  <a:lnTo>
                    <a:pt x="36" y="1178"/>
                  </a:lnTo>
                  <a:lnTo>
                    <a:pt x="36" y="1178"/>
                  </a:lnTo>
                  <a:lnTo>
                    <a:pt x="36" y="1178"/>
                  </a:lnTo>
                  <a:lnTo>
                    <a:pt x="36" y="1178"/>
                  </a:lnTo>
                  <a:lnTo>
                    <a:pt x="36" y="1178"/>
                  </a:lnTo>
                  <a:lnTo>
                    <a:pt x="36" y="1173"/>
                  </a:lnTo>
                  <a:lnTo>
                    <a:pt x="36" y="1173"/>
                  </a:lnTo>
                  <a:lnTo>
                    <a:pt x="40" y="1173"/>
                  </a:lnTo>
                  <a:lnTo>
                    <a:pt x="40" y="1173"/>
                  </a:lnTo>
                  <a:lnTo>
                    <a:pt x="36" y="1173"/>
                  </a:lnTo>
                  <a:lnTo>
                    <a:pt x="36" y="1169"/>
                  </a:lnTo>
                  <a:lnTo>
                    <a:pt x="36" y="1169"/>
                  </a:lnTo>
                  <a:lnTo>
                    <a:pt x="36" y="1169"/>
                  </a:lnTo>
                  <a:lnTo>
                    <a:pt x="36" y="1169"/>
                  </a:lnTo>
                  <a:lnTo>
                    <a:pt x="31" y="1169"/>
                  </a:lnTo>
                  <a:lnTo>
                    <a:pt x="36" y="1173"/>
                  </a:lnTo>
                  <a:lnTo>
                    <a:pt x="36" y="1173"/>
                  </a:lnTo>
                  <a:lnTo>
                    <a:pt x="36" y="1173"/>
                  </a:lnTo>
                  <a:lnTo>
                    <a:pt x="36" y="1173"/>
                  </a:lnTo>
                  <a:lnTo>
                    <a:pt x="36" y="1173"/>
                  </a:lnTo>
                  <a:lnTo>
                    <a:pt x="36" y="1173"/>
                  </a:lnTo>
                  <a:lnTo>
                    <a:pt x="36" y="1178"/>
                  </a:lnTo>
                  <a:lnTo>
                    <a:pt x="36" y="1178"/>
                  </a:lnTo>
                  <a:lnTo>
                    <a:pt x="36" y="1178"/>
                  </a:lnTo>
                  <a:lnTo>
                    <a:pt x="36" y="1178"/>
                  </a:lnTo>
                  <a:lnTo>
                    <a:pt x="36" y="1178"/>
                  </a:lnTo>
                  <a:lnTo>
                    <a:pt x="31" y="1178"/>
                  </a:lnTo>
                  <a:close/>
                  <a:moveTo>
                    <a:pt x="40" y="1142"/>
                  </a:moveTo>
                  <a:lnTo>
                    <a:pt x="40" y="1147"/>
                  </a:lnTo>
                  <a:lnTo>
                    <a:pt x="40" y="1147"/>
                  </a:lnTo>
                  <a:lnTo>
                    <a:pt x="40" y="1147"/>
                  </a:lnTo>
                  <a:lnTo>
                    <a:pt x="40" y="1147"/>
                  </a:lnTo>
                  <a:lnTo>
                    <a:pt x="40" y="1147"/>
                  </a:lnTo>
                  <a:lnTo>
                    <a:pt x="40" y="1147"/>
                  </a:lnTo>
                  <a:lnTo>
                    <a:pt x="40" y="1147"/>
                  </a:lnTo>
                  <a:lnTo>
                    <a:pt x="40" y="1147"/>
                  </a:lnTo>
                  <a:lnTo>
                    <a:pt x="40" y="1147"/>
                  </a:lnTo>
                  <a:lnTo>
                    <a:pt x="45" y="1147"/>
                  </a:lnTo>
                  <a:lnTo>
                    <a:pt x="45" y="1147"/>
                  </a:lnTo>
                  <a:lnTo>
                    <a:pt x="40" y="1147"/>
                  </a:lnTo>
                  <a:lnTo>
                    <a:pt x="40" y="1147"/>
                  </a:lnTo>
                  <a:lnTo>
                    <a:pt x="40" y="1142"/>
                  </a:lnTo>
                  <a:lnTo>
                    <a:pt x="40" y="1142"/>
                  </a:lnTo>
                  <a:lnTo>
                    <a:pt x="40" y="1142"/>
                  </a:lnTo>
                  <a:lnTo>
                    <a:pt x="40" y="1142"/>
                  </a:lnTo>
                  <a:lnTo>
                    <a:pt x="40" y="1142"/>
                  </a:lnTo>
                  <a:lnTo>
                    <a:pt x="40" y="1142"/>
                  </a:lnTo>
                  <a:lnTo>
                    <a:pt x="40" y="1142"/>
                  </a:lnTo>
                  <a:lnTo>
                    <a:pt x="40" y="1142"/>
                  </a:lnTo>
                  <a:close/>
                  <a:moveTo>
                    <a:pt x="45" y="1098"/>
                  </a:moveTo>
                  <a:lnTo>
                    <a:pt x="45" y="1098"/>
                  </a:lnTo>
                  <a:lnTo>
                    <a:pt x="45" y="1098"/>
                  </a:lnTo>
                  <a:lnTo>
                    <a:pt x="49" y="1098"/>
                  </a:lnTo>
                  <a:lnTo>
                    <a:pt x="49" y="1098"/>
                  </a:lnTo>
                  <a:lnTo>
                    <a:pt x="49" y="1098"/>
                  </a:lnTo>
                  <a:lnTo>
                    <a:pt x="49" y="1098"/>
                  </a:lnTo>
                  <a:lnTo>
                    <a:pt x="49" y="1098"/>
                  </a:lnTo>
                  <a:lnTo>
                    <a:pt x="49" y="1098"/>
                  </a:lnTo>
                  <a:lnTo>
                    <a:pt x="45" y="1094"/>
                  </a:lnTo>
                  <a:lnTo>
                    <a:pt x="45" y="1098"/>
                  </a:lnTo>
                  <a:lnTo>
                    <a:pt x="45" y="1098"/>
                  </a:lnTo>
                  <a:lnTo>
                    <a:pt x="45" y="1098"/>
                  </a:lnTo>
                  <a:lnTo>
                    <a:pt x="45" y="1098"/>
                  </a:lnTo>
                  <a:close/>
                  <a:moveTo>
                    <a:pt x="27" y="908"/>
                  </a:moveTo>
                  <a:lnTo>
                    <a:pt x="27" y="908"/>
                  </a:lnTo>
                  <a:lnTo>
                    <a:pt x="22" y="908"/>
                  </a:lnTo>
                  <a:lnTo>
                    <a:pt x="22" y="908"/>
                  </a:lnTo>
                  <a:lnTo>
                    <a:pt x="27" y="912"/>
                  </a:lnTo>
                  <a:lnTo>
                    <a:pt x="27" y="912"/>
                  </a:lnTo>
                  <a:lnTo>
                    <a:pt x="27" y="917"/>
                  </a:lnTo>
                  <a:lnTo>
                    <a:pt x="27" y="917"/>
                  </a:lnTo>
                  <a:lnTo>
                    <a:pt x="27" y="917"/>
                  </a:lnTo>
                  <a:lnTo>
                    <a:pt x="27" y="917"/>
                  </a:lnTo>
                  <a:lnTo>
                    <a:pt x="27" y="917"/>
                  </a:lnTo>
                  <a:lnTo>
                    <a:pt x="27" y="921"/>
                  </a:lnTo>
                  <a:lnTo>
                    <a:pt x="27" y="921"/>
                  </a:lnTo>
                  <a:lnTo>
                    <a:pt x="31" y="921"/>
                  </a:lnTo>
                  <a:lnTo>
                    <a:pt x="31" y="921"/>
                  </a:lnTo>
                  <a:lnTo>
                    <a:pt x="31" y="921"/>
                  </a:lnTo>
                  <a:lnTo>
                    <a:pt x="31" y="921"/>
                  </a:lnTo>
                  <a:lnTo>
                    <a:pt x="31" y="921"/>
                  </a:lnTo>
                  <a:lnTo>
                    <a:pt x="31" y="925"/>
                  </a:lnTo>
                  <a:lnTo>
                    <a:pt x="36" y="925"/>
                  </a:lnTo>
                  <a:lnTo>
                    <a:pt x="36" y="925"/>
                  </a:lnTo>
                  <a:lnTo>
                    <a:pt x="36" y="921"/>
                  </a:lnTo>
                  <a:lnTo>
                    <a:pt x="36" y="921"/>
                  </a:lnTo>
                  <a:lnTo>
                    <a:pt x="36" y="921"/>
                  </a:lnTo>
                  <a:lnTo>
                    <a:pt x="36" y="921"/>
                  </a:lnTo>
                  <a:lnTo>
                    <a:pt x="40" y="917"/>
                  </a:lnTo>
                  <a:lnTo>
                    <a:pt x="40" y="917"/>
                  </a:lnTo>
                  <a:lnTo>
                    <a:pt x="40" y="921"/>
                  </a:lnTo>
                  <a:lnTo>
                    <a:pt x="40" y="921"/>
                  </a:lnTo>
                  <a:lnTo>
                    <a:pt x="40" y="921"/>
                  </a:lnTo>
                  <a:lnTo>
                    <a:pt x="45" y="917"/>
                  </a:lnTo>
                  <a:lnTo>
                    <a:pt x="40" y="917"/>
                  </a:lnTo>
                  <a:lnTo>
                    <a:pt x="40" y="917"/>
                  </a:lnTo>
                  <a:lnTo>
                    <a:pt x="40" y="912"/>
                  </a:lnTo>
                  <a:lnTo>
                    <a:pt x="40" y="912"/>
                  </a:lnTo>
                  <a:lnTo>
                    <a:pt x="40" y="912"/>
                  </a:lnTo>
                  <a:lnTo>
                    <a:pt x="40" y="912"/>
                  </a:lnTo>
                  <a:lnTo>
                    <a:pt x="36" y="912"/>
                  </a:lnTo>
                  <a:lnTo>
                    <a:pt x="36" y="912"/>
                  </a:lnTo>
                  <a:lnTo>
                    <a:pt x="36" y="912"/>
                  </a:lnTo>
                  <a:lnTo>
                    <a:pt x="36" y="917"/>
                  </a:lnTo>
                  <a:lnTo>
                    <a:pt x="36" y="917"/>
                  </a:lnTo>
                  <a:lnTo>
                    <a:pt x="36" y="917"/>
                  </a:lnTo>
                  <a:lnTo>
                    <a:pt x="36" y="917"/>
                  </a:lnTo>
                  <a:lnTo>
                    <a:pt x="36" y="917"/>
                  </a:lnTo>
                  <a:lnTo>
                    <a:pt x="36" y="917"/>
                  </a:lnTo>
                  <a:lnTo>
                    <a:pt x="36" y="917"/>
                  </a:lnTo>
                  <a:lnTo>
                    <a:pt x="31" y="917"/>
                  </a:lnTo>
                  <a:lnTo>
                    <a:pt x="31" y="917"/>
                  </a:lnTo>
                  <a:lnTo>
                    <a:pt x="31" y="917"/>
                  </a:lnTo>
                  <a:lnTo>
                    <a:pt x="31" y="917"/>
                  </a:lnTo>
                  <a:lnTo>
                    <a:pt x="31" y="917"/>
                  </a:lnTo>
                  <a:lnTo>
                    <a:pt x="31" y="912"/>
                  </a:lnTo>
                  <a:lnTo>
                    <a:pt x="31" y="912"/>
                  </a:lnTo>
                  <a:lnTo>
                    <a:pt x="31" y="908"/>
                  </a:lnTo>
                  <a:lnTo>
                    <a:pt x="31" y="908"/>
                  </a:lnTo>
                  <a:lnTo>
                    <a:pt x="31" y="908"/>
                  </a:lnTo>
                  <a:lnTo>
                    <a:pt x="31" y="908"/>
                  </a:lnTo>
                  <a:lnTo>
                    <a:pt x="27" y="908"/>
                  </a:lnTo>
                  <a:close/>
                  <a:moveTo>
                    <a:pt x="71" y="908"/>
                  </a:moveTo>
                  <a:lnTo>
                    <a:pt x="76" y="908"/>
                  </a:lnTo>
                  <a:lnTo>
                    <a:pt x="76" y="908"/>
                  </a:lnTo>
                  <a:lnTo>
                    <a:pt x="76" y="908"/>
                  </a:lnTo>
                  <a:lnTo>
                    <a:pt x="76" y="908"/>
                  </a:lnTo>
                  <a:lnTo>
                    <a:pt x="76" y="903"/>
                  </a:lnTo>
                  <a:lnTo>
                    <a:pt x="76" y="903"/>
                  </a:lnTo>
                  <a:lnTo>
                    <a:pt x="76" y="903"/>
                  </a:lnTo>
                  <a:lnTo>
                    <a:pt x="76" y="903"/>
                  </a:lnTo>
                  <a:lnTo>
                    <a:pt x="71" y="903"/>
                  </a:lnTo>
                  <a:lnTo>
                    <a:pt x="71" y="903"/>
                  </a:lnTo>
                  <a:lnTo>
                    <a:pt x="71" y="903"/>
                  </a:lnTo>
                  <a:lnTo>
                    <a:pt x="76" y="903"/>
                  </a:lnTo>
                  <a:lnTo>
                    <a:pt x="76" y="903"/>
                  </a:lnTo>
                  <a:lnTo>
                    <a:pt x="76" y="908"/>
                  </a:lnTo>
                  <a:lnTo>
                    <a:pt x="71" y="903"/>
                  </a:lnTo>
                  <a:lnTo>
                    <a:pt x="71" y="903"/>
                  </a:lnTo>
                  <a:lnTo>
                    <a:pt x="71" y="908"/>
                  </a:lnTo>
                  <a:lnTo>
                    <a:pt x="71" y="908"/>
                  </a:lnTo>
                  <a:lnTo>
                    <a:pt x="71" y="908"/>
                  </a:lnTo>
                  <a:lnTo>
                    <a:pt x="71" y="908"/>
                  </a:lnTo>
                  <a:lnTo>
                    <a:pt x="71" y="908"/>
                  </a:lnTo>
                  <a:lnTo>
                    <a:pt x="71" y="908"/>
                  </a:lnTo>
                  <a:lnTo>
                    <a:pt x="71" y="908"/>
                  </a:lnTo>
                  <a:lnTo>
                    <a:pt x="71" y="908"/>
                  </a:lnTo>
                  <a:lnTo>
                    <a:pt x="71" y="908"/>
                  </a:lnTo>
                  <a:lnTo>
                    <a:pt x="71" y="908"/>
                  </a:lnTo>
                  <a:lnTo>
                    <a:pt x="71" y="908"/>
                  </a:lnTo>
                  <a:lnTo>
                    <a:pt x="71" y="908"/>
                  </a:lnTo>
                  <a:close/>
                  <a:moveTo>
                    <a:pt x="80" y="908"/>
                  </a:moveTo>
                  <a:lnTo>
                    <a:pt x="84" y="908"/>
                  </a:lnTo>
                  <a:lnTo>
                    <a:pt x="84" y="908"/>
                  </a:lnTo>
                  <a:lnTo>
                    <a:pt x="84" y="908"/>
                  </a:lnTo>
                  <a:lnTo>
                    <a:pt x="84" y="908"/>
                  </a:lnTo>
                  <a:lnTo>
                    <a:pt x="84" y="908"/>
                  </a:lnTo>
                  <a:lnTo>
                    <a:pt x="84" y="908"/>
                  </a:lnTo>
                  <a:lnTo>
                    <a:pt x="84" y="903"/>
                  </a:lnTo>
                  <a:lnTo>
                    <a:pt x="84" y="903"/>
                  </a:lnTo>
                  <a:lnTo>
                    <a:pt x="84" y="903"/>
                  </a:lnTo>
                  <a:lnTo>
                    <a:pt x="84" y="903"/>
                  </a:lnTo>
                  <a:lnTo>
                    <a:pt x="84" y="903"/>
                  </a:lnTo>
                  <a:lnTo>
                    <a:pt x="84" y="903"/>
                  </a:lnTo>
                  <a:lnTo>
                    <a:pt x="84" y="903"/>
                  </a:lnTo>
                  <a:lnTo>
                    <a:pt x="84" y="903"/>
                  </a:lnTo>
                  <a:lnTo>
                    <a:pt x="84" y="903"/>
                  </a:lnTo>
                  <a:lnTo>
                    <a:pt x="84" y="903"/>
                  </a:lnTo>
                  <a:lnTo>
                    <a:pt x="84" y="903"/>
                  </a:lnTo>
                  <a:lnTo>
                    <a:pt x="84" y="903"/>
                  </a:lnTo>
                  <a:lnTo>
                    <a:pt x="84" y="903"/>
                  </a:lnTo>
                  <a:lnTo>
                    <a:pt x="80" y="903"/>
                  </a:lnTo>
                  <a:lnTo>
                    <a:pt x="80" y="903"/>
                  </a:lnTo>
                  <a:lnTo>
                    <a:pt x="80" y="903"/>
                  </a:lnTo>
                  <a:lnTo>
                    <a:pt x="80" y="903"/>
                  </a:lnTo>
                  <a:lnTo>
                    <a:pt x="80" y="903"/>
                  </a:lnTo>
                  <a:lnTo>
                    <a:pt x="80" y="903"/>
                  </a:lnTo>
                  <a:lnTo>
                    <a:pt x="80" y="903"/>
                  </a:lnTo>
                  <a:lnTo>
                    <a:pt x="80" y="903"/>
                  </a:lnTo>
                  <a:lnTo>
                    <a:pt x="80" y="903"/>
                  </a:lnTo>
                  <a:lnTo>
                    <a:pt x="80" y="903"/>
                  </a:lnTo>
                  <a:lnTo>
                    <a:pt x="76" y="903"/>
                  </a:lnTo>
                  <a:lnTo>
                    <a:pt x="76" y="903"/>
                  </a:lnTo>
                  <a:lnTo>
                    <a:pt x="76" y="903"/>
                  </a:lnTo>
                  <a:lnTo>
                    <a:pt x="76" y="903"/>
                  </a:lnTo>
                  <a:lnTo>
                    <a:pt x="76" y="908"/>
                  </a:lnTo>
                  <a:lnTo>
                    <a:pt x="76" y="908"/>
                  </a:lnTo>
                  <a:lnTo>
                    <a:pt x="76" y="908"/>
                  </a:lnTo>
                  <a:lnTo>
                    <a:pt x="76" y="908"/>
                  </a:lnTo>
                  <a:lnTo>
                    <a:pt x="76" y="908"/>
                  </a:lnTo>
                  <a:lnTo>
                    <a:pt x="76" y="908"/>
                  </a:lnTo>
                  <a:lnTo>
                    <a:pt x="76" y="908"/>
                  </a:lnTo>
                  <a:lnTo>
                    <a:pt x="76" y="908"/>
                  </a:lnTo>
                  <a:lnTo>
                    <a:pt x="76" y="912"/>
                  </a:lnTo>
                  <a:lnTo>
                    <a:pt x="76" y="912"/>
                  </a:lnTo>
                  <a:lnTo>
                    <a:pt x="80" y="912"/>
                  </a:lnTo>
                  <a:lnTo>
                    <a:pt x="80" y="912"/>
                  </a:lnTo>
                  <a:lnTo>
                    <a:pt x="80" y="912"/>
                  </a:lnTo>
                  <a:lnTo>
                    <a:pt x="80" y="912"/>
                  </a:lnTo>
                  <a:lnTo>
                    <a:pt x="80" y="912"/>
                  </a:lnTo>
                  <a:lnTo>
                    <a:pt x="80" y="912"/>
                  </a:lnTo>
                  <a:lnTo>
                    <a:pt x="80" y="908"/>
                  </a:lnTo>
                  <a:lnTo>
                    <a:pt x="80" y="908"/>
                  </a:lnTo>
                  <a:lnTo>
                    <a:pt x="80" y="908"/>
                  </a:lnTo>
                  <a:lnTo>
                    <a:pt x="80" y="908"/>
                  </a:lnTo>
                  <a:lnTo>
                    <a:pt x="80" y="908"/>
                  </a:lnTo>
                  <a:close/>
                  <a:moveTo>
                    <a:pt x="36" y="908"/>
                  </a:moveTo>
                  <a:lnTo>
                    <a:pt x="36" y="908"/>
                  </a:lnTo>
                  <a:lnTo>
                    <a:pt x="36" y="908"/>
                  </a:lnTo>
                  <a:lnTo>
                    <a:pt x="36" y="908"/>
                  </a:lnTo>
                  <a:lnTo>
                    <a:pt x="40" y="903"/>
                  </a:lnTo>
                  <a:lnTo>
                    <a:pt x="40" y="903"/>
                  </a:lnTo>
                  <a:lnTo>
                    <a:pt x="40" y="899"/>
                  </a:lnTo>
                  <a:lnTo>
                    <a:pt x="40" y="899"/>
                  </a:lnTo>
                  <a:lnTo>
                    <a:pt x="36" y="899"/>
                  </a:lnTo>
                  <a:lnTo>
                    <a:pt x="36" y="903"/>
                  </a:lnTo>
                  <a:lnTo>
                    <a:pt x="31" y="903"/>
                  </a:lnTo>
                  <a:lnTo>
                    <a:pt x="31" y="903"/>
                  </a:lnTo>
                  <a:lnTo>
                    <a:pt x="31" y="903"/>
                  </a:lnTo>
                  <a:lnTo>
                    <a:pt x="31" y="903"/>
                  </a:lnTo>
                  <a:lnTo>
                    <a:pt x="36" y="908"/>
                  </a:lnTo>
                  <a:lnTo>
                    <a:pt x="36" y="908"/>
                  </a:lnTo>
                  <a:close/>
                  <a:moveTo>
                    <a:pt x="76" y="894"/>
                  </a:moveTo>
                  <a:lnTo>
                    <a:pt x="76" y="894"/>
                  </a:lnTo>
                  <a:lnTo>
                    <a:pt x="76" y="894"/>
                  </a:lnTo>
                  <a:lnTo>
                    <a:pt x="76" y="894"/>
                  </a:lnTo>
                  <a:lnTo>
                    <a:pt x="76" y="894"/>
                  </a:lnTo>
                  <a:lnTo>
                    <a:pt x="76" y="894"/>
                  </a:lnTo>
                  <a:lnTo>
                    <a:pt x="76" y="894"/>
                  </a:lnTo>
                  <a:lnTo>
                    <a:pt x="71" y="894"/>
                  </a:lnTo>
                  <a:lnTo>
                    <a:pt x="71" y="899"/>
                  </a:lnTo>
                  <a:lnTo>
                    <a:pt x="71" y="899"/>
                  </a:lnTo>
                  <a:lnTo>
                    <a:pt x="71" y="899"/>
                  </a:lnTo>
                  <a:lnTo>
                    <a:pt x="71" y="899"/>
                  </a:lnTo>
                  <a:lnTo>
                    <a:pt x="71" y="899"/>
                  </a:lnTo>
                  <a:lnTo>
                    <a:pt x="71" y="899"/>
                  </a:lnTo>
                  <a:lnTo>
                    <a:pt x="71" y="899"/>
                  </a:lnTo>
                  <a:lnTo>
                    <a:pt x="71" y="903"/>
                  </a:lnTo>
                  <a:lnTo>
                    <a:pt x="71" y="903"/>
                  </a:lnTo>
                  <a:lnTo>
                    <a:pt x="71" y="903"/>
                  </a:lnTo>
                  <a:lnTo>
                    <a:pt x="71" y="903"/>
                  </a:lnTo>
                  <a:lnTo>
                    <a:pt x="71" y="903"/>
                  </a:lnTo>
                  <a:lnTo>
                    <a:pt x="71" y="903"/>
                  </a:lnTo>
                  <a:lnTo>
                    <a:pt x="71" y="903"/>
                  </a:lnTo>
                  <a:lnTo>
                    <a:pt x="71" y="899"/>
                  </a:lnTo>
                  <a:lnTo>
                    <a:pt x="71" y="899"/>
                  </a:lnTo>
                  <a:lnTo>
                    <a:pt x="71" y="899"/>
                  </a:lnTo>
                  <a:lnTo>
                    <a:pt x="76" y="899"/>
                  </a:lnTo>
                  <a:lnTo>
                    <a:pt x="76" y="899"/>
                  </a:lnTo>
                  <a:lnTo>
                    <a:pt x="76" y="899"/>
                  </a:lnTo>
                  <a:lnTo>
                    <a:pt x="76" y="899"/>
                  </a:lnTo>
                  <a:lnTo>
                    <a:pt x="76" y="899"/>
                  </a:lnTo>
                  <a:lnTo>
                    <a:pt x="76" y="899"/>
                  </a:lnTo>
                  <a:lnTo>
                    <a:pt x="76" y="899"/>
                  </a:lnTo>
                  <a:lnTo>
                    <a:pt x="76" y="899"/>
                  </a:lnTo>
                  <a:lnTo>
                    <a:pt x="76" y="894"/>
                  </a:lnTo>
                  <a:lnTo>
                    <a:pt x="76" y="894"/>
                  </a:lnTo>
                  <a:lnTo>
                    <a:pt x="76" y="894"/>
                  </a:lnTo>
                  <a:close/>
                  <a:moveTo>
                    <a:pt x="115" y="855"/>
                  </a:moveTo>
                  <a:lnTo>
                    <a:pt x="115" y="855"/>
                  </a:lnTo>
                  <a:lnTo>
                    <a:pt x="115" y="855"/>
                  </a:lnTo>
                  <a:lnTo>
                    <a:pt x="115" y="855"/>
                  </a:lnTo>
                  <a:lnTo>
                    <a:pt x="115" y="855"/>
                  </a:lnTo>
                  <a:lnTo>
                    <a:pt x="115" y="850"/>
                  </a:lnTo>
                  <a:lnTo>
                    <a:pt x="115" y="850"/>
                  </a:lnTo>
                  <a:lnTo>
                    <a:pt x="115" y="850"/>
                  </a:lnTo>
                  <a:lnTo>
                    <a:pt x="115" y="850"/>
                  </a:lnTo>
                  <a:lnTo>
                    <a:pt x="115" y="850"/>
                  </a:lnTo>
                  <a:lnTo>
                    <a:pt x="115" y="850"/>
                  </a:lnTo>
                  <a:lnTo>
                    <a:pt x="115" y="850"/>
                  </a:lnTo>
                  <a:lnTo>
                    <a:pt x="115" y="850"/>
                  </a:lnTo>
                  <a:lnTo>
                    <a:pt x="115" y="850"/>
                  </a:lnTo>
                  <a:lnTo>
                    <a:pt x="115" y="850"/>
                  </a:lnTo>
                  <a:lnTo>
                    <a:pt x="115" y="850"/>
                  </a:lnTo>
                  <a:lnTo>
                    <a:pt x="115" y="850"/>
                  </a:lnTo>
                  <a:lnTo>
                    <a:pt x="111" y="850"/>
                  </a:lnTo>
                  <a:lnTo>
                    <a:pt x="111" y="850"/>
                  </a:lnTo>
                  <a:lnTo>
                    <a:pt x="111" y="850"/>
                  </a:lnTo>
                  <a:lnTo>
                    <a:pt x="111" y="850"/>
                  </a:lnTo>
                  <a:lnTo>
                    <a:pt x="111" y="850"/>
                  </a:lnTo>
                  <a:lnTo>
                    <a:pt x="107" y="850"/>
                  </a:lnTo>
                  <a:lnTo>
                    <a:pt x="107" y="850"/>
                  </a:lnTo>
                  <a:lnTo>
                    <a:pt x="111" y="855"/>
                  </a:lnTo>
                  <a:lnTo>
                    <a:pt x="111" y="855"/>
                  </a:lnTo>
                  <a:lnTo>
                    <a:pt x="111" y="855"/>
                  </a:lnTo>
                  <a:lnTo>
                    <a:pt x="111" y="855"/>
                  </a:lnTo>
                  <a:lnTo>
                    <a:pt x="111" y="855"/>
                  </a:lnTo>
                  <a:lnTo>
                    <a:pt x="111" y="855"/>
                  </a:lnTo>
                  <a:lnTo>
                    <a:pt x="111" y="855"/>
                  </a:lnTo>
                  <a:lnTo>
                    <a:pt x="115" y="855"/>
                  </a:lnTo>
                  <a:lnTo>
                    <a:pt x="115" y="855"/>
                  </a:lnTo>
                  <a:lnTo>
                    <a:pt x="115" y="855"/>
                  </a:lnTo>
                  <a:lnTo>
                    <a:pt x="115" y="855"/>
                  </a:lnTo>
                  <a:lnTo>
                    <a:pt x="115" y="855"/>
                  </a:lnTo>
                  <a:close/>
                  <a:moveTo>
                    <a:pt x="226" y="691"/>
                  </a:moveTo>
                  <a:lnTo>
                    <a:pt x="222" y="691"/>
                  </a:lnTo>
                  <a:lnTo>
                    <a:pt x="217" y="691"/>
                  </a:lnTo>
                  <a:lnTo>
                    <a:pt x="213" y="691"/>
                  </a:lnTo>
                  <a:lnTo>
                    <a:pt x="208" y="695"/>
                  </a:lnTo>
                  <a:lnTo>
                    <a:pt x="208" y="695"/>
                  </a:lnTo>
                  <a:lnTo>
                    <a:pt x="208" y="700"/>
                  </a:lnTo>
                  <a:lnTo>
                    <a:pt x="208" y="700"/>
                  </a:lnTo>
                  <a:lnTo>
                    <a:pt x="208" y="704"/>
                  </a:lnTo>
                  <a:lnTo>
                    <a:pt x="213" y="704"/>
                  </a:lnTo>
                  <a:lnTo>
                    <a:pt x="213" y="704"/>
                  </a:lnTo>
                  <a:lnTo>
                    <a:pt x="213" y="700"/>
                  </a:lnTo>
                  <a:lnTo>
                    <a:pt x="213" y="704"/>
                  </a:lnTo>
                  <a:lnTo>
                    <a:pt x="217" y="704"/>
                  </a:lnTo>
                  <a:lnTo>
                    <a:pt x="217" y="704"/>
                  </a:lnTo>
                  <a:lnTo>
                    <a:pt x="213" y="704"/>
                  </a:lnTo>
                  <a:lnTo>
                    <a:pt x="217" y="708"/>
                  </a:lnTo>
                  <a:lnTo>
                    <a:pt x="217" y="708"/>
                  </a:lnTo>
                  <a:lnTo>
                    <a:pt x="217" y="708"/>
                  </a:lnTo>
                  <a:lnTo>
                    <a:pt x="217" y="708"/>
                  </a:lnTo>
                  <a:lnTo>
                    <a:pt x="217" y="704"/>
                  </a:lnTo>
                  <a:lnTo>
                    <a:pt x="217" y="704"/>
                  </a:lnTo>
                  <a:lnTo>
                    <a:pt x="222" y="704"/>
                  </a:lnTo>
                  <a:lnTo>
                    <a:pt x="222" y="704"/>
                  </a:lnTo>
                  <a:lnTo>
                    <a:pt x="222" y="704"/>
                  </a:lnTo>
                  <a:lnTo>
                    <a:pt x="222" y="704"/>
                  </a:lnTo>
                  <a:lnTo>
                    <a:pt x="222" y="704"/>
                  </a:lnTo>
                  <a:lnTo>
                    <a:pt x="217" y="704"/>
                  </a:lnTo>
                  <a:lnTo>
                    <a:pt x="217" y="700"/>
                  </a:lnTo>
                  <a:lnTo>
                    <a:pt x="222" y="700"/>
                  </a:lnTo>
                  <a:lnTo>
                    <a:pt x="222" y="695"/>
                  </a:lnTo>
                  <a:lnTo>
                    <a:pt x="226" y="695"/>
                  </a:lnTo>
                  <a:lnTo>
                    <a:pt x="230" y="695"/>
                  </a:lnTo>
                  <a:lnTo>
                    <a:pt x="230" y="695"/>
                  </a:lnTo>
                  <a:lnTo>
                    <a:pt x="235" y="695"/>
                  </a:lnTo>
                  <a:lnTo>
                    <a:pt x="230" y="695"/>
                  </a:lnTo>
                  <a:lnTo>
                    <a:pt x="230" y="695"/>
                  </a:lnTo>
                  <a:lnTo>
                    <a:pt x="226" y="695"/>
                  </a:lnTo>
                  <a:lnTo>
                    <a:pt x="226" y="695"/>
                  </a:lnTo>
                  <a:lnTo>
                    <a:pt x="226" y="695"/>
                  </a:lnTo>
                  <a:lnTo>
                    <a:pt x="226" y="691"/>
                  </a:lnTo>
                  <a:lnTo>
                    <a:pt x="226" y="691"/>
                  </a:lnTo>
                  <a:lnTo>
                    <a:pt x="226" y="691"/>
                  </a:lnTo>
                  <a:close/>
                  <a:moveTo>
                    <a:pt x="576" y="952"/>
                  </a:moveTo>
                  <a:lnTo>
                    <a:pt x="576" y="948"/>
                  </a:lnTo>
                  <a:lnTo>
                    <a:pt x="576" y="943"/>
                  </a:lnTo>
                  <a:lnTo>
                    <a:pt x="571" y="943"/>
                  </a:lnTo>
                  <a:lnTo>
                    <a:pt x="571" y="943"/>
                  </a:lnTo>
                  <a:lnTo>
                    <a:pt x="571" y="943"/>
                  </a:lnTo>
                  <a:lnTo>
                    <a:pt x="567" y="934"/>
                  </a:lnTo>
                  <a:lnTo>
                    <a:pt x="567" y="934"/>
                  </a:lnTo>
                  <a:lnTo>
                    <a:pt x="562" y="930"/>
                  </a:lnTo>
                  <a:lnTo>
                    <a:pt x="562" y="930"/>
                  </a:lnTo>
                  <a:lnTo>
                    <a:pt x="562" y="930"/>
                  </a:lnTo>
                  <a:lnTo>
                    <a:pt x="558" y="925"/>
                  </a:lnTo>
                  <a:lnTo>
                    <a:pt x="558" y="921"/>
                  </a:lnTo>
                  <a:lnTo>
                    <a:pt x="558" y="921"/>
                  </a:lnTo>
                  <a:lnTo>
                    <a:pt x="558" y="917"/>
                  </a:lnTo>
                  <a:lnTo>
                    <a:pt x="558" y="917"/>
                  </a:lnTo>
                  <a:lnTo>
                    <a:pt x="558" y="917"/>
                  </a:lnTo>
                  <a:lnTo>
                    <a:pt x="545" y="908"/>
                  </a:lnTo>
                  <a:lnTo>
                    <a:pt x="536" y="899"/>
                  </a:lnTo>
                  <a:lnTo>
                    <a:pt x="527" y="894"/>
                  </a:lnTo>
                  <a:lnTo>
                    <a:pt x="518" y="886"/>
                  </a:lnTo>
                  <a:lnTo>
                    <a:pt x="518" y="886"/>
                  </a:lnTo>
                  <a:lnTo>
                    <a:pt x="518" y="886"/>
                  </a:lnTo>
                  <a:lnTo>
                    <a:pt x="514" y="881"/>
                  </a:lnTo>
                  <a:lnTo>
                    <a:pt x="505" y="872"/>
                  </a:lnTo>
                  <a:lnTo>
                    <a:pt x="496" y="859"/>
                  </a:lnTo>
                  <a:lnTo>
                    <a:pt x="492" y="855"/>
                  </a:lnTo>
                  <a:lnTo>
                    <a:pt x="496" y="855"/>
                  </a:lnTo>
                  <a:lnTo>
                    <a:pt x="496" y="850"/>
                  </a:lnTo>
                  <a:lnTo>
                    <a:pt x="505" y="850"/>
                  </a:lnTo>
                  <a:lnTo>
                    <a:pt x="509" y="846"/>
                  </a:lnTo>
                  <a:lnTo>
                    <a:pt x="514" y="837"/>
                  </a:lnTo>
                  <a:lnTo>
                    <a:pt x="523" y="824"/>
                  </a:lnTo>
                  <a:lnTo>
                    <a:pt x="523" y="824"/>
                  </a:lnTo>
                  <a:lnTo>
                    <a:pt x="523" y="819"/>
                  </a:lnTo>
                  <a:lnTo>
                    <a:pt x="527" y="819"/>
                  </a:lnTo>
                  <a:lnTo>
                    <a:pt x="527" y="815"/>
                  </a:lnTo>
                  <a:lnTo>
                    <a:pt x="523" y="806"/>
                  </a:lnTo>
                  <a:lnTo>
                    <a:pt x="523" y="806"/>
                  </a:lnTo>
                  <a:lnTo>
                    <a:pt x="523" y="806"/>
                  </a:lnTo>
                  <a:lnTo>
                    <a:pt x="523" y="801"/>
                  </a:lnTo>
                  <a:lnTo>
                    <a:pt x="523" y="801"/>
                  </a:lnTo>
                  <a:lnTo>
                    <a:pt x="523" y="797"/>
                  </a:lnTo>
                  <a:lnTo>
                    <a:pt x="523" y="797"/>
                  </a:lnTo>
                  <a:lnTo>
                    <a:pt x="523" y="793"/>
                  </a:lnTo>
                  <a:lnTo>
                    <a:pt x="518" y="793"/>
                  </a:lnTo>
                  <a:lnTo>
                    <a:pt x="518" y="793"/>
                  </a:lnTo>
                  <a:lnTo>
                    <a:pt x="514" y="788"/>
                  </a:lnTo>
                  <a:lnTo>
                    <a:pt x="514" y="788"/>
                  </a:lnTo>
                  <a:lnTo>
                    <a:pt x="509" y="784"/>
                  </a:lnTo>
                  <a:lnTo>
                    <a:pt x="505" y="784"/>
                  </a:lnTo>
                  <a:lnTo>
                    <a:pt x="500" y="779"/>
                  </a:lnTo>
                  <a:lnTo>
                    <a:pt x="496" y="779"/>
                  </a:lnTo>
                  <a:lnTo>
                    <a:pt x="496" y="775"/>
                  </a:lnTo>
                  <a:lnTo>
                    <a:pt x="496" y="770"/>
                  </a:lnTo>
                  <a:lnTo>
                    <a:pt x="496" y="770"/>
                  </a:lnTo>
                  <a:lnTo>
                    <a:pt x="496" y="766"/>
                  </a:lnTo>
                  <a:lnTo>
                    <a:pt x="496" y="762"/>
                  </a:lnTo>
                  <a:lnTo>
                    <a:pt x="492" y="762"/>
                  </a:lnTo>
                  <a:lnTo>
                    <a:pt x="496" y="762"/>
                  </a:lnTo>
                  <a:lnTo>
                    <a:pt x="496" y="762"/>
                  </a:lnTo>
                  <a:lnTo>
                    <a:pt x="492" y="762"/>
                  </a:lnTo>
                  <a:lnTo>
                    <a:pt x="492" y="762"/>
                  </a:lnTo>
                  <a:lnTo>
                    <a:pt x="492" y="762"/>
                  </a:lnTo>
                  <a:lnTo>
                    <a:pt x="492" y="762"/>
                  </a:lnTo>
                  <a:lnTo>
                    <a:pt x="492" y="762"/>
                  </a:lnTo>
                  <a:lnTo>
                    <a:pt x="492" y="757"/>
                  </a:lnTo>
                  <a:lnTo>
                    <a:pt x="492" y="757"/>
                  </a:lnTo>
                  <a:lnTo>
                    <a:pt x="492" y="757"/>
                  </a:lnTo>
                  <a:lnTo>
                    <a:pt x="492" y="753"/>
                  </a:lnTo>
                  <a:lnTo>
                    <a:pt x="492" y="753"/>
                  </a:lnTo>
                  <a:lnTo>
                    <a:pt x="492" y="753"/>
                  </a:lnTo>
                  <a:lnTo>
                    <a:pt x="492" y="753"/>
                  </a:lnTo>
                  <a:lnTo>
                    <a:pt x="492" y="753"/>
                  </a:lnTo>
                  <a:lnTo>
                    <a:pt x="500" y="748"/>
                  </a:lnTo>
                  <a:lnTo>
                    <a:pt x="505" y="748"/>
                  </a:lnTo>
                  <a:lnTo>
                    <a:pt x="505" y="744"/>
                  </a:lnTo>
                  <a:lnTo>
                    <a:pt x="505" y="744"/>
                  </a:lnTo>
                  <a:lnTo>
                    <a:pt x="505" y="739"/>
                  </a:lnTo>
                  <a:lnTo>
                    <a:pt x="500" y="739"/>
                  </a:lnTo>
                  <a:lnTo>
                    <a:pt x="500" y="735"/>
                  </a:lnTo>
                  <a:lnTo>
                    <a:pt x="500" y="735"/>
                  </a:lnTo>
                  <a:lnTo>
                    <a:pt x="500" y="735"/>
                  </a:lnTo>
                  <a:lnTo>
                    <a:pt x="500" y="735"/>
                  </a:lnTo>
                  <a:lnTo>
                    <a:pt x="500" y="731"/>
                  </a:lnTo>
                  <a:lnTo>
                    <a:pt x="500" y="731"/>
                  </a:lnTo>
                  <a:lnTo>
                    <a:pt x="500" y="731"/>
                  </a:lnTo>
                  <a:lnTo>
                    <a:pt x="500" y="731"/>
                  </a:lnTo>
                  <a:lnTo>
                    <a:pt x="500" y="731"/>
                  </a:lnTo>
                  <a:lnTo>
                    <a:pt x="496" y="726"/>
                  </a:lnTo>
                  <a:lnTo>
                    <a:pt x="487" y="726"/>
                  </a:lnTo>
                  <a:lnTo>
                    <a:pt x="483" y="726"/>
                  </a:lnTo>
                  <a:lnTo>
                    <a:pt x="478" y="722"/>
                  </a:lnTo>
                  <a:lnTo>
                    <a:pt x="474" y="713"/>
                  </a:lnTo>
                  <a:lnTo>
                    <a:pt x="474" y="704"/>
                  </a:lnTo>
                  <a:lnTo>
                    <a:pt x="474" y="695"/>
                  </a:lnTo>
                  <a:lnTo>
                    <a:pt x="474" y="695"/>
                  </a:lnTo>
                  <a:lnTo>
                    <a:pt x="478" y="691"/>
                  </a:lnTo>
                  <a:lnTo>
                    <a:pt x="483" y="691"/>
                  </a:lnTo>
                  <a:lnTo>
                    <a:pt x="487" y="686"/>
                  </a:lnTo>
                  <a:lnTo>
                    <a:pt x="487" y="686"/>
                  </a:lnTo>
                  <a:lnTo>
                    <a:pt x="487" y="686"/>
                  </a:lnTo>
                  <a:lnTo>
                    <a:pt x="483" y="686"/>
                  </a:lnTo>
                  <a:lnTo>
                    <a:pt x="483" y="682"/>
                  </a:lnTo>
                  <a:lnTo>
                    <a:pt x="483" y="682"/>
                  </a:lnTo>
                  <a:lnTo>
                    <a:pt x="483" y="682"/>
                  </a:lnTo>
                  <a:lnTo>
                    <a:pt x="487" y="682"/>
                  </a:lnTo>
                  <a:lnTo>
                    <a:pt x="487" y="682"/>
                  </a:lnTo>
                  <a:lnTo>
                    <a:pt x="487" y="678"/>
                  </a:lnTo>
                  <a:lnTo>
                    <a:pt x="483" y="673"/>
                  </a:lnTo>
                  <a:lnTo>
                    <a:pt x="474" y="673"/>
                  </a:lnTo>
                  <a:lnTo>
                    <a:pt x="474" y="673"/>
                  </a:lnTo>
                  <a:lnTo>
                    <a:pt x="474" y="669"/>
                  </a:lnTo>
                  <a:lnTo>
                    <a:pt x="478" y="660"/>
                  </a:lnTo>
                  <a:lnTo>
                    <a:pt x="478" y="655"/>
                  </a:lnTo>
                  <a:lnTo>
                    <a:pt x="478" y="642"/>
                  </a:lnTo>
                  <a:lnTo>
                    <a:pt x="478" y="638"/>
                  </a:lnTo>
                  <a:lnTo>
                    <a:pt x="478" y="638"/>
                  </a:lnTo>
                  <a:lnTo>
                    <a:pt x="478" y="638"/>
                  </a:lnTo>
                  <a:lnTo>
                    <a:pt x="483" y="638"/>
                  </a:lnTo>
                  <a:lnTo>
                    <a:pt x="487" y="633"/>
                  </a:lnTo>
                  <a:lnTo>
                    <a:pt x="487" y="629"/>
                  </a:lnTo>
                  <a:lnTo>
                    <a:pt x="483" y="629"/>
                  </a:lnTo>
                  <a:lnTo>
                    <a:pt x="478" y="624"/>
                  </a:lnTo>
                  <a:lnTo>
                    <a:pt x="478" y="620"/>
                  </a:lnTo>
                  <a:lnTo>
                    <a:pt x="483" y="620"/>
                  </a:lnTo>
                  <a:lnTo>
                    <a:pt x="496" y="616"/>
                  </a:lnTo>
                  <a:lnTo>
                    <a:pt x="496" y="616"/>
                  </a:lnTo>
                  <a:lnTo>
                    <a:pt x="500" y="620"/>
                  </a:lnTo>
                  <a:lnTo>
                    <a:pt x="500" y="616"/>
                  </a:lnTo>
                  <a:lnTo>
                    <a:pt x="500" y="616"/>
                  </a:lnTo>
                  <a:lnTo>
                    <a:pt x="500" y="611"/>
                  </a:lnTo>
                  <a:lnTo>
                    <a:pt x="500" y="598"/>
                  </a:lnTo>
                  <a:lnTo>
                    <a:pt x="500" y="598"/>
                  </a:lnTo>
                  <a:lnTo>
                    <a:pt x="496" y="593"/>
                  </a:lnTo>
                  <a:lnTo>
                    <a:pt x="496" y="585"/>
                  </a:lnTo>
                  <a:lnTo>
                    <a:pt x="496" y="585"/>
                  </a:lnTo>
                  <a:lnTo>
                    <a:pt x="492" y="576"/>
                  </a:lnTo>
                  <a:lnTo>
                    <a:pt x="492" y="576"/>
                  </a:lnTo>
                  <a:lnTo>
                    <a:pt x="492" y="567"/>
                  </a:lnTo>
                  <a:lnTo>
                    <a:pt x="487" y="558"/>
                  </a:lnTo>
                  <a:lnTo>
                    <a:pt x="487" y="558"/>
                  </a:lnTo>
                  <a:lnTo>
                    <a:pt x="483" y="549"/>
                  </a:lnTo>
                  <a:lnTo>
                    <a:pt x="478" y="540"/>
                  </a:lnTo>
                  <a:lnTo>
                    <a:pt x="474" y="536"/>
                  </a:lnTo>
                  <a:lnTo>
                    <a:pt x="474" y="527"/>
                  </a:lnTo>
                  <a:lnTo>
                    <a:pt x="469" y="523"/>
                  </a:lnTo>
                  <a:lnTo>
                    <a:pt x="469" y="518"/>
                  </a:lnTo>
                  <a:lnTo>
                    <a:pt x="469" y="518"/>
                  </a:lnTo>
                  <a:lnTo>
                    <a:pt x="469" y="514"/>
                  </a:lnTo>
                  <a:lnTo>
                    <a:pt x="469" y="509"/>
                  </a:lnTo>
                  <a:lnTo>
                    <a:pt x="465" y="500"/>
                  </a:lnTo>
                  <a:lnTo>
                    <a:pt x="461" y="500"/>
                  </a:lnTo>
                  <a:lnTo>
                    <a:pt x="461" y="496"/>
                  </a:lnTo>
                  <a:lnTo>
                    <a:pt x="461" y="496"/>
                  </a:lnTo>
                  <a:lnTo>
                    <a:pt x="461" y="496"/>
                  </a:lnTo>
                  <a:lnTo>
                    <a:pt x="461" y="492"/>
                  </a:lnTo>
                  <a:lnTo>
                    <a:pt x="461" y="492"/>
                  </a:lnTo>
                  <a:lnTo>
                    <a:pt x="461" y="483"/>
                  </a:lnTo>
                  <a:lnTo>
                    <a:pt x="447" y="465"/>
                  </a:lnTo>
                  <a:lnTo>
                    <a:pt x="443" y="456"/>
                  </a:lnTo>
                  <a:lnTo>
                    <a:pt x="447" y="443"/>
                  </a:lnTo>
                  <a:lnTo>
                    <a:pt x="447" y="443"/>
                  </a:lnTo>
                  <a:lnTo>
                    <a:pt x="447" y="443"/>
                  </a:lnTo>
                  <a:lnTo>
                    <a:pt x="447" y="443"/>
                  </a:lnTo>
                  <a:lnTo>
                    <a:pt x="465" y="412"/>
                  </a:lnTo>
                  <a:lnTo>
                    <a:pt x="465" y="407"/>
                  </a:lnTo>
                  <a:lnTo>
                    <a:pt x="469" y="407"/>
                  </a:lnTo>
                  <a:lnTo>
                    <a:pt x="469" y="407"/>
                  </a:lnTo>
                  <a:lnTo>
                    <a:pt x="469" y="403"/>
                  </a:lnTo>
                  <a:lnTo>
                    <a:pt x="469" y="403"/>
                  </a:lnTo>
                  <a:lnTo>
                    <a:pt x="492" y="372"/>
                  </a:lnTo>
                  <a:lnTo>
                    <a:pt x="492" y="372"/>
                  </a:lnTo>
                  <a:lnTo>
                    <a:pt x="492" y="363"/>
                  </a:lnTo>
                  <a:lnTo>
                    <a:pt x="492" y="363"/>
                  </a:lnTo>
                  <a:lnTo>
                    <a:pt x="492" y="354"/>
                  </a:lnTo>
                  <a:lnTo>
                    <a:pt x="492" y="350"/>
                  </a:lnTo>
                  <a:lnTo>
                    <a:pt x="492" y="350"/>
                  </a:lnTo>
                  <a:lnTo>
                    <a:pt x="496" y="350"/>
                  </a:lnTo>
                  <a:lnTo>
                    <a:pt x="478" y="332"/>
                  </a:lnTo>
                  <a:lnTo>
                    <a:pt x="474" y="328"/>
                  </a:lnTo>
                  <a:lnTo>
                    <a:pt x="465" y="310"/>
                  </a:lnTo>
                  <a:lnTo>
                    <a:pt x="465" y="306"/>
                  </a:lnTo>
                  <a:lnTo>
                    <a:pt x="465" y="306"/>
                  </a:lnTo>
                  <a:lnTo>
                    <a:pt x="461" y="297"/>
                  </a:lnTo>
                  <a:lnTo>
                    <a:pt x="461" y="292"/>
                  </a:lnTo>
                  <a:lnTo>
                    <a:pt x="456" y="292"/>
                  </a:lnTo>
                  <a:lnTo>
                    <a:pt x="443" y="288"/>
                  </a:lnTo>
                  <a:lnTo>
                    <a:pt x="425" y="279"/>
                  </a:lnTo>
                  <a:lnTo>
                    <a:pt x="425" y="279"/>
                  </a:lnTo>
                  <a:lnTo>
                    <a:pt x="425" y="275"/>
                  </a:lnTo>
                  <a:lnTo>
                    <a:pt x="416" y="239"/>
                  </a:lnTo>
                  <a:lnTo>
                    <a:pt x="412" y="235"/>
                  </a:lnTo>
                  <a:lnTo>
                    <a:pt x="412" y="230"/>
                  </a:lnTo>
                  <a:lnTo>
                    <a:pt x="412" y="230"/>
                  </a:lnTo>
                  <a:lnTo>
                    <a:pt x="412" y="226"/>
                  </a:lnTo>
                  <a:lnTo>
                    <a:pt x="425" y="199"/>
                  </a:lnTo>
                  <a:lnTo>
                    <a:pt x="430" y="195"/>
                  </a:lnTo>
                  <a:lnTo>
                    <a:pt x="430" y="186"/>
                  </a:lnTo>
                  <a:lnTo>
                    <a:pt x="425" y="182"/>
                  </a:lnTo>
                  <a:lnTo>
                    <a:pt x="421" y="177"/>
                  </a:lnTo>
                  <a:lnTo>
                    <a:pt x="412" y="182"/>
                  </a:lnTo>
                  <a:lnTo>
                    <a:pt x="412" y="182"/>
                  </a:lnTo>
                  <a:lnTo>
                    <a:pt x="412" y="177"/>
                  </a:lnTo>
                  <a:lnTo>
                    <a:pt x="412" y="177"/>
                  </a:lnTo>
                  <a:lnTo>
                    <a:pt x="412" y="177"/>
                  </a:lnTo>
                  <a:lnTo>
                    <a:pt x="425" y="164"/>
                  </a:lnTo>
                  <a:lnTo>
                    <a:pt x="434" y="164"/>
                  </a:lnTo>
                  <a:lnTo>
                    <a:pt x="438" y="155"/>
                  </a:lnTo>
                  <a:lnTo>
                    <a:pt x="434" y="151"/>
                  </a:lnTo>
                  <a:lnTo>
                    <a:pt x="434" y="146"/>
                  </a:lnTo>
                  <a:lnTo>
                    <a:pt x="434" y="146"/>
                  </a:lnTo>
                  <a:lnTo>
                    <a:pt x="434" y="133"/>
                  </a:lnTo>
                  <a:lnTo>
                    <a:pt x="434" y="129"/>
                  </a:lnTo>
                  <a:lnTo>
                    <a:pt x="434" y="129"/>
                  </a:lnTo>
                  <a:lnTo>
                    <a:pt x="452" y="106"/>
                  </a:lnTo>
                  <a:lnTo>
                    <a:pt x="461" y="93"/>
                  </a:lnTo>
                  <a:lnTo>
                    <a:pt x="452" y="71"/>
                  </a:lnTo>
                  <a:lnTo>
                    <a:pt x="447" y="62"/>
                  </a:lnTo>
                  <a:lnTo>
                    <a:pt x="447" y="58"/>
                  </a:lnTo>
                  <a:lnTo>
                    <a:pt x="430" y="53"/>
                  </a:lnTo>
                  <a:lnTo>
                    <a:pt x="416" y="44"/>
                  </a:lnTo>
                  <a:lnTo>
                    <a:pt x="412" y="40"/>
                  </a:lnTo>
                  <a:lnTo>
                    <a:pt x="412" y="40"/>
                  </a:lnTo>
                  <a:lnTo>
                    <a:pt x="407" y="36"/>
                  </a:lnTo>
                  <a:lnTo>
                    <a:pt x="407" y="31"/>
                  </a:lnTo>
                  <a:lnTo>
                    <a:pt x="399" y="27"/>
                  </a:lnTo>
                  <a:lnTo>
                    <a:pt x="399" y="27"/>
                  </a:lnTo>
                  <a:lnTo>
                    <a:pt x="390" y="9"/>
                  </a:lnTo>
                  <a:lnTo>
                    <a:pt x="385" y="0"/>
                  </a:lnTo>
                  <a:lnTo>
                    <a:pt x="385" y="0"/>
                  </a:lnTo>
                  <a:lnTo>
                    <a:pt x="381" y="0"/>
                  </a:lnTo>
                  <a:lnTo>
                    <a:pt x="377" y="0"/>
                  </a:lnTo>
                  <a:lnTo>
                    <a:pt x="372" y="0"/>
                  </a:lnTo>
                  <a:lnTo>
                    <a:pt x="368" y="0"/>
                  </a:lnTo>
                  <a:lnTo>
                    <a:pt x="368" y="5"/>
                  </a:lnTo>
                  <a:lnTo>
                    <a:pt x="368" y="5"/>
                  </a:lnTo>
                  <a:lnTo>
                    <a:pt x="359" y="9"/>
                  </a:lnTo>
                  <a:lnTo>
                    <a:pt x="354" y="13"/>
                  </a:lnTo>
                  <a:lnTo>
                    <a:pt x="354" y="13"/>
                  </a:lnTo>
                  <a:lnTo>
                    <a:pt x="354" y="13"/>
                  </a:lnTo>
                  <a:lnTo>
                    <a:pt x="354" y="13"/>
                  </a:lnTo>
                  <a:lnTo>
                    <a:pt x="354" y="18"/>
                  </a:lnTo>
                  <a:lnTo>
                    <a:pt x="354" y="18"/>
                  </a:lnTo>
                  <a:lnTo>
                    <a:pt x="354" y="18"/>
                  </a:lnTo>
                  <a:lnTo>
                    <a:pt x="354" y="18"/>
                  </a:lnTo>
                  <a:lnTo>
                    <a:pt x="354" y="22"/>
                  </a:lnTo>
                  <a:lnTo>
                    <a:pt x="341" y="27"/>
                  </a:lnTo>
                  <a:lnTo>
                    <a:pt x="341" y="27"/>
                  </a:lnTo>
                  <a:lnTo>
                    <a:pt x="337" y="22"/>
                  </a:lnTo>
                  <a:lnTo>
                    <a:pt x="337" y="22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28" y="18"/>
                  </a:lnTo>
                  <a:lnTo>
                    <a:pt x="323" y="22"/>
                  </a:lnTo>
                  <a:lnTo>
                    <a:pt x="319" y="18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10" y="27"/>
                  </a:lnTo>
                  <a:lnTo>
                    <a:pt x="306" y="27"/>
                  </a:lnTo>
                  <a:lnTo>
                    <a:pt x="306" y="31"/>
                  </a:lnTo>
                  <a:lnTo>
                    <a:pt x="306" y="31"/>
                  </a:lnTo>
                  <a:lnTo>
                    <a:pt x="306" y="36"/>
                  </a:lnTo>
                  <a:lnTo>
                    <a:pt x="301" y="40"/>
                  </a:lnTo>
                  <a:lnTo>
                    <a:pt x="297" y="49"/>
                  </a:lnTo>
                  <a:lnTo>
                    <a:pt x="297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84" y="58"/>
                  </a:lnTo>
                  <a:lnTo>
                    <a:pt x="284" y="58"/>
                  </a:lnTo>
                  <a:lnTo>
                    <a:pt x="284" y="58"/>
                  </a:lnTo>
                  <a:lnTo>
                    <a:pt x="284" y="62"/>
                  </a:lnTo>
                  <a:lnTo>
                    <a:pt x="284" y="62"/>
                  </a:lnTo>
                  <a:lnTo>
                    <a:pt x="284" y="67"/>
                  </a:lnTo>
                  <a:lnTo>
                    <a:pt x="284" y="67"/>
                  </a:lnTo>
                  <a:lnTo>
                    <a:pt x="284" y="71"/>
                  </a:lnTo>
                  <a:lnTo>
                    <a:pt x="284" y="71"/>
                  </a:lnTo>
                  <a:lnTo>
                    <a:pt x="284" y="75"/>
                  </a:lnTo>
                  <a:lnTo>
                    <a:pt x="279" y="80"/>
                  </a:lnTo>
                  <a:lnTo>
                    <a:pt x="279" y="80"/>
                  </a:lnTo>
                  <a:lnTo>
                    <a:pt x="279" y="84"/>
                  </a:lnTo>
                  <a:lnTo>
                    <a:pt x="279" y="84"/>
                  </a:lnTo>
                  <a:lnTo>
                    <a:pt x="279" y="84"/>
                  </a:lnTo>
                  <a:lnTo>
                    <a:pt x="279" y="84"/>
                  </a:lnTo>
                  <a:lnTo>
                    <a:pt x="279" y="89"/>
                  </a:lnTo>
                  <a:lnTo>
                    <a:pt x="279" y="89"/>
                  </a:lnTo>
                  <a:lnTo>
                    <a:pt x="279" y="93"/>
                  </a:lnTo>
                  <a:lnTo>
                    <a:pt x="279" y="93"/>
                  </a:lnTo>
                  <a:lnTo>
                    <a:pt x="275" y="93"/>
                  </a:lnTo>
                  <a:lnTo>
                    <a:pt x="275" y="98"/>
                  </a:lnTo>
                  <a:lnTo>
                    <a:pt x="275" y="106"/>
                  </a:lnTo>
                  <a:lnTo>
                    <a:pt x="279" y="106"/>
                  </a:lnTo>
                  <a:lnTo>
                    <a:pt x="270" y="115"/>
                  </a:lnTo>
                  <a:lnTo>
                    <a:pt x="270" y="115"/>
                  </a:lnTo>
                  <a:lnTo>
                    <a:pt x="270" y="129"/>
                  </a:lnTo>
                  <a:lnTo>
                    <a:pt x="270" y="133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42"/>
                  </a:lnTo>
                  <a:lnTo>
                    <a:pt x="270" y="142"/>
                  </a:lnTo>
                  <a:lnTo>
                    <a:pt x="270" y="142"/>
                  </a:lnTo>
                  <a:lnTo>
                    <a:pt x="270" y="142"/>
                  </a:lnTo>
                  <a:lnTo>
                    <a:pt x="270" y="142"/>
                  </a:lnTo>
                  <a:lnTo>
                    <a:pt x="270" y="146"/>
                  </a:lnTo>
                  <a:lnTo>
                    <a:pt x="270" y="151"/>
                  </a:lnTo>
                  <a:lnTo>
                    <a:pt x="270" y="151"/>
                  </a:lnTo>
                  <a:lnTo>
                    <a:pt x="270" y="151"/>
                  </a:lnTo>
                  <a:lnTo>
                    <a:pt x="270" y="155"/>
                  </a:lnTo>
                  <a:lnTo>
                    <a:pt x="270" y="155"/>
                  </a:lnTo>
                  <a:lnTo>
                    <a:pt x="270" y="155"/>
                  </a:lnTo>
                  <a:lnTo>
                    <a:pt x="270" y="155"/>
                  </a:lnTo>
                  <a:lnTo>
                    <a:pt x="270" y="155"/>
                  </a:lnTo>
                  <a:lnTo>
                    <a:pt x="275" y="160"/>
                  </a:lnTo>
                  <a:lnTo>
                    <a:pt x="275" y="160"/>
                  </a:lnTo>
                  <a:lnTo>
                    <a:pt x="275" y="160"/>
                  </a:lnTo>
                  <a:lnTo>
                    <a:pt x="275" y="160"/>
                  </a:lnTo>
                  <a:lnTo>
                    <a:pt x="270" y="164"/>
                  </a:lnTo>
                  <a:lnTo>
                    <a:pt x="270" y="164"/>
                  </a:lnTo>
                  <a:lnTo>
                    <a:pt x="270" y="168"/>
                  </a:lnTo>
                  <a:lnTo>
                    <a:pt x="270" y="168"/>
                  </a:lnTo>
                  <a:lnTo>
                    <a:pt x="266" y="173"/>
                  </a:lnTo>
                  <a:lnTo>
                    <a:pt x="266" y="173"/>
                  </a:lnTo>
                  <a:lnTo>
                    <a:pt x="266" y="177"/>
                  </a:lnTo>
                  <a:lnTo>
                    <a:pt x="266" y="177"/>
                  </a:lnTo>
                  <a:lnTo>
                    <a:pt x="266" y="177"/>
                  </a:lnTo>
                  <a:lnTo>
                    <a:pt x="261" y="177"/>
                  </a:lnTo>
                  <a:lnTo>
                    <a:pt x="257" y="177"/>
                  </a:lnTo>
                  <a:lnTo>
                    <a:pt x="253" y="177"/>
                  </a:lnTo>
                  <a:lnTo>
                    <a:pt x="253" y="177"/>
                  </a:lnTo>
                  <a:lnTo>
                    <a:pt x="239" y="186"/>
                  </a:lnTo>
                  <a:lnTo>
                    <a:pt x="239" y="190"/>
                  </a:lnTo>
                  <a:lnTo>
                    <a:pt x="239" y="195"/>
                  </a:lnTo>
                  <a:lnTo>
                    <a:pt x="239" y="199"/>
                  </a:lnTo>
                  <a:lnTo>
                    <a:pt x="239" y="204"/>
                  </a:lnTo>
                  <a:lnTo>
                    <a:pt x="239" y="204"/>
                  </a:lnTo>
                  <a:lnTo>
                    <a:pt x="239" y="208"/>
                  </a:lnTo>
                  <a:lnTo>
                    <a:pt x="239" y="208"/>
                  </a:lnTo>
                  <a:lnTo>
                    <a:pt x="239" y="208"/>
                  </a:lnTo>
                  <a:lnTo>
                    <a:pt x="239" y="213"/>
                  </a:lnTo>
                  <a:lnTo>
                    <a:pt x="235" y="213"/>
                  </a:lnTo>
                  <a:lnTo>
                    <a:pt x="235" y="213"/>
                  </a:lnTo>
                  <a:lnTo>
                    <a:pt x="235" y="213"/>
                  </a:lnTo>
                  <a:lnTo>
                    <a:pt x="230" y="217"/>
                  </a:lnTo>
                  <a:lnTo>
                    <a:pt x="230" y="217"/>
                  </a:lnTo>
                  <a:lnTo>
                    <a:pt x="226" y="217"/>
                  </a:lnTo>
                  <a:lnTo>
                    <a:pt x="226" y="221"/>
                  </a:lnTo>
                  <a:lnTo>
                    <a:pt x="226" y="221"/>
                  </a:lnTo>
                  <a:lnTo>
                    <a:pt x="226" y="226"/>
                  </a:lnTo>
                  <a:lnTo>
                    <a:pt x="226" y="226"/>
                  </a:lnTo>
                  <a:lnTo>
                    <a:pt x="222" y="226"/>
                  </a:lnTo>
                  <a:lnTo>
                    <a:pt x="222" y="221"/>
                  </a:lnTo>
                  <a:lnTo>
                    <a:pt x="217" y="213"/>
                  </a:lnTo>
                  <a:lnTo>
                    <a:pt x="213" y="208"/>
                  </a:lnTo>
                  <a:lnTo>
                    <a:pt x="204" y="204"/>
                  </a:lnTo>
                  <a:lnTo>
                    <a:pt x="195" y="204"/>
                  </a:lnTo>
                  <a:lnTo>
                    <a:pt x="186" y="199"/>
                  </a:lnTo>
                  <a:lnTo>
                    <a:pt x="186" y="195"/>
                  </a:lnTo>
                  <a:lnTo>
                    <a:pt x="186" y="195"/>
                  </a:lnTo>
                  <a:lnTo>
                    <a:pt x="173" y="186"/>
                  </a:lnTo>
                  <a:lnTo>
                    <a:pt x="168" y="186"/>
                  </a:lnTo>
                  <a:lnTo>
                    <a:pt x="168" y="190"/>
                  </a:lnTo>
                  <a:lnTo>
                    <a:pt x="164" y="195"/>
                  </a:lnTo>
                  <a:lnTo>
                    <a:pt x="164" y="204"/>
                  </a:lnTo>
                  <a:lnTo>
                    <a:pt x="160" y="204"/>
                  </a:lnTo>
                  <a:lnTo>
                    <a:pt x="151" y="208"/>
                  </a:lnTo>
                  <a:lnTo>
                    <a:pt x="137" y="217"/>
                  </a:lnTo>
                  <a:lnTo>
                    <a:pt x="133" y="217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4" y="208"/>
                  </a:lnTo>
                  <a:lnTo>
                    <a:pt x="115" y="208"/>
                  </a:lnTo>
                  <a:lnTo>
                    <a:pt x="102" y="199"/>
                  </a:lnTo>
                  <a:lnTo>
                    <a:pt x="102" y="199"/>
                  </a:lnTo>
                  <a:lnTo>
                    <a:pt x="102" y="199"/>
                  </a:lnTo>
                  <a:lnTo>
                    <a:pt x="93" y="204"/>
                  </a:lnTo>
                  <a:lnTo>
                    <a:pt x="93" y="204"/>
                  </a:lnTo>
                  <a:lnTo>
                    <a:pt x="93" y="199"/>
                  </a:lnTo>
                  <a:lnTo>
                    <a:pt x="93" y="186"/>
                  </a:lnTo>
                  <a:lnTo>
                    <a:pt x="93" y="186"/>
                  </a:lnTo>
                  <a:lnTo>
                    <a:pt x="89" y="182"/>
                  </a:lnTo>
                  <a:lnTo>
                    <a:pt x="84" y="173"/>
                  </a:lnTo>
                  <a:lnTo>
                    <a:pt x="84" y="173"/>
                  </a:lnTo>
                  <a:lnTo>
                    <a:pt x="80" y="168"/>
                  </a:lnTo>
                  <a:lnTo>
                    <a:pt x="80" y="168"/>
                  </a:lnTo>
                  <a:lnTo>
                    <a:pt x="76" y="160"/>
                  </a:lnTo>
                  <a:lnTo>
                    <a:pt x="71" y="151"/>
                  </a:lnTo>
                  <a:lnTo>
                    <a:pt x="53" y="120"/>
                  </a:lnTo>
                  <a:lnTo>
                    <a:pt x="53" y="120"/>
                  </a:lnTo>
                  <a:lnTo>
                    <a:pt x="36" y="115"/>
                  </a:lnTo>
                  <a:lnTo>
                    <a:pt x="27" y="124"/>
                  </a:lnTo>
                  <a:lnTo>
                    <a:pt x="22" y="129"/>
                  </a:lnTo>
                  <a:lnTo>
                    <a:pt x="22" y="129"/>
                  </a:lnTo>
                  <a:lnTo>
                    <a:pt x="22" y="133"/>
                  </a:lnTo>
                  <a:lnTo>
                    <a:pt x="27" y="146"/>
                  </a:lnTo>
                  <a:lnTo>
                    <a:pt x="27" y="155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0" y="155"/>
                  </a:lnTo>
                  <a:lnTo>
                    <a:pt x="5" y="160"/>
                  </a:lnTo>
                  <a:lnTo>
                    <a:pt x="9" y="160"/>
                  </a:lnTo>
                  <a:lnTo>
                    <a:pt x="14" y="164"/>
                  </a:lnTo>
                  <a:lnTo>
                    <a:pt x="14" y="164"/>
                  </a:lnTo>
                  <a:lnTo>
                    <a:pt x="18" y="164"/>
                  </a:lnTo>
                  <a:lnTo>
                    <a:pt x="18" y="168"/>
                  </a:lnTo>
                  <a:lnTo>
                    <a:pt x="14" y="168"/>
                  </a:lnTo>
                  <a:lnTo>
                    <a:pt x="14" y="173"/>
                  </a:lnTo>
                  <a:lnTo>
                    <a:pt x="14" y="173"/>
                  </a:lnTo>
                  <a:lnTo>
                    <a:pt x="14" y="177"/>
                  </a:lnTo>
                  <a:lnTo>
                    <a:pt x="22" y="182"/>
                  </a:lnTo>
                  <a:lnTo>
                    <a:pt x="27" y="182"/>
                  </a:lnTo>
                  <a:lnTo>
                    <a:pt x="31" y="186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40" y="195"/>
                  </a:lnTo>
                  <a:lnTo>
                    <a:pt x="40" y="199"/>
                  </a:lnTo>
                  <a:lnTo>
                    <a:pt x="40" y="199"/>
                  </a:lnTo>
                  <a:lnTo>
                    <a:pt x="40" y="199"/>
                  </a:lnTo>
                  <a:lnTo>
                    <a:pt x="45" y="204"/>
                  </a:lnTo>
                  <a:lnTo>
                    <a:pt x="45" y="208"/>
                  </a:lnTo>
                  <a:lnTo>
                    <a:pt x="45" y="208"/>
                  </a:lnTo>
                  <a:lnTo>
                    <a:pt x="49" y="208"/>
                  </a:lnTo>
                  <a:lnTo>
                    <a:pt x="53" y="213"/>
                  </a:lnTo>
                  <a:lnTo>
                    <a:pt x="58" y="217"/>
                  </a:lnTo>
                  <a:lnTo>
                    <a:pt x="58" y="221"/>
                  </a:lnTo>
                  <a:lnTo>
                    <a:pt x="67" y="221"/>
                  </a:lnTo>
                  <a:lnTo>
                    <a:pt x="71" y="226"/>
                  </a:lnTo>
                  <a:lnTo>
                    <a:pt x="71" y="226"/>
                  </a:lnTo>
                  <a:lnTo>
                    <a:pt x="71" y="230"/>
                  </a:lnTo>
                  <a:lnTo>
                    <a:pt x="71" y="230"/>
                  </a:lnTo>
                  <a:lnTo>
                    <a:pt x="76" y="230"/>
                  </a:lnTo>
                  <a:lnTo>
                    <a:pt x="76" y="230"/>
                  </a:lnTo>
                  <a:lnTo>
                    <a:pt x="76" y="230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89" y="235"/>
                  </a:lnTo>
                  <a:lnTo>
                    <a:pt x="93" y="239"/>
                  </a:lnTo>
                  <a:lnTo>
                    <a:pt x="93" y="239"/>
                  </a:lnTo>
                  <a:lnTo>
                    <a:pt x="93" y="239"/>
                  </a:lnTo>
                  <a:lnTo>
                    <a:pt x="93" y="239"/>
                  </a:lnTo>
                  <a:lnTo>
                    <a:pt x="98" y="239"/>
                  </a:lnTo>
                  <a:lnTo>
                    <a:pt x="102" y="244"/>
                  </a:lnTo>
                  <a:lnTo>
                    <a:pt x="102" y="244"/>
                  </a:lnTo>
                  <a:lnTo>
                    <a:pt x="107" y="244"/>
                  </a:lnTo>
                  <a:lnTo>
                    <a:pt x="107" y="244"/>
                  </a:lnTo>
                  <a:lnTo>
                    <a:pt x="107" y="244"/>
                  </a:lnTo>
                  <a:lnTo>
                    <a:pt x="107" y="244"/>
                  </a:lnTo>
                  <a:lnTo>
                    <a:pt x="111" y="244"/>
                  </a:lnTo>
                  <a:lnTo>
                    <a:pt x="111" y="248"/>
                  </a:lnTo>
                  <a:lnTo>
                    <a:pt x="111" y="248"/>
                  </a:lnTo>
                  <a:lnTo>
                    <a:pt x="115" y="248"/>
                  </a:lnTo>
                  <a:lnTo>
                    <a:pt x="115" y="248"/>
                  </a:lnTo>
                  <a:lnTo>
                    <a:pt x="120" y="252"/>
                  </a:lnTo>
                  <a:lnTo>
                    <a:pt x="120" y="257"/>
                  </a:lnTo>
                  <a:lnTo>
                    <a:pt x="129" y="261"/>
                  </a:lnTo>
                  <a:lnTo>
                    <a:pt x="129" y="261"/>
                  </a:lnTo>
                  <a:lnTo>
                    <a:pt x="129" y="266"/>
                  </a:lnTo>
                  <a:lnTo>
                    <a:pt x="129" y="266"/>
                  </a:lnTo>
                  <a:lnTo>
                    <a:pt x="129" y="266"/>
                  </a:lnTo>
                  <a:lnTo>
                    <a:pt x="129" y="270"/>
                  </a:lnTo>
                  <a:lnTo>
                    <a:pt x="133" y="270"/>
                  </a:lnTo>
                  <a:lnTo>
                    <a:pt x="133" y="275"/>
                  </a:lnTo>
                  <a:lnTo>
                    <a:pt x="133" y="279"/>
                  </a:lnTo>
                  <a:lnTo>
                    <a:pt x="133" y="279"/>
                  </a:lnTo>
                  <a:lnTo>
                    <a:pt x="133" y="279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8"/>
                  </a:lnTo>
                  <a:lnTo>
                    <a:pt x="133" y="288"/>
                  </a:lnTo>
                  <a:lnTo>
                    <a:pt x="133" y="288"/>
                  </a:lnTo>
                  <a:lnTo>
                    <a:pt x="133" y="288"/>
                  </a:lnTo>
                  <a:lnTo>
                    <a:pt x="133" y="288"/>
                  </a:lnTo>
                  <a:lnTo>
                    <a:pt x="137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2" y="288"/>
                  </a:lnTo>
                  <a:lnTo>
                    <a:pt x="146" y="297"/>
                  </a:lnTo>
                  <a:lnTo>
                    <a:pt x="146" y="297"/>
                  </a:lnTo>
                  <a:lnTo>
                    <a:pt x="146" y="297"/>
                  </a:lnTo>
                  <a:lnTo>
                    <a:pt x="151" y="301"/>
                  </a:lnTo>
                  <a:lnTo>
                    <a:pt x="151" y="301"/>
                  </a:lnTo>
                  <a:lnTo>
                    <a:pt x="155" y="310"/>
                  </a:lnTo>
                  <a:lnTo>
                    <a:pt x="160" y="310"/>
                  </a:lnTo>
                  <a:lnTo>
                    <a:pt x="160" y="310"/>
                  </a:lnTo>
                  <a:lnTo>
                    <a:pt x="160" y="314"/>
                  </a:lnTo>
                  <a:lnTo>
                    <a:pt x="160" y="314"/>
                  </a:lnTo>
                  <a:lnTo>
                    <a:pt x="155" y="319"/>
                  </a:lnTo>
                  <a:lnTo>
                    <a:pt x="155" y="319"/>
                  </a:lnTo>
                  <a:lnTo>
                    <a:pt x="151" y="319"/>
                  </a:lnTo>
                  <a:lnTo>
                    <a:pt x="151" y="323"/>
                  </a:lnTo>
                  <a:lnTo>
                    <a:pt x="151" y="328"/>
                  </a:lnTo>
                  <a:lnTo>
                    <a:pt x="151" y="328"/>
                  </a:lnTo>
                  <a:lnTo>
                    <a:pt x="151" y="332"/>
                  </a:lnTo>
                  <a:lnTo>
                    <a:pt x="151" y="341"/>
                  </a:lnTo>
                  <a:lnTo>
                    <a:pt x="151" y="341"/>
                  </a:lnTo>
                  <a:lnTo>
                    <a:pt x="151" y="345"/>
                  </a:lnTo>
                  <a:lnTo>
                    <a:pt x="151" y="350"/>
                  </a:lnTo>
                  <a:lnTo>
                    <a:pt x="151" y="354"/>
                  </a:lnTo>
                  <a:lnTo>
                    <a:pt x="155" y="354"/>
                  </a:lnTo>
                  <a:lnTo>
                    <a:pt x="155" y="359"/>
                  </a:lnTo>
                  <a:lnTo>
                    <a:pt x="155" y="363"/>
                  </a:lnTo>
                  <a:lnTo>
                    <a:pt x="155" y="363"/>
                  </a:lnTo>
                  <a:lnTo>
                    <a:pt x="151" y="363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72"/>
                  </a:lnTo>
                  <a:lnTo>
                    <a:pt x="151" y="372"/>
                  </a:lnTo>
                  <a:lnTo>
                    <a:pt x="146" y="376"/>
                  </a:lnTo>
                  <a:lnTo>
                    <a:pt x="151" y="381"/>
                  </a:lnTo>
                  <a:lnTo>
                    <a:pt x="151" y="381"/>
                  </a:lnTo>
                  <a:lnTo>
                    <a:pt x="151" y="381"/>
                  </a:lnTo>
                  <a:lnTo>
                    <a:pt x="155" y="381"/>
                  </a:lnTo>
                  <a:lnTo>
                    <a:pt x="155" y="381"/>
                  </a:lnTo>
                  <a:lnTo>
                    <a:pt x="160" y="381"/>
                  </a:lnTo>
                  <a:lnTo>
                    <a:pt x="164" y="385"/>
                  </a:lnTo>
                  <a:lnTo>
                    <a:pt x="164" y="385"/>
                  </a:lnTo>
                  <a:lnTo>
                    <a:pt x="164" y="385"/>
                  </a:lnTo>
                  <a:lnTo>
                    <a:pt x="164" y="390"/>
                  </a:lnTo>
                  <a:lnTo>
                    <a:pt x="164" y="390"/>
                  </a:lnTo>
                  <a:lnTo>
                    <a:pt x="164" y="394"/>
                  </a:lnTo>
                  <a:lnTo>
                    <a:pt x="168" y="394"/>
                  </a:lnTo>
                  <a:lnTo>
                    <a:pt x="164" y="399"/>
                  </a:lnTo>
                  <a:lnTo>
                    <a:pt x="164" y="403"/>
                  </a:lnTo>
                  <a:lnTo>
                    <a:pt x="160" y="407"/>
                  </a:lnTo>
                  <a:lnTo>
                    <a:pt x="155" y="407"/>
                  </a:lnTo>
                  <a:lnTo>
                    <a:pt x="155" y="407"/>
                  </a:lnTo>
                  <a:lnTo>
                    <a:pt x="155" y="412"/>
                  </a:lnTo>
                  <a:lnTo>
                    <a:pt x="155" y="412"/>
                  </a:lnTo>
                  <a:lnTo>
                    <a:pt x="160" y="412"/>
                  </a:lnTo>
                  <a:lnTo>
                    <a:pt x="155" y="416"/>
                  </a:lnTo>
                  <a:lnTo>
                    <a:pt x="155" y="416"/>
                  </a:lnTo>
                  <a:lnTo>
                    <a:pt x="155" y="416"/>
                  </a:lnTo>
                  <a:lnTo>
                    <a:pt x="155" y="416"/>
                  </a:lnTo>
                  <a:lnTo>
                    <a:pt x="155" y="421"/>
                  </a:lnTo>
                  <a:lnTo>
                    <a:pt x="155" y="425"/>
                  </a:lnTo>
                  <a:lnTo>
                    <a:pt x="160" y="425"/>
                  </a:lnTo>
                  <a:lnTo>
                    <a:pt x="160" y="425"/>
                  </a:lnTo>
                  <a:lnTo>
                    <a:pt x="160" y="430"/>
                  </a:lnTo>
                  <a:lnTo>
                    <a:pt x="160" y="430"/>
                  </a:lnTo>
                  <a:lnTo>
                    <a:pt x="160" y="430"/>
                  </a:lnTo>
                  <a:lnTo>
                    <a:pt x="160" y="434"/>
                  </a:lnTo>
                  <a:lnTo>
                    <a:pt x="160" y="434"/>
                  </a:lnTo>
                  <a:lnTo>
                    <a:pt x="160" y="434"/>
                  </a:lnTo>
                  <a:lnTo>
                    <a:pt x="160" y="434"/>
                  </a:lnTo>
                  <a:lnTo>
                    <a:pt x="164" y="438"/>
                  </a:lnTo>
                  <a:lnTo>
                    <a:pt x="164" y="443"/>
                  </a:lnTo>
                  <a:lnTo>
                    <a:pt x="164" y="443"/>
                  </a:lnTo>
                  <a:lnTo>
                    <a:pt x="168" y="443"/>
                  </a:lnTo>
                  <a:lnTo>
                    <a:pt x="168" y="447"/>
                  </a:lnTo>
                  <a:lnTo>
                    <a:pt x="173" y="452"/>
                  </a:lnTo>
                  <a:lnTo>
                    <a:pt x="173" y="456"/>
                  </a:lnTo>
                  <a:lnTo>
                    <a:pt x="173" y="456"/>
                  </a:lnTo>
                  <a:lnTo>
                    <a:pt x="177" y="461"/>
                  </a:lnTo>
                  <a:lnTo>
                    <a:pt x="177" y="465"/>
                  </a:lnTo>
                  <a:lnTo>
                    <a:pt x="177" y="469"/>
                  </a:lnTo>
                  <a:lnTo>
                    <a:pt x="177" y="469"/>
                  </a:lnTo>
                  <a:lnTo>
                    <a:pt x="177" y="469"/>
                  </a:lnTo>
                  <a:lnTo>
                    <a:pt x="177" y="469"/>
                  </a:lnTo>
                  <a:lnTo>
                    <a:pt x="173" y="469"/>
                  </a:lnTo>
                  <a:lnTo>
                    <a:pt x="173" y="474"/>
                  </a:lnTo>
                  <a:lnTo>
                    <a:pt x="173" y="474"/>
                  </a:lnTo>
                  <a:lnTo>
                    <a:pt x="173" y="478"/>
                  </a:lnTo>
                  <a:lnTo>
                    <a:pt x="173" y="483"/>
                  </a:lnTo>
                  <a:lnTo>
                    <a:pt x="173" y="483"/>
                  </a:lnTo>
                  <a:lnTo>
                    <a:pt x="173" y="487"/>
                  </a:lnTo>
                  <a:lnTo>
                    <a:pt x="173" y="487"/>
                  </a:lnTo>
                  <a:lnTo>
                    <a:pt x="173" y="492"/>
                  </a:lnTo>
                  <a:lnTo>
                    <a:pt x="173" y="492"/>
                  </a:lnTo>
                  <a:lnTo>
                    <a:pt x="173" y="496"/>
                  </a:lnTo>
                  <a:lnTo>
                    <a:pt x="173" y="496"/>
                  </a:lnTo>
                  <a:lnTo>
                    <a:pt x="173" y="500"/>
                  </a:lnTo>
                  <a:lnTo>
                    <a:pt x="168" y="500"/>
                  </a:lnTo>
                  <a:lnTo>
                    <a:pt x="168" y="505"/>
                  </a:lnTo>
                  <a:lnTo>
                    <a:pt x="168" y="505"/>
                  </a:lnTo>
                  <a:lnTo>
                    <a:pt x="168" y="505"/>
                  </a:lnTo>
                  <a:lnTo>
                    <a:pt x="164" y="509"/>
                  </a:lnTo>
                  <a:lnTo>
                    <a:pt x="164" y="509"/>
                  </a:lnTo>
                  <a:lnTo>
                    <a:pt x="164" y="509"/>
                  </a:lnTo>
                  <a:lnTo>
                    <a:pt x="164" y="509"/>
                  </a:lnTo>
                  <a:lnTo>
                    <a:pt x="160" y="514"/>
                  </a:lnTo>
                  <a:lnTo>
                    <a:pt x="160" y="514"/>
                  </a:lnTo>
                  <a:lnTo>
                    <a:pt x="160" y="518"/>
                  </a:lnTo>
                  <a:lnTo>
                    <a:pt x="160" y="518"/>
                  </a:lnTo>
                  <a:lnTo>
                    <a:pt x="160" y="523"/>
                  </a:lnTo>
                  <a:lnTo>
                    <a:pt x="160" y="523"/>
                  </a:lnTo>
                  <a:lnTo>
                    <a:pt x="160" y="523"/>
                  </a:lnTo>
                  <a:lnTo>
                    <a:pt x="160" y="527"/>
                  </a:lnTo>
                  <a:lnTo>
                    <a:pt x="160" y="527"/>
                  </a:lnTo>
                  <a:lnTo>
                    <a:pt x="160" y="531"/>
                  </a:lnTo>
                  <a:lnTo>
                    <a:pt x="160" y="531"/>
                  </a:lnTo>
                  <a:lnTo>
                    <a:pt x="160" y="531"/>
                  </a:lnTo>
                  <a:lnTo>
                    <a:pt x="160" y="536"/>
                  </a:lnTo>
                  <a:lnTo>
                    <a:pt x="160" y="536"/>
                  </a:lnTo>
                  <a:lnTo>
                    <a:pt x="160" y="540"/>
                  </a:lnTo>
                  <a:lnTo>
                    <a:pt x="164" y="549"/>
                  </a:lnTo>
                  <a:lnTo>
                    <a:pt x="164" y="549"/>
                  </a:lnTo>
                  <a:lnTo>
                    <a:pt x="168" y="549"/>
                  </a:lnTo>
                  <a:lnTo>
                    <a:pt x="173" y="554"/>
                  </a:lnTo>
                  <a:lnTo>
                    <a:pt x="173" y="554"/>
                  </a:lnTo>
                  <a:lnTo>
                    <a:pt x="177" y="562"/>
                  </a:lnTo>
                  <a:lnTo>
                    <a:pt x="177" y="562"/>
                  </a:lnTo>
                  <a:lnTo>
                    <a:pt x="177" y="567"/>
                  </a:lnTo>
                  <a:lnTo>
                    <a:pt x="177" y="567"/>
                  </a:lnTo>
                  <a:lnTo>
                    <a:pt x="177" y="567"/>
                  </a:lnTo>
                  <a:lnTo>
                    <a:pt x="182" y="571"/>
                  </a:lnTo>
                  <a:lnTo>
                    <a:pt x="182" y="576"/>
                  </a:lnTo>
                  <a:lnTo>
                    <a:pt x="182" y="580"/>
                  </a:lnTo>
                  <a:lnTo>
                    <a:pt x="182" y="580"/>
                  </a:lnTo>
                  <a:lnTo>
                    <a:pt x="182" y="585"/>
                  </a:lnTo>
                  <a:lnTo>
                    <a:pt x="182" y="585"/>
                  </a:lnTo>
                  <a:lnTo>
                    <a:pt x="186" y="589"/>
                  </a:lnTo>
                  <a:lnTo>
                    <a:pt x="186" y="593"/>
                  </a:lnTo>
                  <a:lnTo>
                    <a:pt x="186" y="598"/>
                  </a:lnTo>
                  <a:lnTo>
                    <a:pt x="186" y="598"/>
                  </a:lnTo>
                  <a:lnTo>
                    <a:pt x="186" y="598"/>
                  </a:lnTo>
                  <a:lnTo>
                    <a:pt x="186" y="602"/>
                  </a:lnTo>
                  <a:lnTo>
                    <a:pt x="191" y="602"/>
                  </a:lnTo>
                  <a:lnTo>
                    <a:pt x="191" y="602"/>
                  </a:lnTo>
                  <a:lnTo>
                    <a:pt x="191" y="602"/>
                  </a:lnTo>
                  <a:lnTo>
                    <a:pt x="191" y="602"/>
                  </a:lnTo>
                  <a:lnTo>
                    <a:pt x="191" y="598"/>
                  </a:lnTo>
                  <a:lnTo>
                    <a:pt x="191" y="598"/>
                  </a:lnTo>
                  <a:lnTo>
                    <a:pt x="191" y="598"/>
                  </a:lnTo>
                  <a:lnTo>
                    <a:pt x="195" y="598"/>
                  </a:lnTo>
                  <a:lnTo>
                    <a:pt x="195" y="602"/>
                  </a:lnTo>
                  <a:lnTo>
                    <a:pt x="195" y="602"/>
                  </a:lnTo>
                  <a:lnTo>
                    <a:pt x="199" y="602"/>
                  </a:lnTo>
                  <a:lnTo>
                    <a:pt x="199" y="602"/>
                  </a:lnTo>
                  <a:lnTo>
                    <a:pt x="199" y="602"/>
                  </a:lnTo>
                  <a:lnTo>
                    <a:pt x="199" y="602"/>
                  </a:lnTo>
                  <a:lnTo>
                    <a:pt x="199" y="602"/>
                  </a:lnTo>
                  <a:lnTo>
                    <a:pt x="199" y="602"/>
                  </a:lnTo>
                  <a:lnTo>
                    <a:pt x="204" y="602"/>
                  </a:lnTo>
                  <a:lnTo>
                    <a:pt x="204" y="602"/>
                  </a:lnTo>
                  <a:lnTo>
                    <a:pt x="204" y="602"/>
                  </a:lnTo>
                  <a:lnTo>
                    <a:pt x="204" y="602"/>
                  </a:lnTo>
                  <a:lnTo>
                    <a:pt x="208" y="598"/>
                  </a:lnTo>
                  <a:lnTo>
                    <a:pt x="208" y="593"/>
                  </a:lnTo>
                  <a:lnTo>
                    <a:pt x="208" y="593"/>
                  </a:lnTo>
                  <a:lnTo>
                    <a:pt x="208" y="593"/>
                  </a:lnTo>
                  <a:lnTo>
                    <a:pt x="208" y="589"/>
                  </a:lnTo>
                  <a:lnTo>
                    <a:pt x="208" y="589"/>
                  </a:lnTo>
                  <a:lnTo>
                    <a:pt x="213" y="589"/>
                  </a:lnTo>
                  <a:lnTo>
                    <a:pt x="213" y="589"/>
                  </a:lnTo>
                  <a:lnTo>
                    <a:pt x="213" y="589"/>
                  </a:lnTo>
                  <a:lnTo>
                    <a:pt x="213" y="589"/>
                  </a:lnTo>
                  <a:lnTo>
                    <a:pt x="213" y="585"/>
                  </a:lnTo>
                  <a:lnTo>
                    <a:pt x="217" y="585"/>
                  </a:lnTo>
                  <a:lnTo>
                    <a:pt x="217" y="589"/>
                  </a:lnTo>
                  <a:lnTo>
                    <a:pt x="213" y="589"/>
                  </a:lnTo>
                  <a:lnTo>
                    <a:pt x="213" y="589"/>
                  </a:lnTo>
                  <a:lnTo>
                    <a:pt x="213" y="589"/>
                  </a:lnTo>
                  <a:lnTo>
                    <a:pt x="213" y="589"/>
                  </a:lnTo>
                  <a:lnTo>
                    <a:pt x="213" y="593"/>
                  </a:lnTo>
                  <a:lnTo>
                    <a:pt x="208" y="598"/>
                  </a:lnTo>
                  <a:lnTo>
                    <a:pt x="208" y="602"/>
                  </a:lnTo>
                  <a:lnTo>
                    <a:pt x="208" y="607"/>
                  </a:lnTo>
                  <a:lnTo>
                    <a:pt x="208" y="607"/>
                  </a:lnTo>
                  <a:lnTo>
                    <a:pt x="208" y="607"/>
                  </a:lnTo>
                  <a:lnTo>
                    <a:pt x="208" y="611"/>
                  </a:lnTo>
                  <a:lnTo>
                    <a:pt x="208" y="611"/>
                  </a:lnTo>
                  <a:lnTo>
                    <a:pt x="213" y="611"/>
                  </a:lnTo>
                  <a:lnTo>
                    <a:pt x="213" y="616"/>
                  </a:lnTo>
                  <a:lnTo>
                    <a:pt x="213" y="616"/>
                  </a:lnTo>
                  <a:lnTo>
                    <a:pt x="213" y="620"/>
                  </a:lnTo>
                  <a:lnTo>
                    <a:pt x="213" y="620"/>
                  </a:lnTo>
                  <a:lnTo>
                    <a:pt x="213" y="620"/>
                  </a:lnTo>
                  <a:lnTo>
                    <a:pt x="217" y="620"/>
                  </a:lnTo>
                  <a:lnTo>
                    <a:pt x="217" y="620"/>
                  </a:lnTo>
                  <a:lnTo>
                    <a:pt x="217" y="620"/>
                  </a:lnTo>
                  <a:lnTo>
                    <a:pt x="217" y="620"/>
                  </a:lnTo>
                  <a:lnTo>
                    <a:pt x="222" y="616"/>
                  </a:lnTo>
                  <a:lnTo>
                    <a:pt x="222" y="620"/>
                  </a:lnTo>
                  <a:lnTo>
                    <a:pt x="226" y="620"/>
                  </a:lnTo>
                  <a:lnTo>
                    <a:pt x="226" y="620"/>
                  </a:lnTo>
                  <a:lnTo>
                    <a:pt x="226" y="620"/>
                  </a:lnTo>
                  <a:lnTo>
                    <a:pt x="226" y="624"/>
                  </a:lnTo>
                  <a:lnTo>
                    <a:pt x="230" y="624"/>
                  </a:lnTo>
                  <a:lnTo>
                    <a:pt x="230" y="620"/>
                  </a:lnTo>
                  <a:lnTo>
                    <a:pt x="230" y="624"/>
                  </a:lnTo>
                  <a:lnTo>
                    <a:pt x="230" y="624"/>
                  </a:lnTo>
                  <a:lnTo>
                    <a:pt x="235" y="624"/>
                  </a:lnTo>
                  <a:lnTo>
                    <a:pt x="235" y="624"/>
                  </a:lnTo>
                  <a:lnTo>
                    <a:pt x="235" y="624"/>
                  </a:lnTo>
                  <a:lnTo>
                    <a:pt x="235" y="624"/>
                  </a:lnTo>
                  <a:lnTo>
                    <a:pt x="235" y="624"/>
                  </a:lnTo>
                  <a:lnTo>
                    <a:pt x="235" y="629"/>
                  </a:lnTo>
                  <a:lnTo>
                    <a:pt x="235" y="629"/>
                  </a:lnTo>
                  <a:lnTo>
                    <a:pt x="239" y="629"/>
                  </a:lnTo>
                  <a:lnTo>
                    <a:pt x="239" y="629"/>
                  </a:lnTo>
                  <a:lnTo>
                    <a:pt x="239" y="629"/>
                  </a:lnTo>
                  <a:lnTo>
                    <a:pt x="239" y="629"/>
                  </a:lnTo>
                  <a:lnTo>
                    <a:pt x="244" y="629"/>
                  </a:lnTo>
                  <a:lnTo>
                    <a:pt x="248" y="633"/>
                  </a:lnTo>
                  <a:lnTo>
                    <a:pt x="248" y="638"/>
                  </a:lnTo>
                  <a:lnTo>
                    <a:pt x="248" y="642"/>
                  </a:lnTo>
                  <a:lnTo>
                    <a:pt x="248" y="642"/>
                  </a:lnTo>
                  <a:lnTo>
                    <a:pt x="248" y="647"/>
                  </a:lnTo>
                  <a:lnTo>
                    <a:pt x="248" y="651"/>
                  </a:lnTo>
                  <a:lnTo>
                    <a:pt x="248" y="651"/>
                  </a:lnTo>
                  <a:lnTo>
                    <a:pt x="248" y="651"/>
                  </a:lnTo>
                  <a:lnTo>
                    <a:pt x="248" y="651"/>
                  </a:lnTo>
                  <a:lnTo>
                    <a:pt x="248" y="651"/>
                  </a:lnTo>
                  <a:lnTo>
                    <a:pt x="244" y="655"/>
                  </a:lnTo>
                  <a:lnTo>
                    <a:pt x="244" y="655"/>
                  </a:lnTo>
                  <a:lnTo>
                    <a:pt x="248" y="660"/>
                  </a:lnTo>
                  <a:lnTo>
                    <a:pt x="248" y="660"/>
                  </a:lnTo>
                  <a:lnTo>
                    <a:pt x="248" y="660"/>
                  </a:lnTo>
                  <a:lnTo>
                    <a:pt x="248" y="660"/>
                  </a:lnTo>
                  <a:lnTo>
                    <a:pt x="248" y="660"/>
                  </a:lnTo>
                  <a:lnTo>
                    <a:pt x="248" y="660"/>
                  </a:lnTo>
                  <a:lnTo>
                    <a:pt x="248" y="660"/>
                  </a:lnTo>
                  <a:lnTo>
                    <a:pt x="248" y="664"/>
                  </a:lnTo>
                  <a:lnTo>
                    <a:pt x="248" y="669"/>
                  </a:lnTo>
                  <a:lnTo>
                    <a:pt x="244" y="669"/>
                  </a:lnTo>
                  <a:lnTo>
                    <a:pt x="248" y="669"/>
                  </a:lnTo>
                  <a:lnTo>
                    <a:pt x="248" y="669"/>
                  </a:lnTo>
                  <a:lnTo>
                    <a:pt x="248" y="669"/>
                  </a:lnTo>
                  <a:lnTo>
                    <a:pt x="248" y="669"/>
                  </a:lnTo>
                  <a:lnTo>
                    <a:pt x="248" y="673"/>
                  </a:lnTo>
                  <a:lnTo>
                    <a:pt x="248" y="673"/>
                  </a:lnTo>
                  <a:lnTo>
                    <a:pt x="248" y="673"/>
                  </a:lnTo>
                  <a:lnTo>
                    <a:pt x="248" y="673"/>
                  </a:lnTo>
                  <a:lnTo>
                    <a:pt x="248" y="673"/>
                  </a:lnTo>
                  <a:lnTo>
                    <a:pt x="248" y="673"/>
                  </a:lnTo>
                  <a:lnTo>
                    <a:pt x="248" y="673"/>
                  </a:lnTo>
                  <a:lnTo>
                    <a:pt x="244" y="673"/>
                  </a:lnTo>
                  <a:lnTo>
                    <a:pt x="244" y="678"/>
                  </a:lnTo>
                  <a:lnTo>
                    <a:pt x="244" y="678"/>
                  </a:lnTo>
                  <a:lnTo>
                    <a:pt x="244" y="678"/>
                  </a:lnTo>
                  <a:lnTo>
                    <a:pt x="244" y="678"/>
                  </a:lnTo>
                  <a:lnTo>
                    <a:pt x="244" y="682"/>
                  </a:lnTo>
                  <a:lnTo>
                    <a:pt x="244" y="682"/>
                  </a:lnTo>
                  <a:lnTo>
                    <a:pt x="244" y="686"/>
                  </a:lnTo>
                  <a:lnTo>
                    <a:pt x="248" y="686"/>
                  </a:lnTo>
                  <a:lnTo>
                    <a:pt x="248" y="691"/>
                  </a:lnTo>
                  <a:lnTo>
                    <a:pt x="248" y="691"/>
                  </a:lnTo>
                  <a:lnTo>
                    <a:pt x="248" y="691"/>
                  </a:lnTo>
                  <a:lnTo>
                    <a:pt x="253" y="691"/>
                  </a:lnTo>
                  <a:lnTo>
                    <a:pt x="253" y="691"/>
                  </a:lnTo>
                  <a:lnTo>
                    <a:pt x="253" y="695"/>
                  </a:lnTo>
                  <a:lnTo>
                    <a:pt x="253" y="695"/>
                  </a:lnTo>
                  <a:lnTo>
                    <a:pt x="253" y="695"/>
                  </a:lnTo>
                  <a:lnTo>
                    <a:pt x="253" y="695"/>
                  </a:lnTo>
                  <a:lnTo>
                    <a:pt x="253" y="700"/>
                  </a:lnTo>
                  <a:lnTo>
                    <a:pt x="253" y="700"/>
                  </a:lnTo>
                  <a:lnTo>
                    <a:pt x="253" y="700"/>
                  </a:lnTo>
                  <a:lnTo>
                    <a:pt x="253" y="700"/>
                  </a:lnTo>
                  <a:lnTo>
                    <a:pt x="253" y="704"/>
                  </a:lnTo>
                  <a:lnTo>
                    <a:pt x="253" y="704"/>
                  </a:lnTo>
                  <a:lnTo>
                    <a:pt x="253" y="704"/>
                  </a:lnTo>
                  <a:lnTo>
                    <a:pt x="253" y="708"/>
                  </a:lnTo>
                  <a:lnTo>
                    <a:pt x="253" y="708"/>
                  </a:lnTo>
                  <a:lnTo>
                    <a:pt x="253" y="708"/>
                  </a:lnTo>
                  <a:lnTo>
                    <a:pt x="253" y="704"/>
                  </a:lnTo>
                  <a:lnTo>
                    <a:pt x="248" y="704"/>
                  </a:lnTo>
                  <a:lnTo>
                    <a:pt x="248" y="704"/>
                  </a:lnTo>
                  <a:lnTo>
                    <a:pt x="244" y="704"/>
                  </a:lnTo>
                  <a:lnTo>
                    <a:pt x="239" y="704"/>
                  </a:lnTo>
                  <a:lnTo>
                    <a:pt x="244" y="704"/>
                  </a:lnTo>
                  <a:lnTo>
                    <a:pt x="244" y="704"/>
                  </a:lnTo>
                  <a:lnTo>
                    <a:pt x="239" y="704"/>
                  </a:lnTo>
                  <a:lnTo>
                    <a:pt x="239" y="704"/>
                  </a:lnTo>
                  <a:lnTo>
                    <a:pt x="244" y="708"/>
                  </a:lnTo>
                  <a:lnTo>
                    <a:pt x="244" y="708"/>
                  </a:lnTo>
                  <a:lnTo>
                    <a:pt x="244" y="713"/>
                  </a:lnTo>
                  <a:lnTo>
                    <a:pt x="248" y="713"/>
                  </a:lnTo>
                  <a:lnTo>
                    <a:pt x="248" y="713"/>
                  </a:lnTo>
                  <a:lnTo>
                    <a:pt x="248" y="713"/>
                  </a:lnTo>
                  <a:lnTo>
                    <a:pt x="248" y="713"/>
                  </a:lnTo>
                  <a:lnTo>
                    <a:pt x="248" y="713"/>
                  </a:lnTo>
                  <a:lnTo>
                    <a:pt x="248" y="713"/>
                  </a:lnTo>
                  <a:lnTo>
                    <a:pt x="248" y="713"/>
                  </a:lnTo>
                  <a:lnTo>
                    <a:pt x="248" y="717"/>
                  </a:lnTo>
                  <a:lnTo>
                    <a:pt x="248" y="717"/>
                  </a:lnTo>
                  <a:lnTo>
                    <a:pt x="248" y="722"/>
                  </a:lnTo>
                  <a:lnTo>
                    <a:pt x="248" y="722"/>
                  </a:lnTo>
                  <a:lnTo>
                    <a:pt x="244" y="722"/>
                  </a:lnTo>
                  <a:lnTo>
                    <a:pt x="244" y="722"/>
                  </a:lnTo>
                  <a:lnTo>
                    <a:pt x="244" y="722"/>
                  </a:lnTo>
                  <a:lnTo>
                    <a:pt x="244" y="722"/>
                  </a:lnTo>
                  <a:lnTo>
                    <a:pt x="244" y="722"/>
                  </a:lnTo>
                  <a:lnTo>
                    <a:pt x="244" y="722"/>
                  </a:lnTo>
                  <a:lnTo>
                    <a:pt x="244" y="722"/>
                  </a:lnTo>
                  <a:lnTo>
                    <a:pt x="244" y="722"/>
                  </a:lnTo>
                  <a:lnTo>
                    <a:pt x="239" y="722"/>
                  </a:lnTo>
                  <a:lnTo>
                    <a:pt x="239" y="717"/>
                  </a:lnTo>
                  <a:lnTo>
                    <a:pt x="239" y="717"/>
                  </a:lnTo>
                  <a:lnTo>
                    <a:pt x="239" y="717"/>
                  </a:lnTo>
                  <a:lnTo>
                    <a:pt x="239" y="717"/>
                  </a:lnTo>
                  <a:lnTo>
                    <a:pt x="239" y="713"/>
                  </a:lnTo>
                  <a:lnTo>
                    <a:pt x="239" y="713"/>
                  </a:lnTo>
                  <a:lnTo>
                    <a:pt x="239" y="717"/>
                  </a:lnTo>
                  <a:lnTo>
                    <a:pt x="239" y="717"/>
                  </a:lnTo>
                  <a:lnTo>
                    <a:pt x="239" y="713"/>
                  </a:lnTo>
                  <a:lnTo>
                    <a:pt x="239" y="713"/>
                  </a:lnTo>
                  <a:lnTo>
                    <a:pt x="235" y="713"/>
                  </a:lnTo>
                  <a:lnTo>
                    <a:pt x="235" y="713"/>
                  </a:lnTo>
                  <a:lnTo>
                    <a:pt x="235" y="713"/>
                  </a:lnTo>
                  <a:lnTo>
                    <a:pt x="226" y="717"/>
                  </a:lnTo>
                  <a:lnTo>
                    <a:pt x="217" y="717"/>
                  </a:lnTo>
                  <a:lnTo>
                    <a:pt x="217" y="717"/>
                  </a:lnTo>
                  <a:lnTo>
                    <a:pt x="217" y="722"/>
                  </a:lnTo>
                  <a:lnTo>
                    <a:pt x="213" y="722"/>
                  </a:lnTo>
                  <a:lnTo>
                    <a:pt x="213" y="722"/>
                  </a:lnTo>
                  <a:lnTo>
                    <a:pt x="213" y="726"/>
                  </a:lnTo>
                  <a:lnTo>
                    <a:pt x="213" y="726"/>
                  </a:lnTo>
                  <a:lnTo>
                    <a:pt x="213" y="726"/>
                  </a:lnTo>
                  <a:lnTo>
                    <a:pt x="213" y="726"/>
                  </a:lnTo>
                  <a:lnTo>
                    <a:pt x="213" y="726"/>
                  </a:lnTo>
                  <a:lnTo>
                    <a:pt x="213" y="726"/>
                  </a:lnTo>
                  <a:lnTo>
                    <a:pt x="208" y="726"/>
                  </a:lnTo>
                  <a:lnTo>
                    <a:pt x="208" y="726"/>
                  </a:lnTo>
                  <a:lnTo>
                    <a:pt x="208" y="726"/>
                  </a:lnTo>
                  <a:lnTo>
                    <a:pt x="208" y="726"/>
                  </a:lnTo>
                  <a:lnTo>
                    <a:pt x="208" y="726"/>
                  </a:lnTo>
                  <a:lnTo>
                    <a:pt x="208" y="731"/>
                  </a:lnTo>
                  <a:lnTo>
                    <a:pt x="208" y="731"/>
                  </a:lnTo>
                  <a:lnTo>
                    <a:pt x="204" y="731"/>
                  </a:lnTo>
                  <a:lnTo>
                    <a:pt x="204" y="731"/>
                  </a:lnTo>
                  <a:lnTo>
                    <a:pt x="208" y="731"/>
                  </a:lnTo>
                  <a:lnTo>
                    <a:pt x="208" y="735"/>
                  </a:lnTo>
                  <a:lnTo>
                    <a:pt x="204" y="735"/>
                  </a:lnTo>
                  <a:lnTo>
                    <a:pt x="204" y="735"/>
                  </a:lnTo>
                  <a:lnTo>
                    <a:pt x="204" y="739"/>
                  </a:lnTo>
                  <a:lnTo>
                    <a:pt x="199" y="739"/>
                  </a:lnTo>
                  <a:lnTo>
                    <a:pt x="199" y="739"/>
                  </a:lnTo>
                  <a:lnTo>
                    <a:pt x="199" y="739"/>
                  </a:lnTo>
                  <a:lnTo>
                    <a:pt x="199" y="744"/>
                  </a:lnTo>
                  <a:lnTo>
                    <a:pt x="199" y="744"/>
                  </a:lnTo>
                  <a:lnTo>
                    <a:pt x="199" y="744"/>
                  </a:lnTo>
                  <a:lnTo>
                    <a:pt x="199" y="748"/>
                  </a:lnTo>
                  <a:lnTo>
                    <a:pt x="199" y="748"/>
                  </a:lnTo>
                  <a:lnTo>
                    <a:pt x="199" y="753"/>
                  </a:lnTo>
                  <a:lnTo>
                    <a:pt x="199" y="753"/>
                  </a:lnTo>
                  <a:lnTo>
                    <a:pt x="199" y="753"/>
                  </a:lnTo>
                  <a:lnTo>
                    <a:pt x="199" y="753"/>
                  </a:lnTo>
                  <a:lnTo>
                    <a:pt x="195" y="753"/>
                  </a:lnTo>
                  <a:lnTo>
                    <a:pt x="195" y="753"/>
                  </a:lnTo>
                  <a:lnTo>
                    <a:pt x="195" y="757"/>
                  </a:lnTo>
                  <a:lnTo>
                    <a:pt x="195" y="757"/>
                  </a:lnTo>
                  <a:lnTo>
                    <a:pt x="195" y="757"/>
                  </a:lnTo>
                  <a:lnTo>
                    <a:pt x="195" y="762"/>
                  </a:lnTo>
                  <a:lnTo>
                    <a:pt x="195" y="762"/>
                  </a:lnTo>
                  <a:lnTo>
                    <a:pt x="195" y="762"/>
                  </a:lnTo>
                  <a:lnTo>
                    <a:pt x="191" y="762"/>
                  </a:lnTo>
                  <a:lnTo>
                    <a:pt x="191" y="762"/>
                  </a:lnTo>
                  <a:lnTo>
                    <a:pt x="191" y="766"/>
                  </a:lnTo>
                  <a:lnTo>
                    <a:pt x="191" y="766"/>
                  </a:lnTo>
                  <a:lnTo>
                    <a:pt x="191" y="766"/>
                  </a:lnTo>
                  <a:lnTo>
                    <a:pt x="191" y="766"/>
                  </a:lnTo>
                  <a:lnTo>
                    <a:pt x="191" y="766"/>
                  </a:lnTo>
                  <a:lnTo>
                    <a:pt x="191" y="766"/>
                  </a:lnTo>
                  <a:lnTo>
                    <a:pt x="191" y="766"/>
                  </a:lnTo>
                  <a:lnTo>
                    <a:pt x="191" y="770"/>
                  </a:lnTo>
                  <a:lnTo>
                    <a:pt x="186" y="770"/>
                  </a:lnTo>
                  <a:lnTo>
                    <a:pt x="186" y="770"/>
                  </a:lnTo>
                  <a:lnTo>
                    <a:pt x="186" y="770"/>
                  </a:lnTo>
                  <a:lnTo>
                    <a:pt x="186" y="770"/>
                  </a:lnTo>
                  <a:lnTo>
                    <a:pt x="182" y="770"/>
                  </a:lnTo>
                  <a:lnTo>
                    <a:pt x="182" y="770"/>
                  </a:lnTo>
                  <a:lnTo>
                    <a:pt x="182" y="770"/>
                  </a:lnTo>
                  <a:lnTo>
                    <a:pt x="182" y="775"/>
                  </a:lnTo>
                  <a:lnTo>
                    <a:pt x="182" y="775"/>
                  </a:lnTo>
                  <a:lnTo>
                    <a:pt x="177" y="775"/>
                  </a:lnTo>
                  <a:lnTo>
                    <a:pt x="177" y="775"/>
                  </a:lnTo>
                  <a:lnTo>
                    <a:pt x="177" y="779"/>
                  </a:lnTo>
                  <a:lnTo>
                    <a:pt x="177" y="779"/>
                  </a:lnTo>
                  <a:lnTo>
                    <a:pt x="177" y="784"/>
                  </a:lnTo>
                  <a:lnTo>
                    <a:pt x="173" y="784"/>
                  </a:lnTo>
                  <a:lnTo>
                    <a:pt x="173" y="788"/>
                  </a:lnTo>
                  <a:lnTo>
                    <a:pt x="173" y="788"/>
                  </a:lnTo>
                  <a:lnTo>
                    <a:pt x="173" y="793"/>
                  </a:lnTo>
                  <a:lnTo>
                    <a:pt x="173" y="793"/>
                  </a:lnTo>
                  <a:lnTo>
                    <a:pt x="173" y="793"/>
                  </a:lnTo>
                  <a:lnTo>
                    <a:pt x="173" y="793"/>
                  </a:lnTo>
                  <a:lnTo>
                    <a:pt x="173" y="793"/>
                  </a:lnTo>
                  <a:lnTo>
                    <a:pt x="168" y="793"/>
                  </a:lnTo>
                  <a:lnTo>
                    <a:pt x="168" y="797"/>
                  </a:lnTo>
                  <a:lnTo>
                    <a:pt x="168" y="797"/>
                  </a:lnTo>
                  <a:lnTo>
                    <a:pt x="168" y="797"/>
                  </a:lnTo>
                  <a:lnTo>
                    <a:pt x="164" y="797"/>
                  </a:lnTo>
                  <a:lnTo>
                    <a:pt x="164" y="797"/>
                  </a:lnTo>
                  <a:lnTo>
                    <a:pt x="164" y="797"/>
                  </a:lnTo>
                  <a:lnTo>
                    <a:pt x="164" y="797"/>
                  </a:lnTo>
                  <a:lnTo>
                    <a:pt x="164" y="801"/>
                  </a:lnTo>
                  <a:lnTo>
                    <a:pt x="164" y="801"/>
                  </a:lnTo>
                  <a:lnTo>
                    <a:pt x="164" y="801"/>
                  </a:lnTo>
                  <a:lnTo>
                    <a:pt x="164" y="801"/>
                  </a:lnTo>
                  <a:lnTo>
                    <a:pt x="164" y="801"/>
                  </a:lnTo>
                  <a:lnTo>
                    <a:pt x="160" y="806"/>
                  </a:lnTo>
                  <a:lnTo>
                    <a:pt x="160" y="806"/>
                  </a:lnTo>
                  <a:lnTo>
                    <a:pt x="160" y="806"/>
                  </a:lnTo>
                  <a:lnTo>
                    <a:pt x="160" y="810"/>
                  </a:lnTo>
                  <a:lnTo>
                    <a:pt x="160" y="810"/>
                  </a:lnTo>
                  <a:lnTo>
                    <a:pt x="160" y="810"/>
                  </a:lnTo>
                  <a:lnTo>
                    <a:pt x="155" y="810"/>
                  </a:lnTo>
                  <a:lnTo>
                    <a:pt x="155" y="810"/>
                  </a:lnTo>
                  <a:lnTo>
                    <a:pt x="155" y="810"/>
                  </a:lnTo>
                  <a:lnTo>
                    <a:pt x="155" y="815"/>
                  </a:lnTo>
                  <a:lnTo>
                    <a:pt x="155" y="815"/>
                  </a:lnTo>
                  <a:lnTo>
                    <a:pt x="160" y="819"/>
                  </a:lnTo>
                  <a:lnTo>
                    <a:pt x="155" y="819"/>
                  </a:lnTo>
                  <a:lnTo>
                    <a:pt x="155" y="819"/>
                  </a:lnTo>
                  <a:lnTo>
                    <a:pt x="151" y="819"/>
                  </a:lnTo>
                  <a:lnTo>
                    <a:pt x="151" y="819"/>
                  </a:lnTo>
                  <a:lnTo>
                    <a:pt x="151" y="819"/>
                  </a:lnTo>
                  <a:lnTo>
                    <a:pt x="151" y="819"/>
                  </a:lnTo>
                  <a:lnTo>
                    <a:pt x="151" y="819"/>
                  </a:lnTo>
                  <a:lnTo>
                    <a:pt x="151" y="819"/>
                  </a:lnTo>
                  <a:lnTo>
                    <a:pt x="151" y="819"/>
                  </a:lnTo>
                  <a:lnTo>
                    <a:pt x="146" y="815"/>
                  </a:lnTo>
                  <a:lnTo>
                    <a:pt x="146" y="815"/>
                  </a:lnTo>
                  <a:lnTo>
                    <a:pt x="146" y="819"/>
                  </a:lnTo>
                  <a:lnTo>
                    <a:pt x="146" y="824"/>
                  </a:lnTo>
                  <a:lnTo>
                    <a:pt x="146" y="824"/>
                  </a:lnTo>
                  <a:lnTo>
                    <a:pt x="146" y="824"/>
                  </a:lnTo>
                  <a:lnTo>
                    <a:pt x="146" y="828"/>
                  </a:lnTo>
                  <a:lnTo>
                    <a:pt x="146" y="828"/>
                  </a:lnTo>
                  <a:lnTo>
                    <a:pt x="146" y="828"/>
                  </a:lnTo>
                  <a:lnTo>
                    <a:pt x="146" y="828"/>
                  </a:lnTo>
                  <a:lnTo>
                    <a:pt x="146" y="832"/>
                  </a:lnTo>
                  <a:lnTo>
                    <a:pt x="146" y="832"/>
                  </a:lnTo>
                  <a:lnTo>
                    <a:pt x="146" y="832"/>
                  </a:lnTo>
                  <a:lnTo>
                    <a:pt x="146" y="837"/>
                  </a:lnTo>
                  <a:lnTo>
                    <a:pt x="142" y="837"/>
                  </a:lnTo>
                  <a:lnTo>
                    <a:pt x="142" y="832"/>
                  </a:lnTo>
                  <a:lnTo>
                    <a:pt x="142" y="837"/>
                  </a:lnTo>
                  <a:lnTo>
                    <a:pt x="142" y="837"/>
                  </a:lnTo>
                  <a:lnTo>
                    <a:pt x="137" y="837"/>
                  </a:lnTo>
                  <a:lnTo>
                    <a:pt x="133" y="837"/>
                  </a:lnTo>
                  <a:lnTo>
                    <a:pt x="133" y="837"/>
                  </a:lnTo>
                  <a:lnTo>
                    <a:pt x="133" y="837"/>
                  </a:lnTo>
                  <a:lnTo>
                    <a:pt x="133" y="837"/>
                  </a:lnTo>
                  <a:lnTo>
                    <a:pt x="133" y="841"/>
                  </a:lnTo>
                  <a:lnTo>
                    <a:pt x="133" y="841"/>
                  </a:lnTo>
                  <a:lnTo>
                    <a:pt x="133" y="841"/>
                  </a:lnTo>
                  <a:lnTo>
                    <a:pt x="133" y="841"/>
                  </a:lnTo>
                  <a:lnTo>
                    <a:pt x="133" y="841"/>
                  </a:lnTo>
                  <a:lnTo>
                    <a:pt x="129" y="841"/>
                  </a:lnTo>
                  <a:lnTo>
                    <a:pt x="129" y="841"/>
                  </a:lnTo>
                  <a:lnTo>
                    <a:pt x="129" y="841"/>
                  </a:lnTo>
                  <a:lnTo>
                    <a:pt x="124" y="846"/>
                  </a:lnTo>
                  <a:lnTo>
                    <a:pt x="124" y="846"/>
                  </a:lnTo>
                  <a:lnTo>
                    <a:pt x="124" y="846"/>
                  </a:lnTo>
                  <a:lnTo>
                    <a:pt x="124" y="850"/>
                  </a:lnTo>
                  <a:lnTo>
                    <a:pt x="124" y="850"/>
                  </a:lnTo>
                  <a:lnTo>
                    <a:pt x="124" y="850"/>
                  </a:lnTo>
                  <a:lnTo>
                    <a:pt x="124" y="850"/>
                  </a:lnTo>
                  <a:lnTo>
                    <a:pt x="124" y="850"/>
                  </a:lnTo>
                  <a:lnTo>
                    <a:pt x="124" y="850"/>
                  </a:lnTo>
                  <a:lnTo>
                    <a:pt x="124" y="850"/>
                  </a:lnTo>
                  <a:lnTo>
                    <a:pt x="124" y="846"/>
                  </a:lnTo>
                  <a:lnTo>
                    <a:pt x="120" y="846"/>
                  </a:lnTo>
                  <a:lnTo>
                    <a:pt x="120" y="846"/>
                  </a:lnTo>
                  <a:lnTo>
                    <a:pt x="120" y="850"/>
                  </a:lnTo>
                  <a:lnTo>
                    <a:pt x="120" y="850"/>
                  </a:lnTo>
                  <a:lnTo>
                    <a:pt x="120" y="850"/>
                  </a:lnTo>
                  <a:lnTo>
                    <a:pt x="120" y="850"/>
                  </a:lnTo>
                  <a:lnTo>
                    <a:pt x="120" y="855"/>
                  </a:lnTo>
                  <a:lnTo>
                    <a:pt x="120" y="855"/>
                  </a:lnTo>
                  <a:lnTo>
                    <a:pt x="120" y="855"/>
                  </a:lnTo>
                  <a:lnTo>
                    <a:pt x="120" y="855"/>
                  </a:lnTo>
                  <a:lnTo>
                    <a:pt x="120" y="855"/>
                  </a:lnTo>
                  <a:lnTo>
                    <a:pt x="120" y="855"/>
                  </a:lnTo>
                  <a:lnTo>
                    <a:pt x="120" y="855"/>
                  </a:lnTo>
                  <a:lnTo>
                    <a:pt x="120" y="855"/>
                  </a:lnTo>
                  <a:lnTo>
                    <a:pt x="115" y="855"/>
                  </a:lnTo>
                  <a:lnTo>
                    <a:pt x="120" y="859"/>
                  </a:lnTo>
                  <a:lnTo>
                    <a:pt x="120" y="859"/>
                  </a:lnTo>
                  <a:lnTo>
                    <a:pt x="120" y="859"/>
                  </a:lnTo>
                  <a:lnTo>
                    <a:pt x="120" y="859"/>
                  </a:lnTo>
                  <a:lnTo>
                    <a:pt x="115" y="863"/>
                  </a:lnTo>
                  <a:lnTo>
                    <a:pt x="115" y="863"/>
                  </a:lnTo>
                  <a:lnTo>
                    <a:pt x="115" y="863"/>
                  </a:lnTo>
                  <a:lnTo>
                    <a:pt x="115" y="863"/>
                  </a:lnTo>
                  <a:lnTo>
                    <a:pt x="115" y="863"/>
                  </a:lnTo>
                  <a:lnTo>
                    <a:pt x="115" y="863"/>
                  </a:lnTo>
                  <a:lnTo>
                    <a:pt x="115" y="868"/>
                  </a:lnTo>
                  <a:lnTo>
                    <a:pt x="115" y="868"/>
                  </a:lnTo>
                  <a:lnTo>
                    <a:pt x="115" y="868"/>
                  </a:lnTo>
                  <a:lnTo>
                    <a:pt x="115" y="868"/>
                  </a:lnTo>
                  <a:lnTo>
                    <a:pt x="115" y="868"/>
                  </a:lnTo>
                  <a:lnTo>
                    <a:pt x="111" y="868"/>
                  </a:lnTo>
                  <a:lnTo>
                    <a:pt x="111" y="868"/>
                  </a:lnTo>
                  <a:lnTo>
                    <a:pt x="111" y="868"/>
                  </a:lnTo>
                  <a:lnTo>
                    <a:pt x="111" y="863"/>
                  </a:lnTo>
                  <a:lnTo>
                    <a:pt x="111" y="863"/>
                  </a:lnTo>
                  <a:lnTo>
                    <a:pt x="111" y="863"/>
                  </a:lnTo>
                  <a:lnTo>
                    <a:pt x="111" y="859"/>
                  </a:lnTo>
                  <a:lnTo>
                    <a:pt x="111" y="859"/>
                  </a:lnTo>
                  <a:lnTo>
                    <a:pt x="107" y="859"/>
                  </a:lnTo>
                  <a:lnTo>
                    <a:pt x="107" y="859"/>
                  </a:lnTo>
                  <a:lnTo>
                    <a:pt x="107" y="859"/>
                  </a:lnTo>
                  <a:lnTo>
                    <a:pt x="107" y="859"/>
                  </a:lnTo>
                  <a:lnTo>
                    <a:pt x="107" y="859"/>
                  </a:lnTo>
                  <a:lnTo>
                    <a:pt x="107" y="863"/>
                  </a:lnTo>
                  <a:lnTo>
                    <a:pt x="107" y="859"/>
                  </a:lnTo>
                  <a:lnTo>
                    <a:pt x="107" y="859"/>
                  </a:lnTo>
                  <a:lnTo>
                    <a:pt x="102" y="859"/>
                  </a:lnTo>
                  <a:lnTo>
                    <a:pt x="102" y="859"/>
                  </a:lnTo>
                  <a:lnTo>
                    <a:pt x="102" y="859"/>
                  </a:lnTo>
                  <a:lnTo>
                    <a:pt x="102" y="863"/>
                  </a:lnTo>
                  <a:lnTo>
                    <a:pt x="102" y="863"/>
                  </a:lnTo>
                  <a:lnTo>
                    <a:pt x="102" y="863"/>
                  </a:lnTo>
                  <a:lnTo>
                    <a:pt x="102" y="863"/>
                  </a:lnTo>
                  <a:lnTo>
                    <a:pt x="102" y="863"/>
                  </a:lnTo>
                  <a:lnTo>
                    <a:pt x="102" y="863"/>
                  </a:lnTo>
                  <a:lnTo>
                    <a:pt x="102" y="868"/>
                  </a:lnTo>
                  <a:lnTo>
                    <a:pt x="102" y="868"/>
                  </a:lnTo>
                  <a:lnTo>
                    <a:pt x="98" y="868"/>
                  </a:lnTo>
                  <a:lnTo>
                    <a:pt x="98" y="868"/>
                  </a:lnTo>
                  <a:lnTo>
                    <a:pt x="102" y="872"/>
                  </a:lnTo>
                  <a:lnTo>
                    <a:pt x="102" y="872"/>
                  </a:lnTo>
                  <a:lnTo>
                    <a:pt x="98" y="872"/>
                  </a:lnTo>
                  <a:lnTo>
                    <a:pt x="98" y="872"/>
                  </a:lnTo>
                  <a:lnTo>
                    <a:pt x="98" y="872"/>
                  </a:lnTo>
                  <a:lnTo>
                    <a:pt x="98" y="877"/>
                  </a:lnTo>
                  <a:lnTo>
                    <a:pt x="98" y="877"/>
                  </a:lnTo>
                  <a:lnTo>
                    <a:pt x="98" y="877"/>
                  </a:lnTo>
                  <a:lnTo>
                    <a:pt x="98" y="881"/>
                  </a:lnTo>
                  <a:lnTo>
                    <a:pt x="98" y="881"/>
                  </a:lnTo>
                  <a:lnTo>
                    <a:pt x="98" y="881"/>
                  </a:lnTo>
                  <a:lnTo>
                    <a:pt x="93" y="881"/>
                  </a:lnTo>
                  <a:lnTo>
                    <a:pt x="93" y="886"/>
                  </a:lnTo>
                  <a:lnTo>
                    <a:pt x="98" y="886"/>
                  </a:lnTo>
                  <a:lnTo>
                    <a:pt x="98" y="886"/>
                  </a:lnTo>
                  <a:lnTo>
                    <a:pt x="93" y="886"/>
                  </a:lnTo>
                  <a:lnTo>
                    <a:pt x="93" y="890"/>
                  </a:lnTo>
                  <a:lnTo>
                    <a:pt x="93" y="890"/>
                  </a:lnTo>
                  <a:lnTo>
                    <a:pt x="93" y="886"/>
                  </a:lnTo>
                  <a:lnTo>
                    <a:pt x="93" y="886"/>
                  </a:lnTo>
                  <a:lnTo>
                    <a:pt x="93" y="886"/>
                  </a:lnTo>
                  <a:lnTo>
                    <a:pt x="89" y="886"/>
                  </a:lnTo>
                  <a:lnTo>
                    <a:pt x="89" y="881"/>
                  </a:lnTo>
                  <a:lnTo>
                    <a:pt x="89" y="881"/>
                  </a:lnTo>
                  <a:lnTo>
                    <a:pt x="89" y="881"/>
                  </a:lnTo>
                  <a:lnTo>
                    <a:pt x="89" y="881"/>
                  </a:lnTo>
                  <a:lnTo>
                    <a:pt x="89" y="881"/>
                  </a:lnTo>
                  <a:lnTo>
                    <a:pt x="89" y="881"/>
                  </a:lnTo>
                  <a:lnTo>
                    <a:pt x="89" y="881"/>
                  </a:lnTo>
                  <a:lnTo>
                    <a:pt x="89" y="886"/>
                  </a:lnTo>
                  <a:lnTo>
                    <a:pt x="89" y="886"/>
                  </a:lnTo>
                  <a:lnTo>
                    <a:pt x="93" y="894"/>
                  </a:lnTo>
                  <a:lnTo>
                    <a:pt x="93" y="890"/>
                  </a:lnTo>
                  <a:lnTo>
                    <a:pt x="89" y="890"/>
                  </a:lnTo>
                  <a:lnTo>
                    <a:pt x="89" y="890"/>
                  </a:lnTo>
                  <a:lnTo>
                    <a:pt x="89" y="890"/>
                  </a:lnTo>
                  <a:lnTo>
                    <a:pt x="84" y="886"/>
                  </a:lnTo>
                  <a:lnTo>
                    <a:pt x="84" y="886"/>
                  </a:lnTo>
                  <a:lnTo>
                    <a:pt x="84" y="890"/>
                  </a:lnTo>
                  <a:lnTo>
                    <a:pt x="84" y="890"/>
                  </a:lnTo>
                  <a:lnTo>
                    <a:pt x="84" y="894"/>
                  </a:lnTo>
                  <a:lnTo>
                    <a:pt x="84" y="894"/>
                  </a:lnTo>
                  <a:lnTo>
                    <a:pt x="84" y="894"/>
                  </a:lnTo>
                  <a:lnTo>
                    <a:pt x="84" y="894"/>
                  </a:lnTo>
                  <a:lnTo>
                    <a:pt x="84" y="894"/>
                  </a:lnTo>
                  <a:lnTo>
                    <a:pt x="89" y="899"/>
                  </a:lnTo>
                  <a:lnTo>
                    <a:pt x="89" y="899"/>
                  </a:lnTo>
                  <a:lnTo>
                    <a:pt x="89" y="899"/>
                  </a:lnTo>
                  <a:lnTo>
                    <a:pt x="93" y="903"/>
                  </a:lnTo>
                  <a:lnTo>
                    <a:pt x="93" y="903"/>
                  </a:lnTo>
                  <a:lnTo>
                    <a:pt x="93" y="903"/>
                  </a:lnTo>
                  <a:lnTo>
                    <a:pt x="93" y="908"/>
                  </a:lnTo>
                  <a:lnTo>
                    <a:pt x="89" y="908"/>
                  </a:lnTo>
                  <a:lnTo>
                    <a:pt x="89" y="908"/>
                  </a:lnTo>
                  <a:lnTo>
                    <a:pt x="89" y="908"/>
                  </a:lnTo>
                  <a:lnTo>
                    <a:pt x="89" y="908"/>
                  </a:lnTo>
                  <a:lnTo>
                    <a:pt x="89" y="908"/>
                  </a:lnTo>
                  <a:lnTo>
                    <a:pt x="84" y="912"/>
                  </a:lnTo>
                  <a:lnTo>
                    <a:pt x="84" y="912"/>
                  </a:lnTo>
                  <a:lnTo>
                    <a:pt x="84" y="912"/>
                  </a:lnTo>
                  <a:lnTo>
                    <a:pt x="84" y="912"/>
                  </a:lnTo>
                  <a:lnTo>
                    <a:pt x="84" y="912"/>
                  </a:lnTo>
                  <a:lnTo>
                    <a:pt x="80" y="912"/>
                  </a:lnTo>
                  <a:lnTo>
                    <a:pt x="80" y="912"/>
                  </a:lnTo>
                  <a:lnTo>
                    <a:pt x="80" y="912"/>
                  </a:lnTo>
                  <a:lnTo>
                    <a:pt x="80" y="912"/>
                  </a:lnTo>
                  <a:lnTo>
                    <a:pt x="80" y="912"/>
                  </a:lnTo>
                  <a:lnTo>
                    <a:pt x="80" y="917"/>
                  </a:lnTo>
                  <a:lnTo>
                    <a:pt x="80" y="912"/>
                  </a:lnTo>
                  <a:lnTo>
                    <a:pt x="80" y="912"/>
                  </a:lnTo>
                  <a:lnTo>
                    <a:pt x="80" y="912"/>
                  </a:lnTo>
                  <a:lnTo>
                    <a:pt x="76" y="917"/>
                  </a:lnTo>
                  <a:lnTo>
                    <a:pt x="76" y="917"/>
                  </a:lnTo>
                  <a:lnTo>
                    <a:pt x="76" y="917"/>
                  </a:lnTo>
                  <a:lnTo>
                    <a:pt x="76" y="912"/>
                  </a:lnTo>
                  <a:lnTo>
                    <a:pt x="76" y="912"/>
                  </a:lnTo>
                  <a:lnTo>
                    <a:pt x="76" y="912"/>
                  </a:lnTo>
                  <a:lnTo>
                    <a:pt x="76" y="917"/>
                  </a:lnTo>
                  <a:lnTo>
                    <a:pt x="71" y="917"/>
                  </a:lnTo>
                  <a:lnTo>
                    <a:pt x="71" y="917"/>
                  </a:lnTo>
                  <a:lnTo>
                    <a:pt x="71" y="917"/>
                  </a:lnTo>
                  <a:lnTo>
                    <a:pt x="71" y="917"/>
                  </a:lnTo>
                  <a:lnTo>
                    <a:pt x="71" y="921"/>
                  </a:lnTo>
                  <a:lnTo>
                    <a:pt x="71" y="921"/>
                  </a:lnTo>
                  <a:lnTo>
                    <a:pt x="71" y="921"/>
                  </a:lnTo>
                  <a:lnTo>
                    <a:pt x="71" y="925"/>
                  </a:lnTo>
                  <a:lnTo>
                    <a:pt x="67" y="921"/>
                  </a:lnTo>
                  <a:lnTo>
                    <a:pt x="67" y="921"/>
                  </a:lnTo>
                  <a:lnTo>
                    <a:pt x="67" y="921"/>
                  </a:lnTo>
                  <a:lnTo>
                    <a:pt x="67" y="917"/>
                  </a:lnTo>
                  <a:lnTo>
                    <a:pt x="67" y="912"/>
                  </a:lnTo>
                  <a:lnTo>
                    <a:pt x="67" y="912"/>
                  </a:lnTo>
                  <a:lnTo>
                    <a:pt x="67" y="912"/>
                  </a:lnTo>
                  <a:lnTo>
                    <a:pt x="67" y="912"/>
                  </a:lnTo>
                  <a:lnTo>
                    <a:pt x="62" y="912"/>
                  </a:lnTo>
                  <a:lnTo>
                    <a:pt x="62" y="912"/>
                  </a:lnTo>
                  <a:lnTo>
                    <a:pt x="58" y="912"/>
                  </a:lnTo>
                  <a:lnTo>
                    <a:pt x="58" y="912"/>
                  </a:lnTo>
                  <a:lnTo>
                    <a:pt x="58" y="917"/>
                  </a:lnTo>
                  <a:lnTo>
                    <a:pt x="58" y="917"/>
                  </a:lnTo>
                  <a:lnTo>
                    <a:pt x="58" y="917"/>
                  </a:lnTo>
                  <a:lnTo>
                    <a:pt x="58" y="917"/>
                  </a:lnTo>
                  <a:lnTo>
                    <a:pt x="62" y="917"/>
                  </a:lnTo>
                  <a:lnTo>
                    <a:pt x="58" y="917"/>
                  </a:lnTo>
                  <a:lnTo>
                    <a:pt x="58" y="917"/>
                  </a:lnTo>
                  <a:lnTo>
                    <a:pt x="58" y="917"/>
                  </a:lnTo>
                  <a:lnTo>
                    <a:pt x="53" y="917"/>
                  </a:lnTo>
                  <a:lnTo>
                    <a:pt x="53" y="917"/>
                  </a:lnTo>
                  <a:lnTo>
                    <a:pt x="53" y="917"/>
                  </a:lnTo>
                  <a:lnTo>
                    <a:pt x="49" y="912"/>
                  </a:lnTo>
                  <a:lnTo>
                    <a:pt x="49" y="917"/>
                  </a:lnTo>
                  <a:lnTo>
                    <a:pt x="49" y="917"/>
                  </a:lnTo>
                  <a:lnTo>
                    <a:pt x="45" y="917"/>
                  </a:lnTo>
                  <a:lnTo>
                    <a:pt x="45" y="917"/>
                  </a:lnTo>
                  <a:lnTo>
                    <a:pt x="45" y="921"/>
                  </a:lnTo>
                  <a:lnTo>
                    <a:pt x="49" y="921"/>
                  </a:lnTo>
                  <a:lnTo>
                    <a:pt x="49" y="921"/>
                  </a:lnTo>
                  <a:lnTo>
                    <a:pt x="49" y="921"/>
                  </a:lnTo>
                  <a:lnTo>
                    <a:pt x="49" y="921"/>
                  </a:lnTo>
                  <a:lnTo>
                    <a:pt x="49" y="921"/>
                  </a:lnTo>
                  <a:lnTo>
                    <a:pt x="45" y="921"/>
                  </a:lnTo>
                  <a:lnTo>
                    <a:pt x="49" y="925"/>
                  </a:lnTo>
                  <a:lnTo>
                    <a:pt x="49" y="925"/>
                  </a:lnTo>
                  <a:lnTo>
                    <a:pt x="49" y="925"/>
                  </a:lnTo>
                  <a:lnTo>
                    <a:pt x="49" y="925"/>
                  </a:lnTo>
                  <a:lnTo>
                    <a:pt x="49" y="925"/>
                  </a:lnTo>
                  <a:lnTo>
                    <a:pt x="49" y="930"/>
                  </a:lnTo>
                  <a:lnTo>
                    <a:pt x="49" y="925"/>
                  </a:lnTo>
                  <a:lnTo>
                    <a:pt x="49" y="925"/>
                  </a:lnTo>
                  <a:lnTo>
                    <a:pt x="49" y="930"/>
                  </a:lnTo>
                  <a:lnTo>
                    <a:pt x="49" y="930"/>
                  </a:lnTo>
                  <a:lnTo>
                    <a:pt x="49" y="930"/>
                  </a:lnTo>
                  <a:lnTo>
                    <a:pt x="53" y="934"/>
                  </a:lnTo>
                  <a:lnTo>
                    <a:pt x="58" y="939"/>
                  </a:lnTo>
                  <a:lnTo>
                    <a:pt x="53" y="939"/>
                  </a:lnTo>
                  <a:lnTo>
                    <a:pt x="53" y="939"/>
                  </a:lnTo>
                  <a:lnTo>
                    <a:pt x="53" y="939"/>
                  </a:lnTo>
                  <a:lnTo>
                    <a:pt x="49" y="939"/>
                  </a:lnTo>
                  <a:lnTo>
                    <a:pt x="49" y="934"/>
                  </a:lnTo>
                  <a:lnTo>
                    <a:pt x="45" y="934"/>
                  </a:lnTo>
                  <a:lnTo>
                    <a:pt x="45" y="934"/>
                  </a:lnTo>
                  <a:lnTo>
                    <a:pt x="45" y="934"/>
                  </a:lnTo>
                  <a:lnTo>
                    <a:pt x="45" y="934"/>
                  </a:lnTo>
                  <a:lnTo>
                    <a:pt x="45" y="934"/>
                  </a:lnTo>
                  <a:lnTo>
                    <a:pt x="45" y="934"/>
                  </a:lnTo>
                  <a:lnTo>
                    <a:pt x="45" y="939"/>
                  </a:lnTo>
                  <a:lnTo>
                    <a:pt x="45" y="939"/>
                  </a:lnTo>
                  <a:lnTo>
                    <a:pt x="45" y="939"/>
                  </a:lnTo>
                  <a:lnTo>
                    <a:pt x="45" y="939"/>
                  </a:lnTo>
                  <a:lnTo>
                    <a:pt x="45" y="939"/>
                  </a:lnTo>
                  <a:lnTo>
                    <a:pt x="45" y="943"/>
                  </a:lnTo>
                  <a:lnTo>
                    <a:pt x="45" y="948"/>
                  </a:lnTo>
                  <a:lnTo>
                    <a:pt x="45" y="948"/>
                  </a:lnTo>
                  <a:lnTo>
                    <a:pt x="40" y="948"/>
                  </a:lnTo>
                  <a:lnTo>
                    <a:pt x="40" y="948"/>
                  </a:lnTo>
                  <a:lnTo>
                    <a:pt x="40" y="952"/>
                  </a:lnTo>
                  <a:lnTo>
                    <a:pt x="40" y="952"/>
                  </a:lnTo>
                  <a:lnTo>
                    <a:pt x="40" y="956"/>
                  </a:lnTo>
                  <a:lnTo>
                    <a:pt x="40" y="956"/>
                  </a:lnTo>
                  <a:lnTo>
                    <a:pt x="40" y="956"/>
                  </a:lnTo>
                  <a:lnTo>
                    <a:pt x="40" y="956"/>
                  </a:lnTo>
                  <a:lnTo>
                    <a:pt x="40" y="956"/>
                  </a:lnTo>
                  <a:lnTo>
                    <a:pt x="36" y="956"/>
                  </a:lnTo>
                  <a:lnTo>
                    <a:pt x="36" y="956"/>
                  </a:lnTo>
                  <a:lnTo>
                    <a:pt x="31" y="956"/>
                  </a:lnTo>
                  <a:lnTo>
                    <a:pt x="31" y="956"/>
                  </a:lnTo>
                  <a:lnTo>
                    <a:pt x="31" y="961"/>
                  </a:lnTo>
                  <a:lnTo>
                    <a:pt x="31" y="961"/>
                  </a:lnTo>
                  <a:lnTo>
                    <a:pt x="31" y="961"/>
                  </a:lnTo>
                  <a:lnTo>
                    <a:pt x="31" y="965"/>
                  </a:lnTo>
                  <a:lnTo>
                    <a:pt x="31" y="965"/>
                  </a:lnTo>
                  <a:lnTo>
                    <a:pt x="31" y="965"/>
                  </a:lnTo>
                  <a:lnTo>
                    <a:pt x="31" y="965"/>
                  </a:lnTo>
                  <a:lnTo>
                    <a:pt x="27" y="965"/>
                  </a:lnTo>
                  <a:lnTo>
                    <a:pt x="27" y="965"/>
                  </a:lnTo>
                  <a:lnTo>
                    <a:pt x="27" y="965"/>
                  </a:lnTo>
                  <a:lnTo>
                    <a:pt x="27" y="965"/>
                  </a:lnTo>
                  <a:lnTo>
                    <a:pt x="27" y="970"/>
                  </a:lnTo>
                  <a:lnTo>
                    <a:pt x="27" y="970"/>
                  </a:lnTo>
                  <a:lnTo>
                    <a:pt x="27" y="970"/>
                  </a:lnTo>
                  <a:lnTo>
                    <a:pt x="27" y="974"/>
                  </a:lnTo>
                  <a:lnTo>
                    <a:pt x="27" y="974"/>
                  </a:lnTo>
                  <a:lnTo>
                    <a:pt x="27" y="974"/>
                  </a:lnTo>
                  <a:lnTo>
                    <a:pt x="27" y="974"/>
                  </a:lnTo>
                  <a:lnTo>
                    <a:pt x="27" y="974"/>
                  </a:lnTo>
                  <a:lnTo>
                    <a:pt x="27" y="974"/>
                  </a:lnTo>
                  <a:lnTo>
                    <a:pt x="27" y="979"/>
                  </a:lnTo>
                  <a:lnTo>
                    <a:pt x="27" y="979"/>
                  </a:lnTo>
                  <a:lnTo>
                    <a:pt x="22" y="979"/>
                  </a:lnTo>
                  <a:lnTo>
                    <a:pt x="22" y="979"/>
                  </a:lnTo>
                  <a:lnTo>
                    <a:pt x="22" y="983"/>
                  </a:lnTo>
                  <a:lnTo>
                    <a:pt x="22" y="987"/>
                  </a:lnTo>
                  <a:lnTo>
                    <a:pt x="22" y="987"/>
                  </a:lnTo>
                  <a:lnTo>
                    <a:pt x="27" y="987"/>
                  </a:lnTo>
                  <a:lnTo>
                    <a:pt x="27" y="983"/>
                  </a:lnTo>
                  <a:lnTo>
                    <a:pt x="27" y="987"/>
                  </a:lnTo>
                  <a:lnTo>
                    <a:pt x="31" y="987"/>
                  </a:lnTo>
                  <a:lnTo>
                    <a:pt x="31" y="987"/>
                  </a:lnTo>
                  <a:lnTo>
                    <a:pt x="31" y="987"/>
                  </a:lnTo>
                  <a:lnTo>
                    <a:pt x="27" y="992"/>
                  </a:lnTo>
                  <a:lnTo>
                    <a:pt x="27" y="992"/>
                  </a:lnTo>
                  <a:lnTo>
                    <a:pt x="27" y="992"/>
                  </a:lnTo>
                  <a:lnTo>
                    <a:pt x="27" y="996"/>
                  </a:lnTo>
                  <a:lnTo>
                    <a:pt x="27" y="996"/>
                  </a:lnTo>
                  <a:lnTo>
                    <a:pt x="27" y="996"/>
                  </a:lnTo>
                  <a:lnTo>
                    <a:pt x="27" y="996"/>
                  </a:lnTo>
                  <a:lnTo>
                    <a:pt x="27" y="1001"/>
                  </a:lnTo>
                  <a:lnTo>
                    <a:pt x="27" y="1001"/>
                  </a:lnTo>
                  <a:lnTo>
                    <a:pt x="27" y="1005"/>
                  </a:lnTo>
                  <a:lnTo>
                    <a:pt x="27" y="1005"/>
                  </a:lnTo>
                  <a:lnTo>
                    <a:pt x="27" y="1005"/>
                  </a:lnTo>
                  <a:lnTo>
                    <a:pt x="27" y="1005"/>
                  </a:lnTo>
                  <a:lnTo>
                    <a:pt x="27" y="1005"/>
                  </a:lnTo>
                  <a:lnTo>
                    <a:pt x="27" y="1010"/>
                  </a:lnTo>
                  <a:lnTo>
                    <a:pt x="27" y="1010"/>
                  </a:lnTo>
                  <a:lnTo>
                    <a:pt x="27" y="1010"/>
                  </a:lnTo>
                  <a:lnTo>
                    <a:pt x="27" y="1010"/>
                  </a:lnTo>
                  <a:lnTo>
                    <a:pt x="31" y="1010"/>
                  </a:lnTo>
                  <a:lnTo>
                    <a:pt x="31" y="1010"/>
                  </a:lnTo>
                  <a:lnTo>
                    <a:pt x="31" y="1010"/>
                  </a:lnTo>
                  <a:lnTo>
                    <a:pt x="31" y="1010"/>
                  </a:lnTo>
                  <a:lnTo>
                    <a:pt x="31" y="1010"/>
                  </a:lnTo>
                  <a:lnTo>
                    <a:pt x="31" y="1010"/>
                  </a:lnTo>
                  <a:lnTo>
                    <a:pt x="31" y="1010"/>
                  </a:lnTo>
                  <a:lnTo>
                    <a:pt x="31" y="1010"/>
                  </a:lnTo>
                  <a:lnTo>
                    <a:pt x="31" y="1014"/>
                  </a:lnTo>
                  <a:lnTo>
                    <a:pt x="31" y="1014"/>
                  </a:lnTo>
                  <a:lnTo>
                    <a:pt x="31" y="1018"/>
                  </a:lnTo>
                  <a:lnTo>
                    <a:pt x="31" y="1018"/>
                  </a:lnTo>
                  <a:lnTo>
                    <a:pt x="31" y="1014"/>
                  </a:lnTo>
                  <a:lnTo>
                    <a:pt x="31" y="1014"/>
                  </a:lnTo>
                  <a:lnTo>
                    <a:pt x="36" y="1010"/>
                  </a:lnTo>
                  <a:lnTo>
                    <a:pt x="36" y="1010"/>
                  </a:lnTo>
                  <a:lnTo>
                    <a:pt x="36" y="1014"/>
                  </a:lnTo>
                  <a:lnTo>
                    <a:pt x="36" y="1014"/>
                  </a:lnTo>
                  <a:lnTo>
                    <a:pt x="36" y="1014"/>
                  </a:lnTo>
                  <a:lnTo>
                    <a:pt x="36" y="1014"/>
                  </a:lnTo>
                  <a:lnTo>
                    <a:pt x="36" y="1018"/>
                  </a:lnTo>
                  <a:lnTo>
                    <a:pt x="36" y="1014"/>
                  </a:lnTo>
                  <a:lnTo>
                    <a:pt x="36" y="1018"/>
                  </a:lnTo>
                  <a:lnTo>
                    <a:pt x="36" y="1023"/>
                  </a:lnTo>
                  <a:lnTo>
                    <a:pt x="36" y="1023"/>
                  </a:lnTo>
                  <a:lnTo>
                    <a:pt x="36" y="1027"/>
                  </a:lnTo>
                  <a:lnTo>
                    <a:pt x="36" y="1027"/>
                  </a:lnTo>
                  <a:lnTo>
                    <a:pt x="36" y="1027"/>
                  </a:lnTo>
                  <a:lnTo>
                    <a:pt x="36" y="1027"/>
                  </a:lnTo>
                  <a:lnTo>
                    <a:pt x="40" y="1027"/>
                  </a:lnTo>
                  <a:lnTo>
                    <a:pt x="40" y="1027"/>
                  </a:lnTo>
                  <a:lnTo>
                    <a:pt x="40" y="1027"/>
                  </a:lnTo>
                  <a:lnTo>
                    <a:pt x="40" y="1032"/>
                  </a:lnTo>
                  <a:lnTo>
                    <a:pt x="40" y="1032"/>
                  </a:lnTo>
                  <a:lnTo>
                    <a:pt x="40" y="1032"/>
                  </a:lnTo>
                  <a:lnTo>
                    <a:pt x="40" y="1036"/>
                  </a:lnTo>
                  <a:lnTo>
                    <a:pt x="36" y="1036"/>
                  </a:lnTo>
                  <a:lnTo>
                    <a:pt x="36" y="1036"/>
                  </a:lnTo>
                  <a:lnTo>
                    <a:pt x="36" y="1036"/>
                  </a:lnTo>
                  <a:lnTo>
                    <a:pt x="36" y="1041"/>
                  </a:lnTo>
                  <a:lnTo>
                    <a:pt x="36" y="1045"/>
                  </a:lnTo>
                  <a:lnTo>
                    <a:pt x="36" y="1041"/>
                  </a:lnTo>
                  <a:lnTo>
                    <a:pt x="36" y="1041"/>
                  </a:lnTo>
                  <a:lnTo>
                    <a:pt x="36" y="1045"/>
                  </a:lnTo>
                  <a:lnTo>
                    <a:pt x="36" y="1049"/>
                  </a:lnTo>
                  <a:lnTo>
                    <a:pt x="31" y="1058"/>
                  </a:lnTo>
                  <a:lnTo>
                    <a:pt x="36" y="1058"/>
                  </a:lnTo>
                  <a:lnTo>
                    <a:pt x="36" y="1058"/>
                  </a:lnTo>
                  <a:lnTo>
                    <a:pt x="36" y="1063"/>
                  </a:lnTo>
                  <a:lnTo>
                    <a:pt x="36" y="1063"/>
                  </a:lnTo>
                  <a:lnTo>
                    <a:pt x="36" y="1063"/>
                  </a:lnTo>
                  <a:lnTo>
                    <a:pt x="36" y="1063"/>
                  </a:lnTo>
                  <a:lnTo>
                    <a:pt x="36" y="1063"/>
                  </a:lnTo>
                  <a:lnTo>
                    <a:pt x="40" y="1063"/>
                  </a:lnTo>
                  <a:lnTo>
                    <a:pt x="40" y="1063"/>
                  </a:lnTo>
                  <a:lnTo>
                    <a:pt x="40" y="1063"/>
                  </a:lnTo>
                  <a:lnTo>
                    <a:pt x="40" y="1063"/>
                  </a:lnTo>
                  <a:lnTo>
                    <a:pt x="40" y="1067"/>
                  </a:lnTo>
                  <a:lnTo>
                    <a:pt x="40" y="1067"/>
                  </a:lnTo>
                  <a:lnTo>
                    <a:pt x="40" y="1067"/>
                  </a:lnTo>
                  <a:lnTo>
                    <a:pt x="40" y="1067"/>
                  </a:lnTo>
                  <a:lnTo>
                    <a:pt x="40" y="1067"/>
                  </a:lnTo>
                  <a:lnTo>
                    <a:pt x="40" y="1067"/>
                  </a:lnTo>
                  <a:lnTo>
                    <a:pt x="40" y="1072"/>
                  </a:lnTo>
                  <a:lnTo>
                    <a:pt x="45" y="1072"/>
                  </a:lnTo>
                  <a:lnTo>
                    <a:pt x="45" y="1076"/>
                  </a:lnTo>
                  <a:lnTo>
                    <a:pt x="45" y="1076"/>
                  </a:lnTo>
                  <a:lnTo>
                    <a:pt x="45" y="1076"/>
                  </a:lnTo>
                  <a:lnTo>
                    <a:pt x="45" y="1076"/>
                  </a:lnTo>
                  <a:lnTo>
                    <a:pt x="45" y="1076"/>
                  </a:lnTo>
                  <a:lnTo>
                    <a:pt x="45" y="1080"/>
                  </a:lnTo>
                  <a:lnTo>
                    <a:pt x="45" y="1080"/>
                  </a:lnTo>
                  <a:lnTo>
                    <a:pt x="45" y="1080"/>
                  </a:lnTo>
                  <a:lnTo>
                    <a:pt x="45" y="1085"/>
                  </a:lnTo>
                  <a:lnTo>
                    <a:pt x="49" y="1089"/>
                  </a:lnTo>
                  <a:lnTo>
                    <a:pt x="49" y="1089"/>
                  </a:lnTo>
                  <a:lnTo>
                    <a:pt x="49" y="1089"/>
                  </a:lnTo>
                  <a:lnTo>
                    <a:pt x="49" y="1089"/>
                  </a:lnTo>
                  <a:lnTo>
                    <a:pt x="49" y="1089"/>
                  </a:lnTo>
                  <a:lnTo>
                    <a:pt x="49" y="1089"/>
                  </a:lnTo>
                  <a:lnTo>
                    <a:pt x="49" y="1089"/>
                  </a:lnTo>
                  <a:lnTo>
                    <a:pt x="49" y="1094"/>
                  </a:lnTo>
                  <a:lnTo>
                    <a:pt x="49" y="1094"/>
                  </a:lnTo>
                  <a:lnTo>
                    <a:pt x="49" y="1094"/>
                  </a:lnTo>
                  <a:lnTo>
                    <a:pt x="49" y="1094"/>
                  </a:lnTo>
                  <a:lnTo>
                    <a:pt x="49" y="1098"/>
                  </a:lnTo>
                  <a:lnTo>
                    <a:pt x="49" y="1098"/>
                  </a:lnTo>
                  <a:lnTo>
                    <a:pt x="53" y="1103"/>
                  </a:lnTo>
                  <a:lnTo>
                    <a:pt x="53" y="1103"/>
                  </a:lnTo>
                  <a:lnTo>
                    <a:pt x="58" y="1107"/>
                  </a:lnTo>
                  <a:lnTo>
                    <a:pt x="58" y="1107"/>
                  </a:lnTo>
                  <a:lnTo>
                    <a:pt x="58" y="1107"/>
                  </a:lnTo>
                  <a:lnTo>
                    <a:pt x="53" y="1107"/>
                  </a:lnTo>
                  <a:lnTo>
                    <a:pt x="45" y="1103"/>
                  </a:lnTo>
                  <a:lnTo>
                    <a:pt x="45" y="1103"/>
                  </a:lnTo>
                  <a:lnTo>
                    <a:pt x="45" y="1103"/>
                  </a:lnTo>
                  <a:lnTo>
                    <a:pt x="45" y="1103"/>
                  </a:lnTo>
                  <a:lnTo>
                    <a:pt x="45" y="1103"/>
                  </a:lnTo>
                  <a:lnTo>
                    <a:pt x="45" y="1107"/>
                  </a:lnTo>
                  <a:lnTo>
                    <a:pt x="45" y="1107"/>
                  </a:lnTo>
                  <a:lnTo>
                    <a:pt x="49" y="1107"/>
                  </a:lnTo>
                  <a:lnTo>
                    <a:pt x="49" y="1107"/>
                  </a:lnTo>
                  <a:lnTo>
                    <a:pt x="49" y="1107"/>
                  </a:lnTo>
                  <a:lnTo>
                    <a:pt x="49" y="1111"/>
                  </a:lnTo>
                  <a:lnTo>
                    <a:pt x="49" y="1111"/>
                  </a:lnTo>
                  <a:lnTo>
                    <a:pt x="49" y="1116"/>
                  </a:lnTo>
                  <a:lnTo>
                    <a:pt x="40" y="1111"/>
                  </a:lnTo>
                  <a:lnTo>
                    <a:pt x="45" y="1116"/>
                  </a:lnTo>
                  <a:lnTo>
                    <a:pt x="45" y="1116"/>
                  </a:lnTo>
                  <a:lnTo>
                    <a:pt x="49" y="1116"/>
                  </a:lnTo>
                  <a:lnTo>
                    <a:pt x="49" y="1120"/>
                  </a:lnTo>
                  <a:lnTo>
                    <a:pt x="49" y="1120"/>
                  </a:lnTo>
                  <a:lnTo>
                    <a:pt x="49" y="1120"/>
                  </a:lnTo>
                  <a:lnTo>
                    <a:pt x="45" y="1120"/>
                  </a:lnTo>
                  <a:lnTo>
                    <a:pt x="45" y="1120"/>
                  </a:lnTo>
                  <a:lnTo>
                    <a:pt x="45" y="1120"/>
                  </a:lnTo>
                  <a:lnTo>
                    <a:pt x="45" y="1125"/>
                  </a:lnTo>
                  <a:lnTo>
                    <a:pt x="45" y="1125"/>
                  </a:lnTo>
                  <a:lnTo>
                    <a:pt x="49" y="1125"/>
                  </a:lnTo>
                  <a:lnTo>
                    <a:pt x="49" y="1125"/>
                  </a:lnTo>
                  <a:lnTo>
                    <a:pt x="49" y="1129"/>
                  </a:lnTo>
                  <a:lnTo>
                    <a:pt x="49" y="1129"/>
                  </a:lnTo>
                  <a:lnTo>
                    <a:pt x="49" y="1129"/>
                  </a:lnTo>
                  <a:lnTo>
                    <a:pt x="49" y="1129"/>
                  </a:lnTo>
                  <a:lnTo>
                    <a:pt x="49" y="1129"/>
                  </a:lnTo>
                  <a:lnTo>
                    <a:pt x="49" y="1129"/>
                  </a:lnTo>
                  <a:lnTo>
                    <a:pt x="49" y="1129"/>
                  </a:lnTo>
                  <a:lnTo>
                    <a:pt x="49" y="1134"/>
                  </a:lnTo>
                  <a:lnTo>
                    <a:pt x="49" y="1134"/>
                  </a:lnTo>
                  <a:lnTo>
                    <a:pt x="49" y="1134"/>
                  </a:lnTo>
                  <a:lnTo>
                    <a:pt x="49" y="1134"/>
                  </a:lnTo>
                  <a:lnTo>
                    <a:pt x="45" y="1134"/>
                  </a:lnTo>
                  <a:lnTo>
                    <a:pt x="45" y="1138"/>
                  </a:lnTo>
                  <a:lnTo>
                    <a:pt x="45" y="1138"/>
                  </a:lnTo>
                  <a:lnTo>
                    <a:pt x="45" y="1138"/>
                  </a:lnTo>
                  <a:lnTo>
                    <a:pt x="45" y="1138"/>
                  </a:lnTo>
                  <a:lnTo>
                    <a:pt x="49" y="1142"/>
                  </a:lnTo>
                  <a:lnTo>
                    <a:pt x="49" y="1142"/>
                  </a:lnTo>
                  <a:lnTo>
                    <a:pt x="49" y="1142"/>
                  </a:lnTo>
                  <a:lnTo>
                    <a:pt x="49" y="1142"/>
                  </a:lnTo>
                  <a:lnTo>
                    <a:pt x="45" y="1147"/>
                  </a:lnTo>
                  <a:lnTo>
                    <a:pt x="45" y="1147"/>
                  </a:lnTo>
                  <a:lnTo>
                    <a:pt x="45" y="1147"/>
                  </a:lnTo>
                  <a:lnTo>
                    <a:pt x="45" y="1147"/>
                  </a:lnTo>
                  <a:lnTo>
                    <a:pt x="45" y="1147"/>
                  </a:lnTo>
                  <a:lnTo>
                    <a:pt x="45" y="1147"/>
                  </a:lnTo>
                  <a:lnTo>
                    <a:pt x="45" y="1147"/>
                  </a:lnTo>
                  <a:lnTo>
                    <a:pt x="45" y="1147"/>
                  </a:lnTo>
                  <a:lnTo>
                    <a:pt x="45" y="1151"/>
                  </a:lnTo>
                  <a:lnTo>
                    <a:pt x="45" y="1151"/>
                  </a:lnTo>
                  <a:lnTo>
                    <a:pt x="45" y="1151"/>
                  </a:lnTo>
                  <a:lnTo>
                    <a:pt x="45" y="1151"/>
                  </a:lnTo>
                  <a:lnTo>
                    <a:pt x="45" y="1151"/>
                  </a:lnTo>
                  <a:lnTo>
                    <a:pt x="45" y="1151"/>
                  </a:lnTo>
                  <a:lnTo>
                    <a:pt x="45" y="1151"/>
                  </a:lnTo>
                  <a:lnTo>
                    <a:pt x="45" y="1151"/>
                  </a:lnTo>
                  <a:lnTo>
                    <a:pt x="45" y="1156"/>
                  </a:lnTo>
                  <a:lnTo>
                    <a:pt x="45" y="1156"/>
                  </a:lnTo>
                  <a:lnTo>
                    <a:pt x="45" y="1156"/>
                  </a:lnTo>
                  <a:lnTo>
                    <a:pt x="45" y="1160"/>
                  </a:lnTo>
                  <a:lnTo>
                    <a:pt x="45" y="1160"/>
                  </a:lnTo>
                  <a:lnTo>
                    <a:pt x="45" y="1160"/>
                  </a:lnTo>
                  <a:lnTo>
                    <a:pt x="40" y="1160"/>
                  </a:lnTo>
                  <a:lnTo>
                    <a:pt x="40" y="1160"/>
                  </a:lnTo>
                  <a:lnTo>
                    <a:pt x="40" y="1160"/>
                  </a:lnTo>
                  <a:lnTo>
                    <a:pt x="40" y="1160"/>
                  </a:lnTo>
                  <a:lnTo>
                    <a:pt x="40" y="1160"/>
                  </a:lnTo>
                  <a:lnTo>
                    <a:pt x="40" y="1160"/>
                  </a:lnTo>
                  <a:lnTo>
                    <a:pt x="40" y="1160"/>
                  </a:lnTo>
                  <a:lnTo>
                    <a:pt x="40" y="1160"/>
                  </a:lnTo>
                  <a:lnTo>
                    <a:pt x="36" y="1160"/>
                  </a:lnTo>
                  <a:lnTo>
                    <a:pt x="36" y="1160"/>
                  </a:lnTo>
                  <a:lnTo>
                    <a:pt x="36" y="1160"/>
                  </a:lnTo>
                  <a:lnTo>
                    <a:pt x="36" y="1160"/>
                  </a:lnTo>
                  <a:lnTo>
                    <a:pt x="36" y="1165"/>
                  </a:lnTo>
                  <a:lnTo>
                    <a:pt x="36" y="1165"/>
                  </a:lnTo>
                  <a:lnTo>
                    <a:pt x="36" y="1165"/>
                  </a:lnTo>
                  <a:lnTo>
                    <a:pt x="36" y="1165"/>
                  </a:lnTo>
                  <a:lnTo>
                    <a:pt x="40" y="1169"/>
                  </a:lnTo>
                  <a:lnTo>
                    <a:pt x="40" y="1173"/>
                  </a:lnTo>
                  <a:lnTo>
                    <a:pt x="40" y="1173"/>
                  </a:lnTo>
                  <a:lnTo>
                    <a:pt x="40" y="1173"/>
                  </a:lnTo>
                  <a:lnTo>
                    <a:pt x="40" y="1173"/>
                  </a:lnTo>
                  <a:lnTo>
                    <a:pt x="40" y="1173"/>
                  </a:lnTo>
                  <a:lnTo>
                    <a:pt x="40" y="1173"/>
                  </a:lnTo>
                  <a:lnTo>
                    <a:pt x="40" y="1173"/>
                  </a:lnTo>
                  <a:lnTo>
                    <a:pt x="45" y="1178"/>
                  </a:lnTo>
                  <a:lnTo>
                    <a:pt x="40" y="1178"/>
                  </a:lnTo>
                  <a:lnTo>
                    <a:pt x="40" y="1178"/>
                  </a:lnTo>
                  <a:lnTo>
                    <a:pt x="40" y="1173"/>
                  </a:lnTo>
                  <a:lnTo>
                    <a:pt x="40" y="1173"/>
                  </a:lnTo>
                  <a:lnTo>
                    <a:pt x="40" y="1173"/>
                  </a:lnTo>
                  <a:lnTo>
                    <a:pt x="40" y="1178"/>
                  </a:lnTo>
                  <a:lnTo>
                    <a:pt x="40" y="1178"/>
                  </a:lnTo>
                  <a:lnTo>
                    <a:pt x="40" y="1178"/>
                  </a:lnTo>
                  <a:lnTo>
                    <a:pt x="40" y="1178"/>
                  </a:lnTo>
                  <a:lnTo>
                    <a:pt x="40" y="1178"/>
                  </a:lnTo>
                  <a:lnTo>
                    <a:pt x="40" y="1178"/>
                  </a:lnTo>
                  <a:lnTo>
                    <a:pt x="45" y="1178"/>
                  </a:lnTo>
                  <a:lnTo>
                    <a:pt x="40" y="1182"/>
                  </a:lnTo>
                  <a:lnTo>
                    <a:pt x="40" y="1182"/>
                  </a:lnTo>
                  <a:lnTo>
                    <a:pt x="36" y="1182"/>
                  </a:lnTo>
                  <a:lnTo>
                    <a:pt x="36" y="1182"/>
                  </a:lnTo>
                  <a:lnTo>
                    <a:pt x="36" y="1182"/>
                  </a:lnTo>
                  <a:lnTo>
                    <a:pt x="36" y="1182"/>
                  </a:lnTo>
                  <a:lnTo>
                    <a:pt x="36" y="1187"/>
                  </a:lnTo>
                  <a:lnTo>
                    <a:pt x="36" y="1187"/>
                  </a:lnTo>
                  <a:lnTo>
                    <a:pt x="36" y="1187"/>
                  </a:lnTo>
                  <a:lnTo>
                    <a:pt x="40" y="1187"/>
                  </a:lnTo>
                  <a:lnTo>
                    <a:pt x="40" y="1187"/>
                  </a:lnTo>
                  <a:lnTo>
                    <a:pt x="40" y="1187"/>
                  </a:lnTo>
                  <a:lnTo>
                    <a:pt x="40" y="1187"/>
                  </a:lnTo>
                  <a:lnTo>
                    <a:pt x="40" y="1191"/>
                  </a:lnTo>
                  <a:lnTo>
                    <a:pt x="40" y="1191"/>
                  </a:lnTo>
                  <a:lnTo>
                    <a:pt x="40" y="1191"/>
                  </a:lnTo>
                  <a:lnTo>
                    <a:pt x="40" y="1191"/>
                  </a:lnTo>
                  <a:lnTo>
                    <a:pt x="40" y="1191"/>
                  </a:lnTo>
                  <a:lnTo>
                    <a:pt x="40" y="1191"/>
                  </a:lnTo>
                  <a:lnTo>
                    <a:pt x="40" y="1191"/>
                  </a:lnTo>
                  <a:lnTo>
                    <a:pt x="40" y="1196"/>
                  </a:lnTo>
                  <a:lnTo>
                    <a:pt x="45" y="1196"/>
                  </a:lnTo>
                  <a:lnTo>
                    <a:pt x="45" y="1196"/>
                  </a:lnTo>
                  <a:lnTo>
                    <a:pt x="45" y="1196"/>
                  </a:lnTo>
                  <a:lnTo>
                    <a:pt x="45" y="1196"/>
                  </a:lnTo>
                  <a:lnTo>
                    <a:pt x="40" y="1196"/>
                  </a:lnTo>
                  <a:lnTo>
                    <a:pt x="45" y="1196"/>
                  </a:lnTo>
                  <a:lnTo>
                    <a:pt x="45" y="1200"/>
                  </a:lnTo>
                  <a:lnTo>
                    <a:pt x="45" y="1200"/>
                  </a:lnTo>
                  <a:lnTo>
                    <a:pt x="45" y="1200"/>
                  </a:lnTo>
                  <a:lnTo>
                    <a:pt x="40" y="1200"/>
                  </a:lnTo>
                  <a:lnTo>
                    <a:pt x="40" y="1200"/>
                  </a:lnTo>
                  <a:lnTo>
                    <a:pt x="40" y="1200"/>
                  </a:lnTo>
                  <a:lnTo>
                    <a:pt x="40" y="1200"/>
                  </a:lnTo>
                  <a:lnTo>
                    <a:pt x="40" y="1200"/>
                  </a:lnTo>
                  <a:lnTo>
                    <a:pt x="40" y="1200"/>
                  </a:lnTo>
                  <a:lnTo>
                    <a:pt x="40" y="1204"/>
                  </a:lnTo>
                  <a:lnTo>
                    <a:pt x="40" y="1204"/>
                  </a:lnTo>
                  <a:lnTo>
                    <a:pt x="40" y="1204"/>
                  </a:lnTo>
                  <a:lnTo>
                    <a:pt x="40" y="1204"/>
                  </a:lnTo>
                  <a:lnTo>
                    <a:pt x="45" y="1209"/>
                  </a:lnTo>
                  <a:lnTo>
                    <a:pt x="45" y="1209"/>
                  </a:lnTo>
                  <a:lnTo>
                    <a:pt x="45" y="1209"/>
                  </a:lnTo>
                  <a:lnTo>
                    <a:pt x="40" y="1209"/>
                  </a:lnTo>
                  <a:lnTo>
                    <a:pt x="45" y="1209"/>
                  </a:lnTo>
                  <a:lnTo>
                    <a:pt x="40" y="1209"/>
                  </a:lnTo>
                  <a:lnTo>
                    <a:pt x="40" y="1209"/>
                  </a:lnTo>
                  <a:lnTo>
                    <a:pt x="40" y="1209"/>
                  </a:lnTo>
                  <a:lnTo>
                    <a:pt x="40" y="1213"/>
                  </a:lnTo>
                  <a:lnTo>
                    <a:pt x="40" y="1213"/>
                  </a:lnTo>
                  <a:lnTo>
                    <a:pt x="45" y="1213"/>
                  </a:lnTo>
                  <a:lnTo>
                    <a:pt x="45" y="1213"/>
                  </a:lnTo>
                  <a:lnTo>
                    <a:pt x="45" y="1213"/>
                  </a:lnTo>
                  <a:lnTo>
                    <a:pt x="45" y="1213"/>
                  </a:lnTo>
                  <a:lnTo>
                    <a:pt x="49" y="1213"/>
                  </a:lnTo>
                  <a:lnTo>
                    <a:pt x="49" y="1213"/>
                  </a:lnTo>
                  <a:lnTo>
                    <a:pt x="49" y="1213"/>
                  </a:lnTo>
                  <a:lnTo>
                    <a:pt x="49" y="1213"/>
                  </a:lnTo>
                  <a:lnTo>
                    <a:pt x="49" y="1213"/>
                  </a:lnTo>
                  <a:lnTo>
                    <a:pt x="49" y="1218"/>
                  </a:lnTo>
                  <a:lnTo>
                    <a:pt x="49" y="1218"/>
                  </a:lnTo>
                  <a:lnTo>
                    <a:pt x="49" y="1222"/>
                  </a:lnTo>
                  <a:lnTo>
                    <a:pt x="49" y="1222"/>
                  </a:lnTo>
                  <a:lnTo>
                    <a:pt x="53" y="1222"/>
                  </a:lnTo>
                  <a:lnTo>
                    <a:pt x="53" y="1222"/>
                  </a:lnTo>
                  <a:lnTo>
                    <a:pt x="53" y="1218"/>
                  </a:lnTo>
                  <a:lnTo>
                    <a:pt x="53" y="1218"/>
                  </a:lnTo>
                  <a:lnTo>
                    <a:pt x="53" y="1218"/>
                  </a:lnTo>
                  <a:lnTo>
                    <a:pt x="53" y="1218"/>
                  </a:lnTo>
                  <a:lnTo>
                    <a:pt x="53" y="1218"/>
                  </a:lnTo>
                  <a:lnTo>
                    <a:pt x="53" y="1213"/>
                  </a:lnTo>
                  <a:lnTo>
                    <a:pt x="53" y="1213"/>
                  </a:lnTo>
                  <a:lnTo>
                    <a:pt x="53" y="1213"/>
                  </a:lnTo>
                  <a:lnTo>
                    <a:pt x="58" y="1213"/>
                  </a:lnTo>
                  <a:lnTo>
                    <a:pt x="58" y="1209"/>
                  </a:lnTo>
                  <a:lnTo>
                    <a:pt x="58" y="1209"/>
                  </a:lnTo>
                  <a:lnTo>
                    <a:pt x="62" y="1209"/>
                  </a:lnTo>
                  <a:lnTo>
                    <a:pt x="62" y="1204"/>
                  </a:lnTo>
                  <a:lnTo>
                    <a:pt x="62" y="1209"/>
                  </a:lnTo>
                  <a:lnTo>
                    <a:pt x="62" y="1209"/>
                  </a:lnTo>
                  <a:lnTo>
                    <a:pt x="62" y="1209"/>
                  </a:lnTo>
                  <a:lnTo>
                    <a:pt x="62" y="1209"/>
                  </a:lnTo>
                  <a:lnTo>
                    <a:pt x="62" y="1209"/>
                  </a:lnTo>
                  <a:lnTo>
                    <a:pt x="62" y="1213"/>
                  </a:lnTo>
                  <a:lnTo>
                    <a:pt x="62" y="1213"/>
                  </a:lnTo>
                  <a:lnTo>
                    <a:pt x="62" y="1213"/>
                  </a:lnTo>
                  <a:lnTo>
                    <a:pt x="62" y="1218"/>
                  </a:lnTo>
                  <a:lnTo>
                    <a:pt x="62" y="1222"/>
                  </a:lnTo>
                  <a:lnTo>
                    <a:pt x="62" y="1222"/>
                  </a:lnTo>
                  <a:lnTo>
                    <a:pt x="62" y="1222"/>
                  </a:lnTo>
                  <a:lnTo>
                    <a:pt x="62" y="1222"/>
                  </a:lnTo>
                  <a:lnTo>
                    <a:pt x="67" y="1222"/>
                  </a:lnTo>
                  <a:lnTo>
                    <a:pt x="67" y="1218"/>
                  </a:lnTo>
                  <a:lnTo>
                    <a:pt x="62" y="1218"/>
                  </a:lnTo>
                  <a:lnTo>
                    <a:pt x="67" y="1218"/>
                  </a:lnTo>
                  <a:lnTo>
                    <a:pt x="67" y="1218"/>
                  </a:lnTo>
                  <a:lnTo>
                    <a:pt x="67" y="1218"/>
                  </a:lnTo>
                  <a:lnTo>
                    <a:pt x="71" y="1218"/>
                  </a:lnTo>
                  <a:lnTo>
                    <a:pt x="71" y="1218"/>
                  </a:lnTo>
                  <a:lnTo>
                    <a:pt x="71" y="1218"/>
                  </a:lnTo>
                  <a:lnTo>
                    <a:pt x="71" y="1218"/>
                  </a:lnTo>
                  <a:lnTo>
                    <a:pt x="71" y="1222"/>
                  </a:lnTo>
                  <a:lnTo>
                    <a:pt x="71" y="1222"/>
                  </a:lnTo>
                  <a:lnTo>
                    <a:pt x="71" y="1222"/>
                  </a:lnTo>
                  <a:lnTo>
                    <a:pt x="71" y="1222"/>
                  </a:lnTo>
                  <a:lnTo>
                    <a:pt x="71" y="1222"/>
                  </a:lnTo>
                  <a:lnTo>
                    <a:pt x="71" y="1222"/>
                  </a:lnTo>
                  <a:lnTo>
                    <a:pt x="71" y="1222"/>
                  </a:lnTo>
                  <a:lnTo>
                    <a:pt x="71" y="1222"/>
                  </a:lnTo>
                  <a:lnTo>
                    <a:pt x="76" y="1222"/>
                  </a:lnTo>
                  <a:lnTo>
                    <a:pt x="76" y="1222"/>
                  </a:lnTo>
                  <a:lnTo>
                    <a:pt x="76" y="1222"/>
                  </a:lnTo>
                  <a:lnTo>
                    <a:pt x="76" y="1222"/>
                  </a:lnTo>
                  <a:lnTo>
                    <a:pt x="76" y="1227"/>
                  </a:lnTo>
                  <a:lnTo>
                    <a:pt x="76" y="1227"/>
                  </a:lnTo>
                  <a:lnTo>
                    <a:pt x="76" y="1227"/>
                  </a:lnTo>
                  <a:lnTo>
                    <a:pt x="80" y="1222"/>
                  </a:lnTo>
                  <a:lnTo>
                    <a:pt x="80" y="1227"/>
                  </a:lnTo>
                  <a:lnTo>
                    <a:pt x="80" y="1227"/>
                  </a:lnTo>
                  <a:lnTo>
                    <a:pt x="80" y="1227"/>
                  </a:lnTo>
                  <a:lnTo>
                    <a:pt x="80" y="1227"/>
                  </a:lnTo>
                  <a:lnTo>
                    <a:pt x="80" y="1227"/>
                  </a:lnTo>
                  <a:lnTo>
                    <a:pt x="84" y="1231"/>
                  </a:lnTo>
                  <a:lnTo>
                    <a:pt x="89" y="1231"/>
                  </a:lnTo>
                  <a:lnTo>
                    <a:pt x="89" y="1231"/>
                  </a:lnTo>
                  <a:lnTo>
                    <a:pt x="89" y="1231"/>
                  </a:lnTo>
                  <a:lnTo>
                    <a:pt x="98" y="1231"/>
                  </a:lnTo>
                  <a:lnTo>
                    <a:pt x="98" y="1231"/>
                  </a:lnTo>
                  <a:lnTo>
                    <a:pt x="102" y="1235"/>
                  </a:lnTo>
                  <a:lnTo>
                    <a:pt x="102" y="1231"/>
                  </a:lnTo>
                  <a:lnTo>
                    <a:pt x="107" y="1231"/>
                  </a:lnTo>
                  <a:lnTo>
                    <a:pt x="107" y="1231"/>
                  </a:lnTo>
                  <a:lnTo>
                    <a:pt x="107" y="1231"/>
                  </a:lnTo>
                  <a:lnTo>
                    <a:pt x="102" y="1235"/>
                  </a:lnTo>
                  <a:lnTo>
                    <a:pt x="102" y="1235"/>
                  </a:lnTo>
                  <a:lnTo>
                    <a:pt x="102" y="1240"/>
                  </a:lnTo>
                  <a:lnTo>
                    <a:pt x="98" y="1240"/>
                  </a:lnTo>
                  <a:lnTo>
                    <a:pt x="98" y="1244"/>
                  </a:lnTo>
                  <a:lnTo>
                    <a:pt x="98" y="1244"/>
                  </a:lnTo>
                  <a:lnTo>
                    <a:pt x="98" y="1244"/>
                  </a:lnTo>
                  <a:lnTo>
                    <a:pt x="98" y="1244"/>
                  </a:lnTo>
                  <a:lnTo>
                    <a:pt x="98" y="1244"/>
                  </a:lnTo>
                  <a:lnTo>
                    <a:pt x="98" y="1244"/>
                  </a:lnTo>
                  <a:lnTo>
                    <a:pt x="98" y="1249"/>
                  </a:lnTo>
                  <a:lnTo>
                    <a:pt x="98" y="1249"/>
                  </a:lnTo>
                  <a:lnTo>
                    <a:pt x="102" y="1244"/>
                  </a:lnTo>
                  <a:lnTo>
                    <a:pt x="102" y="1244"/>
                  </a:lnTo>
                  <a:lnTo>
                    <a:pt x="102" y="1244"/>
                  </a:lnTo>
                  <a:lnTo>
                    <a:pt x="107" y="1244"/>
                  </a:lnTo>
                  <a:lnTo>
                    <a:pt x="102" y="1244"/>
                  </a:lnTo>
                  <a:lnTo>
                    <a:pt x="102" y="1244"/>
                  </a:lnTo>
                  <a:lnTo>
                    <a:pt x="102" y="1249"/>
                  </a:lnTo>
                  <a:lnTo>
                    <a:pt x="102" y="1249"/>
                  </a:lnTo>
                  <a:lnTo>
                    <a:pt x="102" y="1249"/>
                  </a:lnTo>
                  <a:lnTo>
                    <a:pt x="102" y="1249"/>
                  </a:lnTo>
                  <a:lnTo>
                    <a:pt x="102" y="1253"/>
                  </a:lnTo>
                  <a:lnTo>
                    <a:pt x="102" y="1253"/>
                  </a:lnTo>
                  <a:lnTo>
                    <a:pt x="107" y="1249"/>
                  </a:lnTo>
                  <a:lnTo>
                    <a:pt x="111" y="1249"/>
                  </a:lnTo>
                  <a:lnTo>
                    <a:pt x="120" y="1240"/>
                  </a:lnTo>
                  <a:lnTo>
                    <a:pt x="124" y="1240"/>
                  </a:lnTo>
                  <a:lnTo>
                    <a:pt x="124" y="1240"/>
                  </a:lnTo>
                  <a:lnTo>
                    <a:pt x="124" y="1240"/>
                  </a:lnTo>
                  <a:lnTo>
                    <a:pt x="129" y="1235"/>
                  </a:lnTo>
                  <a:lnTo>
                    <a:pt x="129" y="1235"/>
                  </a:lnTo>
                  <a:lnTo>
                    <a:pt x="129" y="1235"/>
                  </a:lnTo>
                  <a:lnTo>
                    <a:pt x="129" y="1235"/>
                  </a:lnTo>
                  <a:lnTo>
                    <a:pt x="129" y="1235"/>
                  </a:lnTo>
                  <a:lnTo>
                    <a:pt x="129" y="1240"/>
                  </a:lnTo>
                  <a:lnTo>
                    <a:pt x="129" y="1240"/>
                  </a:lnTo>
                  <a:lnTo>
                    <a:pt x="129" y="1240"/>
                  </a:lnTo>
                  <a:lnTo>
                    <a:pt x="129" y="1240"/>
                  </a:lnTo>
                  <a:lnTo>
                    <a:pt x="124" y="1244"/>
                  </a:lnTo>
                  <a:lnTo>
                    <a:pt x="124" y="1249"/>
                  </a:lnTo>
                  <a:lnTo>
                    <a:pt x="120" y="1249"/>
                  </a:lnTo>
                  <a:lnTo>
                    <a:pt x="120" y="1253"/>
                  </a:lnTo>
                  <a:lnTo>
                    <a:pt x="120" y="1253"/>
                  </a:lnTo>
                  <a:lnTo>
                    <a:pt x="120" y="1253"/>
                  </a:lnTo>
                  <a:lnTo>
                    <a:pt x="120" y="1257"/>
                  </a:lnTo>
                  <a:lnTo>
                    <a:pt x="120" y="1257"/>
                  </a:lnTo>
                  <a:lnTo>
                    <a:pt x="120" y="1257"/>
                  </a:lnTo>
                  <a:lnTo>
                    <a:pt x="120" y="1257"/>
                  </a:lnTo>
                  <a:lnTo>
                    <a:pt x="124" y="1257"/>
                  </a:lnTo>
                  <a:lnTo>
                    <a:pt x="124" y="1262"/>
                  </a:lnTo>
                  <a:lnTo>
                    <a:pt x="124" y="1262"/>
                  </a:lnTo>
                  <a:lnTo>
                    <a:pt x="124" y="1262"/>
                  </a:lnTo>
                  <a:lnTo>
                    <a:pt x="124" y="1262"/>
                  </a:lnTo>
                  <a:lnTo>
                    <a:pt x="124" y="1262"/>
                  </a:lnTo>
                  <a:lnTo>
                    <a:pt x="124" y="1262"/>
                  </a:lnTo>
                  <a:lnTo>
                    <a:pt x="124" y="1262"/>
                  </a:lnTo>
                  <a:lnTo>
                    <a:pt x="124" y="1257"/>
                  </a:lnTo>
                  <a:lnTo>
                    <a:pt x="129" y="1257"/>
                  </a:lnTo>
                  <a:lnTo>
                    <a:pt x="129" y="1262"/>
                  </a:lnTo>
                  <a:lnTo>
                    <a:pt x="124" y="1262"/>
                  </a:lnTo>
                  <a:lnTo>
                    <a:pt x="124" y="1262"/>
                  </a:lnTo>
                  <a:lnTo>
                    <a:pt x="124" y="1266"/>
                  </a:lnTo>
                  <a:lnTo>
                    <a:pt x="124" y="1266"/>
                  </a:lnTo>
                  <a:lnTo>
                    <a:pt x="124" y="1266"/>
                  </a:lnTo>
                  <a:lnTo>
                    <a:pt x="129" y="1266"/>
                  </a:lnTo>
                  <a:lnTo>
                    <a:pt x="129" y="1266"/>
                  </a:lnTo>
                  <a:lnTo>
                    <a:pt x="133" y="1271"/>
                  </a:lnTo>
                  <a:lnTo>
                    <a:pt x="137" y="1266"/>
                  </a:lnTo>
                  <a:lnTo>
                    <a:pt x="137" y="1266"/>
                  </a:lnTo>
                  <a:lnTo>
                    <a:pt x="137" y="1271"/>
                  </a:lnTo>
                  <a:lnTo>
                    <a:pt x="137" y="1271"/>
                  </a:lnTo>
                  <a:lnTo>
                    <a:pt x="137" y="1271"/>
                  </a:lnTo>
                  <a:lnTo>
                    <a:pt x="133" y="1275"/>
                  </a:lnTo>
                  <a:lnTo>
                    <a:pt x="133" y="1275"/>
                  </a:lnTo>
                  <a:lnTo>
                    <a:pt x="133" y="1275"/>
                  </a:lnTo>
                  <a:lnTo>
                    <a:pt x="129" y="1280"/>
                  </a:lnTo>
                  <a:lnTo>
                    <a:pt x="129" y="1280"/>
                  </a:lnTo>
                  <a:lnTo>
                    <a:pt x="133" y="1280"/>
                  </a:lnTo>
                  <a:lnTo>
                    <a:pt x="133" y="1280"/>
                  </a:lnTo>
                  <a:lnTo>
                    <a:pt x="133" y="1280"/>
                  </a:lnTo>
                  <a:lnTo>
                    <a:pt x="133" y="1280"/>
                  </a:lnTo>
                  <a:lnTo>
                    <a:pt x="133" y="1280"/>
                  </a:lnTo>
                  <a:lnTo>
                    <a:pt x="133" y="1280"/>
                  </a:lnTo>
                  <a:lnTo>
                    <a:pt x="133" y="1280"/>
                  </a:lnTo>
                  <a:lnTo>
                    <a:pt x="133" y="1280"/>
                  </a:lnTo>
                  <a:lnTo>
                    <a:pt x="137" y="1280"/>
                  </a:lnTo>
                  <a:lnTo>
                    <a:pt x="137" y="1280"/>
                  </a:lnTo>
                  <a:lnTo>
                    <a:pt x="137" y="1280"/>
                  </a:lnTo>
                  <a:lnTo>
                    <a:pt x="137" y="1280"/>
                  </a:lnTo>
                  <a:lnTo>
                    <a:pt x="137" y="1280"/>
                  </a:lnTo>
                  <a:lnTo>
                    <a:pt x="137" y="1280"/>
                  </a:lnTo>
                  <a:lnTo>
                    <a:pt x="137" y="1280"/>
                  </a:lnTo>
                  <a:lnTo>
                    <a:pt x="142" y="1271"/>
                  </a:lnTo>
                  <a:lnTo>
                    <a:pt x="142" y="1271"/>
                  </a:lnTo>
                  <a:lnTo>
                    <a:pt x="142" y="1271"/>
                  </a:lnTo>
                  <a:lnTo>
                    <a:pt x="142" y="1275"/>
                  </a:lnTo>
                  <a:lnTo>
                    <a:pt x="142" y="1275"/>
                  </a:lnTo>
                  <a:lnTo>
                    <a:pt x="137" y="1280"/>
                  </a:lnTo>
                  <a:lnTo>
                    <a:pt x="137" y="1280"/>
                  </a:lnTo>
                  <a:lnTo>
                    <a:pt x="137" y="1280"/>
                  </a:lnTo>
                  <a:lnTo>
                    <a:pt x="133" y="1280"/>
                  </a:lnTo>
                  <a:lnTo>
                    <a:pt x="133" y="1280"/>
                  </a:lnTo>
                  <a:lnTo>
                    <a:pt x="133" y="1280"/>
                  </a:lnTo>
                  <a:lnTo>
                    <a:pt x="133" y="1284"/>
                  </a:lnTo>
                  <a:lnTo>
                    <a:pt x="133" y="1284"/>
                  </a:lnTo>
                  <a:lnTo>
                    <a:pt x="133" y="1284"/>
                  </a:lnTo>
                  <a:lnTo>
                    <a:pt x="124" y="1288"/>
                  </a:lnTo>
                  <a:lnTo>
                    <a:pt x="124" y="1288"/>
                  </a:lnTo>
                  <a:lnTo>
                    <a:pt x="120" y="1288"/>
                  </a:lnTo>
                  <a:lnTo>
                    <a:pt x="120" y="1293"/>
                  </a:lnTo>
                  <a:lnTo>
                    <a:pt x="120" y="1293"/>
                  </a:lnTo>
                  <a:lnTo>
                    <a:pt x="120" y="1293"/>
                  </a:lnTo>
                  <a:lnTo>
                    <a:pt x="124" y="1293"/>
                  </a:lnTo>
                  <a:lnTo>
                    <a:pt x="124" y="1293"/>
                  </a:lnTo>
                  <a:lnTo>
                    <a:pt x="124" y="1293"/>
                  </a:lnTo>
                  <a:lnTo>
                    <a:pt x="129" y="1293"/>
                  </a:lnTo>
                  <a:lnTo>
                    <a:pt x="129" y="1293"/>
                  </a:lnTo>
                  <a:lnTo>
                    <a:pt x="137" y="1288"/>
                  </a:lnTo>
                  <a:lnTo>
                    <a:pt x="137" y="1288"/>
                  </a:lnTo>
                  <a:lnTo>
                    <a:pt x="137" y="1288"/>
                  </a:lnTo>
                  <a:lnTo>
                    <a:pt x="137" y="1288"/>
                  </a:lnTo>
                  <a:lnTo>
                    <a:pt x="137" y="1284"/>
                  </a:lnTo>
                  <a:lnTo>
                    <a:pt x="137" y="1284"/>
                  </a:lnTo>
                  <a:lnTo>
                    <a:pt x="142" y="1280"/>
                  </a:lnTo>
                  <a:lnTo>
                    <a:pt x="146" y="1280"/>
                  </a:lnTo>
                  <a:lnTo>
                    <a:pt x="146" y="1275"/>
                  </a:lnTo>
                  <a:lnTo>
                    <a:pt x="146" y="1275"/>
                  </a:lnTo>
                  <a:lnTo>
                    <a:pt x="146" y="1275"/>
                  </a:lnTo>
                  <a:lnTo>
                    <a:pt x="146" y="1275"/>
                  </a:lnTo>
                  <a:lnTo>
                    <a:pt x="151" y="1271"/>
                  </a:lnTo>
                  <a:lnTo>
                    <a:pt x="151" y="1271"/>
                  </a:lnTo>
                  <a:lnTo>
                    <a:pt x="151" y="1271"/>
                  </a:lnTo>
                  <a:lnTo>
                    <a:pt x="151" y="1271"/>
                  </a:lnTo>
                  <a:lnTo>
                    <a:pt x="151" y="1271"/>
                  </a:lnTo>
                  <a:lnTo>
                    <a:pt x="151" y="1266"/>
                  </a:lnTo>
                  <a:lnTo>
                    <a:pt x="151" y="1266"/>
                  </a:lnTo>
                  <a:lnTo>
                    <a:pt x="151" y="1266"/>
                  </a:lnTo>
                  <a:lnTo>
                    <a:pt x="151" y="1266"/>
                  </a:lnTo>
                  <a:lnTo>
                    <a:pt x="155" y="1266"/>
                  </a:lnTo>
                  <a:lnTo>
                    <a:pt x="155" y="1266"/>
                  </a:lnTo>
                  <a:lnTo>
                    <a:pt x="155" y="1266"/>
                  </a:lnTo>
                  <a:lnTo>
                    <a:pt x="155" y="1266"/>
                  </a:lnTo>
                  <a:lnTo>
                    <a:pt x="155" y="1271"/>
                  </a:lnTo>
                  <a:lnTo>
                    <a:pt x="155" y="1271"/>
                  </a:lnTo>
                  <a:lnTo>
                    <a:pt x="155" y="1271"/>
                  </a:lnTo>
                  <a:lnTo>
                    <a:pt x="151" y="1271"/>
                  </a:lnTo>
                  <a:lnTo>
                    <a:pt x="151" y="1271"/>
                  </a:lnTo>
                  <a:lnTo>
                    <a:pt x="146" y="1275"/>
                  </a:lnTo>
                  <a:lnTo>
                    <a:pt x="146" y="1275"/>
                  </a:lnTo>
                  <a:lnTo>
                    <a:pt x="151" y="1275"/>
                  </a:lnTo>
                  <a:lnTo>
                    <a:pt x="151" y="1275"/>
                  </a:lnTo>
                  <a:lnTo>
                    <a:pt x="155" y="1275"/>
                  </a:lnTo>
                  <a:lnTo>
                    <a:pt x="155" y="1275"/>
                  </a:lnTo>
                  <a:lnTo>
                    <a:pt x="155" y="1275"/>
                  </a:lnTo>
                  <a:lnTo>
                    <a:pt x="155" y="1275"/>
                  </a:lnTo>
                  <a:lnTo>
                    <a:pt x="155" y="1275"/>
                  </a:lnTo>
                  <a:lnTo>
                    <a:pt x="164" y="1275"/>
                  </a:lnTo>
                  <a:lnTo>
                    <a:pt x="168" y="1275"/>
                  </a:lnTo>
                  <a:lnTo>
                    <a:pt x="173" y="1275"/>
                  </a:lnTo>
                  <a:lnTo>
                    <a:pt x="173" y="1271"/>
                  </a:lnTo>
                  <a:lnTo>
                    <a:pt x="177" y="1271"/>
                  </a:lnTo>
                  <a:lnTo>
                    <a:pt x="177" y="1271"/>
                  </a:lnTo>
                  <a:lnTo>
                    <a:pt x="177" y="1271"/>
                  </a:lnTo>
                  <a:lnTo>
                    <a:pt x="177" y="1271"/>
                  </a:lnTo>
                  <a:lnTo>
                    <a:pt x="177" y="1271"/>
                  </a:lnTo>
                  <a:lnTo>
                    <a:pt x="177" y="1266"/>
                  </a:lnTo>
                  <a:lnTo>
                    <a:pt x="177" y="1271"/>
                  </a:lnTo>
                  <a:lnTo>
                    <a:pt x="177" y="1271"/>
                  </a:lnTo>
                  <a:lnTo>
                    <a:pt x="177" y="1271"/>
                  </a:lnTo>
                  <a:lnTo>
                    <a:pt x="177" y="1271"/>
                  </a:lnTo>
                  <a:lnTo>
                    <a:pt x="182" y="1271"/>
                  </a:lnTo>
                  <a:lnTo>
                    <a:pt x="182" y="1271"/>
                  </a:lnTo>
                  <a:lnTo>
                    <a:pt x="182" y="1271"/>
                  </a:lnTo>
                  <a:lnTo>
                    <a:pt x="182" y="1271"/>
                  </a:lnTo>
                  <a:lnTo>
                    <a:pt x="186" y="1271"/>
                  </a:lnTo>
                  <a:lnTo>
                    <a:pt x="186" y="1271"/>
                  </a:lnTo>
                  <a:lnTo>
                    <a:pt x="186" y="1271"/>
                  </a:lnTo>
                  <a:lnTo>
                    <a:pt x="186" y="1271"/>
                  </a:lnTo>
                  <a:lnTo>
                    <a:pt x="186" y="1271"/>
                  </a:lnTo>
                  <a:lnTo>
                    <a:pt x="186" y="1271"/>
                  </a:lnTo>
                  <a:lnTo>
                    <a:pt x="186" y="1266"/>
                  </a:lnTo>
                  <a:lnTo>
                    <a:pt x="186" y="1266"/>
                  </a:lnTo>
                  <a:lnTo>
                    <a:pt x="191" y="1266"/>
                  </a:lnTo>
                  <a:lnTo>
                    <a:pt x="191" y="1271"/>
                  </a:lnTo>
                  <a:lnTo>
                    <a:pt x="191" y="1266"/>
                  </a:lnTo>
                  <a:lnTo>
                    <a:pt x="191" y="1266"/>
                  </a:lnTo>
                  <a:lnTo>
                    <a:pt x="195" y="1266"/>
                  </a:lnTo>
                  <a:lnTo>
                    <a:pt x="191" y="1266"/>
                  </a:lnTo>
                  <a:lnTo>
                    <a:pt x="195" y="1266"/>
                  </a:lnTo>
                  <a:lnTo>
                    <a:pt x="195" y="1266"/>
                  </a:lnTo>
                  <a:lnTo>
                    <a:pt x="199" y="1266"/>
                  </a:lnTo>
                  <a:lnTo>
                    <a:pt x="195" y="1266"/>
                  </a:lnTo>
                  <a:lnTo>
                    <a:pt x="195" y="1266"/>
                  </a:lnTo>
                  <a:lnTo>
                    <a:pt x="195" y="1266"/>
                  </a:lnTo>
                  <a:lnTo>
                    <a:pt x="195" y="1271"/>
                  </a:lnTo>
                  <a:lnTo>
                    <a:pt x="195" y="1271"/>
                  </a:lnTo>
                  <a:lnTo>
                    <a:pt x="195" y="1271"/>
                  </a:lnTo>
                  <a:lnTo>
                    <a:pt x="195" y="1271"/>
                  </a:lnTo>
                  <a:lnTo>
                    <a:pt x="195" y="1271"/>
                  </a:lnTo>
                  <a:lnTo>
                    <a:pt x="195" y="1271"/>
                  </a:lnTo>
                  <a:lnTo>
                    <a:pt x="195" y="1271"/>
                  </a:lnTo>
                  <a:lnTo>
                    <a:pt x="199" y="1271"/>
                  </a:lnTo>
                  <a:lnTo>
                    <a:pt x="199" y="1271"/>
                  </a:lnTo>
                  <a:lnTo>
                    <a:pt x="199" y="1271"/>
                  </a:lnTo>
                  <a:lnTo>
                    <a:pt x="199" y="1266"/>
                  </a:lnTo>
                  <a:lnTo>
                    <a:pt x="204" y="1266"/>
                  </a:lnTo>
                  <a:lnTo>
                    <a:pt x="204" y="1271"/>
                  </a:lnTo>
                  <a:lnTo>
                    <a:pt x="199" y="1271"/>
                  </a:lnTo>
                  <a:lnTo>
                    <a:pt x="199" y="1275"/>
                  </a:lnTo>
                  <a:lnTo>
                    <a:pt x="199" y="1275"/>
                  </a:lnTo>
                  <a:lnTo>
                    <a:pt x="204" y="1275"/>
                  </a:lnTo>
                  <a:lnTo>
                    <a:pt x="204" y="1271"/>
                  </a:lnTo>
                  <a:lnTo>
                    <a:pt x="204" y="1271"/>
                  </a:lnTo>
                  <a:lnTo>
                    <a:pt x="208" y="1266"/>
                  </a:lnTo>
                  <a:lnTo>
                    <a:pt x="208" y="1266"/>
                  </a:lnTo>
                  <a:lnTo>
                    <a:pt x="208" y="1266"/>
                  </a:lnTo>
                  <a:lnTo>
                    <a:pt x="208" y="1262"/>
                  </a:lnTo>
                  <a:lnTo>
                    <a:pt x="208" y="1262"/>
                  </a:lnTo>
                  <a:lnTo>
                    <a:pt x="208" y="1262"/>
                  </a:lnTo>
                  <a:lnTo>
                    <a:pt x="208" y="1262"/>
                  </a:lnTo>
                  <a:lnTo>
                    <a:pt x="208" y="1262"/>
                  </a:lnTo>
                  <a:lnTo>
                    <a:pt x="208" y="1262"/>
                  </a:lnTo>
                  <a:lnTo>
                    <a:pt x="208" y="1262"/>
                  </a:lnTo>
                  <a:lnTo>
                    <a:pt x="208" y="1262"/>
                  </a:lnTo>
                  <a:lnTo>
                    <a:pt x="208" y="1257"/>
                  </a:lnTo>
                  <a:lnTo>
                    <a:pt x="208" y="1257"/>
                  </a:lnTo>
                  <a:lnTo>
                    <a:pt x="208" y="1257"/>
                  </a:lnTo>
                  <a:lnTo>
                    <a:pt x="208" y="1257"/>
                  </a:lnTo>
                  <a:lnTo>
                    <a:pt x="208" y="1257"/>
                  </a:lnTo>
                  <a:lnTo>
                    <a:pt x="208" y="1257"/>
                  </a:lnTo>
                  <a:lnTo>
                    <a:pt x="208" y="1257"/>
                  </a:lnTo>
                  <a:lnTo>
                    <a:pt x="213" y="1257"/>
                  </a:lnTo>
                  <a:lnTo>
                    <a:pt x="213" y="1257"/>
                  </a:lnTo>
                  <a:lnTo>
                    <a:pt x="213" y="1262"/>
                  </a:lnTo>
                  <a:lnTo>
                    <a:pt x="213" y="1262"/>
                  </a:lnTo>
                  <a:lnTo>
                    <a:pt x="213" y="1262"/>
                  </a:lnTo>
                  <a:lnTo>
                    <a:pt x="213" y="1262"/>
                  </a:lnTo>
                  <a:lnTo>
                    <a:pt x="213" y="1262"/>
                  </a:lnTo>
                  <a:lnTo>
                    <a:pt x="213" y="1262"/>
                  </a:lnTo>
                  <a:lnTo>
                    <a:pt x="213" y="1257"/>
                  </a:lnTo>
                  <a:lnTo>
                    <a:pt x="213" y="1257"/>
                  </a:lnTo>
                  <a:lnTo>
                    <a:pt x="213" y="1257"/>
                  </a:lnTo>
                  <a:lnTo>
                    <a:pt x="217" y="1257"/>
                  </a:lnTo>
                  <a:lnTo>
                    <a:pt x="217" y="1257"/>
                  </a:lnTo>
                  <a:lnTo>
                    <a:pt x="222" y="1257"/>
                  </a:lnTo>
                  <a:lnTo>
                    <a:pt x="222" y="1257"/>
                  </a:lnTo>
                  <a:lnTo>
                    <a:pt x="222" y="1257"/>
                  </a:lnTo>
                  <a:lnTo>
                    <a:pt x="222" y="1253"/>
                  </a:lnTo>
                  <a:lnTo>
                    <a:pt x="222" y="1253"/>
                  </a:lnTo>
                  <a:lnTo>
                    <a:pt x="222" y="1253"/>
                  </a:lnTo>
                  <a:lnTo>
                    <a:pt x="226" y="1257"/>
                  </a:lnTo>
                  <a:lnTo>
                    <a:pt x="222" y="1257"/>
                  </a:lnTo>
                  <a:lnTo>
                    <a:pt x="222" y="1257"/>
                  </a:lnTo>
                  <a:lnTo>
                    <a:pt x="222" y="1257"/>
                  </a:lnTo>
                  <a:lnTo>
                    <a:pt x="226" y="1257"/>
                  </a:lnTo>
                  <a:lnTo>
                    <a:pt x="230" y="1257"/>
                  </a:lnTo>
                  <a:lnTo>
                    <a:pt x="230" y="1253"/>
                  </a:lnTo>
                  <a:lnTo>
                    <a:pt x="230" y="1249"/>
                  </a:lnTo>
                  <a:lnTo>
                    <a:pt x="230" y="1249"/>
                  </a:lnTo>
                  <a:lnTo>
                    <a:pt x="230" y="1253"/>
                  </a:lnTo>
                  <a:lnTo>
                    <a:pt x="230" y="1253"/>
                  </a:lnTo>
                  <a:lnTo>
                    <a:pt x="230" y="1253"/>
                  </a:lnTo>
                  <a:lnTo>
                    <a:pt x="230" y="1257"/>
                  </a:lnTo>
                  <a:lnTo>
                    <a:pt x="230" y="1257"/>
                  </a:lnTo>
                  <a:lnTo>
                    <a:pt x="230" y="1257"/>
                  </a:lnTo>
                  <a:lnTo>
                    <a:pt x="235" y="1257"/>
                  </a:lnTo>
                  <a:lnTo>
                    <a:pt x="235" y="1257"/>
                  </a:lnTo>
                  <a:lnTo>
                    <a:pt x="235" y="1257"/>
                  </a:lnTo>
                  <a:lnTo>
                    <a:pt x="235" y="1253"/>
                  </a:lnTo>
                  <a:lnTo>
                    <a:pt x="235" y="1253"/>
                  </a:lnTo>
                  <a:lnTo>
                    <a:pt x="235" y="1253"/>
                  </a:lnTo>
                  <a:lnTo>
                    <a:pt x="235" y="1253"/>
                  </a:lnTo>
                  <a:lnTo>
                    <a:pt x="235" y="1253"/>
                  </a:lnTo>
                  <a:lnTo>
                    <a:pt x="235" y="1253"/>
                  </a:lnTo>
                  <a:lnTo>
                    <a:pt x="235" y="1253"/>
                  </a:lnTo>
                  <a:lnTo>
                    <a:pt x="239" y="1253"/>
                  </a:lnTo>
                  <a:lnTo>
                    <a:pt x="239" y="1253"/>
                  </a:lnTo>
                  <a:lnTo>
                    <a:pt x="239" y="1253"/>
                  </a:lnTo>
                  <a:lnTo>
                    <a:pt x="239" y="1253"/>
                  </a:lnTo>
                  <a:lnTo>
                    <a:pt x="239" y="1253"/>
                  </a:lnTo>
                  <a:lnTo>
                    <a:pt x="239" y="1249"/>
                  </a:lnTo>
                  <a:lnTo>
                    <a:pt x="239" y="1249"/>
                  </a:lnTo>
                  <a:lnTo>
                    <a:pt x="239" y="1249"/>
                  </a:lnTo>
                  <a:lnTo>
                    <a:pt x="239" y="1249"/>
                  </a:lnTo>
                  <a:lnTo>
                    <a:pt x="239" y="1249"/>
                  </a:lnTo>
                  <a:lnTo>
                    <a:pt x="239" y="1249"/>
                  </a:lnTo>
                  <a:lnTo>
                    <a:pt x="239" y="1249"/>
                  </a:lnTo>
                  <a:lnTo>
                    <a:pt x="239" y="1249"/>
                  </a:lnTo>
                  <a:lnTo>
                    <a:pt x="239" y="1249"/>
                  </a:lnTo>
                  <a:lnTo>
                    <a:pt x="239" y="1249"/>
                  </a:lnTo>
                  <a:lnTo>
                    <a:pt x="248" y="1249"/>
                  </a:lnTo>
                  <a:lnTo>
                    <a:pt x="248" y="1244"/>
                  </a:lnTo>
                  <a:lnTo>
                    <a:pt x="248" y="1244"/>
                  </a:lnTo>
                  <a:lnTo>
                    <a:pt x="248" y="1244"/>
                  </a:lnTo>
                  <a:lnTo>
                    <a:pt x="248" y="1244"/>
                  </a:lnTo>
                  <a:lnTo>
                    <a:pt x="248" y="1244"/>
                  </a:lnTo>
                  <a:lnTo>
                    <a:pt x="248" y="1244"/>
                  </a:lnTo>
                  <a:lnTo>
                    <a:pt x="248" y="1249"/>
                  </a:lnTo>
                  <a:lnTo>
                    <a:pt x="257" y="1249"/>
                  </a:lnTo>
                  <a:lnTo>
                    <a:pt x="257" y="1244"/>
                  </a:lnTo>
                  <a:lnTo>
                    <a:pt x="257" y="1244"/>
                  </a:lnTo>
                  <a:lnTo>
                    <a:pt x="257" y="1244"/>
                  </a:lnTo>
                  <a:lnTo>
                    <a:pt x="257" y="1244"/>
                  </a:lnTo>
                  <a:lnTo>
                    <a:pt x="257" y="1244"/>
                  </a:lnTo>
                  <a:lnTo>
                    <a:pt x="257" y="1244"/>
                  </a:lnTo>
                  <a:lnTo>
                    <a:pt x="261" y="1240"/>
                  </a:lnTo>
                  <a:lnTo>
                    <a:pt x="261" y="1240"/>
                  </a:lnTo>
                  <a:lnTo>
                    <a:pt x="261" y="1240"/>
                  </a:lnTo>
                  <a:lnTo>
                    <a:pt x="257" y="1240"/>
                  </a:lnTo>
                  <a:lnTo>
                    <a:pt x="257" y="1240"/>
                  </a:lnTo>
                  <a:lnTo>
                    <a:pt x="261" y="1235"/>
                  </a:lnTo>
                  <a:lnTo>
                    <a:pt x="266" y="1235"/>
                  </a:lnTo>
                  <a:lnTo>
                    <a:pt x="266" y="1235"/>
                  </a:lnTo>
                  <a:lnTo>
                    <a:pt x="266" y="1235"/>
                  </a:lnTo>
                  <a:lnTo>
                    <a:pt x="266" y="1235"/>
                  </a:lnTo>
                  <a:lnTo>
                    <a:pt x="266" y="1235"/>
                  </a:lnTo>
                  <a:lnTo>
                    <a:pt x="266" y="1235"/>
                  </a:lnTo>
                  <a:lnTo>
                    <a:pt x="266" y="1235"/>
                  </a:lnTo>
                  <a:lnTo>
                    <a:pt x="266" y="1240"/>
                  </a:lnTo>
                  <a:lnTo>
                    <a:pt x="266" y="1240"/>
                  </a:lnTo>
                  <a:lnTo>
                    <a:pt x="266" y="1240"/>
                  </a:lnTo>
                  <a:lnTo>
                    <a:pt x="266" y="1240"/>
                  </a:lnTo>
                  <a:lnTo>
                    <a:pt x="266" y="1240"/>
                  </a:lnTo>
                  <a:lnTo>
                    <a:pt x="270" y="1249"/>
                  </a:lnTo>
                  <a:lnTo>
                    <a:pt x="270" y="1249"/>
                  </a:lnTo>
                  <a:lnTo>
                    <a:pt x="270" y="1249"/>
                  </a:lnTo>
                  <a:lnTo>
                    <a:pt x="270" y="1244"/>
                  </a:lnTo>
                  <a:lnTo>
                    <a:pt x="275" y="1244"/>
                  </a:lnTo>
                  <a:lnTo>
                    <a:pt x="270" y="1244"/>
                  </a:lnTo>
                  <a:lnTo>
                    <a:pt x="270" y="1240"/>
                  </a:lnTo>
                  <a:lnTo>
                    <a:pt x="270" y="1240"/>
                  </a:lnTo>
                  <a:lnTo>
                    <a:pt x="270" y="1240"/>
                  </a:lnTo>
                  <a:lnTo>
                    <a:pt x="270" y="1240"/>
                  </a:lnTo>
                  <a:lnTo>
                    <a:pt x="275" y="1240"/>
                  </a:lnTo>
                  <a:lnTo>
                    <a:pt x="275" y="1244"/>
                  </a:lnTo>
                  <a:lnTo>
                    <a:pt x="275" y="1244"/>
                  </a:lnTo>
                  <a:lnTo>
                    <a:pt x="275" y="1244"/>
                  </a:lnTo>
                  <a:lnTo>
                    <a:pt x="275" y="1244"/>
                  </a:lnTo>
                  <a:lnTo>
                    <a:pt x="275" y="1244"/>
                  </a:lnTo>
                  <a:lnTo>
                    <a:pt x="279" y="1244"/>
                  </a:lnTo>
                  <a:lnTo>
                    <a:pt x="279" y="1244"/>
                  </a:lnTo>
                  <a:lnTo>
                    <a:pt x="279" y="1249"/>
                  </a:lnTo>
                  <a:lnTo>
                    <a:pt x="279" y="1249"/>
                  </a:lnTo>
                  <a:lnTo>
                    <a:pt x="279" y="1244"/>
                  </a:lnTo>
                  <a:lnTo>
                    <a:pt x="279" y="1240"/>
                  </a:lnTo>
                  <a:lnTo>
                    <a:pt x="279" y="1240"/>
                  </a:lnTo>
                  <a:lnTo>
                    <a:pt x="279" y="1240"/>
                  </a:lnTo>
                  <a:lnTo>
                    <a:pt x="279" y="1235"/>
                  </a:lnTo>
                  <a:lnTo>
                    <a:pt x="279" y="1235"/>
                  </a:lnTo>
                  <a:lnTo>
                    <a:pt x="279" y="1235"/>
                  </a:lnTo>
                  <a:lnTo>
                    <a:pt x="279" y="1231"/>
                  </a:lnTo>
                  <a:lnTo>
                    <a:pt x="275" y="1231"/>
                  </a:lnTo>
                  <a:lnTo>
                    <a:pt x="275" y="1231"/>
                  </a:lnTo>
                  <a:lnTo>
                    <a:pt x="279" y="1231"/>
                  </a:lnTo>
                  <a:lnTo>
                    <a:pt x="279" y="1235"/>
                  </a:lnTo>
                  <a:lnTo>
                    <a:pt x="279" y="1235"/>
                  </a:lnTo>
                  <a:lnTo>
                    <a:pt x="284" y="1235"/>
                  </a:lnTo>
                  <a:lnTo>
                    <a:pt x="284" y="1235"/>
                  </a:lnTo>
                  <a:lnTo>
                    <a:pt x="284" y="1235"/>
                  </a:lnTo>
                  <a:lnTo>
                    <a:pt x="284" y="1235"/>
                  </a:lnTo>
                  <a:lnTo>
                    <a:pt x="284" y="1235"/>
                  </a:lnTo>
                  <a:lnTo>
                    <a:pt x="284" y="1235"/>
                  </a:lnTo>
                  <a:lnTo>
                    <a:pt x="284" y="1240"/>
                  </a:lnTo>
                  <a:lnTo>
                    <a:pt x="284" y="1240"/>
                  </a:lnTo>
                  <a:lnTo>
                    <a:pt x="288" y="1240"/>
                  </a:lnTo>
                  <a:lnTo>
                    <a:pt x="288" y="1240"/>
                  </a:lnTo>
                  <a:lnTo>
                    <a:pt x="288" y="1240"/>
                  </a:lnTo>
                  <a:lnTo>
                    <a:pt x="288" y="1235"/>
                  </a:lnTo>
                  <a:lnTo>
                    <a:pt x="288" y="1235"/>
                  </a:lnTo>
                  <a:lnTo>
                    <a:pt x="288" y="1235"/>
                  </a:lnTo>
                  <a:lnTo>
                    <a:pt x="288" y="1235"/>
                  </a:lnTo>
                  <a:lnTo>
                    <a:pt x="288" y="1235"/>
                  </a:lnTo>
                  <a:lnTo>
                    <a:pt x="284" y="1231"/>
                  </a:lnTo>
                  <a:lnTo>
                    <a:pt x="284" y="1231"/>
                  </a:lnTo>
                  <a:lnTo>
                    <a:pt x="284" y="1231"/>
                  </a:lnTo>
                  <a:lnTo>
                    <a:pt x="284" y="1231"/>
                  </a:lnTo>
                  <a:lnTo>
                    <a:pt x="284" y="1231"/>
                  </a:lnTo>
                  <a:lnTo>
                    <a:pt x="284" y="1231"/>
                  </a:lnTo>
                  <a:lnTo>
                    <a:pt x="284" y="1231"/>
                  </a:lnTo>
                  <a:lnTo>
                    <a:pt x="284" y="1227"/>
                  </a:lnTo>
                  <a:lnTo>
                    <a:pt x="284" y="1227"/>
                  </a:lnTo>
                  <a:lnTo>
                    <a:pt x="284" y="1227"/>
                  </a:lnTo>
                  <a:lnTo>
                    <a:pt x="284" y="1222"/>
                  </a:lnTo>
                  <a:lnTo>
                    <a:pt x="284" y="1222"/>
                  </a:lnTo>
                  <a:lnTo>
                    <a:pt x="279" y="1222"/>
                  </a:lnTo>
                  <a:lnTo>
                    <a:pt x="279" y="1222"/>
                  </a:lnTo>
                  <a:lnTo>
                    <a:pt x="279" y="1222"/>
                  </a:lnTo>
                  <a:lnTo>
                    <a:pt x="284" y="1222"/>
                  </a:lnTo>
                  <a:lnTo>
                    <a:pt x="284" y="1222"/>
                  </a:lnTo>
                  <a:lnTo>
                    <a:pt x="288" y="1227"/>
                  </a:lnTo>
                  <a:lnTo>
                    <a:pt x="288" y="1227"/>
                  </a:lnTo>
                  <a:lnTo>
                    <a:pt x="288" y="1227"/>
                  </a:lnTo>
                  <a:lnTo>
                    <a:pt x="292" y="1231"/>
                  </a:lnTo>
                  <a:lnTo>
                    <a:pt x="292" y="1231"/>
                  </a:lnTo>
                  <a:lnTo>
                    <a:pt x="292" y="1231"/>
                  </a:lnTo>
                  <a:lnTo>
                    <a:pt x="292" y="1231"/>
                  </a:lnTo>
                  <a:lnTo>
                    <a:pt x="292" y="1231"/>
                  </a:lnTo>
                  <a:lnTo>
                    <a:pt x="297" y="1231"/>
                  </a:lnTo>
                  <a:lnTo>
                    <a:pt x="297" y="1227"/>
                  </a:lnTo>
                  <a:lnTo>
                    <a:pt x="297" y="1227"/>
                  </a:lnTo>
                  <a:lnTo>
                    <a:pt x="297" y="1227"/>
                  </a:lnTo>
                  <a:lnTo>
                    <a:pt x="297" y="1227"/>
                  </a:lnTo>
                  <a:lnTo>
                    <a:pt x="297" y="1227"/>
                  </a:lnTo>
                  <a:lnTo>
                    <a:pt x="297" y="1227"/>
                  </a:lnTo>
                  <a:lnTo>
                    <a:pt x="297" y="1227"/>
                  </a:lnTo>
                  <a:lnTo>
                    <a:pt x="301" y="1227"/>
                  </a:lnTo>
                  <a:lnTo>
                    <a:pt x="301" y="1231"/>
                  </a:lnTo>
                  <a:lnTo>
                    <a:pt x="301" y="1231"/>
                  </a:lnTo>
                  <a:lnTo>
                    <a:pt x="301" y="1231"/>
                  </a:lnTo>
                  <a:lnTo>
                    <a:pt x="301" y="1231"/>
                  </a:lnTo>
                  <a:lnTo>
                    <a:pt x="301" y="1231"/>
                  </a:lnTo>
                  <a:lnTo>
                    <a:pt x="301" y="1231"/>
                  </a:lnTo>
                  <a:lnTo>
                    <a:pt x="301" y="1231"/>
                  </a:lnTo>
                  <a:lnTo>
                    <a:pt x="301" y="1231"/>
                  </a:lnTo>
                  <a:lnTo>
                    <a:pt x="306" y="1231"/>
                  </a:lnTo>
                  <a:lnTo>
                    <a:pt x="306" y="1231"/>
                  </a:lnTo>
                  <a:lnTo>
                    <a:pt x="306" y="1227"/>
                  </a:lnTo>
                  <a:lnTo>
                    <a:pt x="306" y="1231"/>
                  </a:lnTo>
                  <a:lnTo>
                    <a:pt x="306" y="1231"/>
                  </a:lnTo>
                  <a:lnTo>
                    <a:pt x="306" y="1231"/>
                  </a:lnTo>
                  <a:lnTo>
                    <a:pt x="306" y="1231"/>
                  </a:lnTo>
                  <a:lnTo>
                    <a:pt x="306" y="1227"/>
                  </a:lnTo>
                  <a:lnTo>
                    <a:pt x="306" y="1227"/>
                  </a:lnTo>
                  <a:lnTo>
                    <a:pt x="306" y="1227"/>
                  </a:lnTo>
                  <a:lnTo>
                    <a:pt x="310" y="1227"/>
                  </a:lnTo>
                  <a:lnTo>
                    <a:pt x="310" y="1227"/>
                  </a:lnTo>
                  <a:lnTo>
                    <a:pt x="306" y="1222"/>
                  </a:lnTo>
                  <a:lnTo>
                    <a:pt x="310" y="1218"/>
                  </a:lnTo>
                  <a:lnTo>
                    <a:pt x="315" y="1209"/>
                  </a:lnTo>
                  <a:lnTo>
                    <a:pt x="315" y="1204"/>
                  </a:lnTo>
                  <a:lnTo>
                    <a:pt x="315" y="1204"/>
                  </a:lnTo>
                  <a:lnTo>
                    <a:pt x="319" y="1204"/>
                  </a:lnTo>
                  <a:lnTo>
                    <a:pt x="319" y="1204"/>
                  </a:lnTo>
                  <a:lnTo>
                    <a:pt x="323" y="1209"/>
                  </a:lnTo>
                  <a:lnTo>
                    <a:pt x="323" y="1213"/>
                  </a:lnTo>
                  <a:lnTo>
                    <a:pt x="319" y="1209"/>
                  </a:lnTo>
                  <a:lnTo>
                    <a:pt x="315" y="1209"/>
                  </a:lnTo>
                  <a:lnTo>
                    <a:pt x="315" y="1209"/>
                  </a:lnTo>
                  <a:lnTo>
                    <a:pt x="315" y="1213"/>
                  </a:lnTo>
                  <a:lnTo>
                    <a:pt x="315" y="1213"/>
                  </a:lnTo>
                  <a:lnTo>
                    <a:pt x="315" y="1213"/>
                  </a:lnTo>
                  <a:lnTo>
                    <a:pt x="315" y="1213"/>
                  </a:lnTo>
                  <a:lnTo>
                    <a:pt x="310" y="1218"/>
                  </a:lnTo>
                  <a:lnTo>
                    <a:pt x="310" y="1218"/>
                  </a:lnTo>
                  <a:lnTo>
                    <a:pt x="310" y="1222"/>
                  </a:lnTo>
                  <a:lnTo>
                    <a:pt x="310" y="1222"/>
                  </a:lnTo>
                  <a:lnTo>
                    <a:pt x="310" y="1222"/>
                  </a:lnTo>
                  <a:lnTo>
                    <a:pt x="310" y="1227"/>
                  </a:lnTo>
                  <a:lnTo>
                    <a:pt x="310" y="1227"/>
                  </a:lnTo>
                  <a:lnTo>
                    <a:pt x="315" y="1227"/>
                  </a:lnTo>
                  <a:lnTo>
                    <a:pt x="315" y="1227"/>
                  </a:lnTo>
                  <a:lnTo>
                    <a:pt x="315" y="1227"/>
                  </a:lnTo>
                  <a:lnTo>
                    <a:pt x="315" y="1227"/>
                  </a:lnTo>
                  <a:lnTo>
                    <a:pt x="315" y="1227"/>
                  </a:lnTo>
                  <a:lnTo>
                    <a:pt x="319" y="1227"/>
                  </a:lnTo>
                  <a:lnTo>
                    <a:pt x="319" y="1227"/>
                  </a:lnTo>
                  <a:lnTo>
                    <a:pt x="319" y="1227"/>
                  </a:lnTo>
                  <a:lnTo>
                    <a:pt x="319" y="1227"/>
                  </a:lnTo>
                  <a:lnTo>
                    <a:pt x="319" y="1227"/>
                  </a:lnTo>
                  <a:lnTo>
                    <a:pt x="319" y="1227"/>
                  </a:lnTo>
                  <a:lnTo>
                    <a:pt x="323" y="1227"/>
                  </a:lnTo>
                  <a:lnTo>
                    <a:pt x="323" y="1227"/>
                  </a:lnTo>
                  <a:lnTo>
                    <a:pt x="323" y="1227"/>
                  </a:lnTo>
                  <a:lnTo>
                    <a:pt x="323" y="1222"/>
                  </a:lnTo>
                  <a:lnTo>
                    <a:pt x="323" y="1222"/>
                  </a:lnTo>
                  <a:lnTo>
                    <a:pt x="323" y="1222"/>
                  </a:lnTo>
                  <a:lnTo>
                    <a:pt x="323" y="1222"/>
                  </a:lnTo>
                  <a:lnTo>
                    <a:pt x="323" y="1222"/>
                  </a:lnTo>
                  <a:lnTo>
                    <a:pt x="328" y="1222"/>
                  </a:lnTo>
                  <a:lnTo>
                    <a:pt x="328" y="1222"/>
                  </a:lnTo>
                  <a:lnTo>
                    <a:pt x="328" y="1222"/>
                  </a:lnTo>
                  <a:lnTo>
                    <a:pt x="323" y="1222"/>
                  </a:lnTo>
                  <a:lnTo>
                    <a:pt x="328" y="1222"/>
                  </a:lnTo>
                  <a:lnTo>
                    <a:pt x="332" y="1222"/>
                  </a:lnTo>
                  <a:lnTo>
                    <a:pt x="332" y="1222"/>
                  </a:lnTo>
                  <a:lnTo>
                    <a:pt x="332" y="1227"/>
                  </a:lnTo>
                  <a:lnTo>
                    <a:pt x="332" y="1227"/>
                  </a:lnTo>
                  <a:lnTo>
                    <a:pt x="332" y="1222"/>
                  </a:lnTo>
                  <a:lnTo>
                    <a:pt x="332" y="1222"/>
                  </a:lnTo>
                  <a:lnTo>
                    <a:pt x="332" y="1222"/>
                  </a:lnTo>
                  <a:lnTo>
                    <a:pt x="337" y="1222"/>
                  </a:lnTo>
                  <a:lnTo>
                    <a:pt x="337" y="1222"/>
                  </a:lnTo>
                  <a:lnTo>
                    <a:pt x="337" y="1218"/>
                  </a:lnTo>
                  <a:lnTo>
                    <a:pt x="337" y="1218"/>
                  </a:lnTo>
                  <a:lnTo>
                    <a:pt x="337" y="1218"/>
                  </a:lnTo>
                  <a:lnTo>
                    <a:pt x="337" y="1218"/>
                  </a:lnTo>
                  <a:lnTo>
                    <a:pt x="337" y="1218"/>
                  </a:lnTo>
                  <a:lnTo>
                    <a:pt x="337" y="1213"/>
                  </a:lnTo>
                  <a:lnTo>
                    <a:pt x="337" y="1213"/>
                  </a:lnTo>
                  <a:lnTo>
                    <a:pt x="341" y="1213"/>
                  </a:lnTo>
                  <a:lnTo>
                    <a:pt x="341" y="1213"/>
                  </a:lnTo>
                  <a:lnTo>
                    <a:pt x="341" y="1218"/>
                  </a:lnTo>
                  <a:lnTo>
                    <a:pt x="341" y="1218"/>
                  </a:lnTo>
                  <a:lnTo>
                    <a:pt x="341" y="1218"/>
                  </a:lnTo>
                  <a:lnTo>
                    <a:pt x="341" y="1213"/>
                  </a:lnTo>
                  <a:lnTo>
                    <a:pt x="341" y="1213"/>
                  </a:lnTo>
                  <a:lnTo>
                    <a:pt x="341" y="1213"/>
                  </a:lnTo>
                  <a:lnTo>
                    <a:pt x="346" y="1218"/>
                  </a:lnTo>
                  <a:lnTo>
                    <a:pt x="346" y="1218"/>
                  </a:lnTo>
                  <a:lnTo>
                    <a:pt x="346" y="1218"/>
                  </a:lnTo>
                  <a:lnTo>
                    <a:pt x="346" y="1218"/>
                  </a:lnTo>
                  <a:lnTo>
                    <a:pt x="346" y="1218"/>
                  </a:lnTo>
                  <a:lnTo>
                    <a:pt x="346" y="1218"/>
                  </a:lnTo>
                  <a:lnTo>
                    <a:pt x="346" y="1218"/>
                  </a:lnTo>
                  <a:lnTo>
                    <a:pt x="346" y="1213"/>
                  </a:lnTo>
                  <a:lnTo>
                    <a:pt x="346" y="1213"/>
                  </a:lnTo>
                  <a:lnTo>
                    <a:pt x="346" y="1213"/>
                  </a:lnTo>
                  <a:lnTo>
                    <a:pt x="346" y="1209"/>
                  </a:lnTo>
                  <a:lnTo>
                    <a:pt x="350" y="1213"/>
                  </a:lnTo>
                  <a:lnTo>
                    <a:pt x="346" y="1213"/>
                  </a:lnTo>
                  <a:lnTo>
                    <a:pt x="350" y="1218"/>
                  </a:lnTo>
                  <a:lnTo>
                    <a:pt x="354" y="1218"/>
                  </a:lnTo>
                  <a:lnTo>
                    <a:pt x="350" y="1218"/>
                  </a:lnTo>
                  <a:lnTo>
                    <a:pt x="350" y="1218"/>
                  </a:lnTo>
                  <a:lnTo>
                    <a:pt x="350" y="1218"/>
                  </a:lnTo>
                  <a:lnTo>
                    <a:pt x="350" y="1218"/>
                  </a:lnTo>
                  <a:lnTo>
                    <a:pt x="354" y="1218"/>
                  </a:lnTo>
                  <a:lnTo>
                    <a:pt x="354" y="1222"/>
                  </a:lnTo>
                  <a:lnTo>
                    <a:pt x="359" y="1222"/>
                  </a:lnTo>
                  <a:lnTo>
                    <a:pt x="363" y="1222"/>
                  </a:lnTo>
                  <a:lnTo>
                    <a:pt x="363" y="1222"/>
                  </a:lnTo>
                  <a:lnTo>
                    <a:pt x="363" y="1222"/>
                  </a:lnTo>
                  <a:lnTo>
                    <a:pt x="363" y="1222"/>
                  </a:lnTo>
                  <a:lnTo>
                    <a:pt x="363" y="1222"/>
                  </a:lnTo>
                  <a:lnTo>
                    <a:pt x="363" y="1222"/>
                  </a:lnTo>
                  <a:lnTo>
                    <a:pt x="363" y="1222"/>
                  </a:lnTo>
                  <a:lnTo>
                    <a:pt x="363" y="1222"/>
                  </a:lnTo>
                  <a:lnTo>
                    <a:pt x="363" y="1218"/>
                  </a:lnTo>
                  <a:lnTo>
                    <a:pt x="363" y="1218"/>
                  </a:lnTo>
                  <a:lnTo>
                    <a:pt x="363" y="1218"/>
                  </a:lnTo>
                  <a:lnTo>
                    <a:pt x="363" y="1218"/>
                  </a:lnTo>
                  <a:lnTo>
                    <a:pt x="368" y="1222"/>
                  </a:lnTo>
                  <a:lnTo>
                    <a:pt x="368" y="1222"/>
                  </a:lnTo>
                  <a:lnTo>
                    <a:pt x="368" y="1222"/>
                  </a:lnTo>
                  <a:lnTo>
                    <a:pt x="368" y="1222"/>
                  </a:lnTo>
                  <a:lnTo>
                    <a:pt x="368" y="1218"/>
                  </a:lnTo>
                  <a:lnTo>
                    <a:pt x="368" y="1218"/>
                  </a:lnTo>
                  <a:lnTo>
                    <a:pt x="368" y="1218"/>
                  </a:lnTo>
                  <a:lnTo>
                    <a:pt x="372" y="1218"/>
                  </a:lnTo>
                  <a:lnTo>
                    <a:pt x="372" y="1218"/>
                  </a:lnTo>
                  <a:lnTo>
                    <a:pt x="372" y="1218"/>
                  </a:lnTo>
                  <a:lnTo>
                    <a:pt x="372" y="1218"/>
                  </a:lnTo>
                  <a:lnTo>
                    <a:pt x="368" y="1222"/>
                  </a:lnTo>
                  <a:lnTo>
                    <a:pt x="372" y="1222"/>
                  </a:lnTo>
                  <a:lnTo>
                    <a:pt x="372" y="1222"/>
                  </a:lnTo>
                  <a:lnTo>
                    <a:pt x="377" y="1218"/>
                  </a:lnTo>
                  <a:lnTo>
                    <a:pt x="377" y="1218"/>
                  </a:lnTo>
                  <a:lnTo>
                    <a:pt x="377" y="1218"/>
                  </a:lnTo>
                  <a:lnTo>
                    <a:pt x="377" y="1218"/>
                  </a:lnTo>
                  <a:lnTo>
                    <a:pt x="377" y="1218"/>
                  </a:lnTo>
                  <a:lnTo>
                    <a:pt x="377" y="1218"/>
                  </a:lnTo>
                  <a:lnTo>
                    <a:pt x="377" y="1213"/>
                  </a:lnTo>
                  <a:lnTo>
                    <a:pt x="377" y="1213"/>
                  </a:lnTo>
                  <a:lnTo>
                    <a:pt x="377" y="1213"/>
                  </a:lnTo>
                  <a:lnTo>
                    <a:pt x="377" y="1213"/>
                  </a:lnTo>
                  <a:lnTo>
                    <a:pt x="377" y="1213"/>
                  </a:lnTo>
                  <a:lnTo>
                    <a:pt x="377" y="1213"/>
                  </a:lnTo>
                  <a:lnTo>
                    <a:pt x="377" y="1213"/>
                  </a:lnTo>
                  <a:lnTo>
                    <a:pt x="377" y="1213"/>
                  </a:lnTo>
                  <a:lnTo>
                    <a:pt x="377" y="1213"/>
                  </a:lnTo>
                  <a:lnTo>
                    <a:pt x="377" y="1213"/>
                  </a:lnTo>
                  <a:lnTo>
                    <a:pt x="385" y="1209"/>
                  </a:lnTo>
                  <a:lnTo>
                    <a:pt x="390" y="1204"/>
                  </a:lnTo>
                  <a:lnTo>
                    <a:pt x="390" y="1200"/>
                  </a:lnTo>
                  <a:lnTo>
                    <a:pt x="399" y="1191"/>
                  </a:lnTo>
                  <a:lnTo>
                    <a:pt x="403" y="1187"/>
                  </a:lnTo>
                  <a:lnTo>
                    <a:pt x="407" y="1182"/>
                  </a:lnTo>
                  <a:lnTo>
                    <a:pt x="412" y="1178"/>
                  </a:lnTo>
                  <a:lnTo>
                    <a:pt x="416" y="1173"/>
                  </a:lnTo>
                  <a:lnTo>
                    <a:pt x="416" y="1173"/>
                  </a:lnTo>
                  <a:lnTo>
                    <a:pt x="421" y="1169"/>
                  </a:lnTo>
                  <a:lnTo>
                    <a:pt x="425" y="1165"/>
                  </a:lnTo>
                  <a:lnTo>
                    <a:pt x="425" y="1165"/>
                  </a:lnTo>
                  <a:lnTo>
                    <a:pt x="425" y="1165"/>
                  </a:lnTo>
                  <a:lnTo>
                    <a:pt x="425" y="1165"/>
                  </a:lnTo>
                  <a:lnTo>
                    <a:pt x="425" y="1165"/>
                  </a:lnTo>
                  <a:lnTo>
                    <a:pt x="425" y="1165"/>
                  </a:lnTo>
                  <a:lnTo>
                    <a:pt x="430" y="1160"/>
                  </a:lnTo>
                  <a:lnTo>
                    <a:pt x="430" y="1156"/>
                  </a:lnTo>
                  <a:lnTo>
                    <a:pt x="430" y="1156"/>
                  </a:lnTo>
                  <a:lnTo>
                    <a:pt x="434" y="1156"/>
                  </a:lnTo>
                  <a:lnTo>
                    <a:pt x="438" y="1151"/>
                  </a:lnTo>
                  <a:lnTo>
                    <a:pt x="438" y="1147"/>
                  </a:lnTo>
                  <a:lnTo>
                    <a:pt x="447" y="1142"/>
                  </a:lnTo>
                  <a:lnTo>
                    <a:pt x="452" y="1138"/>
                  </a:lnTo>
                  <a:lnTo>
                    <a:pt x="456" y="1134"/>
                  </a:lnTo>
                  <a:lnTo>
                    <a:pt x="456" y="1134"/>
                  </a:lnTo>
                  <a:lnTo>
                    <a:pt x="456" y="1129"/>
                  </a:lnTo>
                  <a:lnTo>
                    <a:pt x="456" y="1129"/>
                  </a:lnTo>
                  <a:lnTo>
                    <a:pt x="465" y="1120"/>
                  </a:lnTo>
                  <a:lnTo>
                    <a:pt x="465" y="1120"/>
                  </a:lnTo>
                  <a:lnTo>
                    <a:pt x="469" y="1116"/>
                  </a:lnTo>
                  <a:lnTo>
                    <a:pt x="469" y="1116"/>
                  </a:lnTo>
                  <a:lnTo>
                    <a:pt x="469" y="1111"/>
                  </a:lnTo>
                  <a:lnTo>
                    <a:pt x="474" y="1111"/>
                  </a:lnTo>
                  <a:lnTo>
                    <a:pt x="474" y="1111"/>
                  </a:lnTo>
                  <a:lnTo>
                    <a:pt x="478" y="1103"/>
                  </a:lnTo>
                  <a:lnTo>
                    <a:pt x="483" y="1103"/>
                  </a:lnTo>
                  <a:lnTo>
                    <a:pt x="483" y="1098"/>
                  </a:lnTo>
                  <a:lnTo>
                    <a:pt x="483" y="1094"/>
                  </a:lnTo>
                  <a:lnTo>
                    <a:pt x="487" y="1094"/>
                  </a:lnTo>
                  <a:lnTo>
                    <a:pt x="492" y="1085"/>
                  </a:lnTo>
                  <a:lnTo>
                    <a:pt x="496" y="1080"/>
                  </a:lnTo>
                  <a:lnTo>
                    <a:pt x="500" y="1072"/>
                  </a:lnTo>
                  <a:lnTo>
                    <a:pt x="505" y="1067"/>
                  </a:lnTo>
                  <a:lnTo>
                    <a:pt x="514" y="1058"/>
                  </a:lnTo>
                  <a:lnTo>
                    <a:pt x="514" y="1058"/>
                  </a:lnTo>
                  <a:lnTo>
                    <a:pt x="514" y="1058"/>
                  </a:lnTo>
                  <a:lnTo>
                    <a:pt x="518" y="1049"/>
                  </a:lnTo>
                  <a:lnTo>
                    <a:pt x="527" y="1041"/>
                  </a:lnTo>
                  <a:lnTo>
                    <a:pt x="527" y="1036"/>
                  </a:lnTo>
                  <a:lnTo>
                    <a:pt x="527" y="1032"/>
                  </a:lnTo>
                  <a:lnTo>
                    <a:pt x="531" y="1032"/>
                  </a:lnTo>
                  <a:lnTo>
                    <a:pt x="531" y="1032"/>
                  </a:lnTo>
                  <a:lnTo>
                    <a:pt x="536" y="1027"/>
                  </a:lnTo>
                  <a:lnTo>
                    <a:pt x="540" y="1023"/>
                  </a:lnTo>
                  <a:lnTo>
                    <a:pt x="545" y="1023"/>
                  </a:lnTo>
                  <a:lnTo>
                    <a:pt x="545" y="1018"/>
                  </a:lnTo>
                  <a:lnTo>
                    <a:pt x="545" y="1014"/>
                  </a:lnTo>
                  <a:lnTo>
                    <a:pt x="545" y="1014"/>
                  </a:lnTo>
                  <a:lnTo>
                    <a:pt x="554" y="1005"/>
                  </a:lnTo>
                  <a:lnTo>
                    <a:pt x="554" y="1005"/>
                  </a:lnTo>
                  <a:lnTo>
                    <a:pt x="554" y="1001"/>
                  </a:lnTo>
                  <a:lnTo>
                    <a:pt x="558" y="1001"/>
                  </a:lnTo>
                  <a:lnTo>
                    <a:pt x="558" y="1001"/>
                  </a:lnTo>
                  <a:lnTo>
                    <a:pt x="558" y="1001"/>
                  </a:lnTo>
                  <a:lnTo>
                    <a:pt x="558" y="1001"/>
                  </a:lnTo>
                  <a:lnTo>
                    <a:pt x="558" y="1001"/>
                  </a:lnTo>
                  <a:lnTo>
                    <a:pt x="562" y="996"/>
                  </a:lnTo>
                  <a:lnTo>
                    <a:pt x="562" y="992"/>
                  </a:lnTo>
                  <a:lnTo>
                    <a:pt x="562" y="987"/>
                  </a:lnTo>
                  <a:lnTo>
                    <a:pt x="567" y="983"/>
                  </a:lnTo>
                  <a:lnTo>
                    <a:pt x="567" y="983"/>
                  </a:lnTo>
                  <a:lnTo>
                    <a:pt x="567" y="970"/>
                  </a:lnTo>
                  <a:lnTo>
                    <a:pt x="571" y="965"/>
                  </a:lnTo>
                  <a:lnTo>
                    <a:pt x="571" y="961"/>
                  </a:lnTo>
                  <a:lnTo>
                    <a:pt x="576" y="952"/>
                  </a:lnTo>
                  <a:lnTo>
                    <a:pt x="576" y="952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35" name="Freeform 67"/>
            <p:cNvSpPr>
              <a:spLocks noEditPoints="1"/>
            </p:cNvSpPr>
            <p:nvPr/>
          </p:nvSpPr>
          <p:spPr bwMode="auto">
            <a:xfrm>
              <a:off x="4314825" y="3213101"/>
              <a:ext cx="534987" cy="352425"/>
            </a:xfrm>
            <a:custGeom>
              <a:avLst/>
              <a:gdLst>
                <a:gd name="T0" fmla="*/ 53 w 337"/>
                <a:gd name="T1" fmla="*/ 111 h 222"/>
                <a:gd name="T2" fmla="*/ 40 w 337"/>
                <a:gd name="T3" fmla="*/ 106 h 222"/>
                <a:gd name="T4" fmla="*/ 22 w 337"/>
                <a:gd name="T5" fmla="*/ 115 h 222"/>
                <a:gd name="T6" fmla="*/ 14 w 337"/>
                <a:gd name="T7" fmla="*/ 129 h 222"/>
                <a:gd name="T8" fmla="*/ 9 w 337"/>
                <a:gd name="T9" fmla="*/ 129 h 222"/>
                <a:gd name="T10" fmla="*/ 5 w 337"/>
                <a:gd name="T11" fmla="*/ 142 h 222"/>
                <a:gd name="T12" fmla="*/ 18 w 337"/>
                <a:gd name="T13" fmla="*/ 164 h 222"/>
                <a:gd name="T14" fmla="*/ 9 w 337"/>
                <a:gd name="T15" fmla="*/ 173 h 222"/>
                <a:gd name="T16" fmla="*/ 22 w 337"/>
                <a:gd name="T17" fmla="*/ 164 h 222"/>
                <a:gd name="T18" fmla="*/ 36 w 337"/>
                <a:gd name="T19" fmla="*/ 146 h 222"/>
                <a:gd name="T20" fmla="*/ 40 w 337"/>
                <a:gd name="T21" fmla="*/ 146 h 222"/>
                <a:gd name="T22" fmla="*/ 58 w 337"/>
                <a:gd name="T23" fmla="*/ 142 h 222"/>
                <a:gd name="T24" fmla="*/ 67 w 337"/>
                <a:gd name="T25" fmla="*/ 129 h 222"/>
                <a:gd name="T26" fmla="*/ 75 w 337"/>
                <a:gd name="T27" fmla="*/ 129 h 222"/>
                <a:gd name="T28" fmla="*/ 80 w 337"/>
                <a:gd name="T29" fmla="*/ 111 h 222"/>
                <a:gd name="T30" fmla="*/ 67 w 337"/>
                <a:gd name="T31" fmla="*/ 111 h 222"/>
                <a:gd name="T32" fmla="*/ 71 w 337"/>
                <a:gd name="T33" fmla="*/ 71 h 222"/>
                <a:gd name="T34" fmla="*/ 84 w 337"/>
                <a:gd name="T35" fmla="*/ 71 h 222"/>
                <a:gd name="T36" fmla="*/ 27 w 337"/>
                <a:gd name="T37" fmla="*/ 80 h 222"/>
                <a:gd name="T38" fmla="*/ 40 w 337"/>
                <a:gd name="T39" fmla="*/ 102 h 222"/>
                <a:gd name="T40" fmla="*/ 53 w 337"/>
                <a:gd name="T41" fmla="*/ 93 h 222"/>
                <a:gd name="T42" fmla="*/ 62 w 337"/>
                <a:gd name="T43" fmla="*/ 84 h 222"/>
                <a:gd name="T44" fmla="*/ 62 w 337"/>
                <a:gd name="T45" fmla="*/ 80 h 222"/>
                <a:gd name="T46" fmla="*/ 45 w 337"/>
                <a:gd name="T47" fmla="*/ 62 h 222"/>
                <a:gd name="T48" fmla="*/ 36 w 337"/>
                <a:gd name="T49" fmla="*/ 71 h 222"/>
                <a:gd name="T50" fmla="*/ 332 w 337"/>
                <a:gd name="T51" fmla="*/ 27 h 222"/>
                <a:gd name="T52" fmla="*/ 261 w 337"/>
                <a:gd name="T53" fmla="*/ 18 h 222"/>
                <a:gd name="T54" fmla="*/ 226 w 337"/>
                <a:gd name="T55" fmla="*/ 9 h 222"/>
                <a:gd name="T56" fmla="*/ 217 w 337"/>
                <a:gd name="T57" fmla="*/ 9 h 222"/>
                <a:gd name="T58" fmla="*/ 208 w 337"/>
                <a:gd name="T59" fmla="*/ 5 h 222"/>
                <a:gd name="T60" fmla="*/ 195 w 337"/>
                <a:gd name="T61" fmla="*/ 9 h 222"/>
                <a:gd name="T62" fmla="*/ 177 w 337"/>
                <a:gd name="T63" fmla="*/ 18 h 222"/>
                <a:gd name="T64" fmla="*/ 160 w 337"/>
                <a:gd name="T65" fmla="*/ 18 h 222"/>
                <a:gd name="T66" fmla="*/ 151 w 337"/>
                <a:gd name="T67" fmla="*/ 22 h 222"/>
                <a:gd name="T68" fmla="*/ 137 w 337"/>
                <a:gd name="T69" fmla="*/ 18 h 222"/>
                <a:gd name="T70" fmla="*/ 120 w 337"/>
                <a:gd name="T71" fmla="*/ 27 h 222"/>
                <a:gd name="T72" fmla="*/ 102 w 337"/>
                <a:gd name="T73" fmla="*/ 40 h 222"/>
                <a:gd name="T74" fmla="*/ 89 w 337"/>
                <a:gd name="T75" fmla="*/ 44 h 222"/>
                <a:gd name="T76" fmla="*/ 93 w 337"/>
                <a:gd name="T77" fmla="*/ 71 h 222"/>
                <a:gd name="T78" fmla="*/ 98 w 337"/>
                <a:gd name="T79" fmla="*/ 67 h 222"/>
                <a:gd name="T80" fmla="*/ 93 w 337"/>
                <a:gd name="T81" fmla="*/ 89 h 222"/>
                <a:gd name="T82" fmla="*/ 106 w 337"/>
                <a:gd name="T83" fmla="*/ 89 h 222"/>
                <a:gd name="T84" fmla="*/ 102 w 337"/>
                <a:gd name="T85" fmla="*/ 98 h 222"/>
                <a:gd name="T86" fmla="*/ 89 w 337"/>
                <a:gd name="T87" fmla="*/ 98 h 222"/>
                <a:gd name="T88" fmla="*/ 93 w 337"/>
                <a:gd name="T89" fmla="*/ 115 h 222"/>
                <a:gd name="T90" fmla="*/ 102 w 337"/>
                <a:gd name="T91" fmla="*/ 133 h 222"/>
                <a:gd name="T92" fmla="*/ 106 w 337"/>
                <a:gd name="T93" fmla="*/ 133 h 222"/>
                <a:gd name="T94" fmla="*/ 129 w 337"/>
                <a:gd name="T95" fmla="*/ 142 h 222"/>
                <a:gd name="T96" fmla="*/ 146 w 337"/>
                <a:gd name="T97" fmla="*/ 142 h 222"/>
                <a:gd name="T98" fmla="*/ 137 w 337"/>
                <a:gd name="T99" fmla="*/ 168 h 222"/>
                <a:gd name="T100" fmla="*/ 142 w 337"/>
                <a:gd name="T101" fmla="*/ 177 h 222"/>
                <a:gd name="T102" fmla="*/ 168 w 337"/>
                <a:gd name="T103" fmla="*/ 164 h 222"/>
                <a:gd name="T104" fmla="*/ 182 w 337"/>
                <a:gd name="T105" fmla="*/ 164 h 222"/>
                <a:gd name="T106" fmla="*/ 195 w 337"/>
                <a:gd name="T107" fmla="*/ 177 h 222"/>
                <a:gd name="T108" fmla="*/ 222 w 337"/>
                <a:gd name="T109" fmla="*/ 186 h 222"/>
                <a:gd name="T110" fmla="*/ 244 w 337"/>
                <a:gd name="T111" fmla="*/ 217 h 222"/>
                <a:gd name="T112" fmla="*/ 261 w 337"/>
                <a:gd name="T113" fmla="*/ 213 h 222"/>
                <a:gd name="T114" fmla="*/ 279 w 337"/>
                <a:gd name="T115" fmla="*/ 217 h 222"/>
                <a:gd name="T116" fmla="*/ 292 w 337"/>
                <a:gd name="T117" fmla="*/ 208 h 222"/>
                <a:gd name="T118" fmla="*/ 301 w 337"/>
                <a:gd name="T119" fmla="*/ 191 h 222"/>
                <a:gd name="T120" fmla="*/ 306 w 337"/>
                <a:gd name="T121" fmla="*/ 173 h 222"/>
                <a:gd name="T122" fmla="*/ 297 w 337"/>
                <a:gd name="T123" fmla="*/ 89 h 222"/>
                <a:gd name="T124" fmla="*/ 332 w 337"/>
                <a:gd name="T125" fmla="*/ 4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7" h="222">
                  <a:moveTo>
                    <a:pt x="80" y="124"/>
                  </a:moveTo>
                  <a:lnTo>
                    <a:pt x="75" y="120"/>
                  </a:lnTo>
                  <a:lnTo>
                    <a:pt x="75" y="120"/>
                  </a:lnTo>
                  <a:lnTo>
                    <a:pt x="71" y="120"/>
                  </a:lnTo>
                  <a:lnTo>
                    <a:pt x="71" y="120"/>
                  </a:lnTo>
                  <a:lnTo>
                    <a:pt x="71" y="120"/>
                  </a:lnTo>
                  <a:lnTo>
                    <a:pt x="71" y="120"/>
                  </a:lnTo>
                  <a:lnTo>
                    <a:pt x="71" y="115"/>
                  </a:lnTo>
                  <a:lnTo>
                    <a:pt x="67" y="115"/>
                  </a:lnTo>
                  <a:lnTo>
                    <a:pt x="67" y="111"/>
                  </a:lnTo>
                  <a:lnTo>
                    <a:pt x="62" y="111"/>
                  </a:lnTo>
                  <a:lnTo>
                    <a:pt x="62" y="111"/>
                  </a:lnTo>
                  <a:lnTo>
                    <a:pt x="58" y="111"/>
                  </a:lnTo>
                  <a:lnTo>
                    <a:pt x="58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5" y="111"/>
                  </a:lnTo>
                  <a:lnTo>
                    <a:pt x="45" y="111"/>
                  </a:lnTo>
                  <a:lnTo>
                    <a:pt x="45" y="111"/>
                  </a:lnTo>
                  <a:lnTo>
                    <a:pt x="45" y="111"/>
                  </a:lnTo>
                  <a:lnTo>
                    <a:pt x="45" y="111"/>
                  </a:lnTo>
                  <a:lnTo>
                    <a:pt x="45" y="111"/>
                  </a:lnTo>
                  <a:lnTo>
                    <a:pt x="45" y="111"/>
                  </a:lnTo>
                  <a:lnTo>
                    <a:pt x="45" y="111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36" y="111"/>
                  </a:lnTo>
                  <a:lnTo>
                    <a:pt x="27" y="111"/>
                  </a:lnTo>
                  <a:lnTo>
                    <a:pt x="27" y="115"/>
                  </a:lnTo>
                  <a:lnTo>
                    <a:pt x="27" y="115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18" y="120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4" y="124"/>
                  </a:lnTo>
                  <a:lnTo>
                    <a:pt x="18" y="129"/>
                  </a:lnTo>
                  <a:lnTo>
                    <a:pt x="18" y="129"/>
                  </a:lnTo>
                  <a:lnTo>
                    <a:pt x="14" y="129"/>
                  </a:lnTo>
                  <a:lnTo>
                    <a:pt x="14" y="129"/>
                  </a:lnTo>
                  <a:lnTo>
                    <a:pt x="14" y="129"/>
                  </a:lnTo>
                  <a:lnTo>
                    <a:pt x="14" y="129"/>
                  </a:lnTo>
                  <a:lnTo>
                    <a:pt x="14" y="129"/>
                  </a:lnTo>
                  <a:lnTo>
                    <a:pt x="14" y="129"/>
                  </a:lnTo>
                  <a:lnTo>
                    <a:pt x="14" y="124"/>
                  </a:lnTo>
                  <a:lnTo>
                    <a:pt x="14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5" y="120"/>
                  </a:lnTo>
                  <a:lnTo>
                    <a:pt x="5" y="120"/>
                  </a:lnTo>
                  <a:lnTo>
                    <a:pt x="5" y="120"/>
                  </a:lnTo>
                  <a:lnTo>
                    <a:pt x="5" y="120"/>
                  </a:lnTo>
                  <a:lnTo>
                    <a:pt x="5" y="120"/>
                  </a:lnTo>
                  <a:lnTo>
                    <a:pt x="5" y="120"/>
                  </a:lnTo>
                  <a:lnTo>
                    <a:pt x="0" y="120"/>
                  </a:lnTo>
                  <a:lnTo>
                    <a:pt x="5" y="124"/>
                  </a:lnTo>
                  <a:lnTo>
                    <a:pt x="5" y="124"/>
                  </a:lnTo>
                  <a:lnTo>
                    <a:pt x="5" y="124"/>
                  </a:lnTo>
                  <a:lnTo>
                    <a:pt x="5" y="129"/>
                  </a:lnTo>
                  <a:lnTo>
                    <a:pt x="9" y="129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9" y="137"/>
                  </a:lnTo>
                  <a:lnTo>
                    <a:pt x="9" y="137"/>
                  </a:lnTo>
                  <a:lnTo>
                    <a:pt x="9" y="137"/>
                  </a:lnTo>
                  <a:lnTo>
                    <a:pt x="9" y="137"/>
                  </a:lnTo>
                  <a:lnTo>
                    <a:pt x="9" y="137"/>
                  </a:lnTo>
                  <a:lnTo>
                    <a:pt x="9" y="137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42"/>
                  </a:lnTo>
                  <a:lnTo>
                    <a:pt x="5" y="142"/>
                  </a:lnTo>
                  <a:lnTo>
                    <a:pt x="5" y="142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5" y="142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9" y="146"/>
                  </a:lnTo>
                  <a:lnTo>
                    <a:pt x="14" y="146"/>
                  </a:lnTo>
                  <a:lnTo>
                    <a:pt x="14" y="151"/>
                  </a:lnTo>
                  <a:lnTo>
                    <a:pt x="14" y="155"/>
                  </a:lnTo>
                  <a:lnTo>
                    <a:pt x="18" y="155"/>
                  </a:lnTo>
                  <a:lnTo>
                    <a:pt x="18" y="155"/>
                  </a:lnTo>
                  <a:lnTo>
                    <a:pt x="22" y="155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4" y="164"/>
                  </a:lnTo>
                  <a:lnTo>
                    <a:pt x="14" y="164"/>
                  </a:lnTo>
                  <a:lnTo>
                    <a:pt x="14" y="164"/>
                  </a:lnTo>
                  <a:lnTo>
                    <a:pt x="14" y="164"/>
                  </a:lnTo>
                  <a:lnTo>
                    <a:pt x="14" y="168"/>
                  </a:lnTo>
                  <a:lnTo>
                    <a:pt x="14" y="168"/>
                  </a:lnTo>
                  <a:lnTo>
                    <a:pt x="9" y="173"/>
                  </a:lnTo>
                  <a:lnTo>
                    <a:pt x="9" y="173"/>
                  </a:lnTo>
                  <a:lnTo>
                    <a:pt x="9" y="173"/>
                  </a:lnTo>
                  <a:lnTo>
                    <a:pt x="9" y="173"/>
                  </a:lnTo>
                  <a:lnTo>
                    <a:pt x="9" y="173"/>
                  </a:lnTo>
                  <a:lnTo>
                    <a:pt x="9" y="173"/>
                  </a:lnTo>
                  <a:lnTo>
                    <a:pt x="9" y="173"/>
                  </a:lnTo>
                  <a:lnTo>
                    <a:pt x="9" y="173"/>
                  </a:lnTo>
                  <a:lnTo>
                    <a:pt x="9" y="173"/>
                  </a:lnTo>
                  <a:lnTo>
                    <a:pt x="9" y="177"/>
                  </a:lnTo>
                  <a:lnTo>
                    <a:pt x="9" y="177"/>
                  </a:lnTo>
                  <a:lnTo>
                    <a:pt x="9" y="177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22" y="173"/>
                  </a:lnTo>
                  <a:lnTo>
                    <a:pt x="22" y="173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4"/>
                  </a:lnTo>
                  <a:lnTo>
                    <a:pt x="22" y="164"/>
                  </a:lnTo>
                  <a:lnTo>
                    <a:pt x="22" y="160"/>
                  </a:lnTo>
                  <a:lnTo>
                    <a:pt x="27" y="160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46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5" y="146"/>
                  </a:lnTo>
                  <a:lnTo>
                    <a:pt x="45" y="146"/>
                  </a:lnTo>
                  <a:lnTo>
                    <a:pt x="45" y="146"/>
                  </a:lnTo>
                  <a:lnTo>
                    <a:pt x="45" y="146"/>
                  </a:lnTo>
                  <a:lnTo>
                    <a:pt x="45" y="151"/>
                  </a:lnTo>
                  <a:lnTo>
                    <a:pt x="49" y="151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49" y="142"/>
                  </a:lnTo>
                  <a:lnTo>
                    <a:pt x="53" y="146"/>
                  </a:lnTo>
                  <a:lnTo>
                    <a:pt x="53" y="142"/>
                  </a:lnTo>
                  <a:lnTo>
                    <a:pt x="53" y="142"/>
                  </a:lnTo>
                  <a:lnTo>
                    <a:pt x="58" y="142"/>
                  </a:lnTo>
                  <a:lnTo>
                    <a:pt x="58" y="142"/>
                  </a:lnTo>
                  <a:lnTo>
                    <a:pt x="58" y="142"/>
                  </a:lnTo>
                  <a:lnTo>
                    <a:pt x="58" y="142"/>
                  </a:lnTo>
                  <a:lnTo>
                    <a:pt x="62" y="137"/>
                  </a:lnTo>
                  <a:lnTo>
                    <a:pt x="62" y="133"/>
                  </a:lnTo>
                  <a:lnTo>
                    <a:pt x="62" y="133"/>
                  </a:lnTo>
                  <a:lnTo>
                    <a:pt x="62" y="133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7" y="129"/>
                  </a:lnTo>
                  <a:lnTo>
                    <a:pt x="67" y="129"/>
                  </a:lnTo>
                  <a:lnTo>
                    <a:pt x="67" y="129"/>
                  </a:lnTo>
                  <a:lnTo>
                    <a:pt x="67" y="129"/>
                  </a:lnTo>
                  <a:lnTo>
                    <a:pt x="67" y="129"/>
                  </a:lnTo>
                  <a:lnTo>
                    <a:pt x="67" y="129"/>
                  </a:lnTo>
                  <a:lnTo>
                    <a:pt x="71" y="129"/>
                  </a:lnTo>
                  <a:lnTo>
                    <a:pt x="71" y="129"/>
                  </a:lnTo>
                  <a:lnTo>
                    <a:pt x="71" y="129"/>
                  </a:lnTo>
                  <a:lnTo>
                    <a:pt x="71" y="129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5" y="124"/>
                  </a:lnTo>
                  <a:lnTo>
                    <a:pt x="75" y="124"/>
                  </a:lnTo>
                  <a:lnTo>
                    <a:pt x="75" y="129"/>
                  </a:lnTo>
                  <a:lnTo>
                    <a:pt x="75" y="129"/>
                  </a:lnTo>
                  <a:lnTo>
                    <a:pt x="80" y="129"/>
                  </a:lnTo>
                  <a:lnTo>
                    <a:pt x="75" y="129"/>
                  </a:lnTo>
                  <a:lnTo>
                    <a:pt x="75" y="124"/>
                  </a:lnTo>
                  <a:lnTo>
                    <a:pt x="75" y="124"/>
                  </a:lnTo>
                  <a:lnTo>
                    <a:pt x="75" y="124"/>
                  </a:lnTo>
                  <a:lnTo>
                    <a:pt x="75" y="124"/>
                  </a:lnTo>
                  <a:lnTo>
                    <a:pt x="80" y="129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close/>
                  <a:moveTo>
                    <a:pt x="84" y="115"/>
                  </a:moveTo>
                  <a:lnTo>
                    <a:pt x="84" y="111"/>
                  </a:lnTo>
                  <a:lnTo>
                    <a:pt x="80" y="111"/>
                  </a:lnTo>
                  <a:lnTo>
                    <a:pt x="80" y="111"/>
                  </a:lnTo>
                  <a:lnTo>
                    <a:pt x="80" y="111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75" y="102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67" y="106"/>
                  </a:lnTo>
                  <a:lnTo>
                    <a:pt x="67" y="106"/>
                  </a:lnTo>
                  <a:lnTo>
                    <a:pt x="67" y="111"/>
                  </a:lnTo>
                  <a:lnTo>
                    <a:pt x="67" y="111"/>
                  </a:lnTo>
                  <a:lnTo>
                    <a:pt x="71" y="115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5" y="115"/>
                  </a:lnTo>
                  <a:lnTo>
                    <a:pt x="80" y="115"/>
                  </a:lnTo>
                  <a:lnTo>
                    <a:pt x="80" y="115"/>
                  </a:lnTo>
                  <a:lnTo>
                    <a:pt x="80" y="115"/>
                  </a:lnTo>
                  <a:lnTo>
                    <a:pt x="80" y="120"/>
                  </a:lnTo>
                  <a:lnTo>
                    <a:pt x="84" y="120"/>
                  </a:lnTo>
                  <a:lnTo>
                    <a:pt x="84" y="115"/>
                  </a:lnTo>
                  <a:lnTo>
                    <a:pt x="84" y="115"/>
                  </a:lnTo>
                  <a:lnTo>
                    <a:pt x="84" y="115"/>
                  </a:lnTo>
                  <a:lnTo>
                    <a:pt x="84" y="115"/>
                  </a:lnTo>
                  <a:lnTo>
                    <a:pt x="84" y="115"/>
                  </a:lnTo>
                  <a:close/>
                  <a:moveTo>
                    <a:pt x="71" y="71"/>
                  </a:moveTo>
                  <a:lnTo>
                    <a:pt x="71" y="75"/>
                  </a:lnTo>
                  <a:lnTo>
                    <a:pt x="71" y="75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80" y="75"/>
                  </a:lnTo>
                  <a:lnTo>
                    <a:pt x="80" y="75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4" y="71"/>
                  </a:lnTo>
                  <a:lnTo>
                    <a:pt x="84" y="71"/>
                  </a:lnTo>
                  <a:lnTo>
                    <a:pt x="84" y="71"/>
                  </a:lnTo>
                  <a:lnTo>
                    <a:pt x="84" y="71"/>
                  </a:lnTo>
                  <a:lnTo>
                    <a:pt x="84" y="71"/>
                  </a:lnTo>
                  <a:lnTo>
                    <a:pt x="84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75" y="67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1" y="71"/>
                  </a:lnTo>
                  <a:close/>
                  <a:moveTo>
                    <a:pt x="22" y="80"/>
                  </a:moveTo>
                  <a:lnTo>
                    <a:pt x="22" y="80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31" y="80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6" y="89"/>
                  </a:lnTo>
                  <a:lnTo>
                    <a:pt x="36" y="89"/>
                  </a:lnTo>
                  <a:lnTo>
                    <a:pt x="36" y="89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102"/>
                  </a:lnTo>
                  <a:lnTo>
                    <a:pt x="40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98"/>
                  </a:lnTo>
                  <a:lnTo>
                    <a:pt x="49" y="93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93"/>
                  </a:lnTo>
                  <a:lnTo>
                    <a:pt x="53" y="93"/>
                  </a:lnTo>
                  <a:lnTo>
                    <a:pt x="53" y="93"/>
                  </a:lnTo>
                  <a:lnTo>
                    <a:pt x="53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58" y="71"/>
                  </a:lnTo>
                  <a:lnTo>
                    <a:pt x="53" y="71"/>
                  </a:lnTo>
                  <a:lnTo>
                    <a:pt x="49" y="71"/>
                  </a:lnTo>
                  <a:lnTo>
                    <a:pt x="49" y="71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5" y="62"/>
                  </a:lnTo>
                  <a:lnTo>
                    <a:pt x="45" y="62"/>
                  </a:lnTo>
                  <a:lnTo>
                    <a:pt x="45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5"/>
                  </a:lnTo>
                  <a:lnTo>
                    <a:pt x="18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80"/>
                  </a:lnTo>
                  <a:lnTo>
                    <a:pt x="22" y="80"/>
                  </a:lnTo>
                  <a:close/>
                  <a:moveTo>
                    <a:pt x="337" y="36"/>
                  </a:moveTo>
                  <a:lnTo>
                    <a:pt x="337" y="31"/>
                  </a:lnTo>
                  <a:lnTo>
                    <a:pt x="337" y="31"/>
                  </a:lnTo>
                  <a:lnTo>
                    <a:pt x="337" y="31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28" y="22"/>
                  </a:lnTo>
                  <a:lnTo>
                    <a:pt x="328" y="27"/>
                  </a:lnTo>
                  <a:lnTo>
                    <a:pt x="328" y="27"/>
                  </a:lnTo>
                  <a:lnTo>
                    <a:pt x="323" y="31"/>
                  </a:lnTo>
                  <a:lnTo>
                    <a:pt x="323" y="31"/>
                  </a:lnTo>
                  <a:lnTo>
                    <a:pt x="315" y="27"/>
                  </a:lnTo>
                  <a:lnTo>
                    <a:pt x="306" y="27"/>
                  </a:lnTo>
                  <a:lnTo>
                    <a:pt x="297" y="27"/>
                  </a:lnTo>
                  <a:lnTo>
                    <a:pt x="292" y="27"/>
                  </a:lnTo>
                  <a:lnTo>
                    <a:pt x="284" y="27"/>
                  </a:lnTo>
                  <a:lnTo>
                    <a:pt x="270" y="27"/>
                  </a:lnTo>
                  <a:lnTo>
                    <a:pt x="270" y="27"/>
                  </a:lnTo>
                  <a:lnTo>
                    <a:pt x="270" y="22"/>
                  </a:lnTo>
                  <a:lnTo>
                    <a:pt x="266" y="22"/>
                  </a:lnTo>
                  <a:lnTo>
                    <a:pt x="266" y="18"/>
                  </a:lnTo>
                  <a:lnTo>
                    <a:pt x="261" y="18"/>
                  </a:lnTo>
                  <a:lnTo>
                    <a:pt x="261" y="13"/>
                  </a:lnTo>
                  <a:lnTo>
                    <a:pt x="257" y="13"/>
                  </a:lnTo>
                  <a:lnTo>
                    <a:pt x="257" y="13"/>
                  </a:lnTo>
                  <a:lnTo>
                    <a:pt x="253" y="13"/>
                  </a:lnTo>
                  <a:lnTo>
                    <a:pt x="253" y="13"/>
                  </a:lnTo>
                  <a:lnTo>
                    <a:pt x="253" y="13"/>
                  </a:lnTo>
                  <a:lnTo>
                    <a:pt x="253" y="13"/>
                  </a:lnTo>
                  <a:lnTo>
                    <a:pt x="248" y="13"/>
                  </a:lnTo>
                  <a:lnTo>
                    <a:pt x="248" y="13"/>
                  </a:lnTo>
                  <a:lnTo>
                    <a:pt x="244" y="13"/>
                  </a:lnTo>
                  <a:lnTo>
                    <a:pt x="239" y="13"/>
                  </a:lnTo>
                  <a:lnTo>
                    <a:pt x="239" y="9"/>
                  </a:lnTo>
                  <a:lnTo>
                    <a:pt x="239" y="9"/>
                  </a:lnTo>
                  <a:lnTo>
                    <a:pt x="235" y="9"/>
                  </a:lnTo>
                  <a:lnTo>
                    <a:pt x="226" y="9"/>
                  </a:lnTo>
                  <a:lnTo>
                    <a:pt x="226" y="9"/>
                  </a:lnTo>
                  <a:lnTo>
                    <a:pt x="226" y="9"/>
                  </a:lnTo>
                  <a:lnTo>
                    <a:pt x="226" y="9"/>
                  </a:lnTo>
                  <a:lnTo>
                    <a:pt x="226" y="9"/>
                  </a:lnTo>
                  <a:lnTo>
                    <a:pt x="226" y="5"/>
                  </a:lnTo>
                  <a:lnTo>
                    <a:pt x="222" y="5"/>
                  </a:lnTo>
                  <a:lnTo>
                    <a:pt x="222" y="5"/>
                  </a:lnTo>
                  <a:lnTo>
                    <a:pt x="222" y="5"/>
                  </a:lnTo>
                  <a:lnTo>
                    <a:pt x="222" y="5"/>
                  </a:lnTo>
                  <a:lnTo>
                    <a:pt x="222" y="9"/>
                  </a:lnTo>
                  <a:lnTo>
                    <a:pt x="222" y="9"/>
                  </a:lnTo>
                  <a:lnTo>
                    <a:pt x="222" y="9"/>
                  </a:lnTo>
                  <a:lnTo>
                    <a:pt x="222" y="9"/>
                  </a:lnTo>
                  <a:lnTo>
                    <a:pt x="222" y="9"/>
                  </a:lnTo>
                  <a:lnTo>
                    <a:pt x="217" y="5"/>
                  </a:lnTo>
                  <a:lnTo>
                    <a:pt x="217" y="5"/>
                  </a:lnTo>
                  <a:lnTo>
                    <a:pt x="217" y="9"/>
                  </a:lnTo>
                  <a:lnTo>
                    <a:pt x="217" y="9"/>
                  </a:lnTo>
                  <a:lnTo>
                    <a:pt x="217" y="9"/>
                  </a:lnTo>
                  <a:lnTo>
                    <a:pt x="217" y="9"/>
                  </a:lnTo>
                  <a:lnTo>
                    <a:pt x="213" y="9"/>
                  </a:lnTo>
                  <a:lnTo>
                    <a:pt x="213" y="9"/>
                  </a:lnTo>
                  <a:lnTo>
                    <a:pt x="213" y="9"/>
                  </a:lnTo>
                  <a:lnTo>
                    <a:pt x="213" y="9"/>
                  </a:lnTo>
                  <a:lnTo>
                    <a:pt x="213" y="9"/>
                  </a:lnTo>
                  <a:lnTo>
                    <a:pt x="213" y="5"/>
                  </a:lnTo>
                  <a:lnTo>
                    <a:pt x="213" y="5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8" y="5"/>
                  </a:lnTo>
                  <a:lnTo>
                    <a:pt x="208" y="5"/>
                  </a:lnTo>
                  <a:lnTo>
                    <a:pt x="208" y="5"/>
                  </a:lnTo>
                  <a:lnTo>
                    <a:pt x="208" y="5"/>
                  </a:lnTo>
                  <a:lnTo>
                    <a:pt x="208" y="5"/>
                  </a:lnTo>
                  <a:lnTo>
                    <a:pt x="208" y="9"/>
                  </a:lnTo>
                  <a:lnTo>
                    <a:pt x="208" y="9"/>
                  </a:lnTo>
                  <a:lnTo>
                    <a:pt x="208" y="9"/>
                  </a:lnTo>
                  <a:lnTo>
                    <a:pt x="208" y="13"/>
                  </a:lnTo>
                  <a:lnTo>
                    <a:pt x="208" y="13"/>
                  </a:lnTo>
                  <a:lnTo>
                    <a:pt x="204" y="13"/>
                  </a:lnTo>
                  <a:lnTo>
                    <a:pt x="204" y="9"/>
                  </a:lnTo>
                  <a:lnTo>
                    <a:pt x="204" y="9"/>
                  </a:lnTo>
                  <a:lnTo>
                    <a:pt x="199" y="5"/>
                  </a:lnTo>
                  <a:lnTo>
                    <a:pt x="199" y="5"/>
                  </a:lnTo>
                  <a:lnTo>
                    <a:pt x="199" y="5"/>
                  </a:lnTo>
                  <a:lnTo>
                    <a:pt x="199" y="0"/>
                  </a:lnTo>
                  <a:lnTo>
                    <a:pt x="195" y="0"/>
                  </a:lnTo>
                  <a:lnTo>
                    <a:pt x="195" y="5"/>
                  </a:lnTo>
                  <a:lnTo>
                    <a:pt x="195" y="9"/>
                  </a:lnTo>
                  <a:lnTo>
                    <a:pt x="195" y="13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5" y="13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82" y="18"/>
                  </a:lnTo>
                  <a:lnTo>
                    <a:pt x="177" y="13"/>
                  </a:lnTo>
                  <a:lnTo>
                    <a:pt x="177" y="13"/>
                  </a:lnTo>
                  <a:lnTo>
                    <a:pt x="177" y="13"/>
                  </a:lnTo>
                  <a:lnTo>
                    <a:pt x="177" y="18"/>
                  </a:lnTo>
                  <a:lnTo>
                    <a:pt x="177" y="18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68" y="18"/>
                  </a:lnTo>
                  <a:lnTo>
                    <a:pt x="164" y="18"/>
                  </a:lnTo>
                  <a:lnTo>
                    <a:pt x="164" y="13"/>
                  </a:lnTo>
                  <a:lnTo>
                    <a:pt x="160" y="9"/>
                  </a:lnTo>
                  <a:lnTo>
                    <a:pt x="160" y="13"/>
                  </a:lnTo>
                  <a:lnTo>
                    <a:pt x="160" y="13"/>
                  </a:lnTo>
                  <a:lnTo>
                    <a:pt x="160" y="13"/>
                  </a:lnTo>
                  <a:lnTo>
                    <a:pt x="160" y="13"/>
                  </a:lnTo>
                  <a:lnTo>
                    <a:pt x="160" y="13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22"/>
                  </a:lnTo>
                  <a:lnTo>
                    <a:pt x="160" y="22"/>
                  </a:lnTo>
                  <a:lnTo>
                    <a:pt x="160" y="22"/>
                  </a:lnTo>
                  <a:lnTo>
                    <a:pt x="155" y="22"/>
                  </a:lnTo>
                  <a:lnTo>
                    <a:pt x="155" y="22"/>
                  </a:lnTo>
                  <a:lnTo>
                    <a:pt x="155" y="22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1" y="22"/>
                  </a:lnTo>
                  <a:lnTo>
                    <a:pt x="151" y="22"/>
                  </a:lnTo>
                  <a:lnTo>
                    <a:pt x="151" y="22"/>
                  </a:lnTo>
                  <a:lnTo>
                    <a:pt x="151" y="22"/>
                  </a:lnTo>
                  <a:lnTo>
                    <a:pt x="151" y="22"/>
                  </a:lnTo>
                  <a:lnTo>
                    <a:pt x="151" y="22"/>
                  </a:lnTo>
                  <a:lnTo>
                    <a:pt x="151" y="22"/>
                  </a:lnTo>
                  <a:lnTo>
                    <a:pt x="151" y="22"/>
                  </a:lnTo>
                  <a:lnTo>
                    <a:pt x="151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2" y="22"/>
                  </a:lnTo>
                  <a:lnTo>
                    <a:pt x="142" y="22"/>
                  </a:lnTo>
                  <a:lnTo>
                    <a:pt x="142" y="22"/>
                  </a:lnTo>
                  <a:lnTo>
                    <a:pt x="142" y="18"/>
                  </a:lnTo>
                  <a:lnTo>
                    <a:pt x="137" y="18"/>
                  </a:lnTo>
                  <a:lnTo>
                    <a:pt x="137" y="22"/>
                  </a:lnTo>
                  <a:lnTo>
                    <a:pt x="133" y="22"/>
                  </a:lnTo>
                  <a:lnTo>
                    <a:pt x="133" y="27"/>
                  </a:lnTo>
                  <a:lnTo>
                    <a:pt x="133" y="27"/>
                  </a:lnTo>
                  <a:lnTo>
                    <a:pt x="133" y="27"/>
                  </a:lnTo>
                  <a:lnTo>
                    <a:pt x="129" y="27"/>
                  </a:lnTo>
                  <a:lnTo>
                    <a:pt x="124" y="27"/>
                  </a:lnTo>
                  <a:lnTo>
                    <a:pt x="129" y="27"/>
                  </a:lnTo>
                  <a:lnTo>
                    <a:pt x="129" y="31"/>
                  </a:lnTo>
                  <a:lnTo>
                    <a:pt x="129" y="31"/>
                  </a:lnTo>
                  <a:lnTo>
                    <a:pt x="129" y="31"/>
                  </a:lnTo>
                  <a:lnTo>
                    <a:pt x="124" y="31"/>
                  </a:lnTo>
                  <a:lnTo>
                    <a:pt x="124" y="31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4" y="36"/>
                  </a:lnTo>
                  <a:lnTo>
                    <a:pt x="124" y="40"/>
                  </a:lnTo>
                  <a:lnTo>
                    <a:pt x="120" y="40"/>
                  </a:lnTo>
                  <a:lnTo>
                    <a:pt x="120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1" y="40"/>
                  </a:lnTo>
                  <a:lnTo>
                    <a:pt x="111" y="40"/>
                  </a:lnTo>
                  <a:lnTo>
                    <a:pt x="106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44"/>
                  </a:lnTo>
                  <a:lnTo>
                    <a:pt x="102" y="44"/>
                  </a:lnTo>
                  <a:lnTo>
                    <a:pt x="102" y="44"/>
                  </a:lnTo>
                  <a:lnTo>
                    <a:pt x="102" y="44"/>
                  </a:lnTo>
                  <a:lnTo>
                    <a:pt x="102" y="44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89" y="44"/>
                  </a:lnTo>
                  <a:lnTo>
                    <a:pt x="89" y="49"/>
                  </a:lnTo>
                  <a:lnTo>
                    <a:pt x="93" y="53"/>
                  </a:lnTo>
                  <a:lnTo>
                    <a:pt x="93" y="62"/>
                  </a:lnTo>
                  <a:lnTo>
                    <a:pt x="89" y="58"/>
                  </a:lnTo>
                  <a:lnTo>
                    <a:pt x="89" y="58"/>
                  </a:lnTo>
                  <a:lnTo>
                    <a:pt x="89" y="58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7"/>
                  </a:lnTo>
                  <a:lnTo>
                    <a:pt x="89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9" y="67"/>
                  </a:lnTo>
                  <a:lnTo>
                    <a:pt x="89" y="71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71"/>
                  </a:lnTo>
                  <a:lnTo>
                    <a:pt x="98" y="71"/>
                  </a:lnTo>
                  <a:lnTo>
                    <a:pt x="98" y="71"/>
                  </a:lnTo>
                  <a:lnTo>
                    <a:pt x="98" y="71"/>
                  </a:lnTo>
                  <a:lnTo>
                    <a:pt x="93" y="71"/>
                  </a:lnTo>
                  <a:lnTo>
                    <a:pt x="93" y="75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89" y="75"/>
                  </a:lnTo>
                  <a:lnTo>
                    <a:pt x="89" y="75"/>
                  </a:lnTo>
                  <a:lnTo>
                    <a:pt x="84" y="75"/>
                  </a:lnTo>
                  <a:lnTo>
                    <a:pt x="84" y="75"/>
                  </a:lnTo>
                  <a:lnTo>
                    <a:pt x="89" y="80"/>
                  </a:lnTo>
                  <a:lnTo>
                    <a:pt x="89" y="80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89" y="89"/>
                  </a:lnTo>
                  <a:lnTo>
                    <a:pt x="89" y="89"/>
                  </a:lnTo>
                  <a:lnTo>
                    <a:pt x="84" y="93"/>
                  </a:lnTo>
                  <a:lnTo>
                    <a:pt x="89" y="89"/>
                  </a:lnTo>
                  <a:lnTo>
                    <a:pt x="89" y="89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8" y="89"/>
                  </a:lnTo>
                  <a:lnTo>
                    <a:pt x="98" y="89"/>
                  </a:lnTo>
                  <a:lnTo>
                    <a:pt x="102" y="89"/>
                  </a:lnTo>
                  <a:lnTo>
                    <a:pt x="102" y="89"/>
                  </a:lnTo>
                  <a:lnTo>
                    <a:pt x="102" y="89"/>
                  </a:lnTo>
                  <a:lnTo>
                    <a:pt x="106" y="89"/>
                  </a:lnTo>
                  <a:lnTo>
                    <a:pt x="106" y="89"/>
                  </a:lnTo>
                  <a:lnTo>
                    <a:pt x="106" y="89"/>
                  </a:lnTo>
                  <a:lnTo>
                    <a:pt x="111" y="93"/>
                  </a:lnTo>
                  <a:lnTo>
                    <a:pt x="106" y="93"/>
                  </a:lnTo>
                  <a:lnTo>
                    <a:pt x="106" y="89"/>
                  </a:lnTo>
                  <a:lnTo>
                    <a:pt x="106" y="89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6" y="93"/>
                  </a:lnTo>
                  <a:lnTo>
                    <a:pt x="106" y="98"/>
                  </a:lnTo>
                  <a:lnTo>
                    <a:pt x="106" y="98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02" y="93"/>
                  </a:lnTo>
                  <a:lnTo>
                    <a:pt x="102" y="93"/>
                  </a:lnTo>
                  <a:lnTo>
                    <a:pt x="98" y="93"/>
                  </a:lnTo>
                  <a:lnTo>
                    <a:pt x="98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8"/>
                  </a:lnTo>
                  <a:lnTo>
                    <a:pt x="93" y="98"/>
                  </a:lnTo>
                  <a:lnTo>
                    <a:pt x="93" y="98"/>
                  </a:lnTo>
                  <a:lnTo>
                    <a:pt x="93" y="98"/>
                  </a:lnTo>
                  <a:lnTo>
                    <a:pt x="93" y="98"/>
                  </a:lnTo>
                  <a:lnTo>
                    <a:pt x="89" y="98"/>
                  </a:lnTo>
                  <a:lnTo>
                    <a:pt x="89" y="98"/>
                  </a:lnTo>
                  <a:lnTo>
                    <a:pt x="89" y="98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89" y="106"/>
                  </a:lnTo>
                  <a:lnTo>
                    <a:pt x="89" y="106"/>
                  </a:lnTo>
                  <a:lnTo>
                    <a:pt x="89" y="111"/>
                  </a:lnTo>
                  <a:lnTo>
                    <a:pt x="89" y="111"/>
                  </a:lnTo>
                  <a:lnTo>
                    <a:pt x="89" y="111"/>
                  </a:lnTo>
                  <a:lnTo>
                    <a:pt x="89" y="111"/>
                  </a:lnTo>
                  <a:lnTo>
                    <a:pt x="89" y="115"/>
                  </a:lnTo>
                  <a:lnTo>
                    <a:pt x="89" y="111"/>
                  </a:lnTo>
                  <a:lnTo>
                    <a:pt x="93" y="111"/>
                  </a:lnTo>
                  <a:lnTo>
                    <a:pt x="93" y="111"/>
                  </a:lnTo>
                  <a:lnTo>
                    <a:pt x="93" y="111"/>
                  </a:lnTo>
                  <a:lnTo>
                    <a:pt x="93" y="111"/>
                  </a:lnTo>
                  <a:lnTo>
                    <a:pt x="93" y="111"/>
                  </a:lnTo>
                  <a:lnTo>
                    <a:pt x="93" y="115"/>
                  </a:lnTo>
                  <a:lnTo>
                    <a:pt x="93" y="115"/>
                  </a:lnTo>
                  <a:lnTo>
                    <a:pt x="93" y="115"/>
                  </a:lnTo>
                  <a:lnTo>
                    <a:pt x="98" y="115"/>
                  </a:lnTo>
                  <a:lnTo>
                    <a:pt x="98" y="115"/>
                  </a:lnTo>
                  <a:lnTo>
                    <a:pt x="98" y="115"/>
                  </a:lnTo>
                  <a:lnTo>
                    <a:pt x="98" y="115"/>
                  </a:lnTo>
                  <a:lnTo>
                    <a:pt x="98" y="120"/>
                  </a:lnTo>
                  <a:lnTo>
                    <a:pt x="98" y="124"/>
                  </a:lnTo>
                  <a:lnTo>
                    <a:pt x="98" y="124"/>
                  </a:lnTo>
                  <a:lnTo>
                    <a:pt x="98" y="124"/>
                  </a:lnTo>
                  <a:lnTo>
                    <a:pt x="98" y="129"/>
                  </a:lnTo>
                  <a:lnTo>
                    <a:pt x="98" y="129"/>
                  </a:lnTo>
                  <a:lnTo>
                    <a:pt x="102" y="129"/>
                  </a:lnTo>
                  <a:lnTo>
                    <a:pt x="102" y="129"/>
                  </a:lnTo>
                  <a:lnTo>
                    <a:pt x="102" y="129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2" y="137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7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5" y="137"/>
                  </a:lnTo>
                  <a:lnTo>
                    <a:pt x="115" y="137"/>
                  </a:lnTo>
                  <a:lnTo>
                    <a:pt x="120" y="142"/>
                  </a:lnTo>
                  <a:lnTo>
                    <a:pt x="120" y="146"/>
                  </a:lnTo>
                  <a:lnTo>
                    <a:pt x="120" y="146"/>
                  </a:lnTo>
                  <a:lnTo>
                    <a:pt x="120" y="146"/>
                  </a:lnTo>
                  <a:lnTo>
                    <a:pt x="120" y="146"/>
                  </a:lnTo>
                  <a:lnTo>
                    <a:pt x="124" y="142"/>
                  </a:lnTo>
                  <a:lnTo>
                    <a:pt x="124" y="142"/>
                  </a:lnTo>
                  <a:lnTo>
                    <a:pt x="124" y="142"/>
                  </a:lnTo>
                  <a:lnTo>
                    <a:pt x="129" y="142"/>
                  </a:lnTo>
                  <a:lnTo>
                    <a:pt x="129" y="142"/>
                  </a:lnTo>
                  <a:lnTo>
                    <a:pt x="129" y="142"/>
                  </a:lnTo>
                  <a:lnTo>
                    <a:pt x="129" y="142"/>
                  </a:lnTo>
                  <a:lnTo>
                    <a:pt x="129" y="137"/>
                  </a:lnTo>
                  <a:lnTo>
                    <a:pt x="129" y="137"/>
                  </a:lnTo>
                  <a:lnTo>
                    <a:pt x="133" y="137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3" y="129"/>
                  </a:lnTo>
                  <a:lnTo>
                    <a:pt x="137" y="129"/>
                  </a:lnTo>
                  <a:lnTo>
                    <a:pt x="137" y="133"/>
                  </a:lnTo>
                  <a:lnTo>
                    <a:pt x="142" y="133"/>
                  </a:lnTo>
                  <a:lnTo>
                    <a:pt x="146" y="137"/>
                  </a:lnTo>
                  <a:lnTo>
                    <a:pt x="146" y="137"/>
                  </a:lnTo>
                  <a:lnTo>
                    <a:pt x="146" y="142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37" y="151"/>
                  </a:lnTo>
                  <a:lnTo>
                    <a:pt x="137" y="151"/>
                  </a:lnTo>
                  <a:lnTo>
                    <a:pt x="137" y="151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37" y="160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7" y="168"/>
                  </a:lnTo>
                  <a:lnTo>
                    <a:pt x="133" y="173"/>
                  </a:lnTo>
                  <a:lnTo>
                    <a:pt x="133" y="177"/>
                  </a:lnTo>
                  <a:lnTo>
                    <a:pt x="133" y="177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29" y="182"/>
                  </a:lnTo>
                  <a:lnTo>
                    <a:pt x="129" y="182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7" y="182"/>
                  </a:lnTo>
                  <a:lnTo>
                    <a:pt x="137" y="182"/>
                  </a:lnTo>
                  <a:lnTo>
                    <a:pt x="137" y="182"/>
                  </a:lnTo>
                  <a:lnTo>
                    <a:pt x="137" y="177"/>
                  </a:lnTo>
                  <a:lnTo>
                    <a:pt x="142" y="177"/>
                  </a:lnTo>
                  <a:lnTo>
                    <a:pt x="142" y="177"/>
                  </a:lnTo>
                  <a:lnTo>
                    <a:pt x="142" y="177"/>
                  </a:lnTo>
                  <a:lnTo>
                    <a:pt x="146" y="177"/>
                  </a:lnTo>
                  <a:lnTo>
                    <a:pt x="151" y="177"/>
                  </a:lnTo>
                  <a:lnTo>
                    <a:pt x="151" y="173"/>
                  </a:lnTo>
                  <a:lnTo>
                    <a:pt x="151" y="173"/>
                  </a:lnTo>
                  <a:lnTo>
                    <a:pt x="155" y="173"/>
                  </a:lnTo>
                  <a:lnTo>
                    <a:pt x="155" y="173"/>
                  </a:lnTo>
                  <a:lnTo>
                    <a:pt x="155" y="173"/>
                  </a:lnTo>
                  <a:lnTo>
                    <a:pt x="160" y="173"/>
                  </a:lnTo>
                  <a:lnTo>
                    <a:pt x="160" y="173"/>
                  </a:lnTo>
                  <a:lnTo>
                    <a:pt x="160" y="173"/>
                  </a:lnTo>
                  <a:lnTo>
                    <a:pt x="160" y="168"/>
                  </a:lnTo>
                  <a:lnTo>
                    <a:pt x="164" y="168"/>
                  </a:lnTo>
                  <a:lnTo>
                    <a:pt x="168" y="168"/>
                  </a:lnTo>
                  <a:lnTo>
                    <a:pt x="168" y="164"/>
                  </a:lnTo>
                  <a:lnTo>
                    <a:pt x="168" y="164"/>
                  </a:lnTo>
                  <a:lnTo>
                    <a:pt x="173" y="164"/>
                  </a:lnTo>
                  <a:lnTo>
                    <a:pt x="173" y="164"/>
                  </a:lnTo>
                  <a:lnTo>
                    <a:pt x="177" y="164"/>
                  </a:lnTo>
                  <a:lnTo>
                    <a:pt x="177" y="164"/>
                  </a:lnTo>
                  <a:lnTo>
                    <a:pt x="177" y="168"/>
                  </a:lnTo>
                  <a:lnTo>
                    <a:pt x="177" y="168"/>
                  </a:lnTo>
                  <a:lnTo>
                    <a:pt x="177" y="173"/>
                  </a:lnTo>
                  <a:lnTo>
                    <a:pt x="177" y="173"/>
                  </a:lnTo>
                  <a:lnTo>
                    <a:pt x="182" y="173"/>
                  </a:lnTo>
                  <a:lnTo>
                    <a:pt x="182" y="173"/>
                  </a:lnTo>
                  <a:lnTo>
                    <a:pt x="182" y="168"/>
                  </a:lnTo>
                  <a:lnTo>
                    <a:pt x="182" y="168"/>
                  </a:lnTo>
                  <a:lnTo>
                    <a:pt x="182" y="164"/>
                  </a:lnTo>
                  <a:lnTo>
                    <a:pt x="182" y="164"/>
                  </a:lnTo>
                  <a:lnTo>
                    <a:pt x="182" y="164"/>
                  </a:lnTo>
                  <a:lnTo>
                    <a:pt x="182" y="164"/>
                  </a:lnTo>
                  <a:lnTo>
                    <a:pt x="182" y="164"/>
                  </a:lnTo>
                  <a:lnTo>
                    <a:pt x="182" y="164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86" y="168"/>
                  </a:lnTo>
                  <a:lnTo>
                    <a:pt x="191" y="168"/>
                  </a:lnTo>
                  <a:lnTo>
                    <a:pt x="191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5" y="177"/>
                  </a:lnTo>
                  <a:lnTo>
                    <a:pt x="195" y="177"/>
                  </a:lnTo>
                  <a:lnTo>
                    <a:pt x="195" y="177"/>
                  </a:lnTo>
                  <a:lnTo>
                    <a:pt x="195" y="177"/>
                  </a:lnTo>
                  <a:lnTo>
                    <a:pt x="195" y="177"/>
                  </a:lnTo>
                  <a:lnTo>
                    <a:pt x="199" y="177"/>
                  </a:lnTo>
                  <a:lnTo>
                    <a:pt x="199" y="182"/>
                  </a:lnTo>
                  <a:lnTo>
                    <a:pt x="199" y="182"/>
                  </a:lnTo>
                  <a:lnTo>
                    <a:pt x="204" y="182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8" y="182"/>
                  </a:lnTo>
                  <a:lnTo>
                    <a:pt x="208" y="182"/>
                  </a:lnTo>
                  <a:lnTo>
                    <a:pt x="208" y="186"/>
                  </a:lnTo>
                  <a:lnTo>
                    <a:pt x="208" y="186"/>
                  </a:lnTo>
                  <a:lnTo>
                    <a:pt x="222" y="186"/>
                  </a:lnTo>
                  <a:lnTo>
                    <a:pt x="222" y="186"/>
                  </a:lnTo>
                  <a:lnTo>
                    <a:pt x="222" y="186"/>
                  </a:lnTo>
                  <a:lnTo>
                    <a:pt x="222" y="191"/>
                  </a:lnTo>
                  <a:lnTo>
                    <a:pt x="222" y="191"/>
                  </a:lnTo>
                  <a:lnTo>
                    <a:pt x="222" y="191"/>
                  </a:lnTo>
                  <a:lnTo>
                    <a:pt x="222" y="191"/>
                  </a:lnTo>
                  <a:lnTo>
                    <a:pt x="222" y="191"/>
                  </a:lnTo>
                  <a:lnTo>
                    <a:pt x="222" y="195"/>
                  </a:lnTo>
                  <a:lnTo>
                    <a:pt x="226" y="199"/>
                  </a:lnTo>
                  <a:lnTo>
                    <a:pt x="230" y="199"/>
                  </a:lnTo>
                  <a:lnTo>
                    <a:pt x="235" y="208"/>
                  </a:lnTo>
                  <a:lnTo>
                    <a:pt x="235" y="213"/>
                  </a:lnTo>
                  <a:lnTo>
                    <a:pt x="239" y="213"/>
                  </a:lnTo>
                  <a:lnTo>
                    <a:pt x="239" y="213"/>
                  </a:lnTo>
                  <a:lnTo>
                    <a:pt x="244" y="217"/>
                  </a:lnTo>
                  <a:lnTo>
                    <a:pt x="244" y="217"/>
                  </a:lnTo>
                  <a:lnTo>
                    <a:pt x="244" y="217"/>
                  </a:lnTo>
                  <a:lnTo>
                    <a:pt x="244" y="217"/>
                  </a:lnTo>
                  <a:lnTo>
                    <a:pt x="244" y="222"/>
                  </a:lnTo>
                  <a:lnTo>
                    <a:pt x="248" y="222"/>
                  </a:lnTo>
                  <a:lnTo>
                    <a:pt x="248" y="217"/>
                  </a:lnTo>
                  <a:lnTo>
                    <a:pt x="248" y="217"/>
                  </a:lnTo>
                  <a:lnTo>
                    <a:pt x="248" y="217"/>
                  </a:lnTo>
                  <a:lnTo>
                    <a:pt x="248" y="217"/>
                  </a:lnTo>
                  <a:lnTo>
                    <a:pt x="248" y="222"/>
                  </a:lnTo>
                  <a:lnTo>
                    <a:pt x="253" y="217"/>
                  </a:lnTo>
                  <a:lnTo>
                    <a:pt x="253" y="217"/>
                  </a:lnTo>
                  <a:lnTo>
                    <a:pt x="253" y="217"/>
                  </a:lnTo>
                  <a:lnTo>
                    <a:pt x="253" y="217"/>
                  </a:lnTo>
                  <a:lnTo>
                    <a:pt x="253" y="217"/>
                  </a:lnTo>
                  <a:lnTo>
                    <a:pt x="253" y="217"/>
                  </a:lnTo>
                  <a:lnTo>
                    <a:pt x="257" y="213"/>
                  </a:lnTo>
                  <a:lnTo>
                    <a:pt x="261" y="213"/>
                  </a:lnTo>
                  <a:lnTo>
                    <a:pt x="261" y="213"/>
                  </a:lnTo>
                  <a:lnTo>
                    <a:pt x="261" y="213"/>
                  </a:lnTo>
                  <a:lnTo>
                    <a:pt x="261" y="213"/>
                  </a:lnTo>
                  <a:lnTo>
                    <a:pt x="266" y="213"/>
                  </a:lnTo>
                  <a:lnTo>
                    <a:pt x="266" y="208"/>
                  </a:lnTo>
                  <a:lnTo>
                    <a:pt x="266" y="208"/>
                  </a:lnTo>
                  <a:lnTo>
                    <a:pt x="266" y="208"/>
                  </a:lnTo>
                  <a:lnTo>
                    <a:pt x="266" y="208"/>
                  </a:lnTo>
                  <a:lnTo>
                    <a:pt x="266" y="208"/>
                  </a:lnTo>
                  <a:lnTo>
                    <a:pt x="270" y="208"/>
                  </a:lnTo>
                  <a:lnTo>
                    <a:pt x="270" y="208"/>
                  </a:lnTo>
                  <a:lnTo>
                    <a:pt x="270" y="213"/>
                  </a:lnTo>
                  <a:lnTo>
                    <a:pt x="275" y="213"/>
                  </a:lnTo>
                  <a:lnTo>
                    <a:pt x="275" y="217"/>
                  </a:lnTo>
                  <a:lnTo>
                    <a:pt x="275" y="217"/>
                  </a:lnTo>
                  <a:lnTo>
                    <a:pt x="275" y="217"/>
                  </a:lnTo>
                  <a:lnTo>
                    <a:pt x="279" y="217"/>
                  </a:lnTo>
                  <a:lnTo>
                    <a:pt x="288" y="222"/>
                  </a:lnTo>
                  <a:lnTo>
                    <a:pt x="292" y="217"/>
                  </a:lnTo>
                  <a:lnTo>
                    <a:pt x="292" y="217"/>
                  </a:lnTo>
                  <a:lnTo>
                    <a:pt x="288" y="217"/>
                  </a:lnTo>
                  <a:lnTo>
                    <a:pt x="288" y="217"/>
                  </a:lnTo>
                  <a:lnTo>
                    <a:pt x="288" y="213"/>
                  </a:lnTo>
                  <a:lnTo>
                    <a:pt x="288" y="213"/>
                  </a:lnTo>
                  <a:lnTo>
                    <a:pt x="292" y="213"/>
                  </a:lnTo>
                  <a:lnTo>
                    <a:pt x="292" y="213"/>
                  </a:lnTo>
                  <a:lnTo>
                    <a:pt x="292" y="213"/>
                  </a:lnTo>
                  <a:lnTo>
                    <a:pt x="292" y="213"/>
                  </a:lnTo>
                  <a:lnTo>
                    <a:pt x="292" y="213"/>
                  </a:lnTo>
                  <a:lnTo>
                    <a:pt x="292" y="208"/>
                  </a:lnTo>
                  <a:lnTo>
                    <a:pt x="292" y="208"/>
                  </a:lnTo>
                  <a:lnTo>
                    <a:pt x="292" y="208"/>
                  </a:lnTo>
                  <a:lnTo>
                    <a:pt x="292" y="208"/>
                  </a:lnTo>
                  <a:lnTo>
                    <a:pt x="292" y="208"/>
                  </a:lnTo>
                  <a:lnTo>
                    <a:pt x="292" y="208"/>
                  </a:lnTo>
                  <a:lnTo>
                    <a:pt x="292" y="204"/>
                  </a:lnTo>
                  <a:lnTo>
                    <a:pt x="292" y="204"/>
                  </a:lnTo>
                  <a:lnTo>
                    <a:pt x="292" y="204"/>
                  </a:lnTo>
                  <a:lnTo>
                    <a:pt x="292" y="204"/>
                  </a:lnTo>
                  <a:lnTo>
                    <a:pt x="297" y="204"/>
                  </a:lnTo>
                  <a:lnTo>
                    <a:pt x="301" y="199"/>
                  </a:lnTo>
                  <a:lnTo>
                    <a:pt x="301" y="199"/>
                  </a:lnTo>
                  <a:lnTo>
                    <a:pt x="297" y="195"/>
                  </a:lnTo>
                  <a:lnTo>
                    <a:pt x="301" y="195"/>
                  </a:lnTo>
                  <a:lnTo>
                    <a:pt x="301" y="195"/>
                  </a:lnTo>
                  <a:lnTo>
                    <a:pt x="301" y="195"/>
                  </a:lnTo>
                  <a:lnTo>
                    <a:pt x="301" y="195"/>
                  </a:lnTo>
                  <a:lnTo>
                    <a:pt x="301" y="191"/>
                  </a:lnTo>
                  <a:lnTo>
                    <a:pt x="301" y="191"/>
                  </a:lnTo>
                  <a:lnTo>
                    <a:pt x="301" y="191"/>
                  </a:lnTo>
                  <a:lnTo>
                    <a:pt x="301" y="191"/>
                  </a:lnTo>
                  <a:lnTo>
                    <a:pt x="310" y="191"/>
                  </a:lnTo>
                  <a:lnTo>
                    <a:pt x="315" y="191"/>
                  </a:lnTo>
                  <a:lnTo>
                    <a:pt x="315" y="186"/>
                  </a:lnTo>
                  <a:lnTo>
                    <a:pt x="315" y="186"/>
                  </a:lnTo>
                  <a:lnTo>
                    <a:pt x="315" y="186"/>
                  </a:lnTo>
                  <a:lnTo>
                    <a:pt x="315" y="186"/>
                  </a:lnTo>
                  <a:lnTo>
                    <a:pt x="310" y="182"/>
                  </a:lnTo>
                  <a:lnTo>
                    <a:pt x="306" y="182"/>
                  </a:lnTo>
                  <a:lnTo>
                    <a:pt x="306" y="182"/>
                  </a:lnTo>
                  <a:lnTo>
                    <a:pt x="306" y="177"/>
                  </a:lnTo>
                  <a:lnTo>
                    <a:pt x="310" y="177"/>
                  </a:lnTo>
                  <a:lnTo>
                    <a:pt x="310" y="177"/>
                  </a:lnTo>
                  <a:lnTo>
                    <a:pt x="310" y="173"/>
                  </a:lnTo>
                  <a:lnTo>
                    <a:pt x="306" y="173"/>
                  </a:lnTo>
                  <a:lnTo>
                    <a:pt x="306" y="173"/>
                  </a:lnTo>
                  <a:lnTo>
                    <a:pt x="306" y="168"/>
                  </a:lnTo>
                  <a:lnTo>
                    <a:pt x="306" y="168"/>
                  </a:lnTo>
                  <a:lnTo>
                    <a:pt x="306" y="164"/>
                  </a:lnTo>
                  <a:lnTo>
                    <a:pt x="306" y="160"/>
                  </a:lnTo>
                  <a:lnTo>
                    <a:pt x="301" y="155"/>
                  </a:lnTo>
                  <a:lnTo>
                    <a:pt x="301" y="155"/>
                  </a:lnTo>
                  <a:lnTo>
                    <a:pt x="301" y="151"/>
                  </a:lnTo>
                  <a:lnTo>
                    <a:pt x="297" y="146"/>
                  </a:lnTo>
                  <a:lnTo>
                    <a:pt x="301" y="142"/>
                  </a:lnTo>
                  <a:lnTo>
                    <a:pt x="301" y="133"/>
                  </a:lnTo>
                  <a:lnTo>
                    <a:pt x="301" y="120"/>
                  </a:lnTo>
                  <a:lnTo>
                    <a:pt x="297" y="106"/>
                  </a:lnTo>
                  <a:lnTo>
                    <a:pt x="297" y="102"/>
                  </a:lnTo>
                  <a:lnTo>
                    <a:pt x="297" y="98"/>
                  </a:lnTo>
                  <a:lnTo>
                    <a:pt x="297" y="89"/>
                  </a:lnTo>
                  <a:lnTo>
                    <a:pt x="301" y="84"/>
                  </a:lnTo>
                  <a:lnTo>
                    <a:pt x="306" y="80"/>
                  </a:lnTo>
                  <a:lnTo>
                    <a:pt x="310" y="75"/>
                  </a:lnTo>
                  <a:lnTo>
                    <a:pt x="310" y="75"/>
                  </a:lnTo>
                  <a:lnTo>
                    <a:pt x="315" y="71"/>
                  </a:lnTo>
                  <a:lnTo>
                    <a:pt x="315" y="71"/>
                  </a:lnTo>
                  <a:lnTo>
                    <a:pt x="315" y="67"/>
                  </a:lnTo>
                  <a:lnTo>
                    <a:pt x="315" y="67"/>
                  </a:lnTo>
                  <a:lnTo>
                    <a:pt x="319" y="58"/>
                  </a:lnTo>
                  <a:lnTo>
                    <a:pt x="323" y="49"/>
                  </a:lnTo>
                  <a:lnTo>
                    <a:pt x="323" y="44"/>
                  </a:lnTo>
                  <a:lnTo>
                    <a:pt x="323" y="44"/>
                  </a:lnTo>
                  <a:lnTo>
                    <a:pt x="323" y="44"/>
                  </a:lnTo>
                  <a:lnTo>
                    <a:pt x="328" y="40"/>
                  </a:lnTo>
                  <a:lnTo>
                    <a:pt x="332" y="40"/>
                  </a:lnTo>
                  <a:lnTo>
                    <a:pt x="332" y="40"/>
                  </a:lnTo>
                  <a:lnTo>
                    <a:pt x="332" y="40"/>
                  </a:lnTo>
                  <a:lnTo>
                    <a:pt x="328" y="40"/>
                  </a:lnTo>
                  <a:lnTo>
                    <a:pt x="328" y="36"/>
                  </a:lnTo>
                  <a:lnTo>
                    <a:pt x="332" y="36"/>
                  </a:lnTo>
                  <a:lnTo>
                    <a:pt x="337" y="36"/>
                  </a:lnTo>
                  <a:lnTo>
                    <a:pt x="337" y="36"/>
                  </a:lnTo>
                  <a:lnTo>
                    <a:pt x="337" y="36"/>
                  </a:lnTo>
                  <a:lnTo>
                    <a:pt x="337" y="36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36" name="Freeform 68"/>
            <p:cNvSpPr>
              <a:spLocks noEditPoints="1"/>
            </p:cNvSpPr>
            <p:nvPr/>
          </p:nvSpPr>
          <p:spPr bwMode="auto">
            <a:xfrm>
              <a:off x="3170238" y="3522663"/>
              <a:ext cx="590550" cy="477838"/>
            </a:xfrm>
            <a:custGeom>
              <a:avLst/>
              <a:gdLst>
                <a:gd name="T0" fmla="*/ 155 w 372"/>
                <a:gd name="T1" fmla="*/ 274 h 301"/>
                <a:gd name="T2" fmla="*/ 124 w 372"/>
                <a:gd name="T3" fmla="*/ 274 h 301"/>
                <a:gd name="T4" fmla="*/ 221 w 372"/>
                <a:gd name="T5" fmla="*/ 257 h 301"/>
                <a:gd name="T6" fmla="*/ 221 w 372"/>
                <a:gd name="T7" fmla="*/ 270 h 301"/>
                <a:gd name="T8" fmla="*/ 88 w 372"/>
                <a:gd name="T9" fmla="*/ 261 h 301"/>
                <a:gd name="T10" fmla="*/ 97 w 372"/>
                <a:gd name="T11" fmla="*/ 274 h 301"/>
                <a:gd name="T12" fmla="*/ 137 w 372"/>
                <a:gd name="T13" fmla="*/ 288 h 301"/>
                <a:gd name="T14" fmla="*/ 345 w 372"/>
                <a:gd name="T15" fmla="*/ 244 h 301"/>
                <a:gd name="T16" fmla="*/ 13 w 372"/>
                <a:gd name="T17" fmla="*/ 221 h 301"/>
                <a:gd name="T18" fmla="*/ 133 w 372"/>
                <a:gd name="T19" fmla="*/ 221 h 301"/>
                <a:gd name="T20" fmla="*/ 133 w 372"/>
                <a:gd name="T21" fmla="*/ 213 h 301"/>
                <a:gd name="T22" fmla="*/ 119 w 372"/>
                <a:gd name="T23" fmla="*/ 208 h 301"/>
                <a:gd name="T24" fmla="*/ 84 w 372"/>
                <a:gd name="T25" fmla="*/ 221 h 301"/>
                <a:gd name="T26" fmla="*/ 97 w 372"/>
                <a:gd name="T27" fmla="*/ 244 h 301"/>
                <a:gd name="T28" fmla="*/ 110 w 372"/>
                <a:gd name="T29" fmla="*/ 252 h 301"/>
                <a:gd name="T30" fmla="*/ 239 w 372"/>
                <a:gd name="T31" fmla="*/ 208 h 301"/>
                <a:gd name="T32" fmla="*/ 128 w 372"/>
                <a:gd name="T33" fmla="*/ 190 h 301"/>
                <a:gd name="T34" fmla="*/ 199 w 372"/>
                <a:gd name="T35" fmla="*/ 261 h 301"/>
                <a:gd name="T36" fmla="*/ 208 w 372"/>
                <a:gd name="T37" fmla="*/ 248 h 301"/>
                <a:gd name="T38" fmla="*/ 230 w 372"/>
                <a:gd name="T39" fmla="*/ 204 h 301"/>
                <a:gd name="T40" fmla="*/ 199 w 372"/>
                <a:gd name="T41" fmla="*/ 173 h 301"/>
                <a:gd name="T42" fmla="*/ 208 w 372"/>
                <a:gd name="T43" fmla="*/ 190 h 301"/>
                <a:gd name="T44" fmla="*/ 195 w 372"/>
                <a:gd name="T45" fmla="*/ 199 h 301"/>
                <a:gd name="T46" fmla="*/ 190 w 372"/>
                <a:gd name="T47" fmla="*/ 177 h 301"/>
                <a:gd name="T48" fmla="*/ 172 w 372"/>
                <a:gd name="T49" fmla="*/ 190 h 301"/>
                <a:gd name="T50" fmla="*/ 146 w 372"/>
                <a:gd name="T51" fmla="*/ 199 h 301"/>
                <a:gd name="T52" fmla="*/ 159 w 372"/>
                <a:gd name="T53" fmla="*/ 230 h 301"/>
                <a:gd name="T54" fmla="*/ 172 w 372"/>
                <a:gd name="T55" fmla="*/ 244 h 301"/>
                <a:gd name="T56" fmla="*/ 195 w 372"/>
                <a:gd name="T57" fmla="*/ 257 h 301"/>
                <a:gd name="T58" fmla="*/ 199 w 372"/>
                <a:gd name="T59" fmla="*/ 283 h 301"/>
                <a:gd name="T60" fmla="*/ 186 w 372"/>
                <a:gd name="T61" fmla="*/ 102 h 301"/>
                <a:gd name="T62" fmla="*/ 40 w 372"/>
                <a:gd name="T63" fmla="*/ 93 h 301"/>
                <a:gd name="T64" fmla="*/ 31 w 372"/>
                <a:gd name="T65" fmla="*/ 84 h 301"/>
                <a:gd name="T66" fmla="*/ 155 w 372"/>
                <a:gd name="T67" fmla="*/ 44 h 301"/>
                <a:gd name="T68" fmla="*/ 71 w 372"/>
                <a:gd name="T69" fmla="*/ 261 h 301"/>
                <a:gd name="T70" fmla="*/ 84 w 372"/>
                <a:gd name="T71" fmla="*/ 239 h 301"/>
                <a:gd name="T72" fmla="*/ 75 w 372"/>
                <a:gd name="T73" fmla="*/ 213 h 301"/>
                <a:gd name="T74" fmla="*/ 93 w 372"/>
                <a:gd name="T75" fmla="*/ 199 h 301"/>
                <a:gd name="T76" fmla="*/ 110 w 372"/>
                <a:gd name="T77" fmla="*/ 186 h 301"/>
                <a:gd name="T78" fmla="*/ 119 w 372"/>
                <a:gd name="T79" fmla="*/ 142 h 301"/>
                <a:gd name="T80" fmla="*/ 128 w 372"/>
                <a:gd name="T81" fmla="*/ 159 h 301"/>
                <a:gd name="T82" fmla="*/ 146 w 372"/>
                <a:gd name="T83" fmla="*/ 120 h 301"/>
                <a:gd name="T84" fmla="*/ 110 w 372"/>
                <a:gd name="T85" fmla="*/ 102 h 301"/>
                <a:gd name="T86" fmla="*/ 110 w 372"/>
                <a:gd name="T87" fmla="*/ 102 h 301"/>
                <a:gd name="T88" fmla="*/ 102 w 372"/>
                <a:gd name="T89" fmla="*/ 66 h 301"/>
                <a:gd name="T90" fmla="*/ 110 w 372"/>
                <a:gd name="T91" fmla="*/ 18 h 301"/>
                <a:gd name="T92" fmla="*/ 9 w 372"/>
                <a:gd name="T93" fmla="*/ 97 h 301"/>
                <a:gd name="T94" fmla="*/ 17 w 372"/>
                <a:gd name="T95" fmla="*/ 102 h 301"/>
                <a:gd name="T96" fmla="*/ 31 w 372"/>
                <a:gd name="T97" fmla="*/ 80 h 301"/>
                <a:gd name="T98" fmla="*/ 84 w 372"/>
                <a:gd name="T99" fmla="*/ 66 h 301"/>
                <a:gd name="T100" fmla="*/ 57 w 372"/>
                <a:gd name="T101" fmla="*/ 84 h 301"/>
                <a:gd name="T102" fmla="*/ 62 w 372"/>
                <a:gd name="T103" fmla="*/ 115 h 301"/>
                <a:gd name="T104" fmla="*/ 53 w 372"/>
                <a:gd name="T105" fmla="*/ 106 h 301"/>
                <a:gd name="T106" fmla="*/ 48 w 372"/>
                <a:gd name="T107" fmla="*/ 93 h 301"/>
                <a:gd name="T108" fmla="*/ 31 w 372"/>
                <a:gd name="T109" fmla="*/ 120 h 301"/>
                <a:gd name="T110" fmla="*/ 9 w 372"/>
                <a:gd name="T111" fmla="*/ 115 h 301"/>
                <a:gd name="T112" fmla="*/ 0 w 372"/>
                <a:gd name="T113" fmla="*/ 164 h 301"/>
                <a:gd name="T114" fmla="*/ 0 w 372"/>
                <a:gd name="T115" fmla="*/ 173 h 301"/>
                <a:gd name="T116" fmla="*/ 26 w 372"/>
                <a:gd name="T117" fmla="*/ 221 h 301"/>
                <a:gd name="T118" fmla="*/ 22 w 372"/>
                <a:gd name="T119" fmla="*/ 248 h 301"/>
                <a:gd name="T120" fmla="*/ 71 w 372"/>
                <a:gd name="T121" fmla="*/ 279 h 301"/>
                <a:gd name="T122" fmla="*/ 84 w 372"/>
                <a:gd name="T123" fmla="*/ 274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2" h="301">
                  <a:moveTo>
                    <a:pt x="195" y="283"/>
                  </a:moveTo>
                  <a:lnTo>
                    <a:pt x="195" y="283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0" y="279"/>
                  </a:lnTo>
                  <a:lnTo>
                    <a:pt x="190" y="274"/>
                  </a:lnTo>
                  <a:lnTo>
                    <a:pt x="190" y="274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4"/>
                  </a:lnTo>
                  <a:lnTo>
                    <a:pt x="186" y="274"/>
                  </a:lnTo>
                  <a:lnTo>
                    <a:pt x="186" y="274"/>
                  </a:lnTo>
                  <a:lnTo>
                    <a:pt x="186" y="274"/>
                  </a:lnTo>
                  <a:lnTo>
                    <a:pt x="186" y="274"/>
                  </a:lnTo>
                  <a:lnTo>
                    <a:pt x="181" y="274"/>
                  </a:lnTo>
                  <a:lnTo>
                    <a:pt x="181" y="274"/>
                  </a:lnTo>
                  <a:lnTo>
                    <a:pt x="181" y="279"/>
                  </a:lnTo>
                  <a:lnTo>
                    <a:pt x="181" y="279"/>
                  </a:lnTo>
                  <a:lnTo>
                    <a:pt x="181" y="279"/>
                  </a:lnTo>
                  <a:lnTo>
                    <a:pt x="172" y="274"/>
                  </a:lnTo>
                  <a:lnTo>
                    <a:pt x="172" y="274"/>
                  </a:lnTo>
                  <a:lnTo>
                    <a:pt x="172" y="274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4" y="266"/>
                  </a:lnTo>
                  <a:lnTo>
                    <a:pt x="164" y="266"/>
                  </a:lnTo>
                  <a:lnTo>
                    <a:pt x="155" y="266"/>
                  </a:lnTo>
                  <a:lnTo>
                    <a:pt x="155" y="266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4"/>
                  </a:lnTo>
                  <a:lnTo>
                    <a:pt x="155" y="274"/>
                  </a:lnTo>
                  <a:lnTo>
                    <a:pt x="155" y="279"/>
                  </a:lnTo>
                  <a:lnTo>
                    <a:pt x="155" y="279"/>
                  </a:lnTo>
                  <a:lnTo>
                    <a:pt x="159" y="279"/>
                  </a:lnTo>
                  <a:lnTo>
                    <a:pt x="155" y="279"/>
                  </a:lnTo>
                  <a:lnTo>
                    <a:pt x="155" y="279"/>
                  </a:lnTo>
                  <a:lnTo>
                    <a:pt x="155" y="279"/>
                  </a:lnTo>
                  <a:lnTo>
                    <a:pt x="150" y="279"/>
                  </a:lnTo>
                  <a:lnTo>
                    <a:pt x="150" y="283"/>
                  </a:lnTo>
                  <a:lnTo>
                    <a:pt x="150" y="283"/>
                  </a:lnTo>
                  <a:lnTo>
                    <a:pt x="155" y="283"/>
                  </a:lnTo>
                  <a:lnTo>
                    <a:pt x="155" y="283"/>
                  </a:lnTo>
                  <a:lnTo>
                    <a:pt x="159" y="288"/>
                  </a:lnTo>
                  <a:lnTo>
                    <a:pt x="164" y="288"/>
                  </a:lnTo>
                  <a:lnTo>
                    <a:pt x="168" y="292"/>
                  </a:lnTo>
                  <a:lnTo>
                    <a:pt x="172" y="292"/>
                  </a:lnTo>
                  <a:lnTo>
                    <a:pt x="177" y="297"/>
                  </a:lnTo>
                  <a:lnTo>
                    <a:pt x="177" y="297"/>
                  </a:lnTo>
                  <a:lnTo>
                    <a:pt x="177" y="297"/>
                  </a:lnTo>
                  <a:lnTo>
                    <a:pt x="181" y="292"/>
                  </a:lnTo>
                  <a:lnTo>
                    <a:pt x="186" y="292"/>
                  </a:lnTo>
                  <a:lnTo>
                    <a:pt x="190" y="297"/>
                  </a:lnTo>
                  <a:lnTo>
                    <a:pt x="195" y="292"/>
                  </a:lnTo>
                  <a:lnTo>
                    <a:pt x="195" y="292"/>
                  </a:lnTo>
                  <a:lnTo>
                    <a:pt x="195" y="292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9" y="288"/>
                  </a:lnTo>
                  <a:lnTo>
                    <a:pt x="199" y="283"/>
                  </a:lnTo>
                  <a:lnTo>
                    <a:pt x="195" y="283"/>
                  </a:lnTo>
                  <a:lnTo>
                    <a:pt x="195" y="283"/>
                  </a:lnTo>
                  <a:close/>
                  <a:moveTo>
                    <a:pt x="124" y="274"/>
                  </a:moveTo>
                  <a:lnTo>
                    <a:pt x="124" y="274"/>
                  </a:lnTo>
                  <a:lnTo>
                    <a:pt x="124" y="274"/>
                  </a:lnTo>
                  <a:lnTo>
                    <a:pt x="124" y="274"/>
                  </a:lnTo>
                  <a:lnTo>
                    <a:pt x="124" y="270"/>
                  </a:lnTo>
                  <a:lnTo>
                    <a:pt x="124" y="274"/>
                  </a:lnTo>
                  <a:lnTo>
                    <a:pt x="124" y="274"/>
                  </a:lnTo>
                  <a:lnTo>
                    <a:pt x="124" y="274"/>
                  </a:lnTo>
                  <a:lnTo>
                    <a:pt x="119" y="274"/>
                  </a:lnTo>
                  <a:lnTo>
                    <a:pt x="119" y="274"/>
                  </a:lnTo>
                  <a:lnTo>
                    <a:pt x="119" y="270"/>
                  </a:lnTo>
                  <a:lnTo>
                    <a:pt x="119" y="270"/>
                  </a:lnTo>
                  <a:lnTo>
                    <a:pt x="119" y="270"/>
                  </a:lnTo>
                  <a:lnTo>
                    <a:pt x="119" y="270"/>
                  </a:lnTo>
                  <a:lnTo>
                    <a:pt x="119" y="270"/>
                  </a:lnTo>
                  <a:lnTo>
                    <a:pt x="119" y="270"/>
                  </a:lnTo>
                  <a:lnTo>
                    <a:pt x="119" y="270"/>
                  </a:lnTo>
                  <a:lnTo>
                    <a:pt x="115" y="270"/>
                  </a:lnTo>
                  <a:lnTo>
                    <a:pt x="115" y="270"/>
                  </a:lnTo>
                  <a:lnTo>
                    <a:pt x="115" y="266"/>
                  </a:lnTo>
                  <a:lnTo>
                    <a:pt x="110" y="266"/>
                  </a:lnTo>
                  <a:lnTo>
                    <a:pt x="110" y="266"/>
                  </a:lnTo>
                  <a:lnTo>
                    <a:pt x="110" y="266"/>
                  </a:lnTo>
                  <a:lnTo>
                    <a:pt x="110" y="270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24" y="279"/>
                  </a:lnTo>
                  <a:lnTo>
                    <a:pt x="128" y="274"/>
                  </a:lnTo>
                  <a:lnTo>
                    <a:pt x="124" y="274"/>
                  </a:lnTo>
                  <a:lnTo>
                    <a:pt x="124" y="274"/>
                  </a:lnTo>
                  <a:close/>
                  <a:moveTo>
                    <a:pt x="230" y="261"/>
                  </a:moveTo>
                  <a:lnTo>
                    <a:pt x="226" y="261"/>
                  </a:lnTo>
                  <a:lnTo>
                    <a:pt x="221" y="261"/>
                  </a:lnTo>
                  <a:lnTo>
                    <a:pt x="221" y="257"/>
                  </a:lnTo>
                  <a:lnTo>
                    <a:pt x="221" y="257"/>
                  </a:lnTo>
                  <a:lnTo>
                    <a:pt x="217" y="257"/>
                  </a:lnTo>
                  <a:lnTo>
                    <a:pt x="217" y="257"/>
                  </a:lnTo>
                  <a:lnTo>
                    <a:pt x="217" y="257"/>
                  </a:lnTo>
                  <a:lnTo>
                    <a:pt x="217" y="257"/>
                  </a:lnTo>
                  <a:lnTo>
                    <a:pt x="217" y="261"/>
                  </a:lnTo>
                  <a:lnTo>
                    <a:pt x="221" y="261"/>
                  </a:lnTo>
                  <a:lnTo>
                    <a:pt x="221" y="261"/>
                  </a:lnTo>
                  <a:lnTo>
                    <a:pt x="221" y="261"/>
                  </a:lnTo>
                  <a:lnTo>
                    <a:pt x="221" y="261"/>
                  </a:lnTo>
                  <a:lnTo>
                    <a:pt x="221" y="261"/>
                  </a:lnTo>
                  <a:lnTo>
                    <a:pt x="221" y="261"/>
                  </a:lnTo>
                  <a:lnTo>
                    <a:pt x="221" y="266"/>
                  </a:lnTo>
                  <a:lnTo>
                    <a:pt x="217" y="266"/>
                  </a:lnTo>
                  <a:lnTo>
                    <a:pt x="217" y="266"/>
                  </a:lnTo>
                  <a:lnTo>
                    <a:pt x="217" y="266"/>
                  </a:lnTo>
                  <a:lnTo>
                    <a:pt x="217" y="266"/>
                  </a:lnTo>
                  <a:lnTo>
                    <a:pt x="212" y="261"/>
                  </a:lnTo>
                  <a:lnTo>
                    <a:pt x="212" y="266"/>
                  </a:lnTo>
                  <a:lnTo>
                    <a:pt x="212" y="266"/>
                  </a:lnTo>
                  <a:lnTo>
                    <a:pt x="212" y="266"/>
                  </a:lnTo>
                  <a:lnTo>
                    <a:pt x="212" y="266"/>
                  </a:lnTo>
                  <a:lnTo>
                    <a:pt x="212" y="266"/>
                  </a:lnTo>
                  <a:lnTo>
                    <a:pt x="212" y="266"/>
                  </a:lnTo>
                  <a:lnTo>
                    <a:pt x="212" y="266"/>
                  </a:lnTo>
                  <a:lnTo>
                    <a:pt x="212" y="266"/>
                  </a:lnTo>
                  <a:lnTo>
                    <a:pt x="212" y="270"/>
                  </a:lnTo>
                  <a:lnTo>
                    <a:pt x="212" y="270"/>
                  </a:lnTo>
                  <a:lnTo>
                    <a:pt x="212" y="270"/>
                  </a:lnTo>
                  <a:lnTo>
                    <a:pt x="212" y="270"/>
                  </a:lnTo>
                  <a:lnTo>
                    <a:pt x="212" y="270"/>
                  </a:lnTo>
                  <a:lnTo>
                    <a:pt x="212" y="270"/>
                  </a:lnTo>
                  <a:lnTo>
                    <a:pt x="212" y="274"/>
                  </a:lnTo>
                  <a:lnTo>
                    <a:pt x="217" y="274"/>
                  </a:lnTo>
                  <a:lnTo>
                    <a:pt x="217" y="270"/>
                  </a:lnTo>
                  <a:lnTo>
                    <a:pt x="221" y="270"/>
                  </a:lnTo>
                  <a:lnTo>
                    <a:pt x="221" y="266"/>
                  </a:lnTo>
                  <a:lnTo>
                    <a:pt x="221" y="266"/>
                  </a:lnTo>
                  <a:lnTo>
                    <a:pt x="226" y="266"/>
                  </a:lnTo>
                  <a:lnTo>
                    <a:pt x="230" y="266"/>
                  </a:lnTo>
                  <a:lnTo>
                    <a:pt x="230" y="266"/>
                  </a:lnTo>
                  <a:lnTo>
                    <a:pt x="234" y="266"/>
                  </a:lnTo>
                  <a:lnTo>
                    <a:pt x="234" y="266"/>
                  </a:lnTo>
                  <a:lnTo>
                    <a:pt x="234" y="266"/>
                  </a:lnTo>
                  <a:lnTo>
                    <a:pt x="234" y="261"/>
                  </a:lnTo>
                  <a:lnTo>
                    <a:pt x="230" y="261"/>
                  </a:lnTo>
                  <a:close/>
                  <a:moveTo>
                    <a:pt x="102" y="266"/>
                  </a:moveTo>
                  <a:lnTo>
                    <a:pt x="97" y="261"/>
                  </a:lnTo>
                  <a:lnTo>
                    <a:pt x="97" y="261"/>
                  </a:lnTo>
                  <a:lnTo>
                    <a:pt x="97" y="261"/>
                  </a:lnTo>
                  <a:lnTo>
                    <a:pt x="93" y="261"/>
                  </a:lnTo>
                  <a:lnTo>
                    <a:pt x="93" y="257"/>
                  </a:lnTo>
                  <a:lnTo>
                    <a:pt x="88" y="257"/>
                  </a:lnTo>
                  <a:lnTo>
                    <a:pt x="84" y="252"/>
                  </a:lnTo>
                  <a:lnTo>
                    <a:pt x="84" y="257"/>
                  </a:lnTo>
                  <a:lnTo>
                    <a:pt x="79" y="257"/>
                  </a:lnTo>
                  <a:lnTo>
                    <a:pt x="79" y="257"/>
                  </a:lnTo>
                  <a:lnTo>
                    <a:pt x="79" y="257"/>
                  </a:lnTo>
                  <a:lnTo>
                    <a:pt x="79" y="257"/>
                  </a:lnTo>
                  <a:lnTo>
                    <a:pt x="84" y="257"/>
                  </a:lnTo>
                  <a:lnTo>
                    <a:pt x="84" y="257"/>
                  </a:lnTo>
                  <a:lnTo>
                    <a:pt x="84" y="257"/>
                  </a:lnTo>
                  <a:lnTo>
                    <a:pt x="84" y="261"/>
                  </a:lnTo>
                  <a:lnTo>
                    <a:pt x="79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8" y="261"/>
                  </a:lnTo>
                  <a:lnTo>
                    <a:pt x="88" y="261"/>
                  </a:lnTo>
                  <a:lnTo>
                    <a:pt x="88" y="261"/>
                  </a:lnTo>
                  <a:lnTo>
                    <a:pt x="88" y="261"/>
                  </a:lnTo>
                  <a:lnTo>
                    <a:pt x="88" y="266"/>
                  </a:lnTo>
                  <a:lnTo>
                    <a:pt x="93" y="266"/>
                  </a:lnTo>
                  <a:lnTo>
                    <a:pt x="88" y="266"/>
                  </a:lnTo>
                  <a:lnTo>
                    <a:pt x="88" y="266"/>
                  </a:lnTo>
                  <a:lnTo>
                    <a:pt x="88" y="266"/>
                  </a:lnTo>
                  <a:lnTo>
                    <a:pt x="93" y="266"/>
                  </a:lnTo>
                  <a:lnTo>
                    <a:pt x="93" y="266"/>
                  </a:lnTo>
                  <a:lnTo>
                    <a:pt x="88" y="266"/>
                  </a:lnTo>
                  <a:lnTo>
                    <a:pt x="88" y="266"/>
                  </a:lnTo>
                  <a:lnTo>
                    <a:pt x="88" y="266"/>
                  </a:lnTo>
                  <a:lnTo>
                    <a:pt x="88" y="266"/>
                  </a:lnTo>
                  <a:lnTo>
                    <a:pt x="88" y="266"/>
                  </a:lnTo>
                  <a:lnTo>
                    <a:pt x="88" y="266"/>
                  </a:lnTo>
                  <a:lnTo>
                    <a:pt x="88" y="266"/>
                  </a:lnTo>
                  <a:lnTo>
                    <a:pt x="88" y="270"/>
                  </a:lnTo>
                  <a:lnTo>
                    <a:pt x="88" y="270"/>
                  </a:lnTo>
                  <a:lnTo>
                    <a:pt x="93" y="270"/>
                  </a:lnTo>
                  <a:lnTo>
                    <a:pt x="93" y="270"/>
                  </a:lnTo>
                  <a:lnTo>
                    <a:pt x="93" y="270"/>
                  </a:lnTo>
                  <a:lnTo>
                    <a:pt x="93" y="270"/>
                  </a:lnTo>
                  <a:lnTo>
                    <a:pt x="93" y="270"/>
                  </a:lnTo>
                  <a:lnTo>
                    <a:pt x="97" y="270"/>
                  </a:lnTo>
                  <a:lnTo>
                    <a:pt x="97" y="274"/>
                  </a:lnTo>
                  <a:lnTo>
                    <a:pt x="97" y="274"/>
                  </a:lnTo>
                  <a:lnTo>
                    <a:pt x="97" y="274"/>
                  </a:lnTo>
                  <a:lnTo>
                    <a:pt x="97" y="270"/>
                  </a:lnTo>
                  <a:lnTo>
                    <a:pt x="93" y="270"/>
                  </a:lnTo>
                  <a:lnTo>
                    <a:pt x="93" y="270"/>
                  </a:lnTo>
                  <a:lnTo>
                    <a:pt x="93" y="274"/>
                  </a:lnTo>
                  <a:lnTo>
                    <a:pt x="93" y="274"/>
                  </a:lnTo>
                  <a:lnTo>
                    <a:pt x="97" y="274"/>
                  </a:lnTo>
                  <a:lnTo>
                    <a:pt x="97" y="274"/>
                  </a:lnTo>
                  <a:lnTo>
                    <a:pt x="97" y="274"/>
                  </a:lnTo>
                  <a:lnTo>
                    <a:pt x="97" y="274"/>
                  </a:lnTo>
                  <a:lnTo>
                    <a:pt x="97" y="274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02" y="266"/>
                  </a:lnTo>
                  <a:lnTo>
                    <a:pt x="102" y="266"/>
                  </a:lnTo>
                  <a:close/>
                  <a:moveTo>
                    <a:pt x="146" y="252"/>
                  </a:moveTo>
                  <a:lnTo>
                    <a:pt x="146" y="257"/>
                  </a:lnTo>
                  <a:lnTo>
                    <a:pt x="146" y="257"/>
                  </a:lnTo>
                  <a:lnTo>
                    <a:pt x="141" y="261"/>
                  </a:lnTo>
                  <a:lnTo>
                    <a:pt x="141" y="266"/>
                  </a:lnTo>
                  <a:lnTo>
                    <a:pt x="137" y="266"/>
                  </a:lnTo>
                  <a:lnTo>
                    <a:pt x="137" y="270"/>
                  </a:lnTo>
                  <a:lnTo>
                    <a:pt x="137" y="270"/>
                  </a:lnTo>
                  <a:lnTo>
                    <a:pt x="137" y="270"/>
                  </a:lnTo>
                  <a:lnTo>
                    <a:pt x="137" y="270"/>
                  </a:lnTo>
                  <a:lnTo>
                    <a:pt x="137" y="270"/>
                  </a:lnTo>
                  <a:lnTo>
                    <a:pt x="137" y="270"/>
                  </a:lnTo>
                  <a:lnTo>
                    <a:pt x="137" y="270"/>
                  </a:lnTo>
                  <a:lnTo>
                    <a:pt x="137" y="274"/>
                  </a:lnTo>
                  <a:lnTo>
                    <a:pt x="137" y="274"/>
                  </a:lnTo>
                  <a:lnTo>
                    <a:pt x="137" y="274"/>
                  </a:lnTo>
                  <a:lnTo>
                    <a:pt x="137" y="274"/>
                  </a:lnTo>
                  <a:lnTo>
                    <a:pt x="133" y="274"/>
                  </a:lnTo>
                  <a:lnTo>
                    <a:pt x="133" y="274"/>
                  </a:lnTo>
                  <a:lnTo>
                    <a:pt x="133" y="274"/>
                  </a:lnTo>
                  <a:lnTo>
                    <a:pt x="133" y="279"/>
                  </a:lnTo>
                  <a:lnTo>
                    <a:pt x="133" y="279"/>
                  </a:lnTo>
                  <a:lnTo>
                    <a:pt x="133" y="279"/>
                  </a:lnTo>
                  <a:lnTo>
                    <a:pt x="133" y="279"/>
                  </a:lnTo>
                  <a:lnTo>
                    <a:pt x="133" y="279"/>
                  </a:lnTo>
                  <a:lnTo>
                    <a:pt x="133" y="279"/>
                  </a:lnTo>
                  <a:lnTo>
                    <a:pt x="137" y="288"/>
                  </a:lnTo>
                  <a:lnTo>
                    <a:pt x="137" y="288"/>
                  </a:lnTo>
                  <a:lnTo>
                    <a:pt x="137" y="288"/>
                  </a:lnTo>
                  <a:lnTo>
                    <a:pt x="137" y="288"/>
                  </a:lnTo>
                  <a:lnTo>
                    <a:pt x="137" y="283"/>
                  </a:lnTo>
                  <a:lnTo>
                    <a:pt x="141" y="270"/>
                  </a:lnTo>
                  <a:lnTo>
                    <a:pt x="146" y="261"/>
                  </a:lnTo>
                  <a:lnTo>
                    <a:pt x="146" y="261"/>
                  </a:lnTo>
                  <a:lnTo>
                    <a:pt x="150" y="248"/>
                  </a:lnTo>
                  <a:lnTo>
                    <a:pt x="150" y="248"/>
                  </a:lnTo>
                  <a:lnTo>
                    <a:pt x="146" y="252"/>
                  </a:lnTo>
                  <a:close/>
                  <a:moveTo>
                    <a:pt x="372" y="252"/>
                  </a:moveTo>
                  <a:lnTo>
                    <a:pt x="372" y="252"/>
                  </a:lnTo>
                  <a:lnTo>
                    <a:pt x="372" y="252"/>
                  </a:lnTo>
                  <a:lnTo>
                    <a:pt x="372" y="252"/>
                  </a:lnTo>
                  <a:lnTo>
                    <a:pt x="372" y="252"/>
                  </a:lnTo>
                  <a:lnTo>
                    <a:pt x="372" y="248"/>
                  </a:lnTo>
                  <a:lnTo>
                    <a:pt x="367" y="248"/>
                  </a:lnTo>
                  <a:lnTo>
                    <a:pt x="363" y="244"/>
                  </a:lnTo>
                  <a:lnTo>
                    <a:pt x="363" y="244"/>
                  </a:lnTo>
                  <a:lnTo>
                    <a:pt x="363" y="244"/>
                  </a:lnTo>
                  <a:lnTo>
                    <a:pt x="363" y="244"/>
                  </a:lnTo>
                  <a:lnTo>
                    <a:pt x="358" y="244"/>
                  </a:lnTo>
                  <a:lnTo>
                    <a:pt x="358" y="244"/>
                  </a:lnTo>
                  <a:lnTo>
                    <a:pt x="358" y="239"/>
                  </a:lnTo>
                  <a:lnTo>
                    <a:pt x="354" y="239"/>
                  </a:lnTo>
                  <a:lnTo>
                    <a:pt x="354" y="239"/>
                  </a:lnTo>
                  <a:lnTo>
                    <a:pt x="354" y="239"/>
                  </a:lnTo>
                  <a:lnTo>
                    <a:pt x="349" y="235"/>
                  </a:lnTo>
                  <a:lnTo>
                    <a:pt x="349" y="235"/>
                  </a:lnTo>
                  <a:lnTo>
                    <a:pt x="349" y="235"/>
                  </a:lnTo>
                  <a:lnTo>
                    <a:pt x="349" y="235"/>
                  </a:lnTo>
                  <a:lnTo>
                    <a:pt x="349" y="239"/>
                  </a:lnTo>
                  <a:lnTo>
                    <a:pt x="349" y="239"/>
                  </a:lnTo>
                  <a:lnTo>
                    <a:pt x="345" y="239"/>
                  </a:lnTo>
                  <a:lnTo>
                    <a:pt x="345" y="244"/>
                  </a:lnTo>
                  <a:lnTo>
                    <a:pt x="345" y="244"/>
                  </a:lnTo>
                  <a:lnTo>
                    <a:pt x="345" y="252"/>
                  </a:lnTo>
                  <a:lnTo>
                    <a:pt x="345" y="252"/>
                  </a:lnTo>
                  <a:lnTo>
                    <a:pt x="345" y="252"/>
                  </a:lnTo>
                  <a:lnTo>
                    <a:pt x="349" y="261"/>
                  </a:lnTo>
                  <a:lnTo>
                    <a:pt x="354" y="257"/>
                  </a:lnTo>
                  <a:lnTo>
                    <a:pt x="358" y="261"/>
                  </a:lnTo>
                  <a:lnTo>
                    <a:pt x="363" y="261"/>
                  </a:lnTo>
                  <a:lnTo>
                    <a:pt x="363" y="261"/>
                  </a:lnTo>
                  <a:lnTo>
                    <a:pt x="367" y="261"/>
                  </a:lnTo>
                  <a:lnTo>
                    <a:pt x="367" y="261"/>
                  </a:lnTo>
                  <a:lnTo>
                    <a:pt x="367" y="261"/>
                  </a:lnTo>
                  <a:lnTo>
                    <a:pt x="367" y="261"/>
                  </a:lnTo>
                  <a:lnTo>
                    <a:pt x="367" y="261"/>
                  </a:lnTo>
                  <a:lnTo>
                    <a:pt x="367" y="261"/>
                  </a:lnTo>
                  <a:lnTo>
                    <a:pt x="367" y="257"/>
                  </a:lnTo>
                  <a:lnTo>
                    <a:pt x="367" y="257"/>
                  </a:lnTo>
                  <a:lnTo>
                    <a:pt x="372" y="257"/>
                  </a:lnTo>
                  <a:lnTo>
                    <a:pt x="372" y="252"/>
                  </a:lnTo>
                  <a:lnTo>
                    <a:pt x="372" y="252"/>
                  </a:lnTo>
                  <a:lnTo>
                    <a:pt x="372" y="252"/>
                  </a:lnTo>
                  <a:lnTo>
                    <a:pt x="372" y="252"/>
                  </a:lnTo>
                  <a:close/>
                  <a:moveTo>
                    <a:pt x="17" y="230"/>
                  </a:moveTo>
                  <a:lnTo>
                    <a:pt x="17" y="230"/>
                  </a:lnTo>
                  <a:lnTo>
                    <a:pt x="17" y="226"/>
                  </a:lnTo>
                  <a:lnTo>
                    <a:pt x="17" y="226"/>
                  </a:lnTo>
                  <a:lnTo>
                    <a:pt x="17" y="226"/>
                  </a:lnTo>
                  <a:lnTo>
                    <a:pt x="17" y="221"/>
                  </a:lnTo>
                  <a:lnTo>
                    <a:pt x="17" y="221"/>
                  </a:lnTo>
                  <a:lnTo>
                    <a:pt x="17" y="221"/>
                  </a:lnTo>
                  <a:lnTo>
                    <a:pt x="13" y="221"/>
                  </a:lnTo>
                  <a:lnTo>
                    <a:pt x="13" y="221"/>
                  </a:lnTo>
                  <a:lnTo>
                    <a:pt x="13" y="221"/>
                  </a:lnTo>
                  <a:lnTo>
                    <a:pt x="13" y="221"/>
                  </a:lnTo>
                  <a:lnTo>
                    <a:pt x="13" y="221"/>
                  </a:lnTo>
                  <a:lnTo>
                    <a:pt x="13" y="226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7" y="230"/>
                  </a:lnTo>
                  <a:lnTo>
                    <a:pt x="17" y="230"/>
                  </a:lnTo>
                  <a:close/>
                  <a:moveTo>
                    <a:pt x="133" y="257"/>
                  </a:moveTo>
                  <a:lnTo>
                    <a:pt x="133" y="257"/>
                  </a:lnTo>
                  <a:lnTo>
                    <a:pt x="137" y="257"/>
                  </a:lnTo>
                  <a:lnTo>
                    <a:pt x="137" y="257"/>
                  </a:lnTo>
                  <a:lnTo>
                    <a:pt x="137" y="257"/>
                  </a:lnTo>
                  <a:lnTo>
                    <a:pt x="137" y="257"/>
                  </a:lnTo>
                  <a:lnTo>
                    <a:pt x="137" y="252"/>
                  </a:lnTo>
                  <a:lnTo>
                    <a:pt x="137" y="252"/>
                  </a:lnTo>
                  <a:lnTo>
                    <a:pt x="141" y="252"/>
                  </a:lnTo>
                  <a:lnTo>
                    <a:pt x="141" y="252"/>
                  </a:lnTo>
                  <a:lnTo>
                    <a:pt x="141" y="248"/>
                  </a:lnTo>
                  <a:lnTo>
                    <a:pt x="141" y="248"/>
                  </a:lnTo>
                  <a:lnTo>
                    <a:pt x="141" y="248"/>
                  </a:lnTo>
                  <a:lnTo>
                    <a:pt x="141" y="244"/>
                  </a:lnTo>
                  <a:lnTo>
                    <a:pt x="141" y="244"/>
                  </a:lnTo>
                  <a:lnTo>
                    <a:pt x="141" y="239"/>
                  </a:lnTo>
                  <a:lnTo>
                    <a:pt x="141" y="239"/>
                  </a:lnTo>
                  <a:lnTo>
                    <a:pt x="141" y="239"/>
                  </a:lnTo>
                  <a:lnTo>
                    <a:pt x="141" y="235"/>
                  </a:lnTo>
                  <a:lnTo>
                    <a:pt x="141" y="235"/>
                  </a:lnTo>
                  <a:lnTo>
                    <a:pt x="141" y="235"/>
                  </a:lnTo>
                  <a:lnTo>
                    <a:pt x="141" y="235"/>
                  </a:lnTo>
                  <a:lnTo>
                    <a:pt x="141" y="235"/>
                  </a:lnTo>
                  <a:lnTo>
                    <a:pt x="141" y="235"/>
                  </a:lnTo>
                  <a:lnTo>
                    <a:pt x="141" y="235"/>
                  </a:lnTo>
                  <a:lnTo>
                    <a:pt x="141" y="230"/>
                  </a:lnTo>
                  <a:lnTo>
                    <a:pt x="141" y="230"/>
                  </a:lnTo>
                  <a:lnTo>
                    <a:pt x="137" y="221"/>
                  </a:lnTo>
                  <a:lnTo>
                    <a:pt x="137" y="221"/>
                  </a:lnTo>
                  <a:lnTo>
                    <a:pt x="133" y="221"/>
                  </a:lnTo>
                  <a:lnTo>
                    <a:pt x="133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33" y="221"/>
                  </a:lnTo>
                  <a:lnTo>
                    <a:pt x="137" y="217"/>
                  </a:lnTo>
                  <a:lnTo>
                    <a:pt x="137" y="217"/>
                  </a:lnTo>
                  <a:lnTo>
                    <a:pt x="137" y="217"/>
                  </a:lnTo>
                  <a:lnTo>
                    <a:pt x="137" y="217"/>
                  </a:lnTo>
                  <a:lnTo>
                    <a:pt x="137" y="217"/>
                  </a:lnTo>
                  <a:lnTo>
                    <a:pt x="137" y="213"/>
                  </a:lnTo>
                  <a:lnTo>
                    <a:pt x="137" y="213"/>
                  </a:lnTo>
                  <a:lnTo>
                    <a:pt x="137" y="213"/>
                  </a:lnTo>
                  <a:lnTo>
                    <a:pt x="137" y="213"/>
                  </a:lnTo>
                  <a:lnTo>
                    <a:pt x="137" y="213"/>
                  </a:lnTo>
                  <a:lnTo>
                    <a:pt x="137" y="213"/>
                  </a:lnTo>
                  <a:lnTo>
                    <a:pt x="133" y="208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28" y="208"/>
                  </a:lnTo>
                  <a:lnTo>
                    <a:pt x="133" y="213"/>
                  </a:lnTo>
                  <a:lnTo>
                    <a:pt x="133" y="213"/>
                  </a:lnTo>
                  <a:lnTo>
                    <a:pt x="133" y="213"/>
                  </a:lnTo>
                  <a:lnTo>
                    <a:pt x="133" y="213"/>
                  </a:lnTo>
                  <a:lnTo>
                    <a:pt x="133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33" y="217"/>
                  </a:lnTo>
                  <a:lnTo>
                    <a:pt x="133" y="217"/>
                  </a:lnTo>
                  <a:lnTo>
                    <a:pt x="133" y="217"/>
                  </a:lnTo>
                  <a:lnTo>
                    <a:pt x="133" y="217"/>
                  </a:lnTo>
                  <a:lnTo>
                    <a:pt x="133" y="217"/>
                  </a:lnTo>
                  <a:lnTo>
                    <a:pt x="128" y="217"/>
                  </a:lnTo>
                  <a:lnTo>
                    <a:pt x="124" y="221"/>
                  </a:lnTo>
                  <a:lnTo>
                    <a:pt x="124" y="221"/>
                  </a:lnTo>
                  <a:lnTo>
                    <a:pt x="124" y="221"/>
                  </a:lnTo>
                  <a:lnTo>
                    <a:pt x="124" y="221"/>
                  </a:lnTo>
                  <a:lnTo>
                    <a:pt x="119" y="221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7"/>
                  </a:lnTo>
                  <a:lnTo>
                    <a:pt x="124" y="213"/>
                  </a:lnTo>
                  <a:lnTo>
                    <a:pt x="124" y="213"/>
                  </a:lnTo>
                  <a:lnTo>
                    <a:pt x="124" y="213"/>
                  </a:lnTo>
                  <a:lnTo>
                    <a:pt x="124" y="213"/>
                  </a:lnTo>
                  <a:lnTo>
                    <a:pt x="128" y="213"/>
                  </a:lnTo>
                  <a:lnTo>
                    <a:pt x="124" y="213"/>
                  </a:lnTo>
                  <a:lnTo>
                    <a:pt x="124" y="213"/>
                  </a:lnTo>
                  <a:lnTo>
                    <a:pt x="124" y="213"/>
                  </a:lnTo>
                  <a:lnTo>
                    <a:pt x="124" y="213"/>
                  </a:lnTo>
                  <a:lnTo>
                    <a:pt x="124" y="213"/>
                  </a:lnTo>
                  <a:lnTo>
                    <a:pt x="119" y="208"/>
                  </a:lnTo>
                  <a:lnTo>
                    <a:pt x="119" y="208"/>
                  </a:lnTo>
                  <a:lnTo>
                    <a:pt x="115" y="208"/>
                  </a:lnTo>
                  <a:lnTo>
                    <a:pt x="115" y="204"/>
                  </a:lnTo>
                  <a:lnTo>
                    <a:pt x="115" y="204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10" y="208"/>
                  </a:lnTo>
                  <a:lnTo>
                    <a:pt x="110" y="208"/>
                  </a:lnTo>
                  <a:lnTo>
                    <a:pt x="106" y="208"/>
                  </a:lnTo>
                  <a:lnTo>
                    <a:pt x="102" y="213"/>
                  </a:lnTo>
                  <a:lnTo>
                    <a:pt x="97" y="213"/>
                  </a:lnTo>
                  <a:lnTo>
                    <a:pt x="93" y="217"/>
                  </a:lnTo>
                  <a:lnTo>
                    <a:pt x="93" y="213"/>
                  </a:lnTo>
                  <a:lnTo>
                    <a:pt x="88" y="213"/>
                  </a:lnTo>
                  <a:lnTo>
                    <a:pt x="88" y="213"/>
                  </a:lnTo>
                  <a:lnTo>
                    <a:pt x="88" y="213"/>
                  </a:lnTo>
                  <a:lnTo>
                    <a:pt x="88" y="213"/>
                  </a:lnTo>
                  <a:lnTo>
                    <a:pt x="84" y="213"/>
                  </a:lnTo>
                  <a:lnTo>
                    <a:pt x="84" y="213"/>
                  </a:lnTo>
                  <a:lnTo>
                    <a:pt x="84" y="217"/>
                  </a:lnTo>
                  <a:lnTo>
                    <a:pt x="84" y="217"/>
                  </a:lnTo>
                  <a:lnTo>
                    <a:pt x="84" y="217"/>
                  </a:lnTo>
                  <a:lnTo>
                    <a:pt x="84" y="217"/>
                  </a:lnTo>
                  <a:lnTo>
                    <a:pt x="84" y="217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4" y="221"/>
                  </a:lnTo>
                  <a:lnTo>
                    <a:pt x="84" y="221"/>
                  </a:lnTo>
                  <a:lnTo>
                    <a:pt x="84" y="221"/>
                  </a:lnTo>
                  <a:lnTo>
                    <a:pt x="84" y="221"/>
                  </a:lnTo>
                  <a:lnTo>
                    <a:pt x="84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6"/>
                  </a:lnTo>
                  <a:lnTo>
                    <a:pt x="88" y="226"/>
                  </a:lnTo>
                  <a:lnTo>
                    <a:pt x="88" y="226"/>
                  </a:lnTo>
                  <a:lnTo>
                    <a:pt x="93" y="226"/>
                  </a:lnTo>
                  <a:lnTo>
                    <a:pt x="88" y="226"/>
                  </a:lnTo>
                  <a:lnTo>
                    <a:pt x="88" y="226"/>
                  </a:lnTo>
                  <a:lnTo>
                    <a:pt x="88" y="226"/>
                  </a:lnTo>
                  <a:lnTo>
                    <a:pt x="88" y="226"/>
                  </a:lnTo>
                  <a:lnTo>
                    <a:pt x="88" y="230"/>
                  </a:lnTo>
                  <a:lnTo>
                    <a:pt x="88" y="230"/>
                  </a:lnTo>
                  <a:lnTo>
                    <a:pt x="88" y="230"/>
                  </a:lnTo>
                  <a:lnTo>
                    <a:pt x="93" y="230"/>
                  </a:lnTo>
                  <a:lnTo>
                    <a:pt x="93" y="230"/>
                  </a:lnTo>
                  <a:lnTo>
                    <a:pt x="93" y="230"/>
                  </a:lnTo>
                  <a:lnTo>
                    <a:pt x="93" y="235"/>
                  </a:lnTo>
                  <a:lnTo>
                    <a:pt x="93" y="235"/>
                  </a:lnTo>
                  <a:lnTo>
                    <a:pt x="93" y="235"/>
                  </a:lnTo>
                  <a:lnTo>
                    <a:pt x="93" y="235"/>
                  </a:lnTo>
                  <a:lnTo>
                    <a:pt x="93" y="239"/>
                  </a:lnTo>
                  <a:lnTo>
                    <a:pt x="93" y="239"/>
                  </a:lnTo>
                  <a:lnTo>
                    <a:pt x="93" y="239"/>
                  </a:lnTo>
                  <a:lnTo>
                    <a:pt x="93" y="239"/>
                  </a:lnTo>
                  <a:lnTo>
                    <a:pt x="93" y="239"/>
                  </a:lnTo>
                  <a:lnTo>
                    <a:pt x="93" y="239"/>
                  </a:lnTo>
                  <a:lnTo>
                    <a:pt x="93" y="239"/>
                  </a:lnTo>
                  <a:lnTo>
                    <a:pt x="93" y="244"/>
                  </a:lnTo>
                  <a:lnTo>
                    <a:pt x="97" y="244"/>
                  </a:lnTo>
                  <a:lnTo>
                    <a:pt x="97" y="244"/>
                  </a:lnTo>
                  <a:lnTo>
                    <a:pt x="97" y="244"/>
                  </a:lnTo>
                  <a:lnTo>
                    <a:pt x="97" y="244"/>
                  </a:lnTo>
                  <a:lnTo>
                    <a:pt x="97" y="244"/>
                  </a:lnTo>
                  <a:lnTo>
                    <a:pt x="97" y="244"/>
                  </a:lnTo>
                  <a:lnTo>
                    <a:pt x="97" y="248"/>
                  </a:lnTo>
                  <a:lnTo>
                    <a:pt x="97" y="248"/>
                  </a:lnTo>
                  <a:lnTo>
                    <a:pt x="97" y="248"/>
                  </a:lnTo>
                  <a:lnTo>
                    <a:pt x="97" y="248"/>
                  </a:lnTo>
                  <a:lnTo>
                    <a:pt x="97" y="248"/>
                  </a:lnTo>
                  <a:lnTo>
                    <a:pt x="97" y="248"/>
                  </a:lnTo>
                  <a:lnTo>
                    <a:pt x="97" y="252"/>
                  </a:lnTo>
                  <a:lnTo>
                    <a:pt x="97" y="252"/>
                  </a:lnTo>
                  <a:lnTo>
                    <a:pt x="102" y="252"/>
                  </a:lnTo>
                  <a:lnTo>
                    <a:pt x="102" y="252"/>
                  </a:lnTo>
                  <a:lnTo>
                    <a:pt x="102" y="248"/>
                  </a:lnTo>
                  <a:lnTo>
                    <a:pt x="97" y="248"/>
                  </a:lnTo>
                  <a:lnTo>
                    <a:pt x="97" y="244"/>
                  </a:lnTo>
                  <a:lnTo>
                    <a:pt x="97" y="244"/>
                  </a:lnTo>
                  <a:lnTo>
                    <a:pt x="102" y="244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2" y="244"/>
                  </a:lnTo>
                  <a:lnTo>
                    <a:pt x="102" y="244"/>
                  </a:lnTo>
                  <a:lnTo>
                    <a:pt x="106" y="244"/>
                  </a:lnTo>
                  <a:lnTo>
                    <a:pt x="106" y="244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6" y="252"/>
                  </a:lnTo>
                  <a:lnTo>
                    <a:pt x="102" y="252"/>
                  </a:lnTo>
                  <a:lnTo>
                    <a:pt x="102" y="252"/>
                  </a:lnTo>
                  <a:lnTo>
                    <a:pt x="106" y="252"/>
                  </a:lnTo>
                  <a:lnTo>
                    <a:pt x="106" y="252"/>
                  </a:lnTo>
                  <a:lnTo>
                    <a:pt x="106" y="252"/>
                  </a:lnTo>
                  <a:lnTo>
                    <a:pt x="110" y="257"/>
                  </a:lnTo>
                  <a:lnTo>
                    <a:pt x="110" y="257"/>
                  </a:lnTo>
                  <a:lnTo>
                    <a:pt x="110" y="252"/>
                  </a:lnTo>
                  <a:lnTo>
                    <a:pt x="110" y="252"/>
                  </a:lnTo>
                  <a:lnTo>
                    <a:pt x="110" y="252"/>
                  </a:lnTo>
                  <a:lnTo>
                    <a:pt x="115" y="257"/>
                  </a:lnTo>
                  <a:lnTo>
                    <a:pt x="115" y="257"/>
                  </a:lnTo>
                  <a:lnTo>
                    <a:pt x="119" y="257"/>
                  </a:lnTo>
                  <a:lnTo>
                    <a:pt x="119" y="257"/>
                  </a:lnTo>
                  <a:lnTo>
                    <a:pt x="119" y="257"/>
                  </a:lnTo>
                  <a:lnTo>
                    <a:pt x="119" y="257"/>
                  </a:lnTo>
                  <a:lnTo>
                    <a:pt x="119" y="257"/>
                  </a:lnTo>
                  <a:lnTo>
                    <a:pt x="119" y="257"/>
                  </a:lnTo>
                  <a:lnTo>
                    <a:pt x="124" y="257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57"/>
                  </a:lnTo>
                  <a:lnTo>
                    <a:pt x="128" y="257"/>
                  </a:lnTo>
                  <a:lnTo>
                    <a:pt x="128" y="257"/>
                  </a:lnTo>
                  <a:lnTo>
                    <a:pt x="133" y="257"/>
                  </a:lnTo>
                  <a:lnTo>
                    <a:pt x="133" y="257"/>
                  </a:lnTo>
                  <a:close/>
                  <a:moveTo>
                    <a:pt x="239" y="199"/>
                  </a:moveTo>
                  <a:lnTo>
                    <a:pt x="239" y="199"/>
                  </a:lnTo>
                  <a:lnTo>
                    <a:pt x="239" y="199"/>
                  </a:lnTo>
                  <a:lnTo>
                    <a:pt x="234" y="199"/>
                  </a:lnTo>
                  <a:lnTo>
                    <a:pt x="234" y="199"/>
                  </a:lnTo>
                  <a:lnTo>
                    <a:pt x="234" y="199"/>
                  </a:lnTo>
                  <a:lnTo>
                    <a:pt x="234" y="204"/>
                  </a:lnTo>
                  <a:lnTo>
                    <a:pt x="234" y="204"/>
                  </a:lnTo>
                  <a:lnTo>
                    <a:pt x="234" y="204"/>
                  </a:lnTo>
                  <a:lnTo>
                    <a:pt x="234" y="204"/>
                  </a:lnTo>
                  <a:lnTo>
                    <a:pt x="230" y="204"/>
                  </a:lnTo>
                  <a:lnTo>
                    <a:pt x="230" y="208"/>
                  </a:lnTo>
                  <a:lnTo>
                    <a:pt x="234" y="208"/>
                  </a:lnTo>
                  <a:lnTo>
                    <a:pt x="234" y="213"/>
                  </a:lnTo>
                  <a:lnTo>
                    <a:pt x="234" y="213"/>
                  </a:lnTo>
                  <a:lnTo>
                    <a:pt x="234" y="213"/>
                  </a:lnTo>
                  <a:lnTo>
                    <a:pt x="234" y="208"/>
                  </a:lnTo>
                  <a:lnTo>
                    <a:pt x="239" y="208"/>
                  </a:lnTo>
                  <a:lnTo>
                    <a:pt x="239" y="208"/>
                  </a:lnTo>
                  <a:lnTo>
                    <a:pt x="239" y="208"/>
                  </a:lnTo>
                  <a:lnTo>
                    <a:pt x="239" y="208"/>
                  </a:lnTo>
                  <a:lnTo>
                    <a:pt x="239" y="199"/>
                  </a:lnTo>
                  <a:close/>
                  <a:moveTo>
                    <a:pt x="133" y="182"/>
                  </a:moveTo>
                  <a:lnTo>
                    <a:pt x="133" y="182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3" y="177"/>
                  </a:lnTo>
                  <a:lnTo>
                    <a:pt x="133" y="177"/>
                  </a:lnTo>
                  <a:lnTo>
                    <a:pt x="133" y="177"/>
                  </a:lnTo>
                  <a:lnTo>
                    <a:pt x="133" y="177"/>
                  </a:lnTo>
                  <a:lnTo>
                    <a:pt x="128" y="177"/>
                  </a:lnTo>
                  <a:lnTo>
                    <a:pt x="128" y="173"/>
                  </a:lnTo>
                  <a:lnTo>
                    <a:pt x="128" y="168"/>
                  </a:lnTo>
                  <a:lnTo>
                    <a:pt x="128" y="168"/>
                  </a:lnTo>
                  <a:lnTo>
                    <a:pt x="128" y="173"/>
                  </a:lnTo>
                  <a:lnTo>
                    <a:pt x="128" y="173"/>
                  </a:lnTo>
                  <a:lnTo>
                    <a:pt x="128" y="173"/>
                  </a:lnTo>
                  <a:lnTo>
                    <a:pt x="128" y="177"/>
                  </a:lnTo>
                  <a:lnTo>
                    <a:pt x="128" y="177"/>
                  </a:lnTo>
                  <a:lnTo>
                    <a:pt x="128" y="177"/>
                  </a:lnTo>
                  <a:lnTo>
                    <a:pt x="128" y="177"/>
                  </a:lnTo>
                  <a:lnTo>
                    <a:pt x="128" y="182"/>
                  </a:lnTo>
                  <a:lnTo>
                    <a:pt x="128" y="182"/>
                  </a:lnTo>
                  <a:lnTo>
                    <a:pt x="128" y="182"/>
                  </a:lnTo>
                  <a:lnTo>
                    <a:pt x="128" y="182"/>
                  </a:lnTo>
                  <a:lnTo>
                    <a:pt x="128" y="182"/>
                  </a:lnTo>
                  <a:lnTo>
                    <a:pt x="128" y="186"/>
                  </a:lnTo>
                  <a:lnTo>
                    <a:pt x="128" y="186"/>
                  </a:lnTo>
                  <a:lnTo>
                    <a:pt x="128" y="190"/>
                  </a:lnTo>
                  <a:lnTo>
                    <a:pt x="128" y="190"/>
                  </a:lnTo>
                  <a:lnTo>
                    <a:pt x="128" y="190"/>
                  </a:lnTo>
                  <a:lnTo>
                    <a:pt x="133" y="190"/>
                  </a:lnTo>
                  <a:lnTo>
                    <a:pt x="133" y="190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2"/>
                  </a:lnTo>
                  <a:close/>
                  <a:moveTo>
                    <a:pt x="212" y="274"/>
                  </a:moveTo>
                  <a:lnTo>
                    <a:pt x="208" y="270"/>
                  </a:lnTo>
                  <a:lnTo>
                    <a:pt x="208" y="270"/>
                  </a:lnTo>
                  <a:lnTo>
                    <a:pt x="208" y="270"/>
                  </a:lnTo>
                  <a:lnTo>
                    <a:pt x="208" y="270"/>
                  </a:lnTo>
                  <a:lnTo>
                    <a:pt x="208" y="270"/>
                  </a:lnTo>
                  <a:lnTo>
                    <a:pt x="203" y="270"/>
                  </a:lnTo>
                  <a:lnTo>
                    <a:pt x="203" y="270"/>
                  </a:lnTo>
                  <a:lnTo>
                    <a:pt x="203" y="270"/>
                  </a:lnTo>
                  <a:lnTo>
                    <a:pt x="203" y="266"/>
                  </a:lnTo>
                  <a:lnTo>
                    <a:pt x="203" y="266"/>
                  </a:lnTo>
                  <a:lnTo>
                    <a:pt x="199" y="266"/>
                  </a:lnTo>
                  <a:lnTo>
                    <a:pt x="199" y="266"/>
                  </a:lnTo>
                  <a:lnTo>
                    <a:pt x="199" y="270"/>
                  </a:lnTo>
                  <a:lnTo>
                    <a:pt x="199" y="270"/>
                  </a:lnTo>
                  <a:lnTo>
                    <a:pt x="199" y="270"/>
                  </a:lnTo>
                  <a:lnTo>
                    <a:pt x="199" y="270"/>
                  </a:lnTo>
                  <a:lnTo>
                    <a:pt x="199" y="270"/>
                  </a:lnTo>
                  <a:lnTo>
                    <a:pt x="199" y="266"/>
                  </a:lnTo>
                  <a:lnTo>
                    <a:pt x="199" y="266"/>
                  </a:lnTo>
                  <a:lnTo>
                    <a:pt x="199" y="266"/>
                  </a:lnTo>
                  <a:lnTo>
                    <a:pt x="199" y="266"/>
                  </a:lnTo>
                  <a:lnTo>
                    <a:pt x="199" y="261"/>
                  </a:lnTo>
                  <a:lnTo>
                    <a:pt x="199" y="261"/>
                  </a:lnTo>
                  <a:lnTo>
                    <a:pt x="199" y="261"/>
                  </a:lnTo>
                  <a:lnTo>
                    <a:pt x="199" y="261"/>
                  </a:lnTo>
                  <a:lnTo>
                    <a:pt x="199" y="261"/>
                  </a:lnTo>
                  <a:lnTo>
                    <a:pt x="199" y="261"/>
                  </a:lnTo>
                  <a:lnTo>
                    <a:pt x="199" y="261"/>
                  </a:lnTo>
                  <a:lnTo>
                    <a:pt x="199" y="261"/>
                  </a:lnTo>
                  <a:lnTo>
                    <a:pt x="199" y="261"/>
                  </a:lnTo>
                  <a:lnTo>
                    <a:pt x="203" y="261"/>
                  </a:lnTo>
                  <a:lnTo>
                    <a:pt x="203" y="266"/>
                  </a:lnTo>
                  <a:lnTo>
                    <a:pt x="208" y="266"/>
                  </a:lnTo>
                  <a:lnTo>
                    <a:pt x="208" y="266"/>
                  </a:lnTo>
                  <a:lnTo>
                    <a:pt x="208" y="266"/>
                  </a:lnTo>
                  <a:lnTo>
                    <a:pt x="208" y="261"/>
                  </a:lnTo>
                  <a:lnTo>
                    <a:pt x="212" y="261"/>
                  </a:lnTo>
                  <a:lnTo>
                    <a:pt x="212" y="261"/>
                  </a:lnTo>
                  <a:lnTo>
                    <a:pt x="212" y="261"/>
                  </a:lnTo>
                  <a:lnTo>
                    <a:pt x="212" y="261"/>
                  </a:lnTo>
                  <a:lnTo>
                    <a:pt x="212" y="257"/>
                  </a:lnTo>
                  <a:lnTo>
                    <a:pt x="212" y="257"/>
                  </a:lnTo>
                  <a:lnTo>
                    <a:pt x="212" y="257"/>
                  </a:lnTo>
                  <a:lnTo>
                    <a:pt x="212" y="252"/>
                  </a:lnTo>
                  <a:lnTo>
                    <a:pt x="212" y="252"/>
                  </a:lnTo>
                  <a:lnTo>
                    <a:pt x="212" y="252"/>
                  </a:lnTo>
                  <a:lnTo>
                    <a:pt x="212" y="252"/>
                  </a:lnTo>
                  <a:lnTo>
                    <a:pt x="212" y="252"/>
                  </a:lnTo>
                  <a:lnTo>
                    <a:pt x="212" y="252"/>
                  </a:lnTo>
                  <a:lnTo>
                    <a:pt x="212" y="248"/>
                  </a:lnTo>
                  <a:lnTo>
                    <a:pt x="208" y="248"/>
                  </a:lnTo>
                  <a:lnTo>
                    <a:pt x="203" y="248"/>
                  </a:lnTo>
                  <a:lnTo>
                    <a:pt x="203" y="248"/>
                  </a:lnTo>
                  <a:lnTo>
                    <a:pt x="203" y="248"/>
                  </a:lnTo>
                  <a:lnTo>
                    <a:pt x="203" y="248"/>
                  </a:lnTo>
                  <a:lnTo>
                    <a:pt x="208" y="248"/>
                  </a:lnTo>
                  <a:lnTo>
                    <a:pt x="208" y="248"/>
                  </a:lnTo>
                  <a:lnTo>
                    <a:pt x="208" y="244"/>
                  </a:lnTo>
                  <a:lnTo>
                    <a:pt x="208" y="244"/>
                  </a:lnTo>
                  <a:lnTo>
                    <a:pt x="208" y="248"/>
                  </a:lnTo>
                  <a:lnTo>
                    <a:pt x="208" y="248"/>
                  </a:lnTo>
                  <a:lnTo>
                    <a:pt x="208" y="248"/>
                  </a:lnTo>
                  <a:lnTo>
                    <a:pt x="208" y="248"/>
                  </a:lnTo>
                  <a:lnTo>
                    <a:pt x="212" y="248"/>
                  </a:lnTo>
                  <a:lnTo>
                    <a:pt x="212" y="248"/>
                  </a:lnTo>
                  <a:lnTo>
                    <a:pt x="212" y="248"/>
                  </a:lnTo>
                  <a:lnTo>
                    <a:pt x="212" y="244"/>
                  </a:lnTo>
                  <a:lnTo>
                    <a:pt x="212" y="244"/>
                  </a:lnTo>
                  <a:lnTo>
                    <a:pt x="212" y="244"/>
                  </a:lnTo>
                  <a:lnTo>
                    <a:pt x="212" y="244"/>
                  </a:lnTo>
                  <a:lnTo>
                    <a:pt x="226" y="239"/>
                  </a:lnTo>
                  <a:lnTo>
                    <a:pt x="230" y="239"/>
                  </a:lnTo>
                  <a:lnTo>
                    <a:pt x="230" y="235"/>
                  </a:lnTo>
                  <a:lnTo>
                    <a:pt x="230" y="235"/>
                  </a:lnTo>
                  <a:lnTo>
                    <a:pt x="230" y="235"/>
                  </a:lnTo>
                  <a:lnTo>
                    <a:pt x="230" y="230"/>
                  </a:lnTo>
                  <a:lnTo>
                    <a:pt x="230" y="230"/>
                  </a:lnTo>
                  <a:lnTo>
                    <a:pt x="226" y="230"/>
                  </a:lnTo>
                  <a:lnTo>
                    <a:pt x="226" y="226"/>
                  </a:lnTo>
                  <a:lnTo>
                    <a:pt x="226" y="226"/>
                  </a:lnTo>
                  <a:lnTo>
                    <a:pt x="221" y="226"/>
                  </a:lnTo>
                  <a:lnTo>
                    <a:pt x="221" y="226"/>
                  </a:lnTo>
                  <a:lnTo>
                    <a:pt x="217" y="226"/>
                  </a:lnTo>
                  <a:lnTo>
                    <a:pt x="217" y="221"/>
                  </a:lnTo>
                  <a:lnTo>
                    <a:pt x="217" y="217"/>
                  </a:lnTo>
                  <a:lnTo>
                    <a:pt x="217" y="213"/>
                  </a:lnTo>
                  <a:lnTo>
                    <a:pt x="217" y="213"/>
                  </a:lnTo>
                  <a:lnTo>
                    <a:pt x="221" y="208"/>
                  </a:lnTo>
                  <a:lnTo>
                    <a:pt x="221" y="208"/>
                  </a:lnTo>
                  <a:lnTo>
                    <a:pt x="226" y="204"/>
                  </a:lnTo>
                  <a:lnTo>
                    <a:pt x="226" y="204"/>
                  </a:lnTo>
                  <a:lnTo>
                    <a:pt x="226" y="204"/>
                  </a:lnTo>
                  <a:lnTo>
                    <a:pt x="230" y="208"/>
                  </a:lnTo>
                  <a:lnTo>
                    <a:pt x="230" y="208"/>
                  </a:lnTo>
                  <a:lnTo>
                    <a:pt x="230" y="208"/>
                  </a:lnTo>
                  <a:lnTo>
                    <a:pt x="230" y="204"/>
                  </a:lnTo>
                  <a:lnTo>
                    <a:pt x="230" y="204"/>
                  </a:lnTo>
                  <a:lnTo>
                    <a:pt x="234" y="204"/>
                  </a:lnTo>
                  <a:lnTo>
                    <a:pt x="234" y="199"/>
                  </a:lnTo>
                  <a:lnTo>
                    <a:pt x="234" y="195"/>
                  </a:lnTo>
                  <a:lnTo>
                    <a:pt x="234" y="195"/>
                  </a:lnTo>
                  <a:lnTo>
                    <a:pt x="234" y="195"/>
                  </a:lnTo>
                  <a:lnTo>
                    <a:pt x="234" y="195"/>
                  </a:lnTo>
                  <a:lnTo>
                    <a:pt x="234" y="195"/>
                  </a:lnTo>
                  <a:lnTo>
                    <a:pt x="234" y="195"/>
                  </a:lnTo>
                  <a:lnTo>
                    <a:pt x="234" y="190"/>
                  </a:lnTo>
                  <a:lnTo>
                    <a:pt x="234" y="190"/>
                  </a:lnTo>
                  <a:lnTo>
                    <a:pt x="234" y="190"/>
                  </a:lnTo>
                  <a:lnTo>
                    <a:pt x="234" y="186"/>
                  </a:lnTo>
                  <a:lnTo>
                    <a:pt x="234" y="186"/>
                  </a:lnTo>
                  <a:lnTo>
                    <a:pt x="234" y="182"/>
                  </a:lnTo>
                  <a:lnTo>
                    <a:pt x="234" y="182"/>
                  </a:lnTo>
                  <a:lnTo>
                    <a:pt x="234" y="182"/>
                  </a:lnTo>
                  <a:lnTo>
                    <a:pt x="234" y="177"/>
                  </a:lnTo>
                  <a:lnTo>
                    <a:pt x="230" y="177"/>
                  </a:lnTo>
                  <a:lnTo>
                    <a:pt x="230" y="177"/>
                  </a:lnTo>
                  <a:lnTo>
                    <a:pt x="230" y="177"/>
                  </a:lnTo>
                  <a:lnTo>
                    <a:pt x="234" y="173"/>
                  </a:lnTo>
                  <a:lnTo>
                    <a:pt x="234" y="168"/>
                  </a:lnTo>
                  <a:lnTo>
                    <a:pt x="234" y="168"/>
                  </a:lnTo>
                  <a:lnTo>
                    <a:pt x="239" y="164"/>
                  </a:lnTo>
                  <a:lnTo>
                    <a:pt x="234" y="164"/>
                  </a:lnTo>
                  <a:lnTo>
                    <a:pt x="234" y="164"/>
                  </a:lnTo>
                  <a:lnTo>
                    <a:pt x="230" y="159"/>
                  </a:lnTo>
                  <a:lnTo>
                    <a:pt x="230" y="159"/>
                  </a:lnTo>
                  <a:lnTo>
                    <a:pt x="226" y="159"/>
                  </a:lnTo>
                  <a:lnTo>
                    <a:pt x="221" y="159"/>
                  </a:lnTo>
                  <a:lnTo>
                    <a:pt x="217" y="159"/>
                  </a:lnTo>
                  <a:lnTo>
                    <a:pt x="212" y="159"/>
                  </a:lnTo>
                  <a:lnTo>
                    <a:pt x="203" y="168"/>
                  </a:lnTo>
                  <a:lnTo>
                    <a:pt x="199" y="168"/>
                  </a:lnTo>
                  <a:lnTo>
                    <a:pt x="199" y="173"/>
                  </a:lnTo>
                  <a:lnTo>
                    <a:pt x="195" y="173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8" y="177"/>
                  </a:lnTo>
                  <a:lnTo>
                    <a:pt x="208" y="182"/>
                  </a:lnTo>
                  <a:lnTo>
                    <a:pt x="208" y="182"/>
                  </a:lnTo>
                  <a:lnTo>
                    <a:pt x="208" y="186"/>
                  </a:lnTo>
                  <a:lnTo>
                    <a:pt x="208" y="195"/>
                  </a:lnTo>
                  <a:lnTo>
                    <a:pt x="208" y="195"/>
                  </a:lnTo>
                  <a:lnTo>
                    <a:pt x="208" y="199"/>
                  </a:lnTo>
                  <a:lnTo>
                    <a:pt x="208" y="204"/>
                  </a:lnTo>
                  <a:lnTo>
                    <a:pt x="208" y="199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08" y="199"/>
                  </a:lnTo>
                  <a:lnTo>
                    <a:pt x="208" y="199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199" y="204"/>
                  </a:lnTo>
                  <a:lnTo>
                    <a:pt x="199" y="199"/>
                  </a:lnTo>
                  <a:lnTo>
                    <a:pt x="199" y="199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03" y="195"/>
                  </a:lnTo>
                  <a:lnTo>
                    <a:pt x="203" y="195"/>
                  </a:lnTo>
                  <a:lnTo>
                    <a:pt x="208" y="195"/>
                  </a:lnTo>
                  <a:lnTo>
                    <a:pt x="208" y="195"/>
                  </a:lnTo>
                  <a:lnTo>
                    <a:pt x="208" y="190"/>
                  </a:lnTo>
                  <a:lnTo>
                    <a:pt x="208" y="186"/>
                  </a:lnTo>
                  <a:lnTo>
                    <a:pt x="203" y="186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199" y="182"/>
                  </a:lnTo>
                  <a:lnTo>
                    <a:pt x="203" y="182"/>
                  </a:lnTo>
                  <a:lnTo>
                    <a:pt x="199" y="186"/>
                  </a:lnTo>
                  <a:lnTo>
                    <a:pt x="199" y="186"/>
                  </a:lnTo>
                  <a:lnTo>
                    <a:pt x="199" y="186"/>
                  </a:lnTo>
                  <a:lnTo>
                    <a:pt x="199" y="186"/>
                  </a:lnTo>
                  <a:lnTo>
                    <a:pt x="195" y="190"/>
                  </a:lnTo>
                  <a:lnTo>
                    <a:pt x="195" y="190"/>
                  </a:lnTo>
                  <a:lnTo>
                    <a:pt x="195" y="190"/>
                  </a:lnTo>
                  <a:lnTo>
                    <a:pt x="195" y="195"/>
                  </a:lnTo>
                  <a:lnTo>
                    <a:pt x="195" y="195"/>
                  </a:lnTo>
                  <a:lnTo>
                    <a:pt x="199" y="195"/>
                  </a:lnTo>
                  <a:lnTo>
                    <a:pt x="195" y="195"/>
                  </a:lnTo>
                  <a:lnTo>
                    <a:pt x="195" y="195"/>
                  </a:lnTo>
                  <a:lnTo>
                    <a:pt x="195" y="199"/>
                  </a:lnTo>
                  <a:lnTo>
                    <a:pt x="195" y="199"/>
                  </a:lnTo>
                  <a:lnTo>
                    <a:pt x="195" y="199"/>
                  </a:lnTo>
                  <a:lnTo>
                    <a:pt x="195" y="199"/>
                  </a:lnTo>
                  <a:lnTo>
                    <a:pt x="195" y="199"/>
                  </a:lnTo>
                  <a:lnTo>
                    <a:pt x="195" y="199"/>
                  </a:lnTo>
                  <a:lnTo>
                    <a:pt x="195" y="199"/>
                  </a:lnTo>
                  <a:lnTo>
                    <a:pt x="190" y="195"/>
                  </a:lnTo>
                  <a:lnTo>
                    <a:pt x="190" y="195"/>
                  </a:lnTo>
                  <a:lnTo>
                    <a:pt x="190" y="195"/>
                  </a:lnTo>
                  <a:lnTo>
                    <a:pt x="190" y="195"/>
                  </a:lnTo>
                  <a:lnTo>
                    <a:pt x="186" y="195"/>
                  </a:lnTo>
                  <a:lnTo>
                    <a:pt x="186" y="195"/>
                  </a:lnTo>
                  <a:lnTo>
                    <a:pt x="186" y="195"/>
                  </a:lnTo>
                  <a:lnTo>
                    <a:pt x="186" y="195"/>
                  </a:lnTo>
                  <a:lnTo>
                    <a:pt x="186" y="195"/>
                  </a:lnTo>
                  <a:lnTo>
                    <a:pt x="190" y="195"/>
                  </a:lnTo>
                  <a:lnTo>
                    <a:pt x="190" y="190"/>
                  </a:lnTo>
                  <a:lnTo>
                    <a:pt x="190" y="190"/>
                  </a:lnTo>
                  <a:lnTo>
                    <a:pt x="190" y="190"/>
                  </a:lnTo>
                  <a:lnTo>
                    <a:pt x="190" y="190"/>
                  </a:lnTo>
                  <a:lnTo>
                    <a:pt x="190" y="190"/>
                  </a:lnTo>
                  <a:lnTo>
                    <a:pt x="190" y="190"/>
                  </a:lnTo>
                  <a:lnTo>
                    <a:pt x="190" y="190"/>
                  </a:lnTo>
                  <a:lnTo>
                    <a:pt x="186" y="190"/>
                  </a:lnTo>
                  <a:lnTo>
                    <a:pt x="186" y="190"/>
                  </a:lnTo>
                  <a:lnTo>
                    <a:pt x="186" y="190"/>
                  </a:lnTo>
                  <a:lnTo>
                    <a:pt x="186" y="190"/>
                  </a:lnTo>
                  <a:lnTo>
                    <a:pt x="186" y="190"/>
                  </a:lnTo>
                  <a:lnTo>
                    <a:pt x="186" y="190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90" y="186"/>
                  </a:lnTo>
                  <a:lnTo>
                    <a:pt x="190" y="186"/>
                  </a:lnTo>
                  <a:lnTo>
                    <a:pt x="190" y="186"/>
                  </a:lnTo>
                  <a:lnTo>
                    <a:pt x="190" y="182"/>
                  </a:lnTo>
                  <a:lnTo>
                    <a:pt x="186" y="177"/>
                  </a:lnTo>
                  <a:lnTo>
                    <a:pt x="186" y="177"/>
                  </a:lnTo>
                  <a:lnTo>
                    <a:pt x="186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0" y="173"/>
                  </a:lnTo>
                  <a:lnTo>
                    <a:pt x="190" y="173"/>
                  </a:lnTo>
                  <a:lnTo>
                    <a:pt x="190" y="173"/>
                  </a:lnTo>
                  <a:lnTo>
                    <a:pt x="186" y="173"/>
                  </a:lnTo>
                  <a:lnTo>
                    <a:pt x="181" y="177"/>
                  </a:lnTo>
                  <a:lnTo>
                    <a:pt x="181" y="173"/>
                  </a:lnTo>
                  <a:lnTo>
                    <a:pt x="172" y="173"/>
                  </a:lnTo>
                  <a:lnTo>
                    <a:pt x="172" y="173"/>
                  </a:lnTo>
                  <a:lnTo>
                    <a:pt x="168" y="168"/>
                  </a:lnTo>
                  <a:lnTo>
                    <a:pt x="168" y="173"/>
                  </a:lnTo>
                  <a:lnTo>
                    <a:pt x="168" y="173"/>
                  </a:lnTo>
                  <a:lnTo>
                    <a:pt x="172" y="173"/>
                  </a:lnTo>
                  <a:lnTo>
                    <a:pt x="177" y="173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82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2" y="186"/>
                  </a:lnTo>
                  <a:lnTo>
                    <a:pt x="172" y="186"/>
                  </a:lnTo>
                  <a:lnTo>
                    <a:pt x="172" y="186"/>
                  </a:lnTo>
                  <a:lnTo>
                    <a:pt x="168" y="186"/>
                  </a:lnTo>
                  <a:lnTo>
                    <a:pt x="172" y="186"/>
                  </a:lnTo>
                  <a:lnTo>
                    <a:pt x="172" y="186"/>
                  </a:lnTo>
                  <a:lnTo>
                    <a:pt x="172" y="186"/>
                  </a:lnTo>
                  <a:lnTo>
                    <a:pt x="172" y="186"/>
                  </a:lnTo>
                  <a:lnTo>
                    <a:pt x="172" y="190"/>
                  </a:lnTo>
                  <a:lnTo>
                    <a:pt x="172" y="190"/>
                  </a:lnTo>
                  <a:lnTo>
                    <a:pt x="172" y="190"/>
                  </a:lnTo>
                  <a:lnTo>
                    <a:pt x="172" y="190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64" y="195"/>
                  </a:lnTo>
                  <a:lnTo>
                    <a:pt x="164" y="195"/>
                  </a:lnTo>
                  <a:lnTo>
                    <a:pt x="164" y="195"/>
                  </a:lnTo>
                  <a:lnTo>
                    <a:pt x="164" y="195"/>
                  </a:lnTo>
                  <a:lnTo>
                    <a:pt x="159" y="195"/>
                  </a:lnTo>
                  <a:lnTo>
                    <a:pt x="164" y="195"/>
                  </a:lnTo>
                  <a:lnTo>
                    <a:pt x="164" y="199"/>
                  </a:lnTo>
                  <a:lnTo>
                    <a:pt x="159" y="199"/>
                  </a:lnTo>
                  <a:lnTo>
                    <a:pt x="159" y="195"/>
                  </a:lnTo>
                  <a:lnTo>
                    <a:pt x="159" y="195"/>
                  </a:lnTo>
                  <a:lnTo>
                    <a:pt x="159" y="195"/>
                  </a:lnTo>
                  <a:lnTo>
                    <a:pt x="159" y="195"/>
                  </a:lnTo>
                  <a:lnTo>
                    <a:pt x="159" y="195"/>
                  </a:lnTo>
                  <a:lnTo>
                    <a:pt x="159" y="195"/>
                  </a:lnTo>
                  <a:lnTo>
                    <a:pt x="159" y="195"/>
                  </a:lnTo>
                  <a:lnTo>
                    <a:pt x="159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46" y="195"/>
                  </a:lnTo>
                  <a:lnTo>
                    <a:pt x="146" y="195"/>
                  </a:lnTo>
                  <a:lnTo>
                    <a:pt x="146" y="195"/>
                  </a:lnTo>
                  <a:lnTo>
                    <a:pt x="150" y="195"/>
                  </a:lnTo>
                  <a:lnTo>
                    <a:pt x="150" y="195"/>
                  </a:lnTo>
                  <a:lnTo>
                    <a:pt x="150" y="195"/>
                  </a:lnTo>
                  <a:lnTo>
                    <a:pt x="150" y="195"/>
                  </a:lnTo>
                  <a:lnTo>
                    <a:pt x="150" y="199"/>
                  </a:lnTo>
                  <a:lnTo>
                    <a:pt x="150" y="199"/>
                  </a:lnTo>
                  <a:lnTo>
                    <a:pt x="155" y="199"/>
                  </a:lnTo>
                  <a:lnTo>
                    <a:pt x="155" y="199"/>
                  </a:lnTo>
                  <a:lnTo>
                    <a:pt x="146" y="199"/>
                  </a:lnTo>
                  <a:lnTo>
                    <a:pt x="146" y="199"/>
                  </a:lnTo>
                  <a:lnTo>
                    <a:pt x="155" y="204"/>
                  </a:lnTo>
                  <a:lnTo>
                    <a:pt x="155" y="204"/>
                  </a:lnTo>
                  <a:lnTo>
                    <a:pt x="159" y="208"/>
                  </a:lnTo>
                  <a:lnTo>
                    <a:pt x="159" y="208"/>
                  </a:lnTo>
                  <a:lnTo>
                    <a:pt x="159" y="213"/>
                  </a:lnTo>
                  <a:lnTo>
                    <a:pt x="159" y="213"/>
                  </a:lnTo>
                  <a:lnTo>
                    <a:pt x="159" y="213"/>
                  </a:lnTo>
                  <a:lnTo>
                    <a:pt x="155" y="213"/>
                  </a:lnTo>
                  <a:lnTo>
                    <a:pt x="155" y="213"/>
                  </a:lnTo>
                  <a:lnTo>
                    <a:pt x="155" y="213"/>
                  </a:lnTo>
                  <a:lnTo>
                    <a:pt x="155" y="217"/>
                  </a:lnTo>
                  <a:lnTo>
                    <a:pt x="155" y="217"/>
                  </a:lnTo>
                  <a:lnTo>
                    <a:pt x="155" y="217"/>
                  </a:lnTo>
                  <a:lnTo>
                    <a:pt x="159" y="213"/>
                  </a:lnTo>
                  <a:lnTo>
                    <a:pt x="159" y="217"/>
                  </a:lnTo>
                  <a:lnTo>
                    <a:pt x="159" y="217"/>
                  </a:lnTo>
                  <a:lnTo>
                    <a:pt x="159" y="217"/>
                  </a:lnTo>
                  <a:lnTo>
                    <a:pt x="159" y="217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4" y="226"/>
                  </a:lnTo>
                  <a:lnTo>
                    <a:pt x="164" y="226"/>
                  </a:lnTo>
                  <a:lnTo>
                    <a:pt x="164" y="226"/>
                  </a:lnTo>
                  <a:lnTo>
                    <a:pt x="164" y="226"/>
                  </a:lnTo>
                  <a:lnTo>
                    <a:pt x="159" y="226"/>
                  </a:lnTo>
                  <a:lnTo>
                    <a:pt x="159" y="226"/>
                  </a:lnTo>
                  <a:lnTo>
                    <a:pt x="159" y="226"/>
                  </a:lnTo>
                  <a:lnTo>
                    <a:pt x="159" y="230"/>
                  </a:lnTo>
                  <a:lnTo>
                    <a:pt x="159" y="230"/>
                  </a:lnTo>
                  <a:lnTo>
                    <a:pt x="159" y="230"/>
                  </a:lnTo>
                  <a:lnTo>
                    <a:pt x="155" y="230"/>
                  </a:lnTo>
                  <a:lnTo>
                    <a:pt x="155" y="230"/>
                  </a:lnTo>
                  <a:lnTo>
                    <a:pt x="159" y="230"/>
                  </a:lnTo>
                  <a:lnTo>
                    <a:pt x="159" y="230"/>
                  </a:lnTo>
                  <a:lnTo>
                    <a:pt x="159" y="230"/>
                  </a:lnTo>
                  <a:lnTo>
                    <a:pt x="159" y="230"/>
                  </a:lnTo>
                  <a:lnTo>
                    <a:pt x="159" y="230"/>
                  </a:lnTo>
                  <a:lnTo>
                    <a:pt x="159" y="230"/>
                  </a:lnTo>
                  <a:lnTo>
                    <a:pt x="159" y="230"/>
                  </a:lnTo>
                  <a:lnTo>
                    <a:pt x="159" y="230"/>
                  </a:lnTo>
                  <a:lnTo>
                    <a:pt x="159" y="230"/>
                  </a:lnTo>
                  <a:lnTo>
                    <a:pt x="164" y="230"/>
                  </a:lnTo>
                  <a:lnTo>
                    <a:pt x="164" y="230"/>
                  </a:lnTo>
                  <a:lnTo>
                    <a:pt x="159" y="230"/>
                  </a:lnTo>
                  <a:lnTo>
                    <a:pt x="159" y="230"/>
                  </a:lnTo>
                  <a:lnTo>
                    <a:pt x="159" y="230"/>
                  </a:lnTo>
                  <a:lnTo>
                    <a:pt x="159" y="235"/>
                  </a:lnTo>
                  <a:lnTo>
                    <a:pt x="164" y="235"/>
                  </a:lnTo>
                  <a:lnTo>
                    <a:pt x="164" y="235"/>
                  </a:lnTo>
                  <a:lnTo>
                    <a:pt x="164" y="235"/>
                  </a:lnTo>
                  <a:lnTo>
                    <a:pt x="164" y="239"/>
                  </a:lnTo>
                  <a:lnTo>
                    <a:pt x="164" y="239"/>
                  </a:lnTo>
                  <a:lnTo>
                    <a:pt x="164" y="239"/>
                  </a:lnTo>
                  <a:lnTo>
                    <a:pt x="168" y="239"/>
                  </a:lnTo>
                  <a:lnTo>
                    <a:pt x="168" y="239"/>
                  </a:lnTo>
                  <a:lnTo>
                    <a:pt x="168" y="239"/>
                  </a:lnTo>
                  <a:lnTo>
                    <a:pt x="168" y="239"/>
                  </a:lnTo>
                  <a:lnTo>
                    <a:pt x="164" y="239"/>
                  </a:lnTo>
                  <a:lnTo>
                    <a:pt x="164" y="239"/>
                  </a:lnTo>
                  <a:lnTo>
                    <a:pt x="164" y="244"/>
                  </a:lnTo>
                  <a:lnTo>
                    <a:pt x="164" y="244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72" y="244"/>
                  </a:lnTo>
                  <a:lnTo>
                    <a:pt x="172" y="244"/>
                  </a:lnTo>
                  <a:lnTo>
                    <a:pt x="172" y="244"/>
                  </a:lnTo>
                  <a:lnTo>
                    <a:pt x="172" y="244"/>
                  </a:lnTo>
                  <a:lnTo>
                    <a:pt x="177" y="244"/>
                  </a:lnTo>
                  <a:lnTo>
                    <a:pt x="177" y="244"/>
                  </a:lnTo>
                  <a:lnTo>
                    <a:pt x="181" y="244"/>
                  </a:lnTo>
                  <a:lnTo>
                    <a:pt x="181" y="244"/>
                  </a:lnTo>
                  <a:lnTo>
                    <a:pt x="186" y="244"/>
                  </a:lnTo>
                  <a:lnTo>
                    <a:pt x="186" y="248"/>
                  </a:lnTo>
                  <a:lnTo>
                    <a:pt x="186" y="244"/>
                  </a:lnTo>
                  <a:lnTo>
                    <a:pt x="186" y="244"/>
                  </a:lnTo>
                  <a:lnTo>
                    <a:pt x="190" y="244"/>
                  </a:lnTo>
                  <a:lnTo>
                    <a:pt x="190" y="244"/>
                  </a:lnTo>
                  <a:lnTo>
                    <a:pt x="190" y="244"/>
                  </a:lnTo>
                  <a:lnTo>
                    <a:pt x="190" y="244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95" y="248"/>
                  </a:lnTo>
                  <a:lnTo>
                    <a:pt x="195" y="248"/>
                  </a:lnTo>
                  <a:lnTo>
                    <a:pt x="195" y="248"/>
                  </a:lnTo>
                  <a:lnTo>
                    <a:pt x="195" y="248"/>
                  </a:lnTo>
                  <a:lnTo>
                    <a:pt x="190" y="252"/>
                  </a:lnTo>
                  <a:lnTo>
                    <a:pt x="190" y="252"/>
                  </a:lnTo>
                  <a:lnTo>
                    <a:pt x="195" y="257"/>
                  </a:lnTo>
                  <a:lnTo>
                    <a:pt x="195" y="257"/>
                  </a:lnTo>
                  <a:lnTo>
                    <a:pt x="195" y="257"/>
                  </a:lnTo>
                  <a:lnTo>
                    <a:pt x="186" y="252"/>
                  </a:lnTo>
                  <a:lnTo>
                    <a:pt x="186" y="252"/>
                  </a:lnTo>
                  <a:lnTo>
                    <a:pt x="186" y="257"/>
                  </a:lnTo>
                  <a:lnTo>
                    <a:pt x="186" y="257"/>
                  </a:lnTo>
                  <a:lnTo>
                    <a:pt x="186" y="257"/>
                  </a:lnTo>
                  <a:lnTo>
                    <a:pt x="190" y="257"/>
                  </a:lnTo>
                  <a:lnTo>
                    <a:pt x="190" y="257"/>
                  </a:lnTo>
                  <a:lnTo>
                    <a:pt x="190" y="257"/>
                  </a:lnTo>
                  <a:lnTo>
                    <a:pt x="190" y="257"/>
                  </a:lnTo>
                  <a:lnTo>
                    <a:pt x="195" y="257"/>
                  </a:lnTo>
                  <a:lnTo>
                    <a:pt x="195" y="261"/>
                  </a:lnTo>
                  <a:lnTo>
                    <a:pt x="195" y="261"/>
                  </a:lnTo>
                  <a:lnTo>
                    <a:pt x="199" y="261"/>
                  </a:lnTo>
                  <a:lnTo>
                    <a:pt x="199" y="266"/>
                  </a:lnTo>
                  <a:lnTo>
                    <a:pt x="199" y="266"/>
                  </a:lnTo>
                  <a:lnTo>
                    <a:pt x="199" y="266"/>
                  </a:lnTo>
                  <a:lnTo>
                    <a:pt x="195" y="266"/>
                  </a:lnTo>
                  <a:lnTo>
                    <a:pt x="195" y="266"/>
                  </a:lnTo>
                  <a:lnTo>
                    <a:pt x="195" y="266"/>
                  </a:lnTo>
                  <a:lnTo>
                    <a:pt x="195" y="266"/>
                  </a:lnTo>
                  <a:lnTo>
                    <a:pt x="195" y="266"/>
                  </a:lnTo>
                  <a:lnTo>
                    <a:pt x="195" y="266"/>
                  </a:lnTo>
                  <a:lnTo>
                    <a:pt x="195" y="266"/>
                  </a:lnTo>
                  <a:lnTo>
                    <a:pt x="190" y="266"/>
                  </a:lnTo>
                  <a:lnTo>
                    <a:pt x="190" y="266"/>
                  </a:lnTo>
                  <a:lnTo>
                    <a:pt x="190" y="266"/>
                  </a:lnTo>
                  <a:lnTo>
                    <a:pt x="190" y="266"/>
                  </a:lnTo>
                  <a:lnTo>
                    <a:pt x="190" y="270"/>
                  </a:lnTo>
                  <a:lnTo>
                    <a:pt x="190" y="270"/>
                  </a:lnTo>
                  <a:lnTo>
                    <a:pt x="190" y="270"/>
                  </a:lnTo>
                  <a:lnTo>
                    <a:pt x="190" y="270"/>
                  </a:lnTo>
                  <a:lnTo>
                    <a:pt x="190" y="274"/>
                  </a:lnTo>
                  <a:lnTo>
                    <a:pt x="190" y="274"/>
                  </a:lnTo>
                  <a:lnTo>
                    <a:pt x="195" y="274"/>
                  </a:lnTo>
                  <a:lnTo>
                    <a:pt x="195" y="274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9" y="283"/>
                  </a:lnTo>
                  <a:lnTo>
                    <a:pt x="199" y="283"/>
                  </a:lnTo>
                  <a:lnTo>
                    <a:pt x="199" y="283"/>
                  </a:lnTo>
                  <a:lnTo>
                    <a:pt x="199" y="283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88"/>
                  </a:lnTo>
                  <a:lnTo>
                    <a:pt x="199" y="292"/>
                  </a:lnTo>
                  <a:lnTo>
                    <a:pt x="199" y="292"/>
                  </a:lnTo>
                  <a:lnTo>
                    <a:pt x="199" y="292"/>
                  </a:lnTo>
                  <a:lnTo>
                    <a:pt x="199" y="297"/>
                  </a:lnTo>
                  <a:lnTo>
                    <a:pt x="199" y="297"/>
                  </a:lnTo>
                  <a:lnTo>
                    <a:pt x="199" y="301"/>
                  </a:lnTo>
                  <a:lnTo>
                    <a:pt x="199" y="301"/>
                  </a:lnTo>
                  <a:lnTo>
                    <a:pt x="203" y="301"/>
                  </a:lnTo>
                  <a:lnTo>
                    <a:pt x="203" y="301"/>
                  </a:lnTo>
                  <a:lnTo>
                    <a:pt x="203" y="297"/>
                  </a:lnTo>
                  <a:lnTo>
                    <a:pt x="203" y="292"/>
                  </a:lnTo>
                  <a:lnTo>
                    <a:pt x="203" y="292"/>
                  </a:lnTo>
                  <a:lnTo>
                    <a:pt x="203" y="288"/>
                  </a:lnTo>
                  <a:lnTo>
                    <a:pt x="203" y="288"/>
                  </a:lnTo>
                  <a:lnTo>
                    <a:pt x="203" y="288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8" y="283"/>
                  </a:lnTo>
                  <a:lnTo>
                    <a:pt x="208" y="279"/>
                  </a:lnTo>
                  <a:lnTo>
                    <a:pt x="212" y="279"/>
                  </a:lnTo>
                  <a:lnTo>
                    <a:pt x="212" y="274"/>
                  </a:lnTo>
                  <a:lnTo>
                    <a:pt x="212" y="274"/>
                  </a:lnTo>
                  <a:lnTo>
                    <a:pt x="212" y="274"/>
                  </a:lnTo>
                  <a:close/>
                  <a:moveTo>
                    <a:pt x="181" y="106"/>
                  </a:moveTo>
                  <a:lnTo>
                    <a:pt x="181" y="106"/>
                  </a:lnTo>
                  <a:lnTo>
                    <a:pt x="181" y="106"/>
                  </a:lnTo>
                  <a:lnTo>
                    <a:pt x="181" y="106"/>
                  </a:lnTo>
                  <a:lnTo>
                    <a:pt x="181" y="102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86" y="102"/>
                  </a:lnTo>
                  <a:lnTo>
                    <a:pt x="181" y="102"/>
                  </a:lnTo>
                  <a:lnTo>
                    <a:pt x="177" y="102"/>
                  </a:lnTo>
                  <a:lnTo>
                    <a:pt x="177" y="102"/>
                  </a:lnTo>
                  <a:lnTo>
                    <a:pt x="181" y="106"/>
                  </a:lnTo>
                  <a:close/>
                  <a:moveTo>
                    <a:pt x="22" y="97"/>
                  </a:move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6" y="97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31" y="106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5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40" y="89"/>
                  </a:lnTo>
                  <a:lnTo>
                    <a:pt x="40" y="89"/>
                  </a:lnTo>
                  <a:lnTo>
                    <a:pt x="40" y="89"/>
                  </a:lnTo>
                  <a:lnTo>
                    <a:pt x="40" y="89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9"/>
                  </a:lnTo>
                  <a:lnTo>
                    <a:pt x="40" y="89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0" y="75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35" y="84"/>
                  </a:lnTo>
                  <a:lnTo>
                    <a:pt x="35" y="84"/>
                  </a:lnTo>
                  <a:lnTo>
                    <a:pt x="35" y="84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31" y="93"/>
                  </a:lnTo>
                  <a:lnTo>
                    <a:pt x="26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close/>
                  <a:moveTo>
                    <a:pt x="146" y="49"/>
                  </a:moveTo>
                  <a:lnTo>
                    <a:pt x="146" y="53"/>
                  </a:lnTo>
                  <a:lnTo>
                    <a:pt x="150" y="53"/>
                  </a:lnTo>
                  <a:lnTo>
                    <a:pt x="150" y="53"/>
                  </a:lnTo>
                  <a:lnTo>
                    <a:pt x="150" y="53"/>
                  </a:lnTo>
                  <a:lnTo>
                    <a:pt x="155" y="53"/>
                  </a:lnTo>
                  <a:lnTo>
                    <a:pt x="155" y="53"/>
                  </a:lnTo>
                  <a:lnTo>
                    <a:pt x="155" y="53"/>
                  </a:lnTo>
                  <a:lnTo>
                    <a:pt x="155" y="53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59" y="44"/>
                  </a:lnTo>
                  <a:lnTo>
                    <a:pt x="155" y="44"/>
                  </a:lnTo>
                  <a:lnTo>
                    <a:pt x="150" y="44"/>
                  </a:lnTo>
                  <a:lnTo>
                    <a:pt x="150" y="44"/>
                  </a:lnTo>
                  <a:lnTo>
                    <a:pt x="150" y="44"/>
                  </a:lnTo>
                  <a:lnTo>
                    <a:pt x="146" y="44"/>
                  </a:lnTo>
                  <a:lnTo>
                    <a:pt x="146" y="49"/>
                  </a:lnTo>
                  <a:lnTo>
                    <a:pt x="146" y="49"/>
                  </a:lnTo>
                  <a:lnTo>
                    <a:pt x="146" y="49"/>
                  </a:lnTo>
                  <a:lnTo>
                    <a:pt x="146" y="49"/>
                  </a:lnTo>
                  <a:lnTo>
                    <a:pt x="146" y="49"/>
                  </a:lnTo>
                  <a:close/>
                  <a:moveTo>
                    <a:pt x="84" y="266"/>
                  </a:moveTo>
                  <a:lnTo>
                    <a:pt x="84" y="261"/>
                  </a:lnTo>
                  <a:lnTo>
                    <a:pt x="84" y="261"/>
                  </a:lnTo>
                  <a:lnTo>
                    <a:pt x="79" y="261"/>
                  </a:lnTo>
                  <a:lnTo>
                    <a:pt x="79" y="261"/>
                  </a:lnTo>
                  <a:lnTo>
                    <a:pt x="79" y="257"/>
                  </a:lnTo>
                  <a:lnTo>
                    <a:pt x="75" y="257"/>
                  </a:lnTo>
                  <a:lnTo>
                    <a:pt x="75" y="257"/>
                  </a:lnTo>
                  <a:lnTo>
                    <a:pt x="75" y="257"/>
                  </a:lnTo>
                  <a:lnTo>
                    <a:pt x="75" y="257"/>
                  </a:lnTo>
                  <a:lnTo>
                    <a:pt x="75" y="261"/>
                  </a:lnTo>
                  <a:lnTo>
                    <a:pt x="75" y="261"/>
                  </a:lnTo>
                  <a:lnTo>
                    <a:pt x="75" y="261"/>
                  </a:lnTo>
                  <a:lnTo>
                    <a:pt x="71" y="261"/>
                  </a:lnTo>
                  <a:lnTo>
                    <a:pt x="71" y="261"/>
                  </a:lnTo>
                  <a:lnTo>
                    <a:pt x="71" y="257"/>
                  </a:lnTo>
                  <a:lnTo>
                    <a:pt x="71" y="257"/>
                  </a:lnTo>
                  <a:lnTo>
                    <a:pt x="71" y="257"/>
                  </a:lnTo>
                  <a:lnTo>
                    <a:pt x="75" y="257"/>
                  </a:lnTo>
                  <a:lnTo>
                    <a:pt x="75" y="257"/>
                  </a:lnTo>
                  <a:lnTo>
                    <a:pt x="75" y="252"/>
                  </a:lnTo>
                  <a:lnTo>
                    <a:pt x="75" y="252"/>
                  </a:lnTo>
                  <a:lnTo>
                    <a:pt x="75" y="252"/>
                  </a:lnTo>
                  <a:lnTo>
                    <a:pt x="75" y="252"/>
                  </a:lnTo>
                  <a:lnTo>
                    <a:pt x="71" y="252"/>
                  </a:lnTo>
                  <a:lnTo>
                    <a:pt x="71" y="252"/>
                  </a:lnTo>
                  <a:lnTo>
                    <a:pt x="71" y="252"/>
                  </a:lnTo>
                  <a:lnTo>
                    <a:pt x="71" y="252"/>
                  </a:lnTo>
                  <a:lnTo>
                    <a:pt x="71" y="248"/>
                  </a:lnTo>
                  <a:lnTo>
                    <a:pt x="75" y="252"/>
                  </a:lnTo>
                  <a:lnTo>
                    <a:pt x="75" y="248"/>
                  </a:lnTo>
                  <a:lnTo>
                    <a:pt x="71" y="248"/>
                  </a:lnTo>
                  <a:lnTo>
                    <a:pt x="71" y="248"/>
                  </a:lnTo>
                  <a:lnTo>
                    <a:pt x="71" y="248"/>
                  </a:lnTo>
                  <a:lnTo>
                    <a:pt x="71" y="248"/>
                  </a:lnTo>
                  <a:lnTo>
                    <a:pt x="75" y="248"/>
                  </a:lnTo>
                  <a:lnTo>
                    <a:pt x="75" y="248"/>
                  </a:lnTo>
                  <a:lnTo>
                    <a:pt x="75" y="248"/>
                  </a:lnTo>
                  <a:lnTo>
                    <a:pt x="75" y="248"/>
                  </a:lnTo>
                  <a:lnTo>
                    <a:pt x="75" y="244"/>
                  </a:lnTo>
                  <a:lnTo>
                    <a:pt x="75" y="244"/>
                  </a:lnTo>
                  <a:lnTo>
                    <a:pt x="75" y="244"/>
                  </a:lnTo>
                  <a:lnTo>
                    <a:pt x="79" y="244"/>
                  </a:lnTo>
                  <a:lnTo>
                    <a:pt x="79" y="244"/>
                  </a:lnTo>
                  <a:lnTo>
                    <a:pt x="79" y="244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4" y="239"/>
                  </a:lnTo>
                  <a:lnTo>
                    <a:pt x="84" y="239"/>
                  </a:lnTo>
                  <a:lnTo>
                    <a:pt x="84" y="239"/>
                  </a:lnTo>
                  <a:lnTo>
                    <a:pt x="84" y="239"/>
                  </a:lnTo>
                  <a:lnTo>
                    <a:pt x="84" y="239"/>
                  </a:lnTo>
                  <a:lnTo>
                    <a:pt x="84" y="239"/>
                  </a:lnTo>
                  <a:lnTo>
                    <a:pt x="79" y="235"/>
                  </a:lnTo>
                  <a:lnTo>
                    <a:pt x="79" y="235"/>
                  </a:lnTo>
                  <a:lnTo>
                    <a:pt x="79" y="235"/>
                  </a:lnTo>
                  <a:lnTo>
                    <a:pt x="79" y="230"/>
                  </a:lnTo>
                  <a:lnTo>
                    <a:pt x="79" y="230"/>
                  </a:lnTo>
                  <a:lnTo>
                    <a:pt x="79" y="230"/>
                  </a:lnTo>
                  <a:lnTo>
                    <a:pt x="79" y="230"/>
                  </a:lnTo>
                  <a:lnTo>
                    <a:pt x="79" y="230"/>
                  </a:lnTo>
                  <a:lnTo>
                    <a:pt x="79" y="226"/>
                  </a:lnTo>
                  <a:lnTo>
                    <a:pt x="79" y="226"/>
                  </a:lnTo>
                  <a:lnTo>
                    <a:pt x="79" y="226"/>
                  </a:lnTo>
                  <a:lnTo>
                    <a:pt x="79" y="226"/>
                  </a:lnTo>
                  <a:lnTo>
                    <a:pt x="79" y="226"/>
                  </a:lnTo>
                  <a:lnTo>
                    <a:pt x="75" y="221"/>
                  </a:lnTo>
                  <a:lnTo>
                    <a:pt x="79" y="221"/>
                  </a:lnTo>
                  <a:lnTo>
                    <a:pt x="79" y="221"/>
                  </a:lnTo>
                  <a:lnTo>
                    <a:pt x="79" y="221"/>
                  </a:lnTo>
                  <a:lnTo>
                    <a:pt x="79" y="221"/>
                  </a:lnTo>
                  <a:lnTo>
                    <a:pt x="79" y="221"/>
                  </a:lnTo>
                  <a:lnTo>
                    <a:pt x="79" y="217"/>
                  </a:lnTo>
                  <a:lnTo>
                    <a:pt x="79" y="217"/>
                  </a:lnTo>
                  <a:lnTo>
                    <a:pt x="79" y="217"/>
                  </a:lnTo>
                  <a:lnTo>
                    <a:pt x="75" y="217"/>
                  </a:lnTo>
                  <a:lnTo>
                    <a:pt x="75" y="217"/>
                  </a:lnTo>
                  <a:lnTo>
                    <a:pt x="75" y="217"/>
                  </a:lnTo>
                  <a:lnTo>
                    <a:pt x="71" y="217"/>
                  </a:lnTo>
                  <a:lnTo>
                    <a:pt x="75" y="217"/>
                  </a:lnTo>
                  <a:lnTo>
                    <a:pt x="75" y="217"/>
                  </a:lnTo>
                  <a:lnTo>
                    <a:pt x="75" y="213"/>
                  </a:lnTo>
                  <a:lnTo>
                    <a:pt x="75" y="213"/>
                  </a:lnTo>
                  <a:lnTo>
                    <a:pt x="75" y="213"/>
                  </a:lnTo>
                  <a:lnTo>
                    <a:pt x="75" y="213"/>
                  </a:lnTo>
                  <a:lnTo>
                    <a:pt x="79" y="213"/>
                  </a:lnTo>
                  <a:lnTo>
                    <a:pt x="79" y="213"/>
                  </a:lnTo>
                  <a:lnTo>
                    <a:pt x="79" y="213"/>
                  </a:lnTo>
                  <a:lnTo>
                    <a:pt x="79" y="213"/>
                  </a:lnTo>
                  <a:lnTo>
                    <a:pt x="84" y="213"/>
                  </a:lnTo>
                  <a:lnTo>
                    <a:pt x="84" y="213"/>
                  </a:lnTo>
                  <a:lnTo>
                    <a:pt x="84" y="213"/>
                  </a:lnTo>
                  <a:lnTo>
                    <a:pt x="84" y="213"/>
                  </a:lnTo>
                  <a:lnTo>
                    <a:pt x="84" y="208"/>
                  </a:lnTo>
                  <a:lnTo>
                    <a:pt x="84" y="208"/>
                  </a:lnTo>
                  <a:lnTo>
                    <a:pt x="88" y="208"/>
                  </a:lnTo>
                  <a:lnTo>
                    <a:pt x="88" y="208"/>
                  </a:lnTo>
                  <a:lnTo>
                    <a:pt x="88" y="204"/>
                  </a:lnTo>
                  <a:lnTo>
                    <a:pt x="93" y="204"/>
                  </a:lnTo>
                  <a:lnTo>
                    <a:pt x="88" y="204"/>
                  </a:lnTo>
                  <a:lnTo>
                    <a:pt x="84" y="204"/>
                  </a:lnTo>
                  <a:lnTo>
                    <a:pt x="84" y="204"/>
                  </a:lnTo>
                  <a:lnTo>
                    <a:pt x="84" y="204"/>
                  </a:lnTo>
                  <a:lnTo>
                    <a:pt x="84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5"/>
                  </a:lnTo>
                  <a:lnTo>
                    <a:pt x="75" y="195"/>
                  </a:lnTo>
                  <a:lnTo>
                    <a:pt x="75" y="195"/>
                  </a:lnTo>
                  <a:lnTo>
                    <a:pt x="75" y="195"/>
                  </a:lnTo>
                  <a:lnTo>
                    <a:pt x="84" y="195"/>
                  </a:lnTo>
                  <a:lnTo>
                    <a:pt x="84" y="199"/>
                  </a:lnTo>
                  <a:lnTo>
                    <a:pt x="84" y="199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93" y="199"/>
                  </a:lnTo>
                  <a:lnTo>
                    <a:pt x="97" y="195"/>
                  </a:lnTo>
                  <a:lnTo>
                    <a:pt x="97" y="199"/>
                  </a:lnTo>
                  <a:lnTo>
                    <a:pt x="102" y="195"/>
                  </a:lnTo>
                  <a:lnTo>
                    <a:pt x="102" y="195"/>
                  </a:lnTo>
                  <a:lnTo>
                    <a:pt x="97" y="195"/>
                  </a:lnTo>
                  <a:lnTo>
                    <a:pt x="102" y="195"/>
                  </a:lnTo>
                  <a:lnTo>
                    <a:pt x="102" y="195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86"/>
                  </a:lnTo>
                  <a:lnTo>
                    <a:pt x="102" y="186"/>
                  </a:lnTo>
                  <a:lnTo>
                    <a:pt x="102" y="186"/>
                  </a:lnTo>
                  <a:lnTo>
                    <a:pt x="93" y="186"/>
                  </a:lnTo>
                  <a:lnTo>
                    <a:pt x="93" y="182"/>
                  </a:lnTo>
                  <a:lnTo>
                    <a:pt x="93" y="182"/>
                  </a:lnTo>
                  <a:lnTo>
                    <a:pt x="97" y="182"/>
                  </a:lnTo>
                  <a:lnTo>
                    <a:pt x="97" y="182"/>
                  </a:lnTo>
                  <a:lnTo>
                    <a:pt x="97" y="182"/>
                  </a:lnTo>
                  <a:lnTo>
                    <a:pt x="97" y="182"/>
                  </a:lnTo>
                  <a:lnTo>
                    <a:pt x="97" y="182"/>
                  </a:lnTo>
                  <a:lnTo>
                    <a:pt x="97" y="182"/>
                  </a:lnTo>
                  <a:lnTo>
                    <a:pt x="106" y="182"/>
                  </a:lnTo>
                  <a:lnTo>
                    <a:pt x="106" y="182"/>
                  </a:lnTo>
                  <a:lnTo>
                    <a:pt x="106" y="182"/>
                  </a:lnTo>
                  <a:lnTo>
                    <a:pt x="106" y="182"/>
                  </a:lnTo>
                  <a:lnTo>
                    <a:pt x="106" y="182"/>
                  </a:lnTo>
                  <a:lnTo>
                    <a:pt x="106" y="182"/>
                  </a:lnTo>
                  <a:lnTo>
                    <a:pt x="106" y="186"/>
                  </a:lnTo>
                  <a:lnTo>
                    <a:pt x="106" y="186"/>
                  </a:lnTo>
                  <a:lnTo>
                    <a:pt x="106" y="186"/>
                  </a:lnTo>
                  <a:lnTo>
                    <a:pt x="110" y="186"/>
                  </a:lnTo>
                  <a:lnTo>
                    <a:pt x="110" y="186"/>
                  </a:lnTo>
                  <a:lnTo>
                    <a:pt x="110" y="186"/>
                  </a:lnTo>
                  <a:lnTo>
                    <a:pt x="110" y="182"/>
                  </a:lnTo>
                  <a:lnTo>
                    <a:pt x="110" y="182"/>
                  </a:lnTo>
                  <a:lnTo>
                    <a:pt x="110" y="182"/>
                  </a:lnTo>
                  <a:lnTo>
                    <a:pt x="110" y="182"/>
                  </a:lnTo>
                  <a:lnTo>
                    <a:pt x="110" y="182"/>
                  </a:lnTo>
                  <a:lnTo>
                    <a:pt x="110" y="182"/>
                  </a:lnTo>
                  <a:lnTo>
                    <a:pt x="110" y="182"/>
                  </a:lnTo>
                  <a:lnTo>
                    <a:pt x="110" y="182"/>
                  </a:lnTo>
                  <a:lnTo>
                    <a:pt x="110" y="177"/>
                  </a:lnTo>
                  <a:lnTo>
                    <a:pt x="110" y="177"/>
                  </a:lnTo>
                  <a:lnTo>
                    <a:pt x="110" y="177"/>
                  </a:lnTo>
                  <a:lnTo>
                    <a:pt x="110" y="177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0" y="168"/>
                  </a:lnTo>
                  <a:lnTo>
                    <a:pt x="110" y="168"/>
                  </a:lnTo>
                  <a:lnTo>
                    <a:pt x="110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0" y="159"/>
                  </a:lnTo>
                  <a:lnTo>
                    <a:pt x="110" y="159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1"/>
                  </a:lnTo>
                  <a:lnTo>
                    <a:pt x="115" y="151"/>
                  </a:lnTo>
                  <a:lnTo>
                    <a:pt x="115" y="146"/>
                  </a:lnTo>
                  <a:lnTo>
                    <a:pt x="119" y="146"/>
                  </a:lnTo>
                  <a:lnTo>
                    <a:pt x="119" y="146"/>
                  </a:lnTo>
                  <a:lnTo>
                    <a:pt x="119" y="142"/>
                  </a:lnTo>
                  <a:lnTo>
                    <a:pt x="119" y="142"/>
                  </a:lnTo>
                  <a:lnTo>
                    <a:pt x="119" y="142"/>
                  </a:lnTo>
                  <a:lnTo>
                    <a:pt x="119" y="142"/>
                  </a:lnTo>
                  <a:lnTo>
                    <a:pt x="119" y="142"/>
                  </a:lnTo>
                  <a:lnTo>
                    <a:pt x="124" y="142"/>
                  </a:lnTo>
                  <a:lnTo>
                    <a:pt x="124" y="142"/>
                  </a:lnTo>
                  <a:lnTo>
                    <a:pt x="124" y="142"/>
                  </a:lnTo>
                  <a:lnTo>
                    <a:pt x="124" y="142"/>
                  </a:lnTo>
                  <a:lnTo>
                    <a:pt x="124" y="142"/>
                  </a:lnTo>
                  <a:lnTo>
                    <a:pt x="124" y="142"/>
                  </a:lnTo>
                  <a:lnTo>
                    <a:pt x="124" y="146"/>
                  </a:lnTo>
                  <a:lnTo>
                    <a:pt x="124" y="146"/>
                  </a:lnTo>
                  <a:lnTo>
                    <a:pt x="124" y="151"/>
                  </a:lnTo>
                  <a:lnTo>
                    <a:pt x="124" y="151"/>
                  </a:lnTo>
                  <a:lnTo>
                    <a:pt x="124" y="151"/>
                  </a:lnTo>
                  <a:lnTo>
                    <a:pt x="124" y="151"/>
                  </a:lnTo>
                  <a:lnTo>
                    <a:pt x="124" y="151"/>
                  </a:lnTo>
                  <a:lnTo>
                    <a:pt x="119" y="151"/>
                  </a:lnTo>
                  <a:lnTo>
                    <a:pt x="119" y="151"/>
                  </a:lnTo>
                  <a:lnTo>
                    <a:pt x="119" y="151"/>
                  </a:lnTo>
                  <a:lnTo>
                    <a:pt x="119" y="151"/>
                  </a:lnTo>
                  <a:lnTo>
                    <a:pt x="119" y="155"/>
                  </a:lnTo>
                  <a:lnTo>
                    <a:pt x="119" y="155"/>
                  </a:lnTo>
                  <a:lnTo>
                    <a:pt x="124" y="155"/>
                  </a:lnTo>
                  <a:lnTo>
                    <a:pt x="124" y="155"/>
                  </a:lnTo>
                  <a:lnTo>
                    <a:pt x="124" y="155"/>
                  </a:lnTo>
                  <a:lnTo>
                    <a:pt x="124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4" y="155"/>
                  </a:lnTo>
                  <a:lnTo>
                    <a:pt x="124" y="155"/>
                  </a:lnTo>
                  <a:lnTo>
                    <a:pt x="124" y="159"/>
                  </a:lnTo>
                  <a:lnTo>
                    <a:pt x="124" y="159"/>
                  </a:lnTo>
                  <a:lnTo>
                    <a:pt x="128" y="159"/>
                  </a:lnTo>
                  <a:lnTo>
                    <a:pt x="128" y="159"/>
                  </a:lnTo>
                  <a:lnTo>
                    <a:pt x="128" y="159"/>
                  </a:lnTo>
                  <a:lnTo>
                    <a:pt x="128" y="159"/>
                  </a:lnTo>
                  <a:lnTo>
                    <a:pt x="128" y="159"/>
                  </a:lnTo>
                  <a:lnTo>
                    <a:pt x="128" y="159"/>
                  </a:lnTo>
                  <a:lnTo>
                    <a:pt x="128" y="155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33" y="151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7" y="151"/>
                  </a:lnTo>
                  <a:lnTo>
                    <a:pt x="137" y="151"/>
                  </a:lnTo>
                  <a:lnTo>
                    <a:pt x="137" y="151"/>
                  </a:lnTo>
                  <a:lnTo>
                    <a:pt x="133" y="151"/>
                  </a:lnTo>
                  <a:lnTo>
                    <a:pt x="133" y="151"/>
                  </a:lnTo>
                  <a:lnTo>
                    <a:pt x="133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1"/>
                  </a:lnTo>
                  <a:lnTo>
                    <a:pt x="137" y="151"/>
                  </a:lnTo>
                  <a:lnTo>
                    <a:pt x="137" y="146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6" y="137"/>
                  </a:lnTo>
                  <a:lnTo>
                    <a:pt x="146" y="137"/>
                  </a:lnTo>
                  <a:lnTo>
                    <a:pt x="146" y="133"/>
                  </a:lnTo>
                  <a:lnTo>
                    <a:pt x="146" y="133"/>
                  </a:lnTo>
                  <a:lnTo>
                    <a:pt x="150" y="128"/>
                  </a:lnTo>
                  <a:lnTo>
                    <a:pt x="150" y="128"/>
                  </a:lnTo>
                  <a:lnTo>
                    <a:pt x="150" y="128"/>
                  </a:lnTo>
                  <a:lnTo>
                    <a:pt x="146" y="124"/>
                  </a:lnTo>
                  <a:lnTo>
                    <a:pt x="146" y="120"/>
                  </a:lnTo>
                  <a:lnTo>
                    <a:pt x="146" y="120"/>
                  </a:lnTo>
                  <a:lnTo>
                    <a:pt x="141" y="120"/>
                  </a:lnTo>
                  <a:lnTo>
                    <a:pt x="141" y="120"/>
                  </a:lnTo>
                  <a:lnTo>
                    <a:pt x="128" y="120"/>
                  </a:lnTo>
                  <a:lnTo>
                    <a:pt x="124" y="120"/>
                  </a:lnTo>
                  <a:lnTo>
                    <a:pt x="119" y="120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5" y="111"/>
                  </a:lnTo>
                  <a:lnTo>
                    <a:pt x="115" y="115"/>
                  </a:lnTo>
                  <a:lnTo>
                    <a:pt x="115" y="115"/>
                  </a:lnTo>
                  <a:lnTo>
                    <a:pt x="110" y="115"/>
                  </a:lnTo>
                  <a:lnTo>
                    <a:pt x="110" y="120"/>
                  </a:lnTo>
                  <a:lnTo>
                    <a:pt x="110" y="120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0"/>
                  </a:lnTo>
                  <a:lnTo>
                    <a:pt x="110" y="120"/>
                  </a:lnTo>
                  <a:lnTo>
                    <a:pt x="110" y="120"/>
                  </a:lnTo>
                  <a:lnTo>
                    <a:pt x="110" y="115"/>
                  </a:lnTo>
                  <a:lnTo>
                    <a:pt x="110" y="115"/>
                  </a:lnTo>
                  <a:lnTo>
                    <a:pt x="115" y="115"/>
                  </a:lnTo>
                  <a:lnTo>
                    <a:pt x="115" y="111"/>
                  </a:lnTo>
                  <a:lnTo>
                    <a:pt x="119" y="106"/>
                  </a:lnTo>
                  <a:lnTo>
                    <a:pt x="119" y="106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0" y="106"/>
                  </a:lnTo>
                  <a:lnTo>
                    <a:pt x="110" y="102"/>
                  </a:lnTo>
                  <a:lnTo>
                    <a:pt x="110" y="102"/>
                  </a:lnTo>
                  <a:lnTo>
                    <a:pt x="110" y="102"/>
                  </a:lnTo>
                  <a:lnTo>
                    <a:pt x="110" y="102"/>
                  </a:lnTo>
                  <a:lnTo>
                    <a:pt x="106" y="102"/>
                  </a:lnTo>
                  <a:lnTo>
                    <a:pt x="106" y="102"/>
                  </a:lnTo>
                  <a:lnTo>
                    <a:pt x="106" y="102"/>
                  </a:lnTo>
                  <a:lnTo>
                    <a:pt x="106" y="102"/>
                  </a:lnTo>
                  <a:lnTo>
                    <a:pt x="106" y="106"/>
                  </a:lnTo>
                  <a:lnTo>
                    <a:pt x="106" y="106"/>
                  </a:lnTo>
                  <a:lnTo>
                    <a:pt x="102" y="106"/>
                  </a:lnTo>
                  <a:lnTo>
                    <a:pt x="102" y="106"/>
                  </a:lnTo>
                  <a:lnTo>
                    <a:pt x="102" y="106"/>
                  </a:lnTo>
                  <a:lnTo>
                    <a:pt x="102" y="106"/>
                  </a:lnTo>
                  <a:lnTo>
                    <a:pt x="102" y="106"/>
                  </a:lnTo>
                  <a:lnTo>
                    <a:pt x="102" y="106"/>
                  </a:lnTo>
                  <a:lnTo>
                    <a:pt x="102" y="106"/>
                  </a:lnTo>
                  <a:lnTo>
                    <a:pt x="102" y="106"/>
                  </a:lnTo>
                  <a:lnTo>
                    <a:pt x="102" y="106"/>
                  </a:lnTo>
                  <a:lnTo>
                    <a:pt x="97" y="106"/>
                  </a:lnTo>
                  <a:lnTo>
                    <a:pt x="93" y="111"/>
                  </a:lnTo>
                  <a:lnTo>
                    <a:pt x="88" y="111"/>
                  </a:lnTo>
                  <a:lnTo>
                    <a:pt x="88" y="106"/>
                  </a:lnTo>
                  <a:lnTo>
                    <a:pt x="97" y="106"/>
                  </a:lnTo>
                  <a:lnTo>
                    <a:pt x="97" y="106"/>
                  </a:lnTo>
                  <a:lnTo>
                    <a:pt x="102" y="106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6" y="102"/>
                  </a:lnTo>
                  <a:lnTo>
                    <a:pt x="106" y="102"/>
                  </a:lnTo>
                  <a:lnTo>
                    <a:pt x="106" y="102"/>
                  </a:lnTo>
                  <a:lnTo>
                    <a:pt x="106" y="102"/>
                  </a:lnTo>
                  <a:lnTo>
                    <a:pt x="110" y="102"/>
                  </a:lnTo>
                  <a:lnTo>
                    <a:pt x="110" y="102"/>
                  </a:lnTo>
                  <a:lnTo>
                    <a:pt x="110" y="102"/>
                  </a:lnTo>
                  <a:lnTo>
                    <a:pt x="110" y="102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5" y="97"/>
                  </a:lnTo>
                  <a:lnTo>
                    <a:pt x="115" y="97"/>
                  </a:lnTo>
                  <a:lnTo>
                    <a:pt x="115" y="93"/>
                  </a:lnTo>
                  <a:lnTo>
                    <a:pt x="115" y="89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75"/>
                  </a:lnTo>
                  <a:lnTo>
                    <a:pt x="115" y="75"/>
                  </a:lnTo>
                  <a:lnTo>
                    <a:pt x="110" y="75"/>
                  </a:lnTo>
                  <a:lnTo>
                    <a:pt x="110" y="75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2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102" y="66"/>
                  </a:lnTo>
                  <a:lnTo>
                    <a:pt x="102" y="66"/>
                  </a:lnTo>
                  <a:lnTo>
                    <a:pt x="106" y="66"/>
                  </a:lnTo>
                  <a:lnTo>
                    <a:pt x="106" y="71"/>
                  </a:lnTo>
                  <a:lnTo>
                    <a:pt x="110" y="75"/>
                  </a:lnTo>
                  <a:lnTo>
                    <a:pt x="110" y="75"/>
                  </a:lnTo>
                  <a:lnTo>
                    <a:pt x="115" y="75"/>
                  </a:lnTo>
                  <a:lnTo>
                    <a:pt x="115" y="75"/>
                  </a:lnTo>
                  <a:lnTo>
                    <a:pt x="115" y="75"/>
                  </a:lnTo>
                  <a:lnTo>
                    <a:pt x="115" y="75"/>
                  </a:lnTo>
                  <a:lnTo>
                    <a:pt x="119" y="75"/>
                  </a:lnTo>
                  <a:lnTo>
                    <a:pt x="119" y="71"/>
                  </a:lnTo>
                  <a:lnTo>
                    <a:pt x="119" y="66"/>
                  </a:lnTo>
                  <a:lnTo>
                    <a:pt x="119" y="62"/>
                  </a:lnTo>
                  <a:lnTo>
                    <a:pt x="119" y="62"/>
                  </a:lnTo>
                  <a:lnTo>
                    <a:pt x="124" y="58"/>
                  </a:lnTo>
                  <a:lnTo>
                    <a:pt x="124" y="53"/>
                  </a:lnTo>
                  <a:lnTo>
                    <a:pt x="128" y="53"/>
                  </a:lnTo>
                  <a:lnTo>
                    <a:pt x="128" y="53"/>
                  </a:lnTo>
                  <a:lnTo>
                    <a:pt x="128" y="40"/>
                  </a:lnTo>
                  <a:lnTo>
                    <a:pt x="128" y="35"/>
                  </a:lnTo>
                  <a:lnTo>
                    <a:pt x="128" y="31"/>
                  </a:lnTo>
                  <a:lnTo>
                    <a:pt x="124" y="27"/>
                  </a:lnTo>
                  <a:lnTo>
                    <a:pt x="124" y="22"/>
                  </a:lnTo>
                  <a:lnTo>
                    <a:pt x="124" y="18"/>
                  </a:lnTo>
                  <a:lnTo>
                    <a:pt x="124" y="13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4" y="4"/>
                  </a:lnTo>
                  <a:lnTo>
                    <a:pt x="119" y="9"/>
                  </a:lnTo>
                  <a:lnTo>
                    <a:pt x="115" y="13"/>
                  </a:lnTo>
                  <a:lnTo>
                    <a:pt x="110" y="18"/>
                  </a:lnTo>
                  <a:lnTo>
                    <a:pt x="106" y="18"/>
                  </a:lnTo>
                  <a:lnTo>
                    <a:pt x="102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3" y="22"/>
                  </a:lnTo>
                  <a:lnTo>
                    <a:pt x="88" y="27"/>
                  </a:lnTo>
                  <a:lnTo>
                    <a:pt x="88" y="31"/>
                  </a:lnTo>
                  <a:lnTo>
                    <a:pt x="75" y="49"/>
                  </a:lnTo>
                  <a:lnTo>
                    <a:pt x="71" y="53"/>
                  </a:lnTo>
                  <a:lnTo>
                    <a:pt x="66" y="58"/>
                  </a:lnTo>
                  <a:lnTo>
                    <a:pt x="62" y="62"/>
                  </a:lnTo>
                  <a:lnTo>
                    <a:pt x="57" y="62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35" y="62"/>
                  </a:lnTo>
                  <a:lnTo>
                    <a:pt x="31" y="6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2" y="71"/>
                  </a:lnTo>
                  <a:lnTo>
                    <a:pt x="17" y="75"/>
                  </a:lnTo>
                  <a:lnTo>
                    <a:pt x="9" y="89"/>
                  </a:lnTo>
                  <a:lnTo>
                    <a:pt x="9" y="93"/>
                  </a:lnTo>
                  <a:lnTo>
                    <a:pt x="4" y="97"/>
                  </a:lnTo>
                  <a:lnTo>
                    <a:pt x="4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97"/>
                  </a:lnTo>
                  <a:lnTo>
                    <a:pt x="4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6"/>
                  </a:lnTo>
                  <a:lnTo>
                    <a:pt x="13" y="106"/>
                  </a:lnTo>
                  <a:lnTo>
                    <a:pt x="17" y="106"/>
                  </a:lnTo>
                  <a:lnTo>
                    <a:pt x="17" y="106"/>
                  </a:lnTo>
                  <a:lnTo>
                    <a:pt x="17" y="106"/>
                  </a:lnTo>
                  <a:lnTo>
                    <a:pt x="17" y="111"/>
                  </a:lnTo>
                  <a:lnTo>
                    <a:pt x="17" y="111"/>
                  </a:lnTo>
                  <a:lnTo>
                    <a:pt x="22" y="111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2" y="102"/>
                  </a:lnTo>
                  <a:lnTo>
                    <a:pt x="22" y="106"/>
                  </a:lnTo>
                  <a:lnTo>
                    <a:pt x="17" y="106"/>
                  </a:lnTo>
                  <a:lnTo>
                    <a:pt x="17" y="106"/>
                  </a:lnTo>
                  <a:lnTo>
                    <a:pt x="17" y="106"/>
                  </a:lnTo>
                  <a:lnTo>
                    <a:pt x="13" y="106"/>
                  </a:lnTo>
                  <a:lnTo>
                    <a:pt x="13" y="106"/>
                  </a:lnTo>
                  <a:lnTo>
                    <a:pt x="17" y="102"/>
                  </a:lnTo>
                  <a:lnTo>
                    <a:pt x="17" y="102"/>
                  </a:lnTo>
                  <a:lnTo>
                    <a:pt x="17" y="102"/>
                  </a:lnTo>
                  <a:lnTo>
                    <a:pt x="17" y="102"/>
                  </a:lnTo>
                  <a:lnTo>
                    <a:pt x="17" y="102"/>
                  </a:lnTo>
                  <a:lnTo>
                    <a:pt x="22" y="106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17" y="102"/>
                  </a:lnTo>
                  <a:lnTo>
                    <a:pt x="17" y="102"/>
                  </a:lnTo>
                  <a:lnTo>
                    <a:pt x="17" y="102"/>
                  </a:lnTo>
                  <a:lnTo>
                    <a:pt x="17" y="97"/>
                  </a:lnTo>
                  <a:lnTo>
                    <a:pt x="17" y="97"/>
                  </a:lnTo>
                  <a:lnTo>
                    <a:pt x="17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6" y="80"/>
                  </a:lnTo>
                  <a:lnTo>
                    <a:pt x="31" y="80"/>
                  </a:lnTo>
                  <a:lnTo>
                    <a:pt x="31" y="80"/>
                  </a:lnTo>
                  <a:lnTo>
                    <a:pt x="31" y="80"/>
                  </a:lnTo>
                  <a:lnTo>
                    <a:pt x="31" y="80"/>
                  </a:lnTo>
                  <a:lnTo>
                    <a:pt x="35" y="80"/>
                  </a:lnTo>
                  <a:lnTo>
                    <a:pt x="35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53" y="71"/>
                  </a:lnTo>
                  <a:lnTo>
                    <a:pt x="53" y="71"/>
                  </a:lnTo>
                  <a:lnTo>
                    <a:pt x="53" y="66"/>
                  </a:lnTo>
                  <a:lnTo>
                    <a:pt x="57" y="75"/>
                  </a:lnTo>
                  <a:lnTo>
                    <a:pt x="57" y="75"/>
                  </a:lnTo>
                  <a:lnTo>
                    <a:pt x="62" y="75"/>
                  </a:lnTo>
                  <a:lnTo>
                    <a:pt x="71" y="71"/>
                  </a:lnTo>
                  <a:lnTo>
                    <a:pt x="75" y="71"/>
                  </a:lnTo>
                  <a:lnTo>
                    <a:pt x="79" y="66"/>
                  </a:lnTo>
                  <a:lnTo>
                    <a:pt x="79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6"/>
                  </a:lnTo>
                  <a:lnTo>
                    <a:pt x="93" y="66"/>
                  </a:lnTo>
                  <a:lnTo>
                    <a:pt x="93" y="66"/>
                  </a:lnTo>
                  <a:lnTo>
                    <a:pt x="88" y="71"/>
                  </a:lnTo>
                  <a:lnTo>
                    <a:pt x="88" y="66"/>
                  </a:lnTo>
                  <a:lnTo>
                    <a:pt x="84" y="71"/>
                  </a:lnTo>
                  <a:lnTo>
                    <a:pt x="84" y="71"/>
                  </a:lnTo>
                  <a:lnTo>
                    <a:pt x="79" y="71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57" y="75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57" y="84"/>
                  </a:lnTo>
                  <a:lnTo>
                    <a:pt x="53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7" y="89"/>
                  </a:lnTo>
                  <a:lnTo>
                    <a:pt x="57" y="89"/>
                  </a:lnTo>
                  <a:lnTo>
                    <a:pt x="57" y="89"/>
                  </a:lnTo>
                  <a:lnTo>
                    <a:pt x="57" y="89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7"/>
                  </a:lnTo>
                  <a:lnTo>
                    <a:pt x="57" y="97"/>
                  </a:lnTo>
                  <a:lnTo>
                    <a:pt x="57" y="97"/>
                  </a:lnTo>
                  <a:lnTo>
                    <a:pt x="57" y="97"/>
                  </a:lnTo>
                  <a:lnTo>
                    <a:pt x="57" y="97"/>
                  </a:lnTo>
                  <a:lnTo>
                    <a:pt x="57" y="97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7" y="106"/>
                  </a:lnTo>
                  <a:lnTo>
                    <a:pt x="57" y="106"/>
                  </a:lnTo>
                  <a:lnTo>
                    <a:pt x="57" y="106"/>
                  </a:lnTo>
                  <a:lnTo>
                    <a:pt x="57" y="106"/>
                  </a:lnTo>
                  <a:lnTo>
                    <a:pt x="57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6"/>
                  </a:lnTo>
                  <a:lnTo>
                    <a:pt x="62" y="106"/>
                  </a:lnTo>
                  <a:lnTo>
                    <a:pt x="62" y="111"/>
                  </a:lnTo>
                  <a:lnTo>
                    <a:pt x="62" y="111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20"/>
                  </a:lnTo>
                  <a:lnTo>
                    <a:pt x="66" y="115"/>
                  </a:lnTo>
                  <a:lnTo>
                    <a:pt x="66" y="120"/>
                  </a:lnTo>
                  <a:lnTo>
                    <a:pt x="62" y="120"/>
                  </a:lnTo>
                  <a:lnTo>
                    <a:pt x="62" y="120"/>
                  </a:lnTo>
                  <a:lnTo>
                    <a:pt x="62" y="120"/>
                  </a:lnTo>
                  <a:lnTo>
                    <a:pt x="62" y="120"/>
                  </a:lnTo>
                  <a:lnTo>
                    <a:pt x="62" y="120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57" y="115"/>
                  </a:lnTo>
                  <a:lnTo>
                    <a:pt x="62" y="115"/>
                  </a:lnTo>
                  <a:lnTo>
                    <a:pt x="62" y="111"/>
                  </a:lnTo>
                  <a:lnTo>
                    <a:pt x="62" y="111"/>
                  </a:lnTo>
                  <a:lnTo>
                    <a:pt x="62" y="111"/>
                  </a:lnTo>
                  <a:lnTo>
                    <a:pt x="62" y="111"/>
                  </a:lnTo>
                  <a:lnTo>
                    <a:pt x="57" y="111"/>
                  </a:lnTo>
                  <a:lnTo>
                    <a:pt x="57" y="111"/>
                  </a:lnTo>
                  <a:lnTo>
                    <a:pt x="57" y="111"/>
                  </a:lnTo>
                  <a:lnTo>
                    <a:pt x="57" y="111"/>
                  </a:lnTo>
                  <a:lnTo>
                    <a:pt x="53" y="111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1"/>
                  </a:lnTo>
                  <a:lnTo>
                    <a:pt x="53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1"/>
                  </a:lnTo>
                  <a:lnTo>
                    <a:pt x="48" y="111"/>
                  </a:lnTo>
                  <a:lnTo>
                    <a:pt x="48" y="111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02"/>
                  </a:lnTo>
                  <a:lnTo>
                    <a:pt x="57" y="102"/>
                  </a:lnTo>
                  <a:lnTo>
                    <a:pt x="53" y="102"/>
                  </a:lnTo>
                  <a:lnTo>
                    <a:pt x="53" y="97"/>
                  </a:lnTo>
                  <a:lnTo>
                    <a:pt x="53" y="97"/>
                  </a:lnTo>
                  <a:lnTo>
                    <a:pt x="53" y="97"/>
                  </a:lnTo>
                  <a:lnTo>
                    <a:pt x="53" y="93"/>
                  </a:lnTo>
                  <a:lnTo>
                    <a:pt x="53" y="93"/>
                  </a:lnTo>
                  <a:lnTo>
                    <a:pt x="53" y="93"/>
                  </a:lnTo>
                  <a:lnTo>
                    <a:pt x="48" y="93"/>
                  </a:lnTo>
                  <a:lnTo>
                    <a:pt x="48" y="93"/>
                  </a:lnTo>
                  <a:lnTo>
                    <a:pt x="48" y="93"/>
                  </a:lnTo>
                  <a:lnTo>
                    <a:pt x="48" y="93"/>
                  </a:lnTo>
                  <a:lnTo>
                    <a:pt x="48" y="93"/>
                  </a:lnTo>
                  <a:lnTo>
                    <a:pt x="48" y="93"/>
                  </a:lnTo>
                  <a:lnTo>
                    <a:pt x="48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0" y="102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1" y="111"/>
                  </a:lnTo>
                  <a:lnTo>
                    <a:pt x="31" y="111"/>
                  </a:lnTo>
                  <a:lnTo>
                    <a:pt x="31" y="111"/>
                  </a:lnTo>
                  <a:lnTo>
                    <a:pt x="31" y="111"/>
                  </a:lnTo>
                  <a:lnTo>
                    <a:pt x="31" y="111"/>
                  </a:lnTo>
                  <a:lnTo>
                    <a:pt x="31" y="111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5" y="115"/>
                  </a:lnTo>
                  <a:lnTo>
                    <a:pt x="35" y="115"/>
                  </a:lnTo>
                  <a:lnTo>
                    <a:pt x="35" y="115"/>
                  </a:lnTo>
                  <a:lnTo>
                    <a:pt x="35" y="115"/>
                  </a:lnTo>
                  <a:lnTo>
                    <a:pt x="35" y="115"/>
                  </a:lnTo>
                  <a:lnTo>
                    <a:pt x="31" y="120"/>
                  </a:lnTo>
                  <a:lnTo>
                    <a:pt x="31" y="120"/>
                  </a:lnTo>
                  <a:lnTo>
                    <a:pt x="31" y="120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17" y="115"/>
                  </a:lnTo>
                  <a:lnTo>
                    <a:pt x="17" y="115"/>
                  </a:lnTo>
                  <a:lnTo>
                    <a:pt x="17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1"/>
                  </a:lnTo>
                  <a:lnTo>
                    <a:pt x="9" y="111"/>
                  </a:lnTo>
                  <a:lnTo>
                    <a:pt x="9" y="111"/>
                  </a:lnTo>
                  <a:lnTo>
                    <a:pt x="9" y="111"/>
                  </a:lnTo>
                  <a:lnTo>
                    <a:pt x="4" y="111"/>
                  </a:lnTo>
                  <a:lnTo>
                    <a:pt x="4" y="111"/>
                  </a:lnTo>
                  <a:lnTo>
                    <a:pt x="4" y="111"/>
                  </a:lnTo>
                  <a:lnTo>
                    <a:pt x="4" y="111"/>
                  </a:lnTo>
                  <a:lnTo>
                    <a:pt x="4" y="111"/>
                  </a:lnTo>
                  <a:lnTo>
                    <a:pt x="4" y="111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4" y="106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4" y="159"/>
                  </a:lnTo>
                  <a:lnTo>
                    <a:pt x="9" y="159"/>
                  </a:lnTo>
                  <a:lnTo>
                    <a:pt x="9" y="164"/>
                  </a:lnTo>
                  <a:lnTo>
                    <a:pt x="9" y="164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3" y="173"/>
                  </a:lnTo>
                  <a:lnTo>
                    <a:pt x="13" y="173"/>
                  </a:lnTo>
                  <a:lnTo>
                    <a:pt x="13" y="177"/>
                  </a:lnTo>
                  <a:lnTo>
                    <a:pt x="13" y="177"/>
                  </a:lnTo>
                  <a:lnTo>
                    <a:pt x="13" y="182"/>
                  </a:lnTo>
                  <a:lnTo>
                    <a:pt x="13" y="182"/>
                  </a:lnTo>
                  <a:lnTo>
                    <a:pt x="9" y="182"/>
                  </a:lnTo>
                  <a:lnTo>
                    <a:pt x="9" y="186"/>
                  </a:lnTo>
                  <a:lnTo>
                    <a:pt x="4" y="186"/>
                  </a:lnTo>
                  <a:lnTo>
                    <a:pt x="4" y="186"/>
                  </a:lnTo>
                  <a:lnTo>
                    <a:pt x="4" y="186"/>
                  </a:lnTo>
                  <a:lnTo>
                    <a:pt x="4" y="186"/>
                  </a:lnTo>
                  <a:lnTo>
                    <a:pt x="4" y="186"/>
                  </a:lnTo>
                  <a:lnTo>
                    <a:pt x="4" y="182"/>
                  </a:lnTo>
                  <a:lnTo>
                    <a:pt x="4" y="182"/>
                  </a:lnTo>
                  <a:lnTo>
                    <a:pt x="4" y="182"/>
                  </a:lnTo>
                  <a:lnTo>
                    <a:pt x="4" y="177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68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4" y="190"/>
                  </a:lnTo>
                  <a:lnTo>
                    <a:pt x="4" y="195"/>
                  </a:lnTo>
                  <a:lnTo>
                    <a:pt x="4" y="199"/>
                  </a:lnTo>
                  <a:lnTo>
                    <a:pt x="0" y="204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0" y="213"/>
                  </a:lnTo>
                  <a:lnTo>
                    <a:pt x="4" y="213"/>
                  </a:lnTo>
                  <a:lnTo>
                    <a:pt x="4" y="213"/>
                  </a:lnTo>
                  <a:lnTo>
                    <a:pt x="9" y="217"/>
                  </a:lnTo>
                  <a:lnTo>
                    <a:pt x="9" y="217"/>
                  </a:lnTo>
                  <a:lnTo>
                    <a:pt x="9" y="217"/>
                  </a:lnTo>
                  <a:lnTo>
                    <a:pt x="9" y="217"/>
                  </a:lnTo>
                  <a:lnTo>
                    <a:pt x="9" y="217"/>
                  </a:lnTo>
                  <a:lnTo>
                    <a:pt x="4" y="213"/>
                  </a:lnTo>
                  <a:lnTo>
                    <a:pt x="9" y="213"/>
                  </a:lnTo>
                  <a:lnTo>
                    <a:pt x="9" y="213"/>
                  </a:lnTo>
                  <a:lnTo>
                    <a:pt x="9" y="213"/>
                  </a:lnTo>
                  <a:lnTo>
                    <a:pt x="4" y="213"/>
                  </a:lnTo>
                  <a:lnTo>
                    <a:pt x="4" y="213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9" y="208"/>
                  </a:lnTo>
                  <a:lnTo>
                    <a:pt x="13" y="208"/>
                  </a:lnTo>
                  <a:lnTo>
                    <a:pt x="13" y="208"/>
                  </a:lnTo>
                  <a:lnTo>
                    <a:pt x="9" y="208"/>
                  </a:lnTo>
                  <a:lnTo>
                    <a:pt x="9" y="213"/>
                  </a:lnTo>
                  <a:lnTo>
                    <a:pt x="13" y="217"/>
                  </a:lnTo>
                  <a:lnTo>
                    <a:pt x="17" y="221"/>
                  </a:lnTo>
                  <a:lnTo>
                    <a:pt x="17" y="221"/>
                  </a:lnTo>
                  <a:lnTo>
                    <a:pt x="22" y="221"/>
                  </a:lnTo>
                  <a:lnTo>
                    <a:pt x="26" y="221"/>
                  </a:lnTo>
                  <a:lnTo>
                    <a:pt x="26" y="221"/>
                  </a:lnTo>
                  <a:lnTo>
                    <a:pt x="26" y="226"/>
                  </a:lnTo>
                  <a:lnTo>
                    <a:pt x="26" y="226"/>
                  </a:lnTo>
                  <a:lnTo>
                    <a:pt x="26" y="230"/>
                  </a:lnTo>
                  <a:lnTo>
                    <a:pt x="26" y="230"/>
                  </a:lnTo>
                  <a:lnTo>
                    <a:pt x="26" y="235"/>
                  </a:lnTo>
                  <a:lnTo>
                    <a:pt x="26" y="235"/>
                  </a:lnTo>
                  <a:lnTo>
                    <a:pt x="26" y="235"/>
                  </a:lnTo>
                  <a:lnTo>
                    <a:pt x="26" y="235"/>
                  </a:lnTo>
                  <a:lnTo>
                    <a:pt x="26" y="239"/>
                  </a:lnTo>
                  <a:lnTo>
                    <a:pt x="31" y="244"/>
                  </a:lnTo>
                  <a:lnTo>
                    <a:pt x="31" y="248"/>
                  </a:lnTo>
                  <a:lnTo>
                    <a:pt x="31" y="248"/>
                  </a:lnTo>
                  <a:lnTo>
                    <a:pt x="31" y="248"/>
                  </a:lnTo>
                  <a:lnTo>
                    <a:pt x="26" y="248"/>
                  </a:lnTo>
                  <a:lnTo>
                    <a:pt x="22" y="248"/>
                  </a:lnTo>
                  <a:lnTo>
                    <a:pt x="22" y="248"/>
                  </a:lnTo>
                  <a:lnTo>
                    <a:pt x="22" y="248"/>
                  </a:lnTo>
                  <a:lnTo>
                    <a:pt x="26" y="248"/>
                  </a:lnTo>
                  <a:lnTo>
                    <a:pt x="26" y="248"/>
                  </a:lnTo>
                  <a:lnTo>
                    <a:pt x="22" y="244"/>
                  </a:lnTo>
                  <a:lnTo>
                    <a:pt x="22" y="244"/>
                  </a:lnTo>
                  <a:lnTo>
                    <a:pt x="17" y="244"/>
                  </a:lnTo>
                  <a:lnTo>
                    <a:pt x="17" y="248"/>
                  </a:lnTo>
                  <a:lnTo>
                    <a:pt x="17" y="248"/>
                  </a:lnTo>
                  <a:lnTo>
                    <a:pt x="17" y="252"/>
                  </a:lnTo>
                  <a:lnTo>
                    <a:pt x="17" y="252"/>
                  </a:lnTo>
                  <a:lnTo>
                    <a:pt x="17" y="257"/>
                  </a:lnTo>
                  <a:lnTo>
                    <a:pt x="17" y="257"/>
                  </a:lnTo>
                  <a:lnTo>
                    <a:pt x="22" y="257"/>
                  </a:lnTo>
                  <a:lnTo>
                    <a:pt x="22" y="257"/>
                  </a:lnTo>
                  <a:lnTo>
                    <a:pt x="22" y="257"/>
                  </a:lnTo>
                  <a:lnTo>
                    <a:pt x="22" y="252"/>
                  </a:lnTo>
                  <a:lnTo>
                    <a:pt x="22" y="252"/>
                  </a:lnTo>
                  <a:lnTo>
                    <a:pt x="22" y="252"/>
                  </a:lnTo>
                  <a:lnTo>
                    <a:pt x="22" y="248"/>
                  </a:lnTo>
                  <a:lnTo>
                    <a:pt x="22" y="248"/>
                  </a:lnTo>
                  <a:lnTo>
                    <a:pt x="22" y="248"/>
                  </a:lnTo>
                  <a:lnTo>
                    <a:pt x="31" y="252"/>
                  </a:lnTo>
                  <a:lnTo>
                    <a:pt x="31" y="252"/>
                  </a:lnTo>
                  <a:lnTo>
                    <a:pt x="26" y="257"/>
                  </a:lnTo>
                  <a:lnTo>
                    <a:pt x="26" y="257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31" y="266"/>
                  </a:lnTo>
                  <a:lnTo>
                    <a:pt x="31" y="266"/>
                  </a:lnTo>
                  <a:lnTo>
                    <a:pt x="26" y="270"/>
                  </a:lnTo>
                  <a:lnTo>
                    <a:pt x="31" y="270"/>
                  </a:lnTo>
                  <a:lnTo>
                    <a:pt x="26" y="270"/>
                  </a:lnTo>
                  <a:lnTo>
                    <a:pt x="26" y="270"/>
                  </a:lnTo>
                  <a:lnTo>
                    <a:pt x="31" y="274"/>
                  </a:lnTo>
                  <a:lnTo>
                    <a:pt x="31" y="274"/>
                  </a:lnTo>
                  <a:lnTo>
                    <a:pt x="35" y="270"/>
                  </a:lnTo>
                  <a:lnTo>
                    <a:pt x="35" y="270"/>
                  </a:lnTo>
                  <a:lnTo>
                    <a:pt x="40" y="270"/>
                  </a:lnTo>
                  <a:lnTo>
                    <a:pt x="44" y="274"/>
                  </a:lnTo>
                  <a:lnTo>
                    <a:pt x="57" y="274"/>
                  </a:lnTo>
                  <a:lnTo>
                    <a:pt x="57" y="279"/>
                  </a:lnTo>
                  <a:lnTo>
                    <a:pt x="57" y="279"/>
                  </a:lnTo>
                  <a:lnTo>
                    <a:pt x="57" y="279"/>
                  </a:lnTo>
                  <a:lnTo>
                    <a:pt x="57" y="279"/>
                  </a:lnTo>
                  <a:lnTo>
                    <a:pt x="57" y="279"/>
                  </a:lnTo>
                  <a:lnTo>
                    <a:pt x="62" y="279"/>
                  </a:lnTo>
                  <a:lnTo>
                    <a:pt x="62" y="279"/>
                  </a:lnTo>
                  <a:lnTo>
                    <a:pt x="66" y="279"/>
                  </a:lnTo>
                  <a:lnTo>
                    <a:pt x="66" y="279"/>
                  </a:lnTo>
                  <a:lnTo>
                    <a:pt x="66" y="279"/>
                  </a:lnTo>
                  <a:lnTo>
                    <a:pt x="66" y="279"/>
                  </a:lnTo>
                  <a:lnTo>
                    <a:pt x="66" y="279"/>
                  </a:lnTo>
                  <a:lnTo>
                    <a:pt x="71" y="279"/>
                  </a:lnTo>
                  <a:lnTo>
                    <a:pt x="71" y="279"/>
                  </a:lnTo>
                  <a:lnTo>
                    <a:pt x="71" y="279"/>
                  </a:lnTo>
                  <a:lnTo>
                    <a:pt x="71" y="279"/>
                  </a:lnTo>
                  <a:lnTo>
                    <a:pt x="71" y="279"/>
                  </a:lnTo>
                  <a:lnTo>
                    <a:pt x="71" y="274"/>
                  </a:lnTo>
                  <a:lnTo>
                    <a:pt x="71" y="274"/>
                  </a:lnTo>
                  <a:lnTo>
                    <a:pt x="75" y="274"/>
                  </a:lnTo>
                  <a:lnTo>
                    <a:pt x="75" y="274"/>
                  </a:lnTo>
                  <a:lnTo>
                    <a:pt x="75" y="274"/>
                  </a:lnTo>
                  <a:lnTo>
                    <a:pt x="75" y="274"/>
                  </a:lnTo>
                  <a:lnTo>
                    <a:pt x="75" y="274"/>
                  </a:lnTo>
                  <a:lnTo>
                    <a:pt x="75" y="274"/>
                  </a:lnTo>
                  <a:lnTo>
                    <a:pt x="75" y="270"/>
                  </a:lnTo>
                  <a:lnTo>
                    <a:pt x="75" y="270"/>
                  </a:lnTo>
                  <a:lnTo>
                    <a:pt x="75" y="270"/>
                  </a:lnTo>
                  <a:lnTo>
                    <a:pt x="79" y="270"/>
                  </a:lnTo>
                  <a:lnTo>
                    <a:pt x="79" y="270"/>
                  </a:lnTo>
                  <a:lnTo>
                    <a:pt x="79" y="270"/>
                  </a:lnTo>
                  <a:lnTo>
                    <a:pt x="79" y="270"/>
                  </a:lnTo>
                  <a:lnTo>
                    <a:pt x="79" y="270"/>
                  </a:lnTo>
                  <a:lnTo>
                    <a:pt x="79" y="270"/>
                  </a:lnTo>
                  <a:lnTo>
                    <a:pt x="79" y="274"/>
                  </a:lnTo>
                  <a:lnTo>
                    <a:pt x="79" y="274"/>
                  </a:lnTo>
                  <a:lnTo>
                    <a:pt x="79" y="274"/>
                  </a:lnTo>
                  <a:lnTo>
                    <a:pt x="79" y="274"/>
                  </a:lnTo>
                  <a:lnTo>
                    <a:pt x="79" y="274"/>
                  </a:lnTo>
                  <a:lnTo>
                    <a:pt x="79" y="274"/>
                  </a:lnTo>
                  <a:lnTo>
                    <a:pt x="84" y="274"/>
                  </a:lnTo>
                  <a:lnTo>
                    <a:pt x="84" y="274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4"/>
                  </a:lnTo>
                  <a:lnTo>
                    <a:pt x="84" y="274"/>
                  </a:lnTo>
                  <a:lnTo>
                    <a:pt x="84" y="274"/>
                  </a:lnTo>
                  <a:lnTo>
                    <a:pt x="84" y="274"/>
                  </a:lnTo>
                  <a:lnTo>
                    <a:pt x="84" y="274"/>
                  </a:lnTo>
                  <a:lnTo>
                    <a:pt x="84" y="274"/>
                  </a:lnTo>
                  <a:lnTo>
                    <a:pt x="84" y="274"/>
                  </a:lnTo>
                  <a:lnTo>
                    <a:pt x="84" y="270"/>
                  </a:lnTo>
                  <a:lnTo>
                    <a:pt x="84" y="270"/>
                  </a:lnTo>
                  <a:lnTo>
                    <a:pt x="84" y="270"/>
                  </a:lnTo>
                  <a:lnTo>
                    <a:pt x="84" y="270"/>
                  </a:lnTo>
                  <a:lnTo>
                    <a:pt x="88" y="270"/>
                  </a:lnTo>
                  <a:lnTo>
                    <a:pt x="88" y="270"/>
                  </a:lnTo>
                  <a:lnTo>
                    <a:pt x="88" y="270"/>
                  </a:lnTo>
                  <a:lnTo>
                    <a:pt x="84" y="266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37" name="Freeform 69"/>
            <p:cNvSpPr>
              <a:spLocks/>
            </p:cNvSpPr>
            <p:nvPr/>
          </p:nvSpPr>
          <p:spPr bwMode="auto">
            <a:xfrm>
              <a:off x="3500438" y="4492626"/>
              <a:ext cx="568325" cy="315913"/>
            </a:xfrm>
            <a:custGeom>
              <a:avLst/>
              <a:gdLst>
                <a:gd name="T0" fmla="*/ 349 w 358"/>
                <a:gd name="T1" fmla="*/ 111 h 199"/>
                <a:gd name="T2" fmla="*/ 336 w 358"/>
                <a:gd name="T3" fmla="*/ 93 h 199"/>
                <a:gd name="T4" fmla="*/ 323 w 358"/>
                <a:gd name="T5" fmla="*/ 89 h 199"/>
                <a:gd name="T6" fmla="*/ 314 w 358"/>
                <a:gd name="T7" fmla="*/ 84 h 199"/>
                <a:gd name="T8" fmla="*/ 296 w 358"/>
                <a:gd name="T9" fmla="*/ 75 h 199"/>
                <a:gd name="T10" fmla="*/ 292 w 358"/>
                <a:gd name="T11" fmla="*/ 71 h 199"/>
                <a:gd name="T12" fmla="*/ 301 w 358"/>
                <a:gd name="T13" fmla="*/ 62 h 199"/>
                <a:gd name="T14" fmla="*/ 283 w 358"/>
                <a:gd name="T15" fmla="*/ 66 h 199"/>
                <a:gd name="T16" fmla="*/ 279 w 358"/>
                <a:gd name="T17" fmla="*/ 58 h 199"/>
                <a:gd name="T18" fmla="*/ 265 w 358"/>
                <a:gd name="T19" fmla="*/ 53 h 199"/>
                <a:gd name="T20" fmla="*/ 261 w 358"/>
                <a:gd name="T21" fmla="*/ 62 h 199"/>
                <a:gd name="T22" fmla="*/ 257 w 358"/>
                <a:gd name="T23" fmla="*/ 66 h 199"/>
                <a:gd name="T24" fmla="*/ 239 w 358"/>
                <a:gd name="T25" fmla="*/ 75 h 199"/>
                <a:gd name="T26" fmla="*/ 226 w 358"/>
                <a:gd name="T27" fmla="*/ 53 h 199"/>
                <a:gd name="T28" fmla="*/ 217 w 358"/>
                <a:gd name="T29" fmla="*/ 49 h 199"/>
                <a:gd name="T30" fmla="*/ 226 w 358"/>
                <a:gd name="T31" fmla="*/ 40 h 199"/>
                <a:gd name="T32" fmla="*/ 217 w 358"/>
                <a:gd name="T33" fmla="*/ 31 h 199"/>
                <a:gd name="T34" fmla="*/ 208 w 358"/>
                <a:gd name="T35" fmla="*/ 31 h 199"/>
                <a:gd name="T36" fmla="*/ 190 w 358"/>
                <a:gd name="T37" fmla="*/ 22 h 199"/>
                <a:gd name="T38" fmla="*/ 172 w 358"/>
                <a:gd name="T39" fmla="*/ 13 h 199"/>
                <a:gd name="T40" fmla="*/ 164 w 358"/>
                <a:gd name="T41" fmla="*/ 0 h 199"/>
                <a:gd name="T42" fmla="*/ 155 w 358"/>
                <a:gd name="T43" fmla="*/ 0 h 199"/>
                <a:gd name="T44" fmla="*/ 146 w 358"/>
                <a:gd name="T45" fmla="*/ 13 h 199"/>
                <a:gd name="T46" fmla="*/ 137 w 358"/>
                <a:gd name="T47" fmla="*/ 9 h 199"/>
                <a:gd name="T48" fmla="*/ 128 w 358"/>
                <a:gd name="T49" fmla="*/ 0 h 199"/>
                <a:gd name="T50" fmla="*/ 115 w 358"/>
                <a:gd name="T51" fmla="*/ 0 h 199"/>
                <a:gd name="T52" fmla="*/ 115 w 358"/>
                <a:gd name="T53" fmla="*/ 13 h 199"/>
                <a:gd name="T54" fmla="*/ 97 w 358"/>
                <a:gd name="T55" fmla="*/ 22 h 199"/>
                <a:gd name="T56" fmla="*/ 75 w 358"/>
                <a:gd name="T57" fmla="*/ 27 h 199"/>
                <a:gd name="T58" fmla="*/ 71 w 358"/>
                <a:gd name="T59" fmla="*/ 31 h 199"/>
                <a:gd name="T60" fmla="*/ 53 w 358"/>
                <a:gd name="T61" fmla="*/ 44 h 199"/>
                <a:gd name="T62" fmla="*/ 49 w 358"/>
                <a:gd name="T63" fmla="*/ 49 h 199"/>
                <a:gd name="T64" fmla="*/ 31 w 358"/>
                <a:gd name="T65" fmla="*/ 53 h 199"/>
                <a:gd name="T66" fmla="*/ 18 w 358"/>
                <a:gd name="T67" fmla="*/ 58 h 199"/>
                <a:gd name="T68" fmla="*/ 13 w 358"/>
                <a:gd name="T69" fmla="*/ 71 h 199"/>
                <a:gd name="T70" fmla="*/ 9 w 358"/>
                <a:gd name="T71" fmla="*/ 62 h 199"/>
                <a:gd name="T72" fmla="*/ 4 w 358"/>
                <a:gd name="T73" fmla="*/ 62 h 199"/>
                <a:gd name="T74" fmla="*/ 9 w 358"/>
                <a:gd name="T75" fmla="*/ 75 h 199"/>
                <a:gd name="T76" fmla="*/ 22 w 358"/>
                <a:gd name="T77" fmla="*/ 93 h 199"/>
                <a:gd name="T78" fmla="*/ 18 w 358"/>
                <a:gd name="T79" fmla="*/ 106 h 199"/>
                <a:gd name="T80" fmla="*/ 26 w 358"/>
                <a:gd name="T81" fmla="*/ 115 h 199"/>
                <a:gd name="T82" fmla="*/ 31 w 358"/>
                <a:gd name="T83" fmla="*/ 133 h 199"/>
                <a:gd name="T84" fmla="*/ 49 w 358"/>
                <a:gd name="T85" fmla="*/ 142 h 199"/>
                <a:gd name="T86" fmla="*/ 71 w 358"/>
                <a:gd name="T87" fmla="*/ 164 h 199"/>
                <a:gd name="T88" fmla="*/ 79 w 358"/>
                <a:gd name="T89" fmla="*/ 168 h 199"/>
                <a:gd name="T90" fmla="*/ 102 w 358"/>
                <a:gd name="T91" fmla="*/ 190 h 199"/>
                <a:gd name="T92" fmla="*/ 102 w 358"/>
                <a:gd name="T93" fmla="*/ 195 h 199"/>
                <a:gd name="T94" fmla="*/ 128 w 358"/>
                <a:gd name="T95" fmla="*/ 195 h 199"/>
                <a:gd name="T96" fmla="*/ 137 w 358"/>
                <a:gd name="T97" fmla="*/ 199 h 199"/>
                <a:gd name="T98" fmla="*/ 150 w 358"/>
                <a:gd name="T99" fmla="*/ 186 h 199"/>
                <a:gd name="T100" fmla="*/ 155 w 358"/>
                <a:gd name="T101" fmla="*/ 164 h 199"/>
                <a:gd name="T102" fmla="*/ 168 w 358"/>
                <a:gd name="T103" fmla="*/ 168 h 199"/>
                <a:gd name="T104" fmla="*/ 195 w 358"/>
                <a:gd name="T105" fmla="*/ 177 h 199"/>
                <a:gd name="T106" fmla="*/ 203 w 358"/>
                <a:gd name="T107" fmla="*/ 177 h 199"/>
                <a:gd name="T108" fmla="*/ 226 w 358"/>
                <a:gd name="T109" fmla="*/ 186 h 199"/>
                <a:gd name="T110" fmla="*/ 243 w 358"/>
                <a:gd name="T111" fmla="*/ 186 h 199"/>
                <a:gd name="T112" fmla="*/ 257 w 358"/>
                <a:gd name="T113" fmla="*/ 195 h 199"/>
                <a:gd name="T114" fmla="*/ 283 w 358"/>
                <a:gd name="T115" fmla="*/ 177 h 199"/>
                <a:gd name="T116" fmla="*/ 310 w 358"/>
                <a:gd name="T117" fmla="*/ 164 h 199"/>
                <a:gd name="T118" fmla="*/ 332 w 358"/>
                <a:gd name="T119" fmla="*/ 137 h 199"/>
                <a:gd name="T120" fmla="*/ 345 w 358"/>
                <a:gd name="T121" fmla="*/ 124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199">
                  <a:moveTo>
                    <a:pt x="358" y="120"/>
                  </a:moveTo>
                  <a:lnTo>
                    <a:pt x="354" y="120"/>
                  </a:lnTo>
                  <a:lnTo>
                    <a:pt x="354" y="115"/>
                  </a:lnTo>
                  <a:lnTo>
                    <a:pt x="354" y="115"/>
                  </a:lnTo>
                  <a:lnTo>
                    <a:pt x="354" y="115"/>
                  </a:lnTo>
                  <a:lnTo>
                    <a:pt x="354" y="111"/>
                  </a:lnTo>
                  <a:lnTo>
                    <a:pt x="354" y="111"/>
                  </a:lnTo>
                  <a:lnTo>
                    <a:pt x="354" y="111"/>
                  </a:lnTo>
                  <a:lnTo>
                    <a:pt x="354" y="111"/>
                  </a:lnTo>
                  <a:lnTo>
                    <a:pt x="354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45" y="106"/>
                  </a:lnTo>
                  <a:lnTo>
                    <a:pt x="345" y="106"/>
                  </a:lnTo>
                  <a:lnTo>
                    <a:pt x="345" y="106"/>
                  </a:lnTo>
                  <a:lnTo>
                    <a:pt x="345" y="106"/>
                  </a:lnTo>
                  <a:lnTo>
                    <a:pt x="345" y="102"/>
                  </a:lnTo>
                  <a:lnTo>
                    <a:pt x="341" y="102"/>
                  </a:lnTo>
                  <a:lnTo>
                    <a:pt x="341" y="97"/>
                  </a:lnTo>
                  <a:lnTo>
                    <a:pt x="345" y="97"/>
                  </a:lnTo>
                  <a:lnTo>
                    <a:pt x="341" y="97"/>
                  </a:lnTo>
                  <a:lnTo>
                    <a:pt x="341" y="93"/>
                  </a:lnTo>
                  <a:lnTo>
                    <a:pt x="341" y="93"/>
                  </a:lnTo>
                  <a:lnTo>
                    <a:pt x="341" y="93"/>
                  </a:lnTo>
                  <a:lnTo>
                    <a:pt x="341" y="93"/>
                  </a:lnTo>
                  <a:lnTo>
                    <a:pt x="341" y="93"/>
                  </a:lnTo>
                  <a:lnTo>
                    <a:pt x="336" y="93"/>
                  </a:lnTo>
                  <a:lnTo>
                    <a:pt x="336" y="89"/>
                  </a:lnTo>
                  <a:lnTo>
                    <a:pt x="332" y="89"/>
                  </a:lnTo>
                  <a:lnTo>
                    <a:pt x="332" y="89"/>
                  </a:lnTo>
                  <a:lnTo>
                    <a:pt x="332" y="89"/>
                  </a:lnTo>
                  <a:lnTo>
                    <a:pt x="332" y="89"/>
                  </a:lnTo>
                  <a:lnTo>
                    <a:pt x="332" y="89"/>
                  </a:lnTo>
                  <a:lnTo>
                    <a:pt x="332" y="89"/>
                  </a:lnTo>
                  <a:lnTo>
                    <a:pt x="327" y="93"/>
                  </a:lnTo>
                  <a:lnTo>
                    <a:pt x="327" y="93"/>
                  </a:lnTo>
                  <a:lnTo>
                    <a:pt x="327" y="89"/>
                  </a:lnTo>
                  <a:lnTo>
                    <a:pt x="327" y="89"/>
                  </a:lnTo>
                  <a:lnTo>
                    <a:pt x="327" y="89"/>
                  </a:lnTo>
                  <a:lnTo>
                    <a:pt x="327" y="89"/>
                  </a:lnTo>
                  <a:lnTo>
                    <a:pt x="327" y="89"/>
                  </a:lnTo>
                  <a:lnTo>
                    <a:pt x="323" y="89"/>
                  </a:lnTo>
                  <a:lnTo>
                    <a:pt x="323" y="89"/>
                  </a:lnTo>
                  <a:lnTo>
                    <a:pt x="323" y="84"/>
                  </a:lnTo>
                  <a:lnTo>
                    <a:pt x="323" y="84"/>
                  </a:lnTo>
                  <a:lnTo>
                    <a:pt x="318" y="84"/>
                  </a:lnTo>
                  <a:lnTo>
                    <a:pt x="318" y="84"/>
                  </a:lnTo>
                  <a:lnTo>
                    <a:pt x="318" y="84"/>
                  </a:lnTo>
                  <a:lnTo>
                    <a:pt x="314" y="80"/>
                  </a:lnTo>
                  <a:lnTo>
                    <a:pt x="314" y="80"/>
                  </a:lnTo>
                  <a:lnTo>
                    <a:pt x="314" y="80"/>
                  </a:lnTo>
                  <a:lnTo>
                    <a:pt x="314" y="84"/>
                  </a:lnTo>
                  <a:lnTo>
                    <a:pt x="314" y="84"/>
                  </a:lnTo>
                  <a:lnTo>
                    <a:pt x="314" y="84"/>
                  </a:lnTo>
                  <a:lnTo>
                    <a:pt x="314" y="84"/>
                  </a:lnTo>
                  <a:lnTo>
                    <a:pt x="314" y="84"/>
                  </a:lnTo>
                  <a:lnTo>
                    <a:pt x="314" y="84"/>
                  </a:lnTo>
                  <a:lnTo>
                    <a:pt x="314" y="84"/>
                  </a:lnTo>
                  <a:lnTo>
                    <a:pt x="314" y="84"/>
                  </a:lnTo>
                  <a:lnTo>
                    <a:pt x="310" y="84"/>
                  </a:lnTo>
                  <a:lnTo>
                    <a:pt x="310" y="84"/>
                  </a:lnTo>
                  <a:lnTo>
                    <a:pt x="310" y="84"/>
                  </a:lnTo>
                  <a:lnTo>
                    <a:pt x="305" y="89"/>
                  </a:lnTo>
                  <a:lnTo>
                    <a:pt x="305" y="84"/>
                  </a:lnTo>
                  <a:lnTo>
                    <a:pt x="301" y="84"/>
                  </a:lnTo>
                  <a:lnTo>
                    <a:pt x="301" y="84"/>
                  </a:lnTo>
                  <a:lnTo>
                    <a:pt x="301" y="80"/>
                  </a:lnTo>
                  <a:lnTo>
                    <a:pt x="301" y="80"/>
                  </a:lnTo>
                  <a:lnTo>
                    <a:pt x="301" y="80"/>
                  </a:lnTo>
                  <a:lnTo>
                    <a:pt x="296" y="80"/>
                  </a:lnTo>
                  <a:lnTo>
                    <a:pt x="296" y="80"/>
                  </a:lnTo>
                  <a:lnTo>
                    <a:pt x="296" y="75"/>
                  </a:lnTo>
                  <a:lnTo>
                    <a:pt x="296" y="75"/>
                  </a:lnTo>
                  <a:lnTo>
                    <a:pt x="296" y="75"/>
                  </a:lnTo>
                  <a:lnTo>
                    <a:pt x="301" y="75"/>
                  </a:lnTo>
                  <a:lnTo>
                    <a:pt x="301" y="75"/>
                  </a:lnTo>
                  <a:lnTo>
                    <a:pt x="301" y="75"/>
                  </a:lnTo>
                  <a:lnTo>
                    <a:pt x="296" y="75"/>
                  </a:lnTo>
                  <a:lnTo>
                    <a:pt x="296" y="75"/>
                  </a:lnTo>
                  <a:lnTo>
                    <a:pt x="296" y="75"/>
                  </a:lnTo>
                  <a:lnTo>
                    <a:pt x="296" y="75"/>
                  </a:lnTo>
                  <a:lnTo>
                    <a:pt x="296" y="75"/>
                  </a:lnTo>
                  <a:lnTo>
                    <a:pt x="296" y="75"/>
                  </a:lnTo>
                  <a:lnTo>
                    <a:pt x="296" y="75"/>
                  </a:lnTo>
                  <a:lnTo>
                    <a:pt x="292" y="75"/>
                  </a:lnTo>
                  <a:lnTo>
                    <a:pt x="292" y="71"/>
                  </a:lnTo>
                  <a:lnTo>
                    <a:pt x="292" y="71"/>
                  </a:lnTo>
                  <a:lnTo>
                    <a:pt x="292" y="71"/>
                  </a:lnTo>
                  <a:lnTo>
                    <a:pt x="292" y="71"/>
                  </a:lnTo>
                  <a:lnTo>
                    <a:pt x="296" y="71"/>
                  </a:lnTo>
                  <a:lnTo>
                    <a:pt x="296" y="71"/>
                  </a:lnTo>
                  <a:lnTo>
                    <a:pt x="296" y="66"/>
                  </a:lnTo>
                  <a:lnTo>
                    <a:pt x="301" y="66"/>
                  </a:lnTo>
                  <a:lnTo>
                    <a:pt x="301" y="66"/>
                  </a:lnTo>
                  <a:lnTo>
                    <a:pt x="296" y="66"/>
                  </a:lnTo>
                  <a:lnTo>
                    <a:pt x="296" y="62"/>
                  </a:lnTo>
                  <a:lnTo>
                    <a:pt x="296" y="62"/>
                  </a:lnTo>
                  <a:lnTo>
                    <a:pt x="296" y="62"/>
                  </a:lnTo>
                  <a:lnTo>
                    <a:pt x="296" y="62"/>
                  </a:lnTo>
                  <a:lnTo>
                    <a:pt x="301" y="62"/>
                  </a:lnTo>
                  <a:lnTo>
                    <a:pt x="301" y="62"/>
                  </a:lnTo>
                  <a:lnTo>
                    <a:pt x="301" y="62"/>
                  </a:lnTo>
                  <a:lnTo>
                    <a:pt x="296" y="62"/>
                  </a:lnTo>
                  <a:lnTo>
                    <a:pt x="296" y="58"/>
                  </a:lnTo>
                  <a:lnTo>
                    <a:pt x="296" y="58"/>
                  </a:lnTo>
                  <a:lnTo>
                    <a:pt x="296" y="58"/>
                  </a:lnTo>
                  <a:lnTo>
                    <a:pt x="296" y="58"/>
                  </a:lnTo>
                  <a:lnTo>
                    <a:pt x="296" y="58"/>
                  </a:lnTo>
                  <a:lnTo>
                    <a:pt x="296" y="58"/>
                  </a:lnTo>
                  <a:lnTo>
                    <a:pt x="292" y="62"/>
                  </a:lnTo>
                  <a:lnTo>
                    <a:pt x="292" y="62"/>
                  </a:lnTo>
                  <a:lnTo>
                    <a:pt x="292" y="62"/>
                  </a:lnTo>
                  <a:lnTo>
                    <a:pt x="288" y="62"/>
                  </a:lnTo>
                  <a:lnTo>
                    <a:pt x="283" y="62"/>
                  </a:lnTo>
                  <a:lnTo>
                    <a:pt x="283" y="62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2"/>
                  </a:lnTo>
                  <a:lnTo>
                    <a:pt x="283" y="62"/>
                  </a:lnTo>
                  <a:lnTo>
                    <a:pt x="279" y="62"/>
                  </a:lnTo>
                  <a:lnTo>
                    <a:pt x="279" y="62"/>
                  </a:lnTo>
                  <a:lnTo>
                    <a:pt x="279" y="62"/>
                  </a:lnTo>
                  <a:lnTo>
                    <a:pt x="279" y="62"/>
                  </a:lnTo>
                  <a:lnTo>
                    <a:pt x="279" y="62"/>
                  </a:lnTo>
                  <a:lnTo>
                    <a:pt x="279" y="62"/>
                  </a:lnTo>
                  <a:lnTo>
                    <a:pt x="279" y="58"/>
                  </a:lnTo>
                  <a:lnTo>
                    <a:pt x="279" y="58"/>
                  </a:lnTo>
                  <a:lnTo>
                    <a:pt x="279" y="58"/>
                  </a:lnTo>
                  <a:lnTo>
                    <a:pt x="279" y="58"/>
                  </a:lnTo>
                  <a:lnTo>
                    <a:pt x="279" y="58"/>
                  </a:lnTo>
                  <a:lnTo>
                    <a:pt x="279" y="58"/>
                  </a:lnTo>
                  <a:lnTo>
                    <a:pt x="279" y="58"/>
                  </a:lnTo>
                  <a:lnTo>
                    <a:pt x="274" y="58"/>
                  </a:lnTo>
                  <a:lnTo>
                    <a:pt x="274" y="58"/>
                  </a:lnTo>
                  <a:lnTo>
                    <a:pt x="270" y="58"/>
                  </a:lnTo>
                  <a:lnTo>
                    <a:pt x="270" y="58"/>
                  </a:lnTo>
                  <a:lnTo>
                    <a:pt x="270" y="53"/>
                  </a:lnTo>
                  <a:lnTo>
                    <a:pt x="270" y="53"/>
                  </a:lnTo>
                  <a:lnTo>
                    <a:pt x="270" y="53"/>
                  </a:lnTo>
                  <a:lnTo>
                    <a:pt x="270" y="53"/>
                  </a:lnTo>
                  <a:lnTo>
                    <a:pt x="270" y="53"/>
                  </a:lnTo>
                  <a:lnTo>
                    <a:pt x="270" y="53"/>
                  </a:lnTo>
                  <a:lnTo>
                    <a:pt x="265" y="53"/>
                  </a:lnTo>
                  <a:lnTo>
                    <a:pt x="265" y="53"/>
                  </a:lnTo>
                  <a:lnTo>
                    <a:pt x="265" y="53"/>
                  </a:lnTo>
                  <a:lnTo>
                    <a:pt x="265" y="53"/>
                  </a:lnTo>
                  <a:lnTo>
                    <a:pt x="261" y="49"/>
                  </a:lnTo>
                  <a:lnTo>
                    <a:pt x="257" y="49"/>
                  </a:lnTo>
                  <a:lnTo>
                    <a:pt x="257" y="49"/>
                  </a:lnTo>
                  <a:lnTo>
                    <a:pt x="257" y="49"/>
                  </a:lnTo>
                  <a:lnTo>
                    <a:pt x="257" y="49"/>
                  </a:lnTo>
                  <a:lnTo>
                    <a:pt x="252" y="49"/>
                  </a:lnTo>
                  <a:lnTo>
                    <a:pt x="252" y="49"/>
                  </a:lnTo>
                  <a:lnTo>
                    <a:pt x="257" y="53"/>
                  </a:lnTo>
                  <a:lnTo>
                    <a:pt x="257" y="53"/>
                  </a:lnTo>
                  <a:lnTo>
                    <a:pt x="257" y="58"/>
                  </a:lnTo>
                  <a:lnTo>
                    <a:pt x="257" y="58"/>
                  </a:lnTo>
                  <a:lnTo>
                    <a:pt x="257" y="58"/>
                  </a:lnTo>
                  <a:lnTo>
                    <a:pt x="257" y="58"/>
                  </a:lnTo>
                  <a:lnTo>
                    <a:pt x="261" y="62"/>
                  </a:lnTo>
                  <a:lnTo>
                    <a:pt x="261" y="62"/>
                  </a:lnTo>
                  <a:lnTo>
                    <a:pt x="261" y="62"/>
                  </a:lnTo>
                  <a:lnTo>
                    <a:pt x="261" y="66"/>
                  </a:lnTo>
                  <a:lnTo>
                    <a:pt x="261" y="66"/>
                  </a:lnTo>
                  <a:lnTo>
                    <a:pt x="261" y="66"/>
                  </a:lnTo>
                  <a:lnTo>
                    <a:pt x="261" y="66"/>
                  </a:lnTo>
                  <a:lnTo>
                    <a:pt x="261" y="66"/>
                  </a:lnTo>
                  <a:lnTo>
                    <a:pt x="261" y="66"/>
                  </a:lnTo>
                  <a:lnTo>
                    <a:pt x="257" y="66"/>
                  </a:lnTo>
                  <a:lnTo>
                    <a:pt x="257" y="66"/>
                  </a:lnTo>
                  <a:lnTo>
                    <a:pt x="257" y="66"/>
                  </a:lnTo>
                  <a:lnTo>
                    <a:pt x="257" y="66"/>
                  </a:lnTo>
                  <a:lnTo>
                    <a:pt x="257" y="66"/>
                  </a:lnTo>
                  <a:lnTo>
                    <a:pt x="257" y="66"/>
                  </a:lnTo>
                  <a:lnTo>
                    <a:pt x="257" y="66"/>
                  </a:lnTo>
                  <a:lnTo>
                    <a:pt x="257" y="66"/>
                  </a:lnTo>
                  <a:lnTo>
                    <a:pt x="257" y="66"/>
                  </a:lnTo>
                  <a:lnTo>
                    <a:pt x="252" y="66"/>
                  </a:lnTo>
                  <a:lnTo>
                    <a:pt x="252" y="66"/>
                  </a:lnTo>
                  <a:lnTo>
                    <a:pt x="252" y="66"/>
                  </a:lnTo>
                  <a:lnTo>
                    <a:pt x="252" y="71"/>
                  </a:lnTo>
                  <a:lnTo>
                    <a:pt x="252" y="66"/>
                  </a:lnTo>
                  <a:lnTo>
                    <a:pt x="252" y="71"/>
                  </a:lnTo>
                  <a:lnTo>
                    <a:pt x="248" y="71"/>
                  </a:lnTo>
                  <a:lnTo>
                    <a:pt x="248" y="71"/>
                  </a:lnTo>
                  <a:lnTo>
                    <a:pt x="248" y="71"/>
                  </a:lnTo>
                  <a:lnTo>
                    <a:pt x="248" y="75"/>
                  </a:lnTo>
                  <a:lnTo>
                    <a:pt x="248" y="75"/>
                  </a:lnTo>
                  <a:lnTo>
                    <a:pt x="243" y="75"/>
                  </a:lnTo>
                  <a:lnTo>
                    <a:pt x="243" y="75"/>
                  </a:lnTo>
                  <a:lnTo>
                    <a:pt x="239" y="75"/>
                  </a:lnTo>
                  <a:lnTo>
                    <a:pt x="239" y="75"/>
                  </a:lnTo>
                  <a:lnTo>
                    <a:pt x="239" y="71"/>
                  </a:lnTo>
                  <a:lnTo>
                    <a:pt x="239" y="71"/>
                  </a:lnTo>
                  <a:lnTo>
                    <a:pt x="234" y="66"/>
                  </a:lnTo>
                  <a:lnTo>
                    <a:pt x="234" y="66"/>
                  </a:lnTo>
                  <a:lnTo>
                    <a:pt x="234" y="66"/>
                  </a:lnTo>
                  <a:lnTo>
                    <a:pt x="234" y="62"/>
                  </a:lnTo>
                  <a:lnTo>
                    <a:pt x="234" y="62"/>
                  </a:lnTo>
                  <a:lnTo>
                    <a:pt x="230" y="62"/>
                  </a:lnTo>
                  <a:lnTo>
                    <a:pt x="230" y="58"/>
                  </a:lnTo>
                  <a:lnTo>
                    <a:pt x="230" y="58"/>
                  </a:lnTo>
                  <a:lnTo>
                    <a:pt x="226" y="58"/>
                  </a:lnTo>
                  <a:lnTo>
                    <a:pt x="226" y="58"/>
                  </a:lnTo>
                  <a:lnTo>
                    <a:pt x="226" y="58"/>
                  </a:lnTo>
                  <a:lnTo>
                    <a:pt x="226" y="53"/>
                  </a:lnTo>
                  <a:lnTo>
                    <a:pt x="226" y="53"/>
                  </a:lnTo>
                  <a:lnTo>
                    <a:pt x="226" y="53"/>
                  </a:lnTo>
                  <a:lnTo>
                    <a:pt x="226" y="53"/>
                  </a:lnTo>
                  <a:lnTo>
                    <a:pt x="221" y="53"/>
                  </a:lnTo>
                  <a:lnTo>
                    <a:pt x="221" y="53"/>
                  </a:lnTo>
                  <a:lnTo>
                    <a:pt x="221" y="53"/>
                  </a:lnTo>
                  <a:lnTo>
                    <a:pt x="221" y="53"/>
                  </a:lnTo>
                  <a:lnTo>
                    <a:pt x="221" y="53"/>
                  </a:lnTo>
                  <a:lnTo>
                    <a:pt x="221" y="53"/>
                  </a:lnTo>
                  <a:lnTo>
                    <a:pt x="221" y="53"/>
                  </a:lnTo>
                  <a:lnTo>
                    <a:pt x="217" y="49"/>
                  </a:lnTo>
                  <a:lnTo>
                    <a:pt x="217" y="49"/>
                  </a:lnTo>
                  <a:lnTo>
                    <a:pt x="217" y="49"/>
                  </a:lnTo>
                  <a:lnTo>
                    <a:pt x="217" y="49"/>
                  </a:lnTo>
                  <a:lnTo>
                    <a:pt x="217" y="49"/>
                  </a:lnTo>
                  <a:lnTo>
                    <a:pt x="217" y="49"/>
                  </a:lnTo>
                  <a:lnTo>
                    <a:pt x="217" y="49"/>
                  </a:lnTo>
                  <a:lnTo>
                    <a:pt x="221" y="49"/>
                  </a:lnTo>
                  <a:lnTo>
                    <a:pt x="221" y="44"/>
                  </a:lnTo>
                  <a:lnTo>
                    <a:pt x="221" y="44"/>
                  </a:lnTo>
                  <a:lnTo>
                    <a:pt x="221" y="44"/>
                  </a:lnTo>
                  <a:lnTo>
                    <a:pt x="221" y="44"/>
                  </a:lnTo>
                  <a:lnTo>
                    <a:pt x="221" y="44"/>
                  </a:lnTo>
                  <a:lnTo>
                    <a:pt x="221" y="44"/>
                  </a:lnTo>
                  <a:lnTo>
                    <a:pt x="226" y="44"/>
                  </a:lnTo>
                  <a:lnTo>
                    <a:pt x="226" y="44"/>
                  </a:lnTo>
                  <a:lnTo>
                    <a:pt x="226" y="44"/>
                  </a:lnTo>
                  <a:lnTo>
                    <a:pt x="226" y="40"/>
                  </a:lnTo>
                  <a:lnTo>
                    <a:pt x="230" y="40"/>
                  </a:lnTo>
                  <a:lnTo>
                    <a:pt x="226" y="40"/>
                  </a:lnTo>
                  <a:lnTo>
                    <a:pt x="226" y="40"/>
                  </a:lnTo>
                  <a:lnTo>
                    <a:pt x="230" y="40"/>
                  </a:lnTo>
                  <a:lnTo>
                    <a:pt x="230" y="40"/>
                  </a:lnTo>
                  <a:lnTo>
                    <a:pt x="230" y="40"/>
                  </a:lnTo>
                  <a:lnTo>
                    <a:pt x="230" y="40"/>
                  </a:lnTo>
                  <a:lnTo>
                    <a:pt x="230" y="40"/>
                  </a:lnTo>
                  <a:lnTo>
                    <a:pt x="230" y="40"/>
                  </a:lnTo>
                  <a:lnTo>
                    <a:pt x="230" y="35"/>
                  </a:lnTo>
                  <a:lnTo>
                    <a:pt x="230" y="35"/>
                  </a:lnTo>
                  <a:lnTo>
                    <a:pt x="226" y="31"/>
                  </a:lnTo>
                  <a:lnTo>
                    <a:pt x="221" y="31"/>
                  </a:lnTo>
                  <a:lnTo>
                    <a:pt x="221" y="31"/>
                  </a:lnTo>
                  <a:lnTo>
                    <a:pt x="221" y="31"/>
                  </a:lnTo>
                  <a:lnTo>
                    <a:pt x="217" y="31"/>
                  </a:lnTo>
                  <a:lnTo>
                    <a:pt x="217" y="31"/>
                  </a:lnTo>
                  <a:lnTo>
                    <a:pt x="217" y="31"/>
                  </a:lnTo>
                  <a:lnTo>
                    <a:pt x="217" y="31"/>
                  </a:lnTo>
                  <a:lnTo>
                    <a:pt x="217" y="31"/>
                  </a:lnTo>
                  <a:lnTo>
                    <a:pt x="217" y="31"/>
                  </a:lnTo>
                  <a:lnTo>
                    <a:pt x="212" y="31"/>
                  </a:lnTo>
                  <a:lnTo>
                    <a:pt x="212" y="31"/>
                  </a:lnTo>
                  <a:lnTo>
                    <a:pt x="208" y="35"/>
                  </a:lnTo>
                  <a:lnTo>
                    <a:pt x="208" y="35"/>
                  </a:lnTo>
                  <a:lnTo>
                    <a:pt x="208" y="35"/>
                  </a:lnTo>
                  <a:lnTo>
                    <a:pt x="208" y="35"/>
                  </a:lnTo>
                  <a:lnTo>
                    <a:pt x="208" y="35"/>
                  </a:lnTo>
                  <a:lnTo>
                    <a:pt x="208" y="35"/>
                  </a:lnTo>
                  <a:lnTo>
                    <a:pt x="208" y="31"/>
                  </a:lnTo>
                  <a:lnTo>
                    <a:pt x="208" y="31"/>
                  </a:lnTo>
                  <a:lnTo>
                    <a:pt x="208" y="31"/>
                  </a:lnTo>
                  <a:lnTo>
                    <a:pt x="208" y="31"/>
                  </a:lnTo>
                  <a:lnTo>
                    <a:pt x="208" y="27"/>
                  </a:lnTo>
                  <a:lnTo>
                    <a:pt x="203" y="27"/>
                  </a:lnTo>
                  <a:lnTo>
                    <a:pt x="203" y="27"/>
                  </a:lnTo>
                  <a:lnTo>
                    <a:pt x="199" y="27"/>
                  </a:lnTo>
                  <a:lnTo>
                    <a:pt x="199" y="27"/>
                  </a:lnTo>
                  <a:lnTo>
                    <a:pt x="199" y="27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0" y="22"/>
                  </a:lnTo>
                  <a:lnTo>
                    <a:pt x="190" y="22"/>
                  </a:lnTo>
                  <a:lnTo>
                    <a:pt x="190" y="22"/>
                  </a:lnTo>
                  <a:lnTo>
                    <a:pt x="190" y="22"/>
                  </a:lnTo>
                  <a:lnTo>
                    <a:pt x="190" y="22"/>
                  </a:lnTo>
                  <a:lnTo>
                    <a:pt x="177" y="18"/>
                  </a:lnTo>
                  <a:lnTo>
                    <a:pt x="177" y="18"/>
                  </a:lnTo>
                  <a:lnTo>
                    <a:pt x="177" y="18"/>
                  </a:lnTo>
                  <a:lnTo>
                    <a:pt x="177" y="18"/>
                  </a:lnTo>
                  <a:lnTo>
                    <a:pt x="172" y="22"/>
                  </a:lnTo>
                  <a:lnTo>
                    <a:pt x="172" y="22"/>
                  </a:lnTo>
                  <a:lnTo>
                    <a:pt x="172" y="22"/>
                  </a:lnTo>
                  <a:lnTo>
                    <a:pt x="172" y="18"/>
                  </a:lnTo>
                  <a:lnTo>
                    <a:pt x="172" y="18"/>
                  </a:lnTo>
                  <a:lnTo>
                    <a:pt x="172" y="18"/>
                  </a:lnTo>
                  <a:lnTo>
                    <a:pt x="172" y="18"/>
                  </a:lnTo>
                  <a:lnTo>
                    <a:pt x="172" y="13"/>
                  </a:lnTo>
                  <a:lnTo>
                    <a:pt x="172" y="13"/>
                  </a:lnTo>
                  <a:lnTo>
                    <a:pt x="172" y="13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8" y="4"/>
                  </a:lnTo>
                  <a:lnTo>
                    <a:pt x="168" y="4"/>
                  </a:lnTo>
                  <a:lnTo>
                    <a:pt x="168" y="4"/>
                  </a:lnTo>
                  <a:lnTo>
                    <a:pt x="168" y="4"/>
                  </a:lnTo>
                  <a:lnTo>
                    <a:pt x="164" y="4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9" y="4"/>
                  </a:lnTo>
                  <a:lnTo>
                    <a:pt x="159" y="4"/>
                  </a:lnTo>
                  <a:lnTo>
                    <a:pt x="159" y="4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37" y="18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3" y="13"/>
                  </a:lnTo>
                  <a:lnTo>
                    <a:pt x="133" y="13"/>
                  </a:lnTo>
                  <a:lnTo>
                    <a:pt x="133" y="13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3" y="4"/>
                  </a:lnTo>
                  <a:lnTo>
                    <a:pt x="133" y="4"/>
                  </a:lnTo>
                  <a:lnTo>
                    <a:pt x="133" y="4"/>
                  </a:lnTo>
                  <a:lnTo>
                    <a:pt x="133" y="4"/>
                  </a:lnTo>
                  <a:lnTo>
                    <a:pt x="133" y="4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19" y="0"/>
                  </a:lnTo>
                  <a:lnTo>
                    <a:pt x="119" y="0"/>
                  </a:lnTo>
                  <a:lnTo>
                    <a:pt x="119" y="0"/>
                  </a:lnTo>
                  <a:lnTo>
                    <a:pt x="119" y="0"/>
                  </a:lnTo>
                  <a:lnTo>
                    <a:pt x="115" y="0"/>
                  </a:lnTo>
                  <a:lnTo>
                    <a:pt x="115" y="0"/>
                  </a:lnTo>
                  <a:lnTo>
                    <a:pt x="115" y="0"/>
                  </a:lnTo>
                  <a:lnTo>
                    <a:pt x="115" y="4"/>
                  </a:lnTo>
                  <a:lnTo>
                    <a:pt x="115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19" y="4"/>
                  </a:lnTo>
                  <a:lnTo>
                    <a:pt x="119" y="4"/>
                  </a:lnTo>
                  <a:lnTo>
                    <a:pt x="119" y="4"/>
                  </a:lnTo>
                  <a:lnTo>
                    <a:pt x="119" y="4"/>
                  </a:lnTo>
                  <a:lnTo>
                    <a:pt x="119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19" y="13"/>
                  </a:lnTo>
                  <a:lnTo>
                    <a:pt x="115" y="9"/>
                  </a:lnTo>
                  <a:lnTo>
                    <a:pt x="115" y="13"/>
                  </a:lnTo>
                  <a:lnTo>
                    <a:pt x="115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22"/>
                  </a:lnTo>
                  <a:lnTo>
                    <a:pt x="97" y="22"/>
                  </a:lnTo>
                  <a:lnTo>
                    <a:pt x="97" y="22"/>
                  </a:lnTo>
                  <a:lnTo>
                    <a:pt x="97" y="22"/>
                  </a:lnTo>
                  <a:lnTo>
                    <a:pt x="97" y="22"/>
                  </a:lnTo>
                  <a:lnTo>
                    <a:pt x="97" y="22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88" y="22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4" y="27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5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62" y="40"/>
                  </a:lnTo>
                  <a:lnTo>
                    <a:pt x="57" y="44"/>
                  </a:lnTo>
                  <a:lnTo>
                    <a:pt x="57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4" y="49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53"/>
                  </a:lnTo>
                  <a:lnTo>
                    <a:pt x="31" y="53"/>
                  </a:lnTo>
                  <a:lnTo>
                    <a:pt x="31" y="53"/>
                  </a:lnTo>
                  <a:lnTo>
                    <a:pt x="31" y="53"/>
                  </a:lnTo>
                  <a:lnTo>
                    <a:pt x="26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62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9" y="71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5"/>
                  </a:lnTo>
                  <a:lnTo>
                    <a:pt x="4" y="75"/>
                  </a:lnTo>
                  <a:lnTo>
                    <a:pt x="4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22" y="84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8" y="111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33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35" y="137"/>
                  </a:lnTo>
                  <a:lnTo>
                    <a:pt x="35" y="137"/>
                  </a:lnTo>
                  <a:lnTo>
                    <a:pt x="40" y="137"/>
                  </a:lnTo>
                  <a:lnTo>
                    <a:pt x="40" y="137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4" y="137"/>
                  </a:lnTo>
                  <a:lnTo>
                    <a:pt x="49" y="137"/>
                  </a:lnTo>
                  <a:lnTo>
                    <a:pt x="49" y="142"/>
                  </a:lnTo>
                  <a:lnTo>
                    <a:pt x="49" y="142"/>
                  </a:lnTo>
                  <a:lnTo>
                    <a:pt x="49" y="142"/>
                  </a:lnTo>
                  <a:lnTo>
                    <a:pt x="49" y="142"/>
                  </a:lnTo>
                  <a:lnTo>
                    <a:pt x="49" y="142"/>
                  </a:lnTo>
                  <a:lnTo>
                    <a:pt x="53" y="146"/>
                  </a:lnTo>
                  <a:lnTo>
                    <a:pt x="53" y="146"/>
                  </a:lnTo>
                  <a:lnTo>
                    <a:pt x="53" y="146"/>
                  </a:lnTo>
                  <a:lnTo>
                    <a:pt x="53" y="146"/>
                  </a:lnTo>
                  <a:lnTo>
                    <a:pt x="57" y="151"/>
                  </a:lnTo>
                  <a:lnTo>
                    <a:pt x="57" y="155"/>
                  </a:lnTo>
                  <a:lnTo>
                    <a:pt x="57" y="155"/>
                  </a:lnTo>
                  <a:lnTo>
                    <a:pt x="62" y="155"/>
                  </a:lnTo>
                  <a:lnTo>
                    <a:pt x="62" y="155"/>
                  </a:lnTo>
                  <a:lnTo>
                    <a:pt x="66" y="155"/>
                  </a:lnTo>
                  <a:lnTo>
                    <a:pt x="66" y="159"/>
                  </a:lnTo>
                  <a:lnTo>
                    <a:pt x="66" y="159"/>
                  </a:lnTo>
                  <a:lnTo>
                    <a:pt x="71" y="164"/>
                  </a:lnTo>
                  <a:lnTo>
                    <a:pt x="71" y="164"/>
                  </a:lnTo>
                  <a:lnTo>
                    <a:pt x="71" y="164"/>
                  </a:lnTo>
                  <a:lnTo>
                    <a:pt x="71" y="168"/>
                  </a:lnTo>
                  <a:lnTo>
                    <a:pt x="71" y="168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79" y="168"/>
                  </a:lnTo>
                  <a:lnTo>
                    <a:pt x="79" y="168"/>
                  </a:lnTo>
                  <a:lnTo>
                    <a:pt x="79" y="168"/>
                  </a:lnTo>
                  <a:lnTo>
                    <a:pt x="79" y="168"/>
                  </a:lnTo>
                  <a:lnTo>
                    <a:pt x="79" y="168"/>
                  </a:lnTo>
                  <a:lnTo>
                    <a:pt x="79" y="173"/>
                  </a:lnTo>
                  <a:lnTo>
                    <a:pt x="84" y="173"/>
                  </a:lnTo>
                  <a:lnTo>
                    <a:pt x="84" y="173"/>
                  </a:lnTo>
                  <a:lnTo>
                    <a:pt x="84" y="173"/>
                  </a:lnTo>
                  <a:lnTo>
                    <a:pt x="84" y="173"/>
                  </a:lnTo>
                  <a:lnTo>
                    <a:pt x="88" y="177"/>
                  </a:lnTo>
                  <a:lnTo>
                    <a:pt x="88" y="177"/>
                  </a:lnTo>
                  <a:lnTo>
                    <a:pt x="88" y="177"/>
                  </a:lnTo>
                  <a:lnTo>
                    <a:pt x="93" y="182"/>
                  </a:lnTo>
                  <a:lnTo>
                    <a:pt x="93" y="182"/>
                  </a:lnTo>
                  <a:lnTo>
                    <a:pt x="93" y="186"/>
                  </a:lnTo>
                  <a:lnTo>
                    <a:pt x="97" y="186"/>
                  </a:lnTo>
                  <a:lnTo>
                    <a:pt x="97" y="186"/>
                  </a:lnTo>
                  <a:lnTo>
                    <a:pt x="97" y="186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5"/>
                  </a:lnTo>
                  <a:lnTo>
                    <a:pt x="102" y="190"/>
                  </a:lnTo>
                  <a:lnTo>
                    <a:pt x="102" y="195"/>
                  </a:lnTo>
                  <a:lnTo>
                    <a:pt x="102" y="195"/>
                  </a:lnTo>
                  <a:lnTo>
                    <a:pt x="102" y="195"/>
                  </a:lnTo>
                  <a:lnTo>
                    <a:pt x="102" y="195"/>
                  </a:lnTo>
                  <a:lnTo>
                    <a:pt x="102" y="195"/>
                  </a:lnTo>
                  <a:lnTo>
                    <a:pt x="102" y="195"/>
                  </a:lnTo>
                  <a:lnTo>
                    <a:pt x="102" y="195"/>
                  </a:lnTo>
                  <a:lnTo>
                    <a:pt x="106" y="195"/>
                  </a:lnTo>
                  <a:lnTo>
                    <a:pt x="106" y="199"/>
                  </a:lnTo>
                  <a:lnTo>
                    <a:pt x="115" y="199"/>
                  </a:lnTo>
                  <a:lnTo>
                    <a:pt x="119" y="199"/>
                  </a:lnTo>
                  <a:lnTo>
                    <a:pt x="119" y="199"/>
                  </a:lnTo>
                  <a:lnTo>
                    <a:pt x="119" y="199"/>
                  </a:lnTo>
                  <a:lnTo>
                    <a:pt x="119" y="199"/>
                  </a:lnTo>
                  <a:lnTo>
                    <a:pt x="124" y="199"/>
                  </a:lnTo>
                  <a:lnTo>
                    <a:pt x="124" y="199"/>
                  </a:lnTo>
                  <a:lnTo>
                    <a:pt x="124" y="195"/>
                  </a:lnTo>
                  <a:lnTo>
                    <a:pt x="128" y="195"/>
                  </a:lnTo>
                  <a:lnTo>
                    <a:pt x="128" y="195"/>
                  </a:lnTo>
                  <a:lnTo>
                    <a:pt x="128" y="195"/>
                  </a:lnTo>
                  <a:lnTo>
                    <a:pt x="128" y="195"/>
                  </a:lnTo>
                  <a:lnTo>
                    <a:pt x="133" y="195"/>
                  </a:lnTo>
                  <a:lnTo>
                    <a:pt x="133" y="195"/>
                  </a:lnTo>
                  <a:lnTo>
                    <a:pt x="133" y="195"/>
                  </a:lnTo>
                  <a:lnTo>
                    <a:pt x="133" y="195"/>
                  </a:lnTo>
                  <a:lnTo>
                    <a:pt x="133" y="195"/>
                  </a:lnTo>
                  <a:lnTo>
                    <a:pt x="133" y="195"/>
                  </a:lnTo>
                  <a:lnTo>
                    <a:pt x="133" y="195"/>
                  </a:lnTo>
                  <a:lnTo>
                    <a:pt x="133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9"/>
                  </a:lnTo>
                  <a:lnTo>
                    <a:pt x="137" y="199"/>
                  </a:lnTo>
                  <a:lnTo>
                    <a:pt x="137" y="199"/>
                  </a:lnTo>
                  <a:lnTo>
                    <a:pt x="137" y="199"/>
                  </a:lnTo>
                  <a:lnTo>
                    <a:pt x="137" y="199"/>
                  </a:lnTo>
                  <a:lnTo>
                    <a:pt x="137" y="199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0"/>
                  </a:lnTo>
                  <a:lnTo>
                    <a:pt x="141" y="190"/>
                  </a:lnTo>
                  <a:lnTo>
                    <a:pt x="141" y="186"/>
                  </a:lnTo>
                  <a:lnTo>
                    <a:pt x="141" y="186"/>
                  </a:lnTo>
                  <a:lnTo>
                    <a:pt x="141" y="186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50" y="186"/>
                  </a:lnTo>
                  <a:lnTo>
                    <a:pt x="150" y="186"/>
                  </a:lnTo>
                  <a:lnTo>
                    <a:pt x="150" y="182"/>
                  </a:lnTo>
                  <a:lnTo>
                    <a:pt x="150" y="182"/>
                  </a:lnTo>
                  <a:lnTo>
                    <a:pt x="150" y="182"/>
                  </a:lnTo>
                  <a:lnTo>
                    <a:pt x="150" y="182"/>
                  </a:lnTo>
                  <a:lnTo>
                    <a:pt x="150" y="182"/>
                  </a:lnTo>
                  <a:lnTo>
                    <a:pt x="150" y="182"/>
                  </a:lnTo>
                  <a:lnTo>
                    <a:pt x="150" y="177"/>
                  </a:lnTo>
                  <a:lnTo>
                    <a:pt x="155" y="173"/>
                  </a:lnTo>
                  <a:lnTo>
                    <a:pt x="155" y="173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5" y="164"/>
                  </a:lnTo>
                  <a:lnTo>
                    <a:pt x="155" y="164"/>
                  </a:lnTo>
                  <a:lnTo>
                    <a:pt x="155" y="164"/>
                  </a:lnTo>
                  <a:lnTo>
                    <a:pt x="155" y="164"/>
                  </a:lnTo>
                  <a:lnTo>
                    <a:pt x="155" y="164"/>
                  </a:lnTo>
                  <a:lnTo>
                    <a:pt x="155" y="164"/>
                  </a:lnTo>
                  <a:lnTo>
                    <a:pt x="159" y="164"/>
                  </a:lnTo>
                  <a:lnTo>
                    <a:pt x="164" y="164"/>
                  </a:lnTo>
                  <a:lnTo>
                    <a:pt x="164" y="168"/>
                  </a:lnTo>
                  <a:lnTo>
                    <a:pt x="164" y="168"/>
                  </a:lnTo>
                  <a:lnTo>
                    <a:pt x="164" y="168"/>
                  </a:lnTo>
                  <a:lnTo>
                    <a:pt x="164" y="168"/>
                  </a:lnTo>
                  <a:lnTo>
                    <a:pt x="164" y="168"/>
                  </a:lnTo>
                  <a:lnTo>
                    <a:pt x="168" y="168"/>
                  </a:lnTo>
                  <a:lnTo>
                    <a:pt x="168" y="168"/>
                  </a:lnTo>
                  <a:lnTo>
                    <a:pt x="168" y="168"/>
                  </a:lnTo>
                  <a:lnTo>
                    <a:pt x="168" y="168"/>
                  </a:lnTo>
                  <a:lnTo>
                    <a:pt x="168" y="168"/>
                  </a:lnTo>
                  <a:lnTo>
                    <a:pt x="168" y="168"/>
                  </a:lnTo>
                  <a:lnTo>
                    <a:pt x="168" y="168"/>
                  </a:lnTo>
                  <a:lnTo>
                    <a:pt x="168" y="168"/>
                  </a:lnTo>
                  <a:lnTo>
                    <a:pt x="168" y="168"/>
                  </a:lnTo>
                  <a:lnTo>
                    <a:pt x="168" y="168"/>
                  </a:lnTo>
                  <a:lnTo>
                    <a:pt x="172" y="168"/>
                  </a:lnTo>
                  <a:lnTo>
                    <a:pt x="172" y="168"/>
                  </a:lnTo>
                  <a:lnTo>
                    <a:pt x="177" y="168"/>
                  </a:lnTo>
                  <a:lnTo>
                    <a:pt x="177" y="168"/>
                  </a:lnTo>
                  <a:lnTo>
                    <a:pt x="181" y="168"/>
                  </a:lnTo>
                  <a:lnTo>
                    <a:pt x="181" y="173"/>
                  </a:lnTo>
                  <a:lnTo>
                    <a:pt x="181" y="173"/>
                  </a:lnTo>
                  <a:lnTo>
                    <a:pt x="186" y="173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95" y="177"/>
                  </a:lnTo>
                  <a:lnTo>
                    <a:pt x="195" y="177"/>
                  </a:lnTo>
                  <a:lnTo>
                    <a:pt x="195" y="177"/>
                  </a:lnTo>
                  <a:lnTo>
                    <a:pt x="195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199" y="177"/>
                  </a:lnTo>
                  <a:lnTo>
                    <a:pt x="203" y="177"/>
                  </a:lnTo>
                  <a:lnTo>
                    <a:pt x="199" y="177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82"/>
                  </a:lnTo>
                  <a:lnTo>
                    <a:pt x="203" y="177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8" y="186"/>
                  </a:lnTo>
                  <a:lnTo>
                    <a:pt x="212" y="186"/>
                  </a:lnTo>
                  <a:lnTo>
                    <a:pt x="217" y="186"/>
                  </a:lnTo>
                  <a:lnTo>
                    <a:pt x="226" y="186"/>
                  </a:lnTo>
                  <a:lnTo>
                    <a:pt x="226" y="186"/>
                  </a:lnTo>
                  <a:lnTo>
                    <a:pt x="226" y="186"/>
                  </a:lnTo>
                  <a:lnTo>
                    <a:pt x="226" y="186"/>
                  </a:lnTo>
                  <a:lnTo>
                    <a:pt x="226" y="186"/>
                  </a:lnTo>
                  <a:lnTo>
                    <a:pt x="226" y="186"/>
                  </a:lnTo>
                  <a:lnTo>
                    <a:pt x="226" y="186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34" y="182"/>
                  </a:lnTo>
                  <a:lnTo>
                    <a:pt x="234" y="182"/>
                  </a:lnTo>
                  <a:lnTo>
                    <a:pt x="234" y="182"/>
                  </a:lnTo>
                  <a:lnTo>
                    <a:pt x="234" y="182"/>
                  </a:lnTo>
                  <a:lnTo>
                    <a:pt x="234" y="182"/>
                  </a:lnTo>
                  <a:lnTo>
                    <a:pt x="234" y="182"/>
                  </a:lnTo>
                  <a:lnTo>
                    <a:pt x="239" y="182"/>
                  </a:lnTo>
                  <a:lnTo>
                    <a:pt x="239" y="182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3" y="186"/>
                  </a:lnTo>
                  <a:lnTo>
                    <a:pt x="243" y="186"/>
                  </a:lnTo>
                  <a:lnTo>
                    <a:pt x="243" y="186"/>
                  </a:lnTo>
                  <a:lnTo>
                    <a:pt x="243" y="186"/>
                  </a:lnTo>
                  <a:lnTo>
                    <a:pt x="248" y="186"/>
                  </a:lnTo>
                  <a:lnTo>
                    <a:pt x="248" y="186"/>
                  </a:lnTo>
                  <a:lnTo>
                    <a:pt x="248" y="186"/>
                  </a:lnTo>
                  <a:lnTo>
                    <a:pt x="248" y="190"/>
                  </a:lnTo>
                  <a:lnTo>
                    <a:pt x="252" y="186"/>
                  </a:lnTo>
                  <a:lnTo>
                    <a:pt x="252" y="186"/>
                  </a:lnTo>
                  <a:lnTo>
                    <a:pt x="252" y="186"/>
                  </a:lnTo>
                  <a:lnTo>
                    <a:pt x="257" y="190"/>
                  </a:lnTo>
                  <a:lnTo>
                    <a:pt x="257" y="195"/>
                  </a:lnTo>
                  <a:lnTo>
                    <a:pt x="257" y="195"/>
                  </a:lnTo>
                  <a:lnTo>
                    <a:pt x="257" y="195"/>
                  </a:lnTo>
                  <a:lnTo>
                    <a:pt x="257" y="195"/>
                  </a:lnTo>
                  <a:lnTo>
                    <a:pt x="257" y="195"/>
                  </a:lnTo>
                  <a:lnTo>
                    <a:pt x="261" y="186"/>
                  </a:lnTo>
                  <a:lnTo>
                    <a:pt x="261" y="182"/>
                  </a:lnTo>
                  <a:lnTo>
                    <a:pt x="265" y="182"/>
                  </a:lnTo>
                  <a:lnTo>
                    <a:pt x="265" y="182"/>
                  </a:lnTo>
                  <a:lnTo>
                    <a:pt x="265" y="177"/>
                  </a:lnTo>
                  <a:lnTo>
                    <a:pt x="265" y="177"/>
                  </a:lnTo>
                  <a:lnTo>
                    <a:pt x="270" y="177"/>
                  </a:lnTo>
                  <a:lnTo>
                    <a:pt x="270" y="177"/>
                  </a:lnTo>
                  <a:lnTo>
                    <a:pt x="274" y="177"/>
                  </a:lnTo>
                  <a:lnTo>
                    <a:pt x="279" y="182"/>
                  </a:lnTo>
                  <a:lnTo>
                    <a:pt x="279" y="177"/>
                  </a:lnTo>
                  <a:lnTo>
                    <a:pt x="283" y="177"/>
                  </a:lnTo>
                  <a:lnTo>
                    <a:pt x="283" y="177"/>
                  </a:lnTo>
                  <a:lnTo>
                    <a:pt x="283" y="177"/>
                  </a:lnTo>
                  <a:lnTo>
                    <a:pt x="283" y="177"/>
                  </a:lnTo>
                  <a:lnTo>
                    <a:pt x="288" y="182"/>
                  </a:lnTo>
                  <a:lnTo>
                    <a:pt x="288" y="182"/>
                  </a:lnTo>
                  <a:lnTo>
                    <a:pt x="296" y="177"/>
                  </a:lnTo>
                  <a:lnTo>
                    <a:pt x="301" y="177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5" y="173"/>
                  </a:lnTo>
                  <a:lnTo>
                    <a:pt x="305" y="173"/>
                  </a:lnTo>
                  <a:lnTo>
                    <a:pt x="305" y="173"/>
                  </a:lnTo>
                  <a:lnTo>
                    <a:pt x="305" y="168"/>
                  </a:lnTo>
                  <a:lnTo>
                    <a:pt x="305" y="168"/>
                  </a:lnTo>
                  <a:lnTo>
                    <a:pt x="305" y="168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14" y="164"/>
                  </a:lnTo>
                  <a:lnTo>
                    <a:pt x="314" y="164"/>
                  </a:lnTo>
                  <a:lnTo>
                    <a:pt x="318" y="159"/>
                  </a:lnTo>
                  <a:lnTo>
                    <a:pt x="318" y="159"/>
                  </a:lnTo>
                  <a:lnTo>
                    <a:pt x="318" y="159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8" y="151"/>
                  </a:lnTo>
                  <a:lnTo>
                    <a:pt x="318" y="151"/>
                  </a:lnTo>
                  <a:lnTo>
                    <a:pt x="318" y="146"/>
                  </a:lnTo>
                  <a:lnTo>
                    <a:pt x="323" y="146"/>
                  </a:lnTo>
                  <a:lnTo>
                    <a:pt x="323" y="142"/>
                  </a:lnTo>
                  <a:lnTo>
                    <a:pt x="332" y="142"/>
                  </a:lnTo>
                  <a:lnTo>
                    <a:pt x="332" y="137"/>
                  </a:lnTo>
                  <a:lnTo>
                    <a:pt x="332" y="137"/>
                  </a:lnTo>
                  <a:lnTo>
                    <a:pt x="332" y="133"/>
                  </a:lnTo>
                  <a:lnTo>
                    <a:pt x="336" y="133"/>
                  </a:lnTo>
                  <a:lnTo>
                    <a:pt x="336" y="133"/>
                  </a:lnTo>
                  <a:lnTo>
                    <a:pt x="336" y="128"/>
                  </a:lnTo>
                  <a:lnTo>
                    <a:pt x="341" y="128"/>
                  </a:lnTo>
                  <a:lnTo>
                    <a:pt x="341" y="128"/>
                  </a:lnTo>
                  <a:lnTo>
                    <a:pt x="341" y="128"/>
                  </a:lnTo>
                  <a:lnTo>
                    <a:pt x="341" y="128"/>
                  </a:lnTo>
                  <a:lnTo>
                    <a:pt x="341" y="128"/>
                  </a:lnTo>
                  <a:lnTo>
                    <a:pt x="341" y="124"/>
                  </a:lnTo>
                  <a:lnTo>
                    <a:pt x="345" y="124"/>
                  </a:lnTo>
                  <a:lnTo>
                    <a:pt x="345" y="124"/>
                  </a:lnTo>
                  <a:lnTo>
                    <a:pt x="345" y="124"/>
                  </a:lnTo>
                  <a:lnTo>
                    <a:pt x="345" y="124"/>
                  </a:lnTo>
                  <a:lnTo>
                    <a:pt x="349" y="124"/>
                  </a:lnTo>
                  <a:lnTo>
                    <a:pt x="349" y="128"/>
                  </a:lnTo>
                  <a:lnTo>
                    <a:pt x="349" y="128"/>
                  </a:lnTo>
                  <a:lnTo>
                    <a:pt x="354" y="124"/>
                  </a:lnTo>
                  <a:lnTo>
                    <a:pt x="354" y="124"/>
                  </a:lnTo>
                  <a:lnTo>
                    <a:pt x="358" y="124"/>
                  </a:lnTo>
                  <a:lnTo>
                    <a:pt x="358" y="124"/>
                  </a:lnTo>
                  <a:lnTo>
                    <a:pt x="358" y="120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39" name="Freeform 71"/>
            <p:cNvSpPr>
              <a:spLocks noEditPoints="1"/>
            </p:cNvSpPr>
            <p:nvPr/>
          </p:nvSpPr>
          <p:spPr bwMode="auto">
            <a:xfrm>
              <a:off x="3619500" y="5062538"/>
              <a:ext cx="492125" cy="477838"/>
            </a:xfrm>
            <a:custGeom>
              <a:avLst/>
              <a:gdLst>
                <a:gd name="T0" fmla="*/ 168 w 310"/>
                <a:gd name="T1" fmla="*/ 261 h 301"/>
                <a:gd name="T2" fmla="*/ 261 w 310"/>
                <a:gd name="T3" fmla="*/ 292 h 301"/>
                <a:gd name="T4" fmla="*/ 221 w 310"/>
                <a:gd name="T5" fmla="*/ 270 h 301"/>
                <a:gd name="T6" fmla="*/ 199 w 310"/>
                <a:gd name="T7" fmla="*/ 261 h 301"/>
                <a:gd name="T8" fmla="*/ 226 w 310"/>
                <a:gd name="T9" fmla="*/ 279 h 301"/>
                <a:gd name="T10" fmla="*/ 243 w 310"/>
                <a:gd name="T11" fmla="*/ 287 h 301"/>
                <a:gd name="T12" fmla="*/ 133 w 310"/>
                <a:gd name="T13" fmla="*/ 256 h 301"/>
                <a:gd name="T14" fmla="*/ 168 w 310"/>
                <a:gd name="T15" fmla="*/ 248 h 301"/>
                <a:gd name="T16" fmla="*/ 155 w 310"/>
                <a:gd name="T17" fmla="*/ 248 h 301"/>
                <a:gd name="T18" fmla="*/ 177 w 310"/>
                <a:gd name="T19" fmla="*/ 234 h 301"/>
                <a:gd name="T20" fmla="*/ 151 w 310"/>
                <a:gd name="T21" fmla="*/ 239 h 301"/>
                <a:gd name="T22" fmla="*/ 115 w 310"/>
                <a:gd name="T23" fmla="*/ 217 h 301"/>
                <a:gd name="T24" fmla="*/ 93 w 310"/>
                <a:gd name="T25" fmla="*/ 186 h 301"/>
                <a:gd name="T26" fmla="*/ 40 w 310"/>
                <a:gd name="T27" fmla="*/ 141 h 301"/>
                <a:gd name="T28" fmla="*/ 84 w 310"/>
                <a:gd name="T29" fmla="*/ 159 h 301"/>
                <a:gd name="T30" fmla="*/ 93 w 310"/>
                <a:gd name="T31" fmla="*/ 163 h 301"/>
                <a:gd name="T32" fmla="*/ 75 w 310"/>
                <a:gd name="T33" fmla="*/ 146 h 301"/>
                <a:gd name="T34" fmla="*/ 49 w 310"/>
                <a:gd name="T35" fmla="*/ 115 h 301"/>
                <a:gd name="T36" fmla="*/ 44 w 310"/>
                <a:gd name="T37" fmla="*/ 119 h 301"/>
                <a:gd name="T38" fmla="*/ 58 w 310"/>
                <a:gd name="T39" fmla="*/ 110 h 301"/>
                <a:gd name="T40" fmla="*/ 58 w 310"/>
                <a:gd name="T41" fmla="*/ 97 h 301"/>
                <a:gd name="T42" fmla="*/ 53 w 310"/>
                <a:gd name="T43" fmla="*/ 110 h 301"/>
                <a:gd name="T44" fmla="*/ 292 w 310"/>
                <a:gd name="T45" fmla="*/ 75 h 301"/>
                <a:gd name="T46" fmla="*/ 283 w 310"/>
                <a:gd name="T47" fmla="*/ 53 h 301"/>
                <a:gd name="T48" fmla="*/ 270 w 310"/>
                <a:gd name="T49" fmla="*/ 48 h 301"/>
                <a:gd name="T50" fmla="*/ 230 w 310"/>
                <a:gd name="T51" fmla="*/ 57 h 301"/>
                <a:gd name="T52" fmla="*/ 199 w 310"/>
                <a:gd name="T53" fmla="*/ 39 h 301"/>
                <a:gd name="T54" fmla="*/ 177 w 310"/>
                <a:gd name="T55" fmla="*/ 13 h 301"/>
                <a:gd name="T56" fmla="*/ 155 w 310"/>
                <a:gd name="T57" fmla="*/ 0 h 301"/>
                <a:gd name="T58" fmla="*/ 142 w 310"/>
                <a:gd name="T59" fmla="*/ 13 h 301"/>
                <a:gd name="T60" fmla="*/ 120 w 310"/>
                <a:gd name="T61" fmla="*/ 22 h 301"/>
                <a:gd name="T62" fmla="*/ 111 w 310"/>
                <a:gd name="T63" fmla="*/ 53 h 301"/>
                <a:gd name="T64" fmla="*/ 97 w 310"/>
                <a:gd name="T65" fmla="*/ 62 h 301"/>
                <a:gd name="T66" fmla="*/ 80 w 310"/>
                <a:gd name="T67" fmla="*/ 79 h 301"/>
                <a:gd name="T68" fmla="*/ 58 w 310"/>
                <a:gd name="T69" fmla="*/ 66 h 301"/>
                <a:gd name="T70" fmla="*/ 27 w 310"/>
                <a:gd name="T71" fmla="*/ 79 h 301"/>
                <a:gd name="T72" fmla="*/ 4 w 310"/>
                <a:gd name="T73" fmla="*/ 88 h 301"/>
                <a:gd name="T74" fmla="*/ 4 w 310"/>
                <a:gd name="T75" fmla="*/ 106 h 301"/>
                <a:gd name="T76" fmla="*/ 18 w 310"/>
                <a:gd name="T77" fmla="*/ 124 h 301"/>
                <a:gd name="T78" fmla="*/ 27 w 310"/>
                <a:gd name="T79" fmla="*/ 128 h 301"/>
                <a:gd name="T80" fmla="*/ 31 w 310"/>
                <a:gd name="T81" fmla="*/ 119 h 301"/>
                <a:gd name="T82" fmla="*/ 35 w 310"/>
                <a:gd name="T83" fmla="*/ 115 h 301"/>
                <a:gd name="T84" fmla="*/ 58 w 310"/>
                <a:gd name="T85" fmla="*/ 93 h 301"/>
                <a:gd name="T86" fmla="*/ 84 w 310"/>
                <a:gd name="T87" fmla="*/ 150 h 301"/>
                <a:gd name="T88" fmla="*/ 89 w 310"/>
                <a:gd name="T89" fmla="*/ 168 h 301"/>
                <a:gd name="T90" fmla="*/ 106 w 310"/>
                <a:gd name="T91" fmla="*/ 194 h 301"/>
                <a:gd name="T92" fmla="*/ 128 w 310"/>
                <a:gd name="T93" fmla="*/ 212 h 301"/>
                <a:gd name="T94" fmla="*/ 128 w 310"/>
                <a:gd name="T95" fmla="*/ 221 h 301"/>
                <a:gd name="T96" fmla="*/ 142 w 310"/>
                <a:gd name="T97" fmla="*/ 225 h 301"/>
                <a:gd name="T98" fmla="*/ 182 w 310"/>
                <a:gd name="T99" fmla="*/ 234 h 301"/>
                <a:gd name="T100" fmla="*/ 208 w 310"/>
                <a:gd name="T101" fmla="*/ 256 h 301"/>
                <a:gd name="T102" fmla="*/ 199 w 310"/>
                <a:gd name="T103" fmla="*/ 234 h 301"/>
                <a:gd name="T104" fmla="*/ 146 w 310"/>
                <a:gd name="T105" fmla="*/ 177 h 301"/>
                <a:gd name="T106" fmla="*/ 133 w 310"/>
                <a:gd name="T107" fmla="*/ 146 h 301"/>
                <a:gd name="T108" fmla="*/ 120 w 310"/>
                <a:gd name="T109" fmla="*/ 132 h 301"/>
                <a:gd name="T110" fmla="*/ 133 w 310"/>
                <a:gd name="T111" fmla="*/ 101 h 301"/>
                <a:gd name="T112" fmla="*/ 177 w 310"/>
                <a:gd name="T113" fmla="*/ 97 h 301"/>
                <a:gd name="T114" fmla="*/ 195 w 310"/>
                <a:gd name="T115" fmla="*/ 101 h 301"/>
                <a:gd name="T116" fmla="*/ 221 w 310"/>
                <a:gd name="T117" fmla="*/ 101 h 301"/>
                <a:gd name="T118" fmla="*/ 261 w 310"/>
                <a:gd name="T119" fmla="*/ 110 h 301"/>
                <a:gd name="T120" fmla="*/ 274 w 310"/>
                <a:gd name="T121" fmla="*/ 115 h 301"/>
                <a:gd name="T122" fmla="*/ 297 w 310"/>
                <a:gd name="T123" fmla="*/ 119 h 301"/>
                <a:gd name="T124" fmla="*/ 305 w 310"/>
                <a:gd name="T125" fmla="*/ 1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0" h="301">
                  <a:moveTo>
                    <a:pt x="182" y="279"/>
                  </a:moveTo>
                  <a:lnTo>
                    <a:pt x="177" y="274"/>
                  </a:lnTo>
                  <a:lnTo>
                    <a:pt x="177" y="274"/>
                  </a:lnTo>
                  <a:lnTo>
                    <a:pt x="177" y="279"/>
                  </a:lnTo>
                  <a:lnTo>
                    <a:pt x="173" y="279"/>
                  </a:lnTo>
                  <a:lnTo>
                    <a:pt x="177" y="279"/>
                  </a:lnTo>
                  <a:lnTo>
                    <a:pt x="177" y="279"/>
                  </a:lnTo>
                  <a:lnTo>
                    <a:pt x="177" y="279"/>
                  </a:lnTo>
                  <a:lnTo>
                    <a:pt x="177" y="279"/>
                  </a:lnTo>
                  <a:lnTo>
                    <a:pt x="177" y="279"/>
                  </a:lnTo>
                  <a:lnTo>
                    <a:pt x="177" y="279"/>
                  </a:lnTo>
                  <a:lnTo>
                    <a:pt x="177" y="279"/>
                  </a:lnTo>
                  <a:lnTo>
                    <a:pt x="177" y="279"/>
                  </a:lnTo>
                  <a:lnTo>
                    <a:pt x="177" y="279"/>
                  </a:lnTo>
                  <a:lnTo>
                    <a:pt x="177" y="279"/>
                  </a:lnTo>
                  <a:lnTo>
                    <a:pt x="177" y="279"/>
                  </a:lnTo>
                  <a:lnTo>
                    <a:pt x="177" y="279"/>
                  </a:lnTo>
                  <a:lnTo>
                    <a:pt x="182" y="279"/>
                  </a:lnTo>
                  <a:lnTo>
                    <a:pt x="182" y="279"/>
                  </a:lnTo>
                  <a:lnTo>
                    <a:pt x="182" y="279"/>
                  </a:lnTo>
                  <a:lnTo>
                    <a:pt x="182" y="279"/>
                  </a:lnTo>
                  <a:lnTo>
                    <a:pt x="182" y="279"/>
                  </a:lnTo>
                  <a:close/>
                  <a:moveTo>
                    <a:pt x="195" y="265"/>
                  </a:moveTo>
                  <a:lnTo>
                    <a:pt x="190" y="261"/>
                  </a:lnTo>
                  <a:lnTo>
                    <a:pt x="190" y="265"/>
                  </a:lnTo>
                  <a:lnTo>
                    <a:pt x="186" y="261"/>
                  </a:lnTo>
                  <a:lnTo>
                    <a:pt x="182" y="261"/>
                  </a:lnTo>
                  <a:lnTo>
                    <a:pt x="182" y="265"/>
                  </a:lnTo>
                  <a:lnTo>
                    <a:pt x="177" y="265"/>
                  </a:lnTo>
                  <a:lnTo>
                    <a:pt x="177" y="265"/>
                  </a:lnTo>
                  <a:lnTo>
                    <a:pt x="173" y="261"/>
                  </a:lnTo>
                  <a:lnTo>
                    <a:pt x="173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4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5"/>
                  </a:lnTo>
                  <a:lnTo>
                    <a:pt x="164" y="265"/>
                  </a:lnTo>
                  <a:lnTo>
                    <a:pt x="168" y="265"/>
                  </a:lnTo>
                  <a:lnTo>
                    <a:pt x="168" y="265"/>
                  </a:lnTo>
                  <a:lnTo>
                    <a:pt x="168" y="265"/>
                  </a:lnTo>
                  <a:lnTo>
                    <a:pt x="168" y="265"/>
                  </a:lnTo>
                  <a:lnTo>
                    <a:pt x="173" y="265"/>
                  </a:lnTo>
                  <a:lnTo>
                    <a:pt x="177" y="270"/>
                  </a:lnTo>
                  <a:lnTo>
                    <a:pt x="182" y="265"/>
                  </a:lnTo>
                  <a:lnTo>
                    <a:pt x="182" y="265"/>
                  </a:lnTo>
                  <a:lnTo>
                    <a:pt x="186" y="265"/>
                  </a:lnTo>
                  <a:lnTo>
                    <a:pt x="190" y="265"/>
                  </a:lnTo>
                  <a:lnTo>
                    <a:pt x="195" y="265"/>
                  </a:lnTo>
                  <a:lnTo>
                    <a:pt x="195" y="265"/>
                  </a:lnTo>
                  <a:lnTo>
                    <a:pt x="195" y="265"/>
                  </a:lnTo>
                  <a:lnTo>
                    <a:pt x="195" y="265"/>
                  </a:lnTo>
                  <a:lnTo>
                    <a:pt x="195" y="265"/>
                  </a:lnTo>
                  <a:lnTo>
                    <a:pt x="195" y="265"/>
                  </a:lnTo>
                  <a:close/>
                  <a:moveTo>
                    <a:pt x="261" y="301"/>
                  </a:moveTo>
                  <a:lnTo>
                    <a:pt x="261" y="301"/>
                  </a:lnTo>
                  <a:lnTo>
                    <a:pt x="261" y="301"/>
                  </a:lnTo>
                  <a:lnTo>
                    <a:pt x="261" y="296"/>
                  </a:lnTo>
                  <a:lnTo>
                    <a:pt x="261" y="296"/>
                  </a:lnTo>
                  <a:lnTo>
                    <a:pt x="261" y="296"/>
                  </a:lnTo>
                  <a:lnTo>
                    <a:pt x="261" y="292"/>
                  </a:lnTo>
                  <a:lnTo>
                    <a:pt x="261" y="292"/>
                  </a:lnTo>
                  <a:lnTo>
                    <a:pt x="261" y="292"/>
                  </a:lnTo>
                  <a:lnTo>
                    <a:pt x="257" y="292"/>
                  </a:lnTo>
                  <a:lnTo>
                    <a:pt x="257" y="292"/>
                  </a:lnTo>
                  <a:lnTo>
                    <a:pt x="257" y="292"/>
                  </a:lnTo>
                  <a:lnTo>
                    <a:pt x="257" y="292"/>
                  </a:lnTo>
                  <a:lnTo>
                    <a:pt x="257" y="287"/>
                  </a:lnTo>
                  <a:lnTo>
                    <a:pt x="257" y="287"/>
                  </a:lnTo>
                  <a:lnTo>
                    <a:pt x="252" y="287"/>
                  </a:lnTo>
                  <a:lnTo>
                    <a:pt x="252" y="287"/>
                  </a:lnTo>
                  <a:lnTo>
                    <a:pt x="248" y="287"/>
                  </a:lnTo>
                  <a:lnTo>
                    <a:pt x="239" y="283"/>
                  </a:lnTo>
                  <a:lnTo>
                    <a:pt x="239" y="279"/>
                  </a:lnTo>
                  <a:lnTo>
                    <a:pt x="235" y="279"/>
                  </a:lnTo>
                  <a:lnTo>
                    <a:pt x="235" y="274"/>
                  </a:lnTo>
                  <a:lnTo>
                    <a:pt x="235" y="274"/>
                  </a:lnTo>
                  <a:lnTo>
                    <a:pt x="230" y="274"/>
                  </a:lnTo>
                  <a:lnTo>
                    <a:pt x="230" y="274"/>
                  </a:lnTo>
                  <a:lnTo>
                    <a:pt x="230" y="270"/>
                  </a:lnTo>
                  <a:lnTo>
                    <a:pt x="230" y="270"/>
                  </a:lnTo>
                  <a:lnTo>
                    <a:pt x="230" y="270"/>
                  </a:lnTo>
                  <a:lnTo>
                    <a:pt x="230" y="270"/>
                  </a:lnTo>
                  <a:lnTo>
                    <a:pt x="226" y="265"/>
                  </a:lnTo>
                  <a:lnTo>
                    <a:pt x="226" y="265"/>
                  </a:lnTo>
                  <a:lnTo>
                    <a:pt x="226" y="265"/>
                  </a:lnTo>
                  <a:lnTo>
                    <a:pt x="226" y="270"/>
                  </a:lnTo>
                  <a:lnTo>
                    <a:pt x="226" y="265"/>
                  </a:lnTo>
                  <a:lnTo>
                    <a:pt x="221" y="265"/>
                  </a:lnTo>
                  <a:lnTo>
                    <a:pt x="221" y="265"/>
                  </a:lnTo>
                  <a:lnTo>
                    <a:pt x="221" y="265"/>
                  </a:lnTo>
                  <a:lnTo>
                    <a:pt x="221" y="265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6" y="274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17" y="270"/>
                  </a:lnTo>
                  <a:lnTo>
                    <a:pt x="217" y="270"/>
                  </a:lnTo>
                  <a:lnTo>
                    <a:pt x="217" y="270"/>
                  </a:lnTo>
                  <a:lnTo>
                    <a:pt x="217" y="265"/>
                  </a:lnTo>
                  <a:lnTo>
                    <a:pt x="213" y="265"/>
                  </a:lnTo>
                  <a:lnTo>
                    <a:pt x="213" y="265"/>
                  </a:lnTo>
                  <a:lnTo>
                    <a:pt x="213" y="265"/>
                  </a:lnTo>
                  <a:lnTo>
                    <a:pt x="213" y="265"/>
                  </a:lnTo>
                  <a:lnTo>
                    <a:pt x="213" y="265"/>
                  </a:lnTo>
                  <a:lnTo>
                    <a:pt x="213" y="265"/>
                  </a:lnTo>
                  <a:lnTo>
                    <a:pt x="213" y="265"/>
                  </a:lnTo>
                  <a:lnTo>
                    <a:pt x="213" y="265"/>
                  </a:lnTo>
                  <a:lnTo>
                    <a:pt x="213" y="265"/>
                  </a:lnTo>
                  <a:lnTo>
                    <a:pt x="213" y="265"/>
                  </a:lnTo>
                  <a:lnTo>
                    <a:pt x="213" y="265"/>
                  </a:lnTo>
                  <a:lnTo>
                    <a:pt x="208" y="265"/>
                  </a:lnTo>
                  <a:lnTo>
                    <a:pt x="208" y="265"/>
                  </a:lnTo>
                  <a:lnTo>
                    <a:pt x="208" y="265"/>
                  </a:lnTo>
                  <a:lnTo>
                    <a:pt x="208" y="265"/>
                  </a:lnTo>
                  <a:lnTo>
                    <a:pt x="208" y="265"/>
                  </a:lnTo>
                  <a:lnTo>
                    <a:pt x="208" y="265"/>
                  </a:lnTo>
                  <a:lnTo>
                    <a:pt x="208" y="265"/>
                  </a:lnTo>
                  <a:lnTo>
                    <a:pt x="208" y="265"/>
                  </a:lnTo>
                  <a:lnTo>
                    <a:pt x="204" y="261"/>
                  </a:lnTo>
                  <a:lnTo>
                    <a:pt x="199" y="261"/>
                  </a:lnTo>
                  <a:lnTo>
                    <a:pt x="195" y="256"/>
                  </a:lnTo>
                  <a:lnTo>
                    <a:pt x="190" y="261"/>
                  </a:lnTo>
                  <a:lnTo>
                    <a:pt x="186" y="256"/>
                  </a:lnTo>
                  <a:lnTo>
                    <a:pt x="186" y="256"/>
                  </a:lnTo>
                  <a:lnTo>
                    <a:pt x="186" y="256"/>
                  </a:lnTo>
                  <a:lnTo>
                    <a:pt x="186" y="256"/>
                  </a:lnTo>
                  <a:lnTo>
                    <a:pt x="186" y="256"/>
                  </a:lnTo>
                  <a:lnTo>
                    <a:pt x="186" y="256"/>
                  </a:lnTo>
                  <a:lnTo>
                    <a:pt x="186" y="256"/>
                  </a:lnTo>
                  <a:lnTo>
                    <a:pt x="186" y="261"/>
                  </a:lnTo>
                  <a:lnTo>
                    <a:pt x="186" y="261"/>
                  </a:lnTo>
                  <a:lnTo>
                    <a:pt x="186" y="261"/>
                  </a:lnTo>
                  <a:lnTo>
                    <a:pt x="186" y="261"/>
                  </a:lnTo>
                  <a:lnTo>
                    <a:pt x="190" y="261"/>
                  </a:lnTo>
                  <a:lnTo>
                    <a:pt x="190" y="261"/>
                  </a:lnTo>
                  <a:lnTo>
                    <a:pt x="195" y="261"/>
                  </a:lnTo>
                  <a:lnTo>
                    <a:pt x="195" y="261"/>
                  </a:lnTo>
                  <a:lnTo>
                    <a:pt x="195" y="261"/>
                  </a:lnTo>
                  <a:lnTo>
                    <a:pt x="199" y="261"/>
                  </a:lnTo>
                  <a:lnTo>
                    <a:pt x="199" y="265"/>
                  </a:lnTo>
                  <a:lnTo>
                    <a:pt x="204" y="265"/>
                  </a:lnTo>
                  <a:lnTo>
                    <a:pt x="208" y="265"/>
                  </a:lnTo>
                  <a:lnTo>
                    <a:pt x="208" y="270"/>
                  </a:lnTo>
                  <a:lnTo>
                    <a:pt x="208" y="270"/>
                  </a:lnTo>
                  <a:lnTo>
                    <a:pt x="213" y="270"/>
                  </a:lnTo>
                  <a:lnTo>
                    <a:pt x="217" y="274"/>
                  </a:lnTo>
                  <a:lnTo>
                    <a:pt x="217" y="274"/>
                  </a:lnTo>
                  <a:lnTo>
                    <a:pt x="221" y="274"/>
                  </a:lnTo>
                  <a:lnTo>
                    <a:pt x="221" y="274"/>
                  </a:lnTo>
                  <a:lnTo>
                    <a:pt x="226" y="274"/>
                  </a:lnTo>
                  <a:lnTo>
                    <a:pt x="226" y="274"/>
                  </a:lnTo>
                  <a:lnTo>
                    <a:pt x="226" y="279"/>
                  </a:lnTo>
                  <a:lnTo>
                    <a:pt x="226" y="279"/>
                  </a:lnTo>
                  <a:lnTo>
                    <a:pt x="226" y="279"/>
                  </a:lnTo>
                  <a:lnTo>
                    <a:pt x="226" y="279"/>
                  </a:lnTo>
                  <a:lnTo>
                    <a:pt x="226" y="279"/>
                  </a:lnTo>
                  <a:lnTo>
                    <a:pt x="226" y="274"/>
                  </a:lnTo>
                  <a:lnTo>
                    <a:pt x="226" y="274"/>
                  </a:lnTo>
                  <a:lnTo>
                    <a:pt x="221" y="274"/>
                  </a:lnTo>
                  <a:lnTo>
                    <a:pt x="226" y="274"/>
                  </a:lnTo>
                  <a:lnTo>
                    <a:pt x="226" y="274"/>
                  </a:lnTo>
                  <a:lnTo>
                    <a:pt x="226" y="274"/>
                  </a:lnTo>
                  <a:lnTo>
                    <a:pt x="226" y="274"/>
                  </a:lnTo>
                  <a:lnTo>
                    <a:pt x="226" y="274"/>
                  </a:lnTo>
                  <a:lnTo>
                    <a:pt x="226" y="274"/>
                  </a:lnTo>
                  <a:lnTo>
                    <a:pt x="226" y="274"/>
                  </a:lnTo>
                  <a:lnTo>
                    <a:pt x="226" y="274"/>
                  </a:lnTo>
                  <a:lnTo>
                    <a:pt x="226" y="274"/>
                  </a:lnTo>
                  <a:lnTo>
                    <a:pt x="226" y="274"/>
                  </a:lnTo>
                  <a:lnTo>
                    <a:pt x="230" y="274"/>
                  </a:lnTo>
                  <a:lnTo>
                    <a:pt x="230" y="274"/>
                  </a:lnTo>
                  <a:lnTo>
                    <a:pt x="230" y="274"/>
                  </a:lnTo>
                  <a:lnTo>
                    <a:pt x="230" y="279"/>
                  </a:lnTo>
                  <a:lnTo>
                    <a:pt x="235" y="279"/>
                  </a:lnTo>
                  <a:lnTo>
                    <a:pt x="235" y="279"/>
                  </a:lnTo>
                  <a:lnTo>
                    <a:pt x="239" y="283"/>
                  </a:lnTo>
                  <a:lnTo>
                    <a:pt x="239" y="283"/>
                  </a:lnTo>
                  <a:lnTo>
                    <a:pt x="239" y="283"/>
                  </a:lnTo>
                  <a:lnTo>
                    <a:pt x="239" y="283"/>
                  </a:lnTo>
                  <a:lnTo>
                    <a:pt x="239" y="283"/>
                  </a:lnTo>
                  <a:lnTo>
                    <a:pt x="243" y="283"/>
                  </a:lnTo>
                  <a:lnTo>
                    <a:pt x="239" y="283"/>
                  </a:lnTo>
                  <a:lnTo>
                    <a:pt x="239" y="283"/>
                  </a:lnTo>
                  <a:lnTo>
                    <a:pt x="243" y="287"/>
                  </a:lnTo>
                  <a:lnTo>
                    <a:pt x="243" y="287"/>
                  </a:lnTo>
                  <a:lnTo>
                    <a:pt x="243" y="287"/>
                  </a:lnTo>
                  <a:lnTo>
                    <a:pt x="243" y="287"/>
                  </a:lnTo>
                  <a:lnTo>
                    <a:pt x="248" y="287"/>
                  </a:lnTo>
                  <a:lnTo>
                    <a:pt x="248" y="287"/>
                  </a:lnTo>
                  <a:lnTo>
                    <a:pt x="248" y="287"/>
                  </a:lnTo>
                  <a:lnTo>
                    <a:pt x="248" y="287"/>
                  </a:lnTo>
                  <a:lnTo>
                    <a:pt x="248" y="292"/>
                  </a:lnTo>
                  <a:lnTo>
                    <a:pt x="248" y="292"/>
                  </a:lnTo>
                  <a:lnTo>
                    <a:pt x="252" y="292"/>
                  </a:lnTo>
                  <a:lnTo>
                    <a:pt x="261" y="296"/>
                  </a:lnTo>
                  <a:lnTo>
                    <a:pt x="261" y="301"/>
                  </a:lnTo>
                  <a:lnTo>
                    <a:pt x="261" y="301"/>
                  </a:lnTo>
                  <a:lnTo>
                    <a:pt x="261" y="301"/>
                  </a:lnTo>
                  <a:lnTo>
                    <a:pt x="261" y="301"/>
                  </a:lnTo>
                  <a:lnTo>
                    <a:pt x="266" y="301"/>
                  </a:lnTo>
                  <a:lnTo>
                    <a:pt x="266" y="301"/>
                  </a:lnTo>
                  <a:lnTo>
                    <a:pt x="266" y="301"/>
                  </a:lnTo>
                  <a:lnTo>
                    <a:pt x="261" y="301"/>
                  </a:lnTo>
                  <a:close/>
                  <a:moveTo>
                    <a:pt x="146" y="256"/>
                  </a:moveTo>
                  <a:lnTo>
                    <a:pt x="146" y="256"/>
                  </a:lnTo>
                  <a:lnTo>
                    <a:pt x="146" y="256"/>
                  </a:lnTo>
                  <a:lnTo>
                    <a:pt x="146" y="256"/>
                  </a:lnTo>
                  <a:lnTo>
                    <a:pt x="142" y="256"/>
                  </a:lnTo>
                  <a:lnTo>
                    <a:pt x="142" y="256"/>
                  </a:lnTo>
                  <a:lnTo>
                    <a:pt x="142" y="256"/>
                  </a:lnTo>
                  <a:lnTo>
                    <a:pt x="142" y="256"/>
                  </a:lnTo>
                  <a:lnTo>
                    <a:pt x="142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3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61"/>
                  </a:lnTo>
                  <a:lnTo>
                    <a:pt x="137" y="261"/>
                  </a:lnTo>
                  <a:lnTo>
                    <a:pt x="137" y="261"/>
                  </a:lnTo>
                  <a:lnTo>
                    <a:pt x="137" y="261"/>
                  </a:lnTo>
                  <a:lnTo>
                    <a:pt x="142" y="256"/>
                  </a:lnTo>
                  <a:lnTo>
                    <a:pt x="146" y="256"/>
                  </a:lnTo>
                  <a:lnTo>
                    <a:pt x="146" y="256"/>
                  </a:lnTo>
                  <a:lnTo>
                    <a:pt x="146" y="256"/>
                  </a:lnTo>
                  <a:lnTo>
                    <a:pt x="146" y="256"/>
                  </a:lnTo>
                  <a:lnTo>
                    <a:pt x="146" y="256"/>
                  </a:lnTo>
                  <a:lnTo>
                    <a:pt x="146" y="256"/>
                  </a:lnTo>
                  <a:lnTo>
                    <a:pt x="146" y="256"/>
                  </a:lnTo>
                  <a:close/>
                  <a:moveTo>
                    <a:pt x="168" y="252"/>
                  </a:moveTo>
                  <a:lnTo>
                    <a:pt x="195" y="252"/>
                  </a:lnTo>
                  <a:lnTo>
                    <a:pt x="195" y="252"/>
                  </a:lnTo>
                  <a:lnTo>
                    <a:pt x="190" y="252"/>
                  </a:lnTo>
                  <a:lnTo>
                    <a:pt x="186" y="252"/>
                  </a:lnTo>
                  <a:lnTo>
                    <a:pt x="182" y="248"/>
                  </a:lnTo>
                  <a:lnTo>
                    <a:pt x="182" y="248"/>
                  </a:lnTo>
                  <a:lnTo>
                    <a:pt x="177" y="248"/>
                  </a:lnTo>
                  <a:lnTo>
                    <a:pt x="177" y="248"/>
                  </a:lnTo>
                  <a:lnTo>
                    <a:pt x="177" y="248"/>
                  </a:lnTo>
                  <a:lnTo>
                    <a:pt x="173" y="248"/>
                  </a:lnTo>
                  <a:lnTo>
                    <a:pt x="173" y="248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68" y="243"/>
                  </a:lnTo>
                  <a:lnTo>
                    <a:pt x="168" y="243"/>
                  </a:lnTo>
                  <a:lnTo>
                    <a:pt x="164" y="243"/>
                  </a:lnTo>
                  <a:lnTo>
                    <a:pt x="164" y="243"/>
                  </a:lnTo>
                  <a:lnTo>
                    <a:pt x="164" y="243"/>
                  </a:lnTo>
                  <a:lnTo>
                    <a:pt x="164" y="243"/>
                  </a:lnTo>
                  <a:lnTo>
                    <a:pt x="164" y="243"/>
                  </a:lnTo>
                  <a:lnTo>
                    <a:pt x="164" y="243"/>
                  </a:lnTo>
                  <a:lnTo>
                    <a:pt x="159" y="243"/>
                  </a:lnTo>
                  <a:lnTo>
                    <a:pt x="159" y="243"/>
                  </a:lnTo>
                  <a:lnTo>
                    <a:pt x="159" y="243"/>
                  </a:lnTo>
                  <a:lnTo>
                    <a:pt x="159" y="248"/>
                  </a:lnTo>
                  <a:lnTo>
                    <a:pt x="164" y="248"/>
                  </a:lnTo>
                  <a:lnTo>
                    <a:pt x="159" y="248"/>
                  </a:lnTo>
                  <a:lnTo>
                    <a:pt x="159" y="248"/>
                  </a:lnTo>
                  <a:lnTo>
                    <a:pt x="159" y="243"/>
                  </a:lnTo>
                  <a:lnTo>
                    <a:pt x="155" y="248"/>
                  </a:lnTo>
                  <a:lnTo>
                    <a:pt x="155" y="243"/>
                  </a:lnTo>
                  <a:lnTo>
                    <a:pt x="155" y="248"/>
                  </a:lnTo>
                  <a:lnTo>
                    <a:pt x="155" y="248"/>
                  </a:lnTo>
                  <a:lnTo>
                    <a:pt x="155" y="248"/>
                  </a:lnTo>
                  <a:lnTo>
                    <a:pt x="155" y="248"/>
                  </a:lnTo>
                  <a:lnTo>
                    <a:pt x="155" y="248"/>
                  </a:lnTo>
                  <a:lnTo>
                    <a:pt x="155" y="248"/>
                  </a:lnTo>
                  <a:lnTo>
                    <a:pt x="151" y="248"/>
                  </a:lnTo>
                  <a:lnTo>
                    <a:pt x="151" y="248"/>
                  </a:lnTo>
                  <a:lnTo>
                    <a:pt x="151" y="248"/>
                  </a:lnTo>
                  <a:lnTo>
                    <a:pt x="155" y="248"/>
                  </a:lnTo>
                  <a:lnTo>
                    <a:pt x="155" y="248"/>
                  </a:lnTo>
                  <a:lnTo>
                    <a:pt x="155" y="248"/>
                  </a:lnTo>
                  <a:lnTo>
                    <a:pt x="159" y="248"/>
                  </a:lnTo>
                  <a:lnTo>
                    <a:pt x="164" y="252"/>
                  </a:lnTo>
                  <a:lnTo>
                    <a:pt x="168" y="252"/>
                  </a:lnTo>
                  <a:lnTo>
                    <a:pt x="168" y="252"/>
                  </a:lnTo>
                  <a:close/>
                  <a:moveTo>
                    <a:pt x="155" y="239"/>
                  </a:move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9" y="239"/>
                  </a:lnTo>
                  <a:lnTo>
                    <a:pt x="164" y="243"/>
                  </a:lnTo>
                  <a:lnTo>
                    <a:pt x="164" y="243"/>
                  </a:lnTo>
                  <a:lnTo>
                    <a:pt x="177" y="243"/>
                  </a:lnTo>
                  <a:lnTo>
                    <a:pt x="177" y="243"/>
                  </a:lnTo>
                  <a:lnTo>
                    <a:pt x="177" y="239"/>
                  </a:lnTo>
                  <a:lnTo>
                    <a:pt x="177" y="239"/>
                  </a:lnTo>
                  <a:lnTo>
                    <a:pt x="177" y="239"/>
                  </a:lnTo>
                  <a:lnTo>
                    <a:pt x="177" y="239"/>
                  </a:lnTo>
                  <a:lnTo>
                    <a:pt x="177" y="239"/>
                  </a:lnTo>
                  <a:lnTo>
                    <a:pt x="177" y="239"/>
                  </a:lnTo>
                  <a:lnTo>
                    <a:pt x="177" y="239"/>
                  </a:lnTo>
                  <a:lnTo>
                    <a:pt x="177" y="239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73" y="234"/>
                  </a:lnTo>
                  <a:lnTo>
                    <a:pt x="173" y="234"/>
                  </a:lnTo>
                  <a:lnTo>
                    <a:pt x="177" y="234"/>
                  </a:lnTo>
                  <a:lnTo>
                    <a:pt x="177" y="234"/>
                  </a:lnTo>
                  <a:lnTo>
                    <a:pt x="168" y="234"/>
                  </a:lnTo>
                  <a:lnTo>
                    <a:pt x="159" y="234"/>
                  </a:lnTo>
                  <a:lnTo>
                    <a:pt x="155" y="234"/>
                  </a:lnTo>
                  <a:lnTo>
                    <a:pt x="155" y="234"/>
                  </a:lnTo>
                  <a:lnTo>
                    <a:pt x="155" y="234"/>
                  </a:lnTo>
                  <a:lnTo>
                    <a:pt x="155" y="234"/>
                  </a:lnTo>
                  <a:lnTo>
                    <a:pt x="155" y="234"/>
                  </a:lnTo>
                  <a:lnTo>
                    <a:pt x="155" y="234"/>
                  </a:lnTo>
                  <a:lnTo>
                    <a:pt x="155" y="234"/>
                  </a:lnTo>
                  <a:lnTo>
                    <a:pt x="155" y="234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close/>
                  <a:moveTo>
                    <a:pt x="155" y="234"/>
                  </a:moveTo>
                  <a:lnTo>
                    <a:pt x="151" y="234"/>
                  </a:lnTo>
                  <a:lnTo>
                    <a:pt x="151" y="234"/>
                  </a:lnTo>
                  <a:lnTo>
                    <a:pt x="151" y="234"/>
                  </a:lnTo>
                  <a:lnTo>
                    <a:pt x="146" y="234"/>
                  </a:lnTo>
                  <a:lnTo>
                    <a:pt x="146" y="230"/>
                  </a:lnTo>
                  <a:lnTo>
                    <a:pt x="146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4"/>
                  </a:lnTo>
                  <a:lnTo>
                    <a:pt x="142" y="234"/>
                  </a:lnTo>
                  <a:lnTo>
                    <a:pt x="142" y="234"/>
                  </a:lnTo>
                  <a:lnTo>
                    <a:pt x="142" y="234"/>
                  </a:lnTo>
                  <a:lnTo>
                    <a:pt x="142" y="234"/>
                  </a:lnTo>
                  <a:lnTo>
                    <a:pt x="146" y="234"/>
                  </a:lnTo>
                  <a:lnTo>
                    <a:pt x="146" y="234"/>
                  </a:lnTo>
                  <a:lnTo>
                    <a:pt x="151" y="234"/>
                  </a:lnTo>
                  <a:lnTo>
                    <a:pt x="151" y="239"/>
                  </a:lnTo>
                  <a:lnTo>
                    <a:pt x="155" y="234"/>
                  </a:lnTo>
                  <a:close/>
                  <a:moveTo>
                    <a:pt x="146" y="225"/>
                  </a:moveTo>
                  <a:lnTo>
                    <a:pt x="146" y="225"/>
                  </a:lnTo>
                  <a:lnTo>
                    <a:pt x="142" y="225"/>
                  </a:lnTo>
                  <a:lnTo>
                    <a:pt x="142" y="225"/>
                  </a:lnTo>
                  <a:lnTo>
                    <a:pt x="142" y="225"/>
                  </a:lnTo>
                  <a:lnTo>
                    <a:pt x="142" y="225"/>
                  </a:lnTo>
                  <a:lnTo>
                    <a:pt x="146" y="225"/>
                  </a:lnTo>
                  <a:lnTo>
                    <a:pt x="146" y="225"/>
                  </a:lnTo>
                  <a:lnTo>
                    <a:pt x="146" y="225"/>
                  </a:lnTo>
                  <a:lnTo>
                    <a:pt x="146" y="225"/>
                  </a:lnTo>
                  <a:lnTo>
                    <a:pt x="146" y="225"/>
                  </a:lnTo>
                  <a:lnTo>
                    <a:pt x="151" y="225"/>
                  </a:lnTo>
                  <a:lnTo>
                    <a:pt x="151" y="225"/>
                  </a:lnTo>
                  <a:lnTo>
                    <a:pt x="151" y="225"/>
                  </a:lnTo>
                  <a:lnTo>
                    <a:pt x="151" y="225"/>
                  </a:lnTo>
                  <a:lnTo>
                    <a:pt x="151" y="225"/>
                  </a:lnTo>
                  <a:lnTo>
                    <a:pt x="146" y="225"/>
                  </a:lnTo>
                  <a:lnTo>
                    <a:pt x="146" y="225"/>
                  </a:lnTo>
                  <a:lnTo>
                    <a:pt x="146" y="225"/>
                  </a:lnTo>
                  <a:lnTo>
                    <a:pt x="146" y="225"/>
                  </a:lnTo>
                  <a:lnTo>
                    <a:pt x="146" y="225"/>
                  </a:lnTo>
                  <a:close/>
                  <a:moveTo>
                    <a:pt x="115" y="212"/>
                  </a:moveTo>
                  <a:lnTo>
                    <a:pt x="115" y="212"/>
                  </a:lnTo>
                  <a:lnTo>
                    <a:pt x="115" y="212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1" y="212"/>
                  </a:lnTo>
                  <a:lnTo>
                    <a:pt x="115" y="212"/>
                  </a:lnTo>
                  <a:lnTo>
                    <a:pt x="115" y="217"/>
                  </a:lnTo>
                  <a:lnTo>
                    <a:pt x="115" y="217"/>
                  </a:lnTo>
                  <a:lnTo>
                    <a:pt x="120" y="217"/>
                  </a:lnTo>
                  <a:lnTo>
                    <a:pt x="115" y="212"/>
                  </a:lnTo>
                  <a:lnTo>
                    <a:pt x="115" y="212"/>
                  </a:lnTo>
                  <a:close/>
                  <a:moveTo>
                    <a:pt x="97" y="203"/>
                  </a:moveTo>
                  <a:lnTo>
                    <a:pt x="97" y="203"/>
                  </a:lnTo>
                  <a:lnTo>
                    <a:pt x="93" y="199"/>
                  </a:lnTo>
                  <a:lnTo>
                    <a:pt x="93" y="199"/>
                  </a:lnTo>
                  <a:lnTo>
                    <a:pt x="93" y="199"/>
                  </a:lnTo>
                  <a:lnTo>
                    <a:pt x="93" y="199"/>
                  </a:lnTo>
                  <a:lnTo>
                    <a:pt x="93" y="199"/>
                  </a:lnTo>
                  <a:lnTo>
                    <a:pt x="93" y="199"/>
                  </a:lnTo>
                  <a:lnTo>
                    <a:pt x="93" y="199"/>
                  </a:lnTo>
                  <a:lnTo>
                    <a:pt x="93" y="199"/>
                  </a:lnTo>
                  <a:lnTo>
                    <a:pt x="97" y="203"/>
                  </a:lnTo>
                  <a:lnTo>
                    <a:pt x="97" y="203"/>
                  </a:lnTo>
                  <a:lnTo>
                    <a:pt x="102" y="203"/>
                  </a:lnTo>
                  <a:lnTo>
                    <a:pt x="102" y="203"/>
                  </a:lnTo>
                  <a:lnTo>
                    <a:pt x="97" y="203"/>
                  </a:lnTo>
                  <a:lnTo>
                    <a:pt x="97" y="203"/>
                  </a:lnTo>
                  <a:close/>
                  <a:moveTo>
                    <a:pt x="102" y="194"/>
                  </a:moveTo>
                  <a:lnTo>
                    <a:pt x="102" y="194"/>
                  </a:lnTo>
                  <a:lnTo>
                    <a:pt x="102" y="194"/>
                  </a:lnTo>
                  <a:lnTo>
                    <a:pt x="102" y="194"/>
                  </a:lnTo>
                  <a:lnTo>
                    <a:pt x="102" y="194"/>
                  </a:lnTo>
                  <a:lnTo>
                    <a:pt x="102" y="194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97" y="190"/>
                  </a:lnTo>
                  <a:lnTo>
                    <a:pt x="97" y="190"/>
                  </a:lnTo>
                  <a:lnTo>
                    <a:pt x="93" y="186"/>
                  </a:lnTo>
                  <a:lnTo>
                    <a:pt x="93" y="186"/>
                  </a:lnTo>
                  <a:lnTo>
                    <a:pt x="93" y="186"/>
                  </a:lnTo>
                  <a:lnTo>
                    <a:pt x="93" y="190"/>
                  </a:lnTo>
                  <a:lnTo>
                    <a:pt x="93" y="190"/>
                  </a:lnTo>
                  <a:lnTo>
                    <a:pt x="97" y="190"/>
                  </a:lnTo>
                  <a:lnTo>
                    <a:pt x="97" y="190"/>
                  </a:lnTo>
                  <a:lnTo>
                    <a:pt x="97" y="190"/>
                  </a:lnTo>
                  <a:lnTo>
                    <a:pt x="97" y="194"/>
                  </a:lnTo>
                  <a:lnTo>
                    <a:pt x="97" y="194"/>
                  </a:lnTo>
                  <a:lnTo>
                    <a:pt x="97" y="194"/>
                  </a:lnTo>
                  <a:lnTo>
                    <a:pt x="97" y="194"/>
                  </a:lnTo>
                  <a:lnTo>
                    <a:pt x="97" y="194"/>
                  </a:lnTo>
                  <a:lnTo>
                    <a:pt x="97" y="194"/>
                  </a:lnTo>
                  <a:lnTo>
                    <a:pt x="102" y="194"/>
                  </a:lnTo>
                  <a:lnTo>
                    <a:pt x="102" y="194"/>
                  </a:lnTo>
                  <a:lnTo>
                    <a:pt x="102" y="194"/>
                  </a:lnTo>
                  <a:lnTo>
                    <a:pt x="102" y="194"/>
                  </a:lnTo>
                  <a:lnTo>
                    <a:pt x="102" y="194"/>
                  </a:lnTo>
                  <a:lnTo>
                    <a:pt x="102" y="194"/>
                  </a:lnTo>
                  <a:lnTo>
                    <a:pt x="102" y="194"/>
                  </a:lnTo>
                  <a:lnTo>
                    <a:pt x="102" y="194"/>
                  </a:lnTo>
                  <a:lnTo>
                    <a:pt x="102" y="194"/>
                  </a:lnTo>
                  <a:lnTo>
                    <a:pt x="102" y="194"/>
                  </a:lnTo>
                  <a:lnTo>
                    <a:pt x="102" y="194"/>
                  </a:lnTo>
                  <a:close/>
                  <a:moveTo>
                    <a:pt x="40" y="141"/>
                  </a:move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37"/>
                  </a:lnTo>
                  <a:lnTo>
                    <a:pt x="40" y="137"/>
                  </a:lnTo>
                  <a:lnTo>
                    <a:pt x="40" y="141"/>
                  </a:lnTo>
                  <a:close/>
                  <a:moveTo>
                    <a:pt x="66" y="141"/>
                  </a:moveTo>
                  <a:lnTo>
                    <a:pt x="71" y="146"/>
                  </a:lnTo>
                  <a:lnTo>
                    <a:pt x="71" y="146"/>
                  </a:lnTo>
                  <a:lnTo>
                    <a:pt x="75" y="146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75" y="155"/>
                  </a:lnTo>
                  <a:lnTo>
                    <a:pt x="75" y="155"/>
                  </a:lnTo>
                  <a:lnTo>
                    <a:pt x="80" y="155"/>
                  </a:lnTo>
                  <a:lnTo>
                    <a:pt x="80" y="159"/>
                  </a:lnTo>
                  <a:lnTo>
                    <a:pt x="84" y="159"/>
                  </a:lnTo>
                  <a:lnTo>
                    <a:pt x="84" y="159"/>
                  </a:lnTo>
                  <a:lnTo>
                    <a:pt x="84" y="159"/>
                  </a:lnTo>
                  <a:lnTo>
                    <a:pt x="84" y="159"/>
                  </a:lnTo>
                  <a:lnTo>
                    <a:pt x="84" y="159"/>
                  </a:lnTo>
                  <a:lnTo>
                    <a:pt x="84" y="159"/>
                  </a:lnTo>
                  <a:lnTo>
                    <a:pt x="84" y="159"/>
                  </a:lnTo>
                  <a:lnTo>
                    <a:pt x="84" y="159"/>
                  </a:lnTo>
                  <a:lnTo>
                    <a:pt x="84" y="159"/>
                  </a:lnTo>
                  <a:lnTo>
                    <a:pt x="84" y="159"/>
                  </a:lnTo>
                  <a:lnTo>
                    <a:pt x="84" y="163"/>
                  </a:lnTo>
                  <a:lnTo>
                    <a:pt x="84" y="163"/>
                  </a:lnTo>
                  <a:lnTo>
                    <a:pt x="84" y="163"/>
                  </a:lnTo>
                  <a:lnTo>
                    <a:pt x="84" y="163"/>
                  </a:lnTo>
                  <a:lnTo>
                    <a:pt x="84" y="163"/>
                  </a:lnTo>
                  <a:lnTo>
                    <a:pt x="84" y="163"/>
                  </a:lnTo>
                  <a:lnTo>
                    <a:pt x="84" y="163"/>
                  </a:lnTo>
                  <a:lnTo>
                    <a:pt x="84" y="163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89" y="163"/>
                  </a:lnTo>
                  <a:lnTo>
                    <a:pt x="89" y="163"/>
                  </a:lnTo>
                  <a:lnTo>
                    <a:pt x="89" y="163"/>
                  </a:lnTo>
                  <a:lnTo>
                    <a:pt x="89" y="163"/>
                  </a:lnTo>
                  <a:lnTo>
                    <a:pt x="93" y="163"/>
                  </a:lnTo>
                  <a:lnTo>
                    <a:pt x="93" y="163"/>
                  </a:lnTo>
                  <a:lnTo>
                    <a:pt x="89" y="163"/>
                  </a:lnTo>
                  <a:lnTo>
                    <a:pt x="89" y="163"/>
                  </a:lnTo>
                  <a:lnTo>
                    <a:pt x="89" y="163"/>
                  </a:lnTo>
                  <a:lnTo>
                    <a:pt x="93" y="163"/>
                  </a:lnTo>
                  <a:lnTo>
                    <a:pt x="93" y="163"/>
                  </a:lnTo>
                  <a:lnTo>
                    <a:pt x="89" y="163"/>
                  </a:lnTo>
                  <a:lnTo>
                    <a:pt x="89" y="163"/>
                  </a:lnTo>
                  <a:lnTo>
                    <a:pt x="89" y="163"/>
                  </a:lnTo>
                  <a:lnTo>
                    <a:pt x="89" y="163"/>
                  </a:lnTo>
                  <a:lnTo>
                    <a:pt x="89" y="163"/>
                  </a:lnTo>
                  <a:lnTo>
                    <a:pt x="89" y="163"/>
                  </a:lnTo>
                  <a:lnTo>
                    <a:pt x="93" y="163"/>
                  </a:lnTo>
                  <a:lnTo>
                    <a:pt x="93" y="163"/>
                  </a:lnTo>
                  <a:lnTo>
                    <a:pt x="93" y="163"/>
                  </a:lnTo>
                  <a:lnTo>
                    <a:pt x="93" y="159"/>
                  </a:lnTo>
                  <a:lnTo>
                    <a:pt x="89" y="159"/>
                  </a:lnTo>
                  <a:lnTo>
                    <a:pt x="89" y="159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9"/>
                  </a:lnTo>
                  <a:lnTo>
                    <a:pt x="84" y="159"/>
                  </a:lnTo>
                  <a:lnTo>
                    <a:pt x="84" y="155"/>
                  </a:lnTo>
                  <a:lnTo>
                    <a:pt x="80" y="150"/>
                  </a:lnTo>
                  <a:lnTo>
                    <a:pt x="75" y="150"/>
                  </a:lnTo>
                  <a:lnTo>
                    <a:pt x="75" y="146"/>
                  </a:lnTo>
                  <a:lnTo>
                    <a:pt x="75" y="146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80" y="150"/>
                  </a:lnTo>
                  <a:lnTo>
                    <a:pt x="80" y="150"/>
                  </a:lnTo>
                  <a:lnTo>
                    <a:pt x="80" y="150"/>
                  </a:lnTo>
                  <a:lnTo>
                    <a:pt x="80" y="150"/>
                  </a:lnTo>
                  <a:lnTo>
                    <a:pt x="80" y="150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0"/>
                  </a:lnTo>
                  <a:lnTo>
                    <a:pt x="84" y="150"/>
                  </a:lnTo>
                  <a:lnTo>
                    <a:pt x="80" y="150"/>
                  </a:lnTo>
                  <a:lnTo>
                    <a:pt x="80" y="150"/>
                  </a:lnTo>
                  <a:lnTo>
                    <a:pt x="80" y="150"/>
                  </a:lnTo>
                  <a:lnTo>
                    <a:pt x="80" y="146"/>
                  </a:lnTo>
                  <a:lnTo>
                    <a:pt x="75" y="146"/>
                  </a:lnTo>
                  <a:lnTo>
                    <a:pt x="75" y="141"/>
                  </a:lnTo>
                  <a:lnTo>
                    <a:pt x="75" y="141"/>
                  </a:lnTo>
                  <a:lnTo>
                    <a:pt x="75" y="146"/>
                  </a:lnTo>
                  <a:lnTo>
                    <a:pt x="71" y="146"/>
                  </a:lnTo>
                  <a:lnTo>
                    <a:pt x="66" y="137"/>
                  </a:lnTo>
                  <a:lnTo>
                    <a:pt x="66" y="137"/>
                  </a:lnTo>
                  <a:lnTo>
                    <a:pt x="66" y="137"/>
                  </a:lnTo>
                  <a:lnTo>
                    <a:pt x="66" y="137"/>
                  </a:lnTo>
                  <a:lnTo>
                    <a:pt x="66" y="137"/>
                  </a:lnTo>
                  <a:lnTo>
                    <a:pt x="66" y="141"/>
                  </a:lnTo>
                  <a:close/>
                  <a:moveTo>
                    <a:pt x="53" y="141"/>
                  </a:moveTo>
                  <a:lnTo>
                    <a:pt x="53" y="141"/>
                  </a:lnTo>
                  <a:lnTo>
                    <a:pt x="53" y="141"/>
                  </a:lnTo>
                  <a:lnTo>
                    <a:pt x="53" y="141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2"/>
                  </a:lnTo>
                  <a:lnTo>
                    <a:pt x="53" y="132"/>
                  </a:lnTo>
                  <a:lnTo>
                    <a:pt x="53" y="132"/>
                  </a:lnTo>
                  <a:lnTo>
                    <a:pt x="53" y="132"/>
                  </a:lnTo>
                  <a:lnTo>
                    <a:pt x="53" y="132"/>
                  </a:lnTo>
                  <a:lnTo>
                    <a:pt x="49" y="128"/>
                  </a:lnTo>
                  <a:lnTo>
                    <a:pt x="49" y="128"/>
                  </a:lnTo>
                  <a:lnTo>
                    <a:pt x="53" y="128"/>
                  </a:lnTo>
                  <a:lnTo>
                    <a:pt x="53" y="128"/>
                  </a:lnTo>
                  <a:lnTo>
                    <a:pt x="49" y="124"/>
                  </a:lnTo>
                  <a:lnTo>
                    <a:pt x="49" y="124"/>
                  </a:lnTo>
                  <a:lnTo>
                    <a:pt x="49" y="124"/>
                  </a:lnTo>
                  <a:lnTo>
                    <a:pt x="53" y="119"/>
                  </a:lnTo>
                  <a:lnTo>
                    <a:pt x="49" y="119"/>
                  </a:lnTo>
                  <a:lnTo>
                    <a:pt x="53" y="119"/>
                  </a:lnTo>
                  <a:lnTo>
                    <a:pt x="53" y="119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0"/>
                  </a:lnTo>
                  <a:lnTo>
                    <a:pt x="44" y="110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0" y="101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4" y="110"/>
                  </a:lnTo>
                  <a:lnTo>
                    <a:pt x="44" y="110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9"/>
                  </a:lnTo>
                  <a:lnTo>
                    <a:pt x="49" y="119"/>
                  </a:lnTo>
                  <a:lnTo>
                    <a:pt x="49" y="119"/>
                  </a:lnTo>
                  <a:lnTo>
                    <a:pt x="49" y="119"/>
                  </a:lnTo>
                  <a:lnTo>
                    <a:pt x="49" y="119"/>
                  </a:lnTo>
                  <a:lnTo>
                    <a:pt x="49" y="119"/>
                  </a:lnTo>
                  <a:lnTo>
                    <a:pt x="49" y="119"/>
                  </a:lnTo>
                  <a:lnTo>
                    <a:pt x="49" y="119"/>
                  </a:lnTo>
                  <a:lnTo>
                    <a:pt x="49" y="119"/>
                  </a:lnTo>
                  <a:lnTo>
                    <a:pt x="44" y="119"/>
                  </a:lnTo>
                  <a:lnTo>
                    <a:pt x="44" y="119"/>
                  </a:lnTo>
                  <a:lnTo>
                    <a:pt x="44" y="119"/>
                  </a:lnTo>
                  <a:lnTo>
                    <a:pt x="44" y="119"/>
                  </a:lnTo>
                  <a:lnTo>
                    <a:pt x="44" y="119"/>
                  </a:lnTo>
                  <a:lnTo>
                    <a:pt x="44" y="119"/>
                  </a:lnTo>
                  <a:lnTo>
                    <a:pt x="44" y="119"/>
                  </a:lnTo>
                  <a:lnTo>
                    <a:pt x="44" y="119"/>
                  </a:lnTo>
                  <a:lnTo>
                    <a:pt x="44" y="119"/>
                  </a:lnTo>
                  <a:lnTo>
                    <a:pt x="44" y="119"/>
                  </a:lnTo>
                  <a:lnTo>
                    <a:pt x="44" y="124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9" y="132"/>
                  </a:lnTo>
                  <a:lnTo>
                    <a:pt x="49" y="132"/>
                  </a:lnTo>
                  <a:lnTo>
                    <a:pt x="49" y="132"/>
                  </a:lnTo>
                  <a:lnTo>
                    <a:pt x="49" y="132"/>
                  </a:lnTo>
                  <a:lnTo>
                    <a:pt x="49" y="132"/>
                  </a:lnTo>
                  <a:lnTo>
                    <a:pt x="49" y="132"/>
                  </a:lnTo>
                  <a:lnTo>
                    <a:pt x="49" y="137"/>
                  </a:lnTo>
                  <a:lnTo>
                    <a:pt x="49" y="141"/>
                  </a:lnTo>
                  <a:lnTo>
                    <a:pt x="53" y="141"/>
                  </a:lnTo>
                  <a:lnTo>
                    <a:pt x="53" y="141"/>
                  </a:lnTo>
                  <a:lnTo>
                    <a:pt x="53" y="141"/>
                  </a:lnTo>
                  <a:lnTo>
                    <a:pt x="53" y="141"/>
                  </a:lnTo>
                  <a:lnTo>
                    <a:pt x="53" y="141"/>
                  </a:lnTo>
                  <a:lnTo>
                    <a:pt x="53" y="141"/>
                  </a:lnTo>
                  <a:lnTo>
                    <a:pt x="53" y="141"/>
                  </a:lnTo>
                  <a:lnTo>
                    <a:pt x="53" y="141"/>
                  </a:lnTo>
                  <a:close/>
                  <a:moveTo>
                    <a:pt x="58" y="110"/>
                  </a:moveTo>
                  <a:lnTo>
                    <a:pt x="58" y="110"/>
                  </a:lnTo>
                  <a:lnTo>
                    <a:pt x="58" y="110"/>
                  </a:lnTo>
                  <a:lnTo>
                    <a:pt x="62" y="110"/>
                  </a:lnTo>
                  <a:lnTo>
                    <a:pt x="58" y="115"/>
                  </a:lnTo>
                  <a:lnTo>
                    <a:pt x="58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66" y="110"/>
                  </a:lnTo>
                  <a:lnTo>
                    <a:pt x="66" y="110"/>
                  </a:lnTo>
                  <a:lnTo>
                    <a:pt x="62" y="110"/>
                  </a:lnTo>
                  <a:lnTo>
                    <a:pt x="62" y="110"/>
                  </a:lnTo>
                  <a:lnTo>
                    <a:pt x="62" y="106"/>
                  </a:lnTo>
                  <a:lnTo>
                    <a:pt x="62" y="106"/>
                  </a:lnTo>
                  <a:lnTo>
                    <a:pt x="62" y="106"/>
                  </a:lnTo>
                  <a:lnTo>
                    <a:pt x="62" y="101"/>
                  </a:lnTo>
                  <a:lnTo>
                    <a:pt x="62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3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3" y="101"/>
                  </a:lnTo>
                  <a:lnTo>
                    <a:pt x="53" y="101"/>
                  </a:lnTo>
                  <a:lnTo>
                    <a:pt x="53" y="101"/>
                  </a:lnTo>
                  <a:lnTo>
                    <a:pt x="58" y="101"/>
                  </a:lnTo>
                  <a:lnTo>
                    <a:pt x="53" y="101"/>
                  </a:lnTo>
                  <a:lnTo>
                    <a:pt x="53" y="101"/>
                  </a:lnTo>
                  <a:lnTo>
                    <a:pt x="53" y="101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10"/>
                  </a:lnTo>
                  <a:lnTo>
                    <a:pt x="53" y="110"/>
                  </a:lnTo>
                  <a:lnTo>
                    <a:pt x="53" y="110"/>
                  </a:lnTo>
                  <a:lnTo>
                    <a:pt x="53" y="110"/>
                  </a:lnTo>
                  <a:lnTo>
                    <a:pt x="58" y="115"/>
                  </a:lnTo>
                  <a:lnTo>
                    <a:pt x="58" y="115"/>
                  </a:lnTo>
                  <a:lnTo>
                    <a:pt x="58" y="110"/>
                  </a:lnTo>
                  <a:close/>
                  <a:moveTo>
                    <a:pt x="310" y="97"/>
                  </a:moveTo>
                  <a:lnTo>
                    <a:pt x="310" y="97"/>
                  </a:lnTo>
                  <a:lnTo>
                    <a:pt x="310" y="97"/>
                  </a:lnTo>
                  <a:lnTo>
                    <a:pt x="301" y="93"/>
                  </a:lnTo>
                  <a:lnTo>
                    <a:pt x="297" y="93"/>
                  </a:lnTo>
                  <a:lnTo>
                    <a:pt x="297" y="93"/>
                  </a:lnTo>
                  <a:lnTo>
                    <a:pt x="297" y="88"/>
                  </a:lnTo>
                  <a:lnTo>
                    <a:pt x="297" y="88"/>
                  </a:lnTo>
                  <a:lnTo>
                    <a:pt x="297" y="88"/>
                  </a:lnTo>
                  <a:lnTo>
                    <a:pt x="297" y="88"/>
                  </a:lnTo>
                  <a:lnTo>
                    <a:pt x="292" y="88"/>
                  </a:lnTo>
                  <a:lnTo>
                    <a:pt x="292" y="88"/>
                  </a:lnTo>
                  <a:lnTo>
                    <a:pt x="292" y="88"/>
                  </a:lnTo>
                  <a:lnTo>
                    <a:pt x="288" y="88"/>
                  </a:lnTo>
                  <a:lnTo>
                    <a:pt x="288" y="84"/>
                  </a:lnTo>
                  <a:lnTo>
                    <a:pt x="292" y="84"/>
                  </a:lnTo>
                  <a:lnTo>
                    <a:pt x="292" y="84"/>
                  </a:lnTo>
                  <a:lnTo>
                    <a:pt x="292" y="84"/>
                  </a:lnTo>
                  <a:lnTo>
                    <a:pt x="292" y="79"/>
                  </a:lnTo>
                  <a:lnTo>
                    <a:pt x="292" y="79"/>
                  </a:lnTo>
                  <a:lnTo>
                    <a:pt x="292" y="79"/>
                  </a:lnTo>
                  <a:lnTo>
                    <a:pt x="292" y="79"/>
                  </a:lnTo>
                  <a:lnTo>
                    <a:pt x="292" y="79"/>
                  </a:lnTo>
                  <a:lnTo>
                    <a:pt x="297" y="79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2" y="75"/>
                  </a:lnTo>
                  <a:lnTo>
                    <a:pt x="292" y="75"/>
                  </a:lnTo>
                  <a:lnTo>
                    <a:pt x="292" y="75"/>
                  </a:lnTo>
                  <a:lnTo>
                    <a:pt x="292" y="75"/>
                  </a:lnTo>
                  <a:lnTo>
                    <a:pt x="292" y="75"/>
                  </a:lnTo>
                  <a:lnTo>
                    <a:pt x="292" y="70"/>
                  </a:lnTo>
                  <a:lnTo>
                    <a:pt x="292" y="70"/>
                  </a:lnTo>
                  <a:lnTo>
                    <a:pt x="292" y="70"/>
                  </a:lnTo>
                  <a:lnTo>
                    <a:pt x="292" y="70"/>
                  </a:lnTo>
                  <a:lnTo>
                    <a:pt x="288" y="75"/>
                  </a:lnTo>
                  <a:lnTo>
                    <a:pt x="288" y="75"/>
                  </a:lnTo>
                  <a:lnTo>
                    <a:pt x="288" y="75"/>
                  </a:lnTo>
                  <a:lnTo>
                    <a:pt x="288" y="75"/>
                  </a:lnTo>
                  <a:lnTo>
                    <a:pt x="288" y="75"/>
                  </a:lnTo>
                  <a:lnTo>
                    <a:pt x="288" y="70"/>
                  </a:lnTo>
                  <a:lnTo>
                    <a:pt x="283" y="70"/>
                  </a:lnTo>
                  <a:lnTo>
                    <a:pt x="283" y="70"/>
                  </a:lnTo>
                  <a:lnTo>
                    <a:pt x="288" y="70"/>
                  </a:lnTo>
                  <a:lnTo>
                    <a:pt x="288" y="66"/>
                  </a:lnTo>
                  <a:lnTo>
                    <a:pt x="288" y="66"/>
                  </a:lnTo>
                  <a:lnTo>
                    <a:pt x="288" y="66"/>
                  </a:lnTo>
                  <a:lnTo>
                    <a:pt x="288" y="66"/>
                  </a:lnTo>
                  <a:lnTo>
                    <a:pt x="288" y="66"/>
                  </a:lnTo>
                  <a:lnTo>
                    <a:pt x="288" y="62"/>
                  </a:lnTo>
                  <a:lnTo>
                    <a:pt x="288" y="62"/>
                  </a:lnTo>
                  <a:lnTo>
                    <a:pt x="288" y="62"/>
                  </a:lnTo>
                  <a:lnTo>
                    <a:pt x="288" y="62"/>
                  </a:lnTo>
                  <a:lnTo>
                    <a:pt x="288" y="62"/>
                  </a:lnTo>
                  <a:lnTo>
                    <a:pt x="283" y="57"/>
                  </a:lnTo>
                  <a:lnTo>
                    <a:pt x="283" y="57"/>
                  </a:lnTo>
                  <a:lnTo>
                    <a:pt x="283" y="57"/>
                  </a:lnTo>
                  <a:lnTo>
                    <a:pt x="283" y="53"/>
                  </a:lnTo>
                  <a:lnTo>
                    <a:pt x="283" y="53"/>
                  </a:lnTo>
                  <a:lnTo>
                    <a:pt x="283" y="53"/>
                  </a:lnTo>
                  <a:lnTo>
                    <a:pt x="283" y="53"/>
                  </a:lnTo>
                  <a:lnTo>
                    <a:pt x="283" y="53"/>
                  </a:lnTo>
                  <a:lnTo>
                    <a:pt x="283" y="53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4"/>
                  </a:lnTo>
                  <a:lnTo>
                    <a:pt x="283" y="44"/>
                  </a:lnTo>
                  <a:lnTo>
                    <a:pt x="283" y="44"/>
                  </a:lnTo>
                  <a:lnTo>
                    <a:pt x="283" y="44"/>
                  </a:lnTo>
                  <a:lnTo>
                    <a:pt x="283" y="44"/>
                  </a:lnTo>
                  <a:lnTo>
                    <a:pt x="283" y="44"/>
                  </a:lnTo>
                  <a:lnTo>
                    <a:pt x="283" y="48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79" y="44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74" y="48"/>
                  </a:lnTo>
                  <a:lnTo>
                    <a:pt x="274" y="48"/>
                  </a:lnTo>
                  <a:lnTo>
                    <a:pt x="270" y="48"/>
                  </a:lnTo>
                  <a:lnTo>
                    <a:pt x="270" y="48"/>
                  </a:lnTo>
                  <a:lnTo>
                    <a:pt x="270" y="48"/>
                  </a:lnTo>
                  <a:lnTo>
                    <a:pt x="270" y="48"/>
                  </a:lnTo>
                  <a:lnTo>
                    <a:pt x="270" y="48"/>
                  </a:lnTo>
                  <a:lnTo>
                    <a:pt x="270" y="48"/>
                  </a:lnTo>
                  <a:lnTo>
                    <a:pt x="270" y="48"/>
                  </a:lnTo>
                  <a:lnTo>
                    <a:pt x="270" y="53"/>
                  </a:lnTo>
                  <a:lnTo>
                    <a:pt x="270" y="53"/>
                  </a:lnTo>
                  <a:lnTo>
                    <a:pt x="266" y="57"/>
                  </a:lnTo>
                  <a:lnTo>
                    <a:pt x="266" y="57"/>
                  </a:lnTo>
                  <a:lnTo>
                    <a:pt x="261" y="57"/>
                  </a:lnTo>
                  <a:lnTo>
                    <a:pt x="261" y="57"/>
                  </a:lnTo>
                  <a:lnTo>
                    <a:pt x="261" y="57"/>
                  </a:lnTo>
                  <a:lnTo>
                    <a:pt x="261" y="57"/>
                  </a:lnTo>
                  <a:lnTo>
                    <a:pt x="261" y="57"/>
                  </a:lnTo>
                  <a:lnTo>
                    <a:pt x="257" y="57"/>
                  </a:lnTo>
                  <a:lnTo>
                    <a:pt x="257" y="57"/>
                  </a:lnTo>
                  <a:lnTo>
                    <a:pt x="257" y="57"/>
                  </a:lnTo>
                  <a:lnTo>
                    <a:pt x="257" y="57"/>
                  </a:lnTo>
                  <a:lnTo>
                    <a:pt x="257" y="57"/>
                  </a:lnTo>
                  <a:lnTo>
                    <a:pt x="257" y="57"/>
                  </a:lnTo>
                  <a:lnTo>
                    <a:pt x="257" y="57"/>
                  </a:lnTo>
                  <a:lnTo>
                    <a:pt x="252" y="57"/>
                  </a:lnTo>
                  <a:lnTo>
                    <a:pt x="252" y="57"/>
                  </a:lnTo>
                  <a:lnTo>
                    <a:pt x="252" y="57"/>
                  </a:lnTo>
                  <a:lnTo>
                    <a:pt x="252" y="57"/>
                  </a:lnTo>
                  <a:lnTo>
                    <a:pt x="248" y="57"/>
                  </a:lnTo>
                  <a:lnTo>
                    <a:pt x="248" y="57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35" y="57"/>
                  </a:lnTo>
                  <a:lnTo>
                    <a:pt x="230" y="57"/>
                  </a:lnTo>
                  <a:lnTo>
                    <a:pt x="230" y="57"/>
                  </a:lnTo>
                  <a:lnTo>
                    <a:pt x="230" y="57"/>
                  </a:lnTo>
                  <a:lnTo>
                    <a:pt x="230" y="57"/>
                  </a:lnTo>
                  <a:lnTo>
                    <a:pt x="230" y="57"/>
                  </a:lnTo>
                  <a:lnTo>
                    <a:pt x="230" y="57"/>
                  </a:lnTo>
                  <a:lnTo>
                    <a:pt x="230" y="53"/>
                  </a:lnTo>
                  <a:lnTo>
                    <a:pt x="226" y="53"/>
                  </a:lnTo>
                  <a:lnTo>
                    <a:pt x="221" y="53"/>
                  </a:lnTo>
                  <a:lnTo>
                    <a:pt x="221" y="53"/>
                  </a:lnTo>
                  <a:lnTo>
                    <a:pt x="221" y="53"/>
                  </a:lnTo>
                  <a:lnTo>
                    <a:pt x="221" y="53"/>
                  </a:lnTo>
                  <a:lnTo>
                    <a:pt x="221" y="48"/>
                  </a:lnTo>
                  <a:lnTo>
                    <a:pt x="221" y="48"/>
                  </a:lnTo>
                  <a:lnTo>
                    <a:pt x="217" y="48"/>
                  </a:lnTo>
                  <a:lnTo>
                    <a:pt x="217" y="48"/>
                  </a:lnTo>
                  <a:lnTo>
                    <a:pt x="217" y="48"/>
                  </a:lnTo>
                  <a:lnTo>
                    <a:pt x="217" y="44"/>
                  </a:lnTo>
                  <a:lnTo>
                    <a:pt x="213" y="44"/>
                  </a:lnTo>
                  <a:lnTo>
                    <a:pt x="213" y="44"/>
                  </a:lnTo>
                  <a:lnTo>
                    <a:pt x="208" y="44"/>
                  </a:lnTo>
                  <a:lnTo>
                    <a:pt x="208" y="44"/>
                  </a:lnTo>
                  <a:lnTo>
                    <a:pt x="208" y="44"/>
                  </a:lnTo>
                  <a:lnTo>
                    <a:pt x="208" y="44"/>
                  </a:lnTo>
                  <a:lnTo>
                    <a:pt x="208" y="44"/>
                  </a:lnTo>
                  <a:lnTo>
                    <a:pt x="208" y="44"/>
                  </a:lnTo>
                  <a:lnTo>
                    <a:pt x="204" y="44"/>
                  </a:lnTo>
                  <a:lnTo>
                    <a:pt x="204" y="44"/>
                  </a:lnTo>
                  <a:lnTo>
                    <a:pt x="204" y="44"/>
                  </a:lnTo>
                  <a:lnTo>
                    <a:pt x="204" y="44"/>
                  </a:lnTo>
                  <a:lnTo>
                    <a:pt x="204" y="44"/>
                  </a:lnTo>
                  <a:lnTo>
                    <a:pt x="204" y="39"/>
                  </a:lnTo>
                  <a:lnTo>
                    <a:pt x="204" y="39"/>
                  </a:lnTo>
                  <a:lnTo>
                    <a:pt x="204" y="39"/>
                  </a:lnTo>
                  <a:lnTo>
                    <a:pt x="199" y="39"/>
                  </a:lnTo>
                  <a:lnTo>
                    <a:pt x="199" y="39"/>
                  </a:lnTo>
                  <a:lnTo>
                    <a:pt x="199" y="39"/>
                  </a:lnTo>
                  <a:lnTo>
                    <a:pt x="199" y="39"/>
                  </a:lnTo>
                  <a:lnTo>
                    <a:pt x="199" y="39"/>
                  </a:lnTo>
                  <a:lnTo>
                    <a:pt x="199" y="39"/>
                  </a:lnTo>
                  <a:lnTo>
                    <a:pt x="204" y="39"/>
                  </a:lnTo>
                  <a:lnTo>
                    <a:pt x="199" y="39"/>
                  </a:lnTo>
                  <a:lnTo>
                    <a:pt x="199" y="39"/>
                  </a:lnTo>
                  <a:lnTo>
                    <a:pt x="199" y="39"/>
                  </a:lnTo>
                  <a:lnTo>
                    <a:pt x="199" y="39"/>
                  </a:lnTo>
                  <a:lnTo>
                    <a:pt x="199" y="35"/>
                  </a:lnTo>
                  <a:lnTo>
                    <a:pt x="199" y="35"/>
                  </a:lnTo>
                  <a:lnTo>
                    <a:pt x="199" y="35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0" y="31"/>
                  </a:lnTo>
                  <a:lnTo>
                    <a:pt x="190" y="31"/>
                  </a:lnTo>
                  <a:lnTo>
                    <a:pt x="186" y="26"/>
                  </a:lnTo>
                  <a:lnTo>
                    <a:pt x="186" y="26"/>
                  </a:lnTo>
                  <a:lnTo>
                    <a:pt x="186" y="26"/>
                  </a:lnTo>
                  <a:lnTo>
                    <a:pt x="186" y="26"/>
                  </a:lnTo>
                  <a:lnTo>
                    <a:pt x="182" y="22"/>
                  </a:lnTo>
                  <a:lnTo>
                    <a:pt x="182" y="22"/>
                  </a:lnTo>
                  <a:lnTo>
                    <a:pt x="182" y="22"/>
                  </a:lnTo>
                  <a:lnTo>
                    <a:pt x="182" y="17"/>
                  </a:lnTo>
                  <a:lnTo>
                    <a:pt x="182" y="17"/>
                  </a:lnTo>
                  <a:lnTo>
                    <a:pt x="177" y="17"/>
                  </a:lnTo>
                  <a:lnTo>
                    <a:pt x="177" y="17"/>
                  </a:lnTo>
                  <a:lnTo>
                    <a:pt x="177" y="13"/>
                  </a:lnTo>
                  <a:lnTo>
                    <a:pt x="177" y="13"/>
                  </a:lnTo>
                  <a:lnTo>
                    <a:pt x="177" y="13"/>
                  </a:lnTo>
                  <a:lnTo>
                    <a:pt x="177" y="13"/>
                  </a:lnTo>
                  <a:lnTo>
                    <a:pt x="177" y="13"/>
                  </a:lnTo>
                  <a:lnTo>
                    <a:pt x="177" y="8"/>
                  </a:lnTo>
                  <a:lnTo>
                    <a:pt x="177" y="8"/>
                  </a:lnTo>
                  <a:lnTo>
                    <a:pt x="177" y="13"/>
                  </a:lnTo>
                  <a:lnTo>
                    <a:pt x="177" y="13"/>
                  </a:lnTo>
                  <a:lnTo>
                    <a:pt x="177" y="13"/>
                  </a:lnTo>
                  <a:lnTo>
                    <a:pt x="177" y="8"/>
                  </a:lnTo>
                  <a:lnTo>
                    <a:pt x="177" y="8"/>
                  </a:lnTo>
                  <a:lnTo>
                    <a:pt x="173" y="8"/>
                  </a:lnTo>
                  <a:lnTo>
                    <a:pt x="173" y="8"/>
                  </a:lnTo>
                  <a:lnTo>
                    <a:pt x="173" y="8"/>
                  </a:lnTo>
                  <a:lnTo>
                    <a:pt x="173" y="8"/>
                  </a:lnTo>
                  <a:lnTo>
                    <a:pt x="173" y="8"/>
                  </a:lnTo>
                  <a:lnTo>
                    <a:pt x="173" y="8"/>
                  </a:lnTo>
                  <a:lnTo>
                    <a:pt x="173" y="8"/>
                  </a:lnTo>
                  <a:lnTo>
                    <a:pt x="168" y="8"/>
                  </a:lnTo>
                  <a:lnTo>
                    <a:pt x="168" y="8"/>
                  </a:lnTo>
                  <a:lnTo>
                    <a:pt x="168" y="4"/>
                  </a:lnTo>
                  <a:lnTo>
                    <a:pt x="168" y="4"/>
                  </a:lnTo>
                  <a:lnTo>
                    <a:pt x="164" y="4"/>
                  </a:lnTo>
                  <a:lnTo>
                    <a:pt x="164" y="4"/>
                  </a:lnTo>
                  <a:lnTo>
                    <a:pt x="164" y="4"/>
                  </a:lnTo>
                  <a:lnTo>
                    <a:pt x="164" y="4"/>
                  </a:lnTo>
                  <a:lnTo>
                    <a:pt x="164" y="4"/>
                  </a:lnTo>
                  <a:lnTo>
                    <a:pt x="164" y="4"/>
                  </a:lnTo>
                  <a:lnTo>
                    <a:pt x="164" y="4"/>
                  </a:lnTo>
                  <a:lnTo>
                    <a:pt x="164" y="4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6" y="4"/>
                  </a:lnTo>
                  <a:lnTo>
                    <a:pt x="146" y="4"/>
                  </a:lnTo>
                  <a:lnTo>
                    <a:pt x="146" y="4"/>
                  </a:lnTo>
                  <a:lnTo>
                    <a:pt x="146" y="4"/>
                  </a:lnTo>
                  <a:lnTo>
                    <a:pt x="146" y="8"/>
                  </a:lnTo>
                  <a:lnTo>
                    <a:pt x="146" y="8"/>
                  </a:lnTo>
                  <a:lnTo>
                    <a:pt x="146" y="8"/>
                  </a:lnTo>
                  <a:lnTo>
                    <a:pt x="146" y="8"/>
                  </a:lnTo>
                  <a:lnTo>
                    <a:pt x="146" y="8"/>
                  </a:lnTo>
                  <a:lnTo>
                    <a:pt x="146" y="8"/>
                  </a:lnTo>
                  <a:lnTo>
                    <a:pt x="146" y="8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8"/>
                  </a:lnTo>
                  <a:lnTo>
                    <a:pt x="142" y="8"/>
                  </a:lnTo>
                  <a:lnTo>
                    <a:pt x="137" y="8"/>
                  </a:lnTo>
                  <a:lnTo>
                    <a:pt x="137" y="8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28" y="17"/>
                  </a:lnTo>
                  <a:lnTo>
                    <a:pt x="128" y="17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11" y="31"/>
                  </a:lnTo>
                  <a:lnTo>
                    <a:pt x="111" y="31"/>
                  </a:lnTo>
                  <a:lnTo>
                    <a:pt x="111" y="31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5" y="35"/>
                  </a:lnTo>
                  <a:lnTo>
                    <a:pt x="115" y="35"/>
                  </a:lnTo>
                  <a:lnTo>
                    <a:pt x="115" y="35"/>
                  </a:lnTo>
                  <a:lnTo>
                    <a:pt x="115" y="35"/>
                  </a:lnTo>
                  <a:lnTo>
                    <a:pt x="115" y="35"/>
                  </a:lnTo>
                  <a:lnTo>
                    <a:pt x="115" y="39"/>
                  </a:lnTo>
                  <a:lnTo>
                    <a:pt x="115" y="39"/>
                  </a:lnTo>
                  <a:lnTo>
                    <a:pt x="115" y="39"/>
                  </a:lnTo>
                  <a:lnTo>
                    <a:pt x="115" y="39"/>
                  </a:lnTo>
                  <a:lnTo>
                    <a:pt x="115" y="39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1" y="53"/>
                  </a:lnTo>
                  <a:lnTo>
                    <a:pt x="111" y="53"/>
                  </a:lnTo>
                  <a:lnTo>
                    <a:pt x="111" y="53"/>
                  </a:lnTo>
                  <a:lnTo>
                    <a:pt x="106" y="53"/>
                  </a:lnTo>
                  <a:lnTo>
                    <a:pt x="106" y="53"/>
                  </a:lnTo>
                  <a:lnTo>
                    <a:pt x="106" y="53"/>
                  </a:lnTo>
                  <a:lnTo>
                    <a:pt x="106" y="53"/>
                  </a:lnTo>
                  <a:lnTo>
                    <a:pt x="106" y="53"/>
                  </a:lnTo>
                  <a:lnTo>
                    <a:pt x="102" y="53"/>
                  </a:lnTo>
                  <a:lnTo>
                    <a:pt x="102" y="53"/>
                  </a:lnTo>
                  <a:lnTo>
                    <a:pt x="102" y="53"/>
                  </a:lnTo>
                  <a:lnTo>
                    <a:pt x="102" y="53"/>
                  </a:lnTo>
                  <a:lnTo>
                    <a:pt x="102" y="57"/>
                  </a:lnTo>
                  <a:lnTo>
                    <a:pt x="102" y="57"/>
                  </a:lnTo>
                  <a:lnTo>
                    <a:pt x="102" y="57"/>
                  </a:lnTo>
                  <a:lnTo>
                    <a:pt x="102" y="57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2"/>
                  </a:lnTo>
                  <a:lnTo>
                    <a:pt x="97" y="62"/>
                  </a:lnTo>
                  <a:lnTo>
                    <a:pt x="97" y="62"/>
                  </a:lnTo>
                  <a:lnTo>
                    <a:pt x="97" y="62"/>
                  </a:lnTo>
                  <a:lnTo>
                    <a:pt x="97" y="62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3" y="70"/>
                  </a:lnTo>
                  <a:lnTo>
                    <a:pt x="93" y="70"/>
                  </a:lnTo>
                  <a:lnTo>
                    <a:pt x="93" y="70"/>
                  </a:lnTo>
                  <a:lnTo>
                    <a:pt x="93" y="70"/>
                  </a:lnTo>
                  <a:lnTo>
                    <a:pt x="93" y="70"/>
                  </a:lnTo>
                  <a:lnTo>
                    <a:pt x="93" y="70"/>
                  </a:lnTo>
                  <a:lnTo>
                    <a:pt x="93" y="70"/>
                  </a:lnTo>
                  <a:lnTo>
                    <a:pt x="93" y="70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7" y="75"/>
                  </a:lnTo>
                  <a:lnTo>
                    <a:pt x="97" y="79"/>
                  </a:lnTo>
                  <a:lnTo>
                    <a:pt x="97" y="79"/>
                  </a:lnTo>
                  <a:lnTo>
                    <a:pt x="97" y="79"/>
                  </a:lnTo>
                  <a:lnTo>
                    <a:pt x="97" y="79"/>
                  </a:lnTo>
                  <a:lnTo>
                    <a:pt x="97" y="79"/>
                  </a:lnTo>
                  <a:lnTo>
                    <a:pt x="93" y="79"/>
                  </a:lnTo>
                  <a:lnTo>
                    <a:pt x="93" y="84"/>
                  </a:lnTo>
                  <a:lnTo>
                    <a:pt x="89" y="84"/>
                  </a:lnTo>
                  <a:lnTo>
                    <a:pt x="89" y="84"/>
                  </a:lnTo>
                  <a:lnTo>
                    <a:pt x="84" y="79"/>
                  </a:lnTo>
                  <a:lnTo>
                    <a:pt x="84" y="79"/>
                  </a:lnTo>
                  <a:lnTo>
                    <a:pt x="80" y="79"/>
                  </a:lnTo>
                  <a:lnTo>
                    <a:pt x="80" y="79"/>
                  </a:lnTo>
                  <a:lnTo>
                    <a:pt x="80" y="79"/>
                  </a:lnTo>
                  <a:lnTo>
                    <a:pt x="80" y="79"/>
                  </a:lnTo>
                  <a:lnTo>
                    <a:pt x="80" y="79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1" y="79"/>
                  </a:lnTo>
                  <a:lnTo>
                    <a:pt x="71" y="79"/>
                  </a:lnTo>
                  <a:lnTo>
                    <a:pt x="66" y="79"/>
                  </a:lnTo>
                  <a:lnTo>
                    <a:pt x="66" y="79"/>
                  </a:lnTo>
                  <a:lnTo>
                    <a:pt x="66" y="79"/>
                  </a:lnTo>
                  <a:lnTo>
                    <a:pt x="66" y="79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3" y="66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5"/>
                  </a:lnTo>
                  <a:lnTo>
                    <a:pt x="53" y="75"/>
                  </a:lnTo>
                  <a:lnTo>
                    <a:pt x="53" y="75"/>
                  </a:lnTo>
                  <a:lnTo>
                    <a:pt x="49" y="75"/>
                  </a:lnTo>
                  <a:lnTo>
                    <a:pt x="49" y="79"/>
                  </a:lnTo>
                  <a:lnTo>
                    <a:pt x="44" y="79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2" y="79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79"/>
                  </a:lnTo>
                  <a:lnTo>
                    <a:pt x="13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101"/>
                  </a:lnTo>
                  <a:lnTo>
                    <a:pt x="4" y="101"/>
                  </a:lnTo>
                  <a:lnTo>
                    <a:pt x="4" y="101"/>
                  </a:lnTo>
                  <a:lnTo>
                    <a:pt x="4" y="101"/>
                  </a:lnTo>
                  <a:lnTo>
                    <a:pt x="4" y="101"/>
                  </a:lnTo>
                  <a:lnTo>
                    <a:pt x="4" y="101"/>
                  </a:lnTo>
                  <a:lnTo>
                    <a:pt x="4" y="101"/>
                  </a:lnTo>
                  <a:lnTo>
                    <a:pt x="4" y="101"/>
                  </a:lnTo>
                  <a:lnTo>
                    <a:pt x="4" y="101"/>
                  </a:lnTo>
                  <a:lnTo>
                    <a:pt x="4" y="101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9" y="106"/>
                  </a:lnTo>
                  <a:lnTo>
                    <a:pt x="9" y="106"/>
                  </a:lnTo>
                  <a:lnTo>
                    <a:pt x="13" y="106"/>
                  </a:lnTo>
                  <a:lnTo>
                    <a:pt x="13" y="106"/>
                  </a:lnTo>
                  <a:lnTo>
                    <a:pt x="9" y="106"/>
                  </a:lnTo>
                  <a:lnTo>
                    <a:pt x="4" y="106"/>
                  </a:lnTo>
                  <a:lnTo>
                    <a:pt x="9" y="106"/>
                  </a:lnTo>
                  <a:lnTo>
                    <a:pt x="9" y="106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13" y="115"/>
                  </a:lnTo>
                  <a:lnTo>
                    <a:pt x="13" y="119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32"/>
                  </a:lnTo>
                  <a:lnTo>
                    <a:pt x="22" y="132"/>
                  </a:lnTo>
                  <a:lnTo>
                    <a:pt x="22" y="132"/>
                  </a:lnTo>
                  <a:lnTo>
                    <a:pt x="22" y="132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27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5" y="115"/>
                  </a:lnTo>
                  <a:lnTo>
                    <a:pt x="35" y="115"/>
                  </a:lnTo>
                  <a:lnTo>
                    <a:pt x="35" y="115"/>
                  </a:lnTo>
                  <a:lnTo>
                    <a:pt x="35" y="115"/>
                  </a:lnTo>
                  <a:lnTo>
                    <a:pt x="35" y="115"/>
                  </a:lnTo>
                  <a:lnTo>
                    <a:pt x="35" y="115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5" y="106"/>
                  </a:lnTo>
                  <a:lnTo>
                    <a:pt x="35" y="110"/>
                  </a:lnTo>
                  <a:lnTo>
                    <a:pt x="35" y="106"/>
                  </a:lnTo>
                  <a:lnTo>
                    <a:pt x="35" y="106"/>
                  </a:lnTo>
                  <a:lnTo>
                    <a:pt x="35" y="106"/>
                  </a:lnTo>
                  <a:lnTo>
                    <a:pt x="35" y="106"/>
                  </a:lnTo>
                  <a:lnTo>
                    <a:pt x="40" y="106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0" y="97"/>
                  </a:lnTo>
                  <a:lnTo>
                    <a:pt x="40" y="93"/>
                  </a:lnTo>
                  <a:lnTo>
                    <a:pt x="44" y="93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9" y="88"/>
                  </a:lnTo>
                  <a:lnTo>
                    <a:pt x="53" y="93"/>
                  </a:lnTo>
                  <a:lnTo>
                    <a:pt x="53" y="93"/>
                  </a:lnTo>
                  <a:lnTo>
                    <a:pt x="53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3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62" y="101"/>
                  </a:lnTo>
                  <a:lnTo>
                    <a:pt x="66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1" y="110"/>
                  </a:lnTo>
                  <a:lnTo>
                    <a:pt x="75" y="115"/>
                  </a:lnTo>
                  <a:lnTo>
                    <a:pt x="75" y="119"/>
                  </a:lnTo>
                  <a:lnTo>
                    <a:pt x="75" y="119"/>
                  </a:lnTo>
                  <a:lnTo>
                    <a:pt x="75" y="119"/>
                  </a:lnTo>
                  <a:lnTo>
                    <a:pt x="75" y="124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32"/>
                  </a:lnTo>
                  <a:lnTo>
                    <a:pt x="75" y="132"/>
                  </a:lnTo>
                  <a:lnTo>
                    <a:pt x="75" y="132"/>
                  </a:lnTo>
                  <a:lnTo>
                    <a:pt x="75" y="137"/>
                  </a:lnTo>
                  <a:lnTo>
                    <a:pt x="75" y="137"/>
                  </a:lnTo>
                  <a:lnTo>
                    <a:pt x="80" y="146"/>
                  </a:lnTo>
                  <a:lnTo>
                    <a:pt x="80" y="146"/>
                  </a:lnTo>
                  <a:lnTo>
                    <a:pt x="80" y="146"/>
                  </a:lnTo>
                  <a:lnTo>
                    <a:pt x="84" y="146"/>
                  </a:lnTo>
                  <a:lnTo>
                    <a:pt x="84" y="150"/>
                  </a:lnTo>
                  <a:lnTo>
                    <a:pt x="84" y="150"/>
                  </a:lnTo>
                  <a:lnTo>
                    <a:pt x="84" y="150"/>
                  </a:lnTo>
                  <a:lnTo>
                    <a:pt x="89" y="155"/>
                  </a:lnTo>
                  <a:lnTo>
                    <a:pt x="93" y="163"/>
                  </a:lnTo>
                  <a:lnTo>
                    <a:pt x="97" y="163"/>
                  </a:lnTo>
                  <a:lnTo>
                    <a:pt x="102" y="163"/>
                  </a:lnTo>
                  <a:lnTo>
                    <a:pt x="102" y="163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6" y="168"/>
                  </a:lnTo>
                  <a:lnTo>
                    <a:pt x="106" y="168"/>
                  </a:lnTo>
                  <a:lnTo>
                    <a:pt x="106" y="168"/>
                  </a:lnTo>
                  <a:lnTo>
                    <a:pt x="106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97" y="168"/>
                  </a:lnTo>
                  <a:lnTo>
                    <a:pt x="97" y="163"/>
                  </a:lnTo>
                  <a:lnTo>
                    <a:pt x="93" y="163"/>
                  </a:lnTo>
                  <a:lnTo>
                    <a:pt x="93" y="163"/>
                  </a:lnTo>
                  <a:lnTo>
                    <a:pt x="93" y="163"/>
                  </a:lnTo>
                  <a:lnTo>
                    <a:pt x="93" y="163"/>
                  </a:lnTo>
                  <a:lnTo>
                    <a:pt x="93" y="168"/>
                  </a:lnTo>
                  <a:lnTo>
                    <a:pt x="97" y="168"/>
                  </a:lnTo>
                  <a:lnTo>
                    <a:pt x="97" y="168"/>
                  </a:lnTo>
                  <a:lnTo>
                    <a:pt x="93" y="168"/>
                  </a:lnTo>
                  <a:lnTo>
                    <a:pt x="93" y="168"/>
                  </a:lnTo>
                  <a:lnTo>
                    <a:pt x="93" y="168"/>
                  </a:lnTo>
                  <a:lnTo>
                    <a:pt x="93" y="168"/>
                  </a:lnTo>
                  <a:lnTo>
                    <a:pt x="93" y="168"/>
                  </a:lnTo>
                  <a:lnTo>
                    <a:pt x="93" y="168"/>
                  </a:lnTo>
                  <a:lnTo>
                    <a:pt x="93" y="168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89" y="168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9" y="168"/>
                  </a:lnTo>
                  <a:lnTo>
                    <a:pt x="89" y="172"/>
                  </a:lnTo>
                  <a:lnTo>
                    <a:pt x="89" y="172"/>
                  </a:lnTo>
                  <a:lnTo>
                    <a:pt x="89" y="172"/>
                  </a:lnTo>
                  <a:lnTo>
                    <a:pt x="89" y="177"/>
                  </a:lnTo>
                  <a:lnTo>
                    <a:pt x="89" y="177"/>
                  </a:lnTo>
                  <a:lnTo>
                    <a:pt x="89" y="177"/>
                  </a:lnTo>
                  <a:lnTo>
                    <a:pt x="89" y="177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7" y="186"/>
                  </a:lnTo>
                  <a:lnTo>
                    <a:pt x="97" y="186"/>
                  </a:lnTo>
                  <a:lnTo>
                    <a:pt x="97" y="186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4"/>
                  </a:lnTo>
                  <a:lnTo>
                    <a:pt x="102" y="194"/>
                  </a:lnTo>
                  <a:lnTo>
                    <a:pt x="102" y="194"/>
                  </a:lnTo>
                  <a:lnTo>
                    <a:pt x="106" y="194"/>
                  </a:lnTo>
                  <a:lnTo>
                    <a:pt x="106" y="194"/>
                  </a:lnTo>
                  <a:lnTo>
                    <a:pt x="106" y="194"/>
                  </a:lnTo>
                  <a:lnTo>
                    <a:pt x="106" y="194"/>
                  </a:lnTo>
                  <a:lnTo>
                    <a:pt x="106" y="194"/>
                  </a:lnTo>
                  <a:lnTo>
                    <a:pt x="106" y="194"/>
                  </a:lnTo>
                  <a:lnTo>
                    <a:pt x="106" y="199"/>
                  </a:lnTo>
                  <a:lnTo>
                    <a:pt x="106" y="199"/>
                  </a:lnTo>
                  <a:lnTo>
                    <a:pt x="111" y="199"/>
                  </a:lnTo>
                  <a:lnTo>
                    <a:pt x="115" y="199"/>
                  </a:lnTo>
                  <a:lnTo>
                    <a:pt x="115" y="203"/>
                  </a:lnTo>
                  <a:lnTo>
                    <a:pt x="115" y="203"/>
                  </a:lnTo>
                  <a:lnTo>
                    <a:pt x="115" y="203"/>
                  </a:lnTo>
                  <a:lnTo>
                    <a:pt x="115" y="203"/>
                  </a:lnTo>
                  <a:lnTo>
                    <a:pt x="115" y="203"/>
                  </a:lnTo>
                  <a:lnTo>
                    <a:pt x="115" y="203"/>
                  </a:lnTo>
                  <a:lnTo>
                    <a:pt x="115" y="203"/>
                  </a:lnTo>
                  <a:lnTo>
                    <a:pt x="115" y="203"/>
                  </a:lnTo>
                  <a:lnTo>
                    <a:pt x="111" y="199"/>
                  </a:lnTo>
                  <a:lnTo>
                    <a:pt x="111" y="203"/>
                  </a:lnTo>
                  <a:lnTo>
                    <a:pt x="115" y="203"/>
                  </a:lnTo>
                  <a:lnTo>
                    <a:pt x="115" y="203"/>
                  </a:lnTo>
                  <a:lnTo>
                    <a:pt x="115" y="203"/>
                  </a:lnTo>
                  <a:lnTo>
                    <a:pt x="115" y="203"/>
                  </a:lnTo>
                  <a:lnTo>
                    <a:pt x="120" y="208"/>
                  </a:lnTo>
                  <a:lnTo>
                    <a:pt x="120" y="208"/>
                  </a:lnTo>
                  <a:lnTo>
                    <a:pt x="124" y="208"/>
                  </a:lnTo>
                  <a:lnTo>
                    <a:pt x="124" y="208"/>
                  </a:lnTo>
                  <a:lnTo>
                    <a:pt x="124" y="208"/>
                  </a:lnTo>
                  <a:lnTo>
                    <a:pt x="124" y="208"/>
                  </a:lnTo>
                  <a:lnTo>
                    <a:pt x="124" y="208"/>
                  </a:lnTo>
                  <a:lnTo>
                    <a:pt x="124" y="208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28" y="221"/>
                  </a:lnTo>
                  <a:lnTo>
                    <a:pt x="133" y="221"/>
                  </a:lnTo>
                  <a:lnTo>
                    <a:pt x="133" y="221"/>
                  </a:lnTo>
                  <a:lnTo>
                    <a:pt x="133" y="221"/>
                  </a:lnTo>
                  <a:lnTo>
                    <a:pt x="133" y="221"/>
                  </a:lnTo>
                  <a:lnTo>
                    <a:pt x="133" y="221"/>
                  </a:lnTo>
                  <a:lnTo>
                    <a:pt x="133" y="221"/>
                  </a:lnTo>
                  <a:lnTo>
                    <a:pt x="133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33" y="225"/>
                  </a:lnTo>
                  <a:lnTo>
                    <a:pt x="133" y="225"/>
                  </a:lnTo>
                  <a:lnTo>
                    <a:pt x="133" y="225"/>
                  </a:lnTo>
                  <a:lnTo>
                    <a:pt x="133" y="225"/>
                  </a:lnTo>
                  <a:lnTo>
                    <a:pt x="133" y="225"/>
                  </a:lnTo>
                  <a:lnTo>
                    <a:pt x="133" y="225"/>
                  </a:lnTo>
                  <a:lnTo>
                    <a:pt x="133" y="225"/>
                  </a:lnTo>
                  <a:lnTo>
                    <a:pt x="137" y="225"/>
                  </a:lnTo>
                  <a:lnTo>
                    <a:pt x="137" y="225"/>
                  </a:lnTo>
                  <a:lnTo>
                    <a:pt x="137" y="225"/>
                  </a:lnTo>
                  <a:lnTo>
                    <a:pt x="137" y="225"/>
                  </a:lnTo>
                  <a:lnTo>
                    <a:pt x="142" y="225"/>
                  </a:lnTo>
                  <a:lnTo>
                    <a:pt x="142" y="225"/>
                  </a:lnTo>
                  <a:lnTo>
                    <a:pt x="142" y="225"/>
                  </a:lnTo>
                  <a:lnTo>
                    <a:pt x="137" y="225"/>
                  </a:lnTo>
                  <a:lnTo>
                    <a:pt x="137" y="221"/>
                  </a:lnTo>
                  <a:lnTo>
                    <a:pt x="146" y="221"/>
                  </a:lnTo>
                  <a:lnTo>
                    <a:pt x="146" y="221"/>
                  </a:lnTo>
                  <a:lnTo>
                    <a:pt x="146" y="221"/>
                  </a:lnTo>
                  <a:lnTo>
                    <a:pt x="151" y="221"/>
                  </a:lnTo>
                  <a:lnTo>
                    <a:pt x="151" y="221"/>
                  </a:lnTo>
                  <a:lnTo>
                    <a:pt x="151" y="221"/>
                  </a:lnTo>
                  <a:lnTo>
                    <a:pt x="155" y="221"/>
                  </a:lnTo>
                  <a:lnTo>
                    <a:pt x="155" y="221"/>
                  </a:lnTo>
                  <a:lnTo>
                    <a:pt x="159" y="221"/>
                  </a:lnTo>
                  <a:lnTo>
                    <a:pt x="155" y="221"/>
                  </a:lnTo>
                  <a:lnTo>
                    <a:pt x="155" y="221"/>
                  </a:lnTo>
                  <a:lnTo>
                    <a:pt x="155" y="225"/>
                  </a:lnTo>
                  <a:lnTo>
                    <a:pt x="155" y="225"/>
                  </a:lnTo>
                  <a:lnTo>
                    <a:pt x="155" y="225"/>
                  </a:lnTo>
                  <a:lnTo>
                    <a:pt x="155" y="225"/>
                  </a:lnTo>
                  <a:lnTo>
                    <a:pt x="159" y="225"/>
                  </a:lnTo>
                  <a:lnTo>
                    <a:pt x="159" y="225"/>
                  </a:lnTo>
                  <a:lnTo>
                    <a:pt x="159" y="225"/>
                  </a:lnTo>
                  <a:lnTo>
                    <a:pt x="159" y="225"/>
                  </a:lnTo>
                  <a:lnTo>
                    <a:pt x="159" y="225"/>
                  </a:lnTo>
                  <a:lnTo>
                    <a:pt x="159" y="225"/>
                  </a:lnTo>
                  <a:lnTo>
                    <a:pt x="159" y="225"/>
                  </a:lnTo>
                  <a:lnTo>
                    <a:pt x="159" y="225"/>
                  </a:lnTo>
                  <a:lnTo>
                    <a:pt x="164" y="230"/>
                  </a:lnTo>
                  <a:lnTo>
                    <a:pt x="168" y="230"/>
                  </a:lnTo>
                  <a:lnTo>
                    <a:pt x="173" y="230"/>
                  </a:lnTo>
                  <a:lnTo>
                    <a:pt x="177" y="230"/>
                  </a:lnTo>
                  <a:lnTo>
                    <a:pt x="177" y="230"/>
                  </a:lnTo>
                  <a:lnTo>
                    <a:pt x="182" y="234"/>
                  </a:lnTo>
                  <a:lnTo>
                    <a:pt x="182" y="234"/>
                  </a:lnTo>
                  <a:lnTo>
                    <a:pt x="182" y="234"/>
                  </a:lnTo>
                  <a:lnTo>
                    <a:pt x="186" y="239"/>
                  </a:lnTo>
                  <a:lnTo>
                    <a:pt x="186" y="239"/>
                  </a:lnTo>
                  <a:lnTo>
                    <a:pt x="186" y="239"/>
                  </a:lnTo>
                  <a:lnTo>
                    <a:pt x="186" y="239"/>
                  </a:lnTo>
                  <a:lnTo>
                    <a:pt x="186" y="239"/>
                  </a:lnTo>
                  <a:lnTo>
                    <a:pt x="186" y="243"/>
                  </a:lnTo>
                  <a:lnTo>
                    <a:pt x="186" y="243"/>
                  </a:lnTo>
                  <a:lnTo>
                    <a:pt x="190" y="243"/>
                  </a:lnTo>
                  <a:lnTo>
                    <a:pt x="190" y="243"/>
                  </a:lnTo>
                  <a:lnTo>
                    <a:pt x="190" y="243"/>
                  </a:lnTo>
                  <a:lnTo>
                    <a:pt x="190" y="243"/>
                  </a:lnTo>
                  <a:lnTo>
                    <a:pt x="190" y="243"/>
                  </a:lnTo>
                  <a:lnTo>
                    <a:pt x="190" y="243"/>
                  </a:lnTo>
                  <a:lnTo>
                    <a:pt x="190" y="243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95" y="248"/>
                  </a:lnTo>
                  <a:lnTo>
                    <a:pt x="204" y="252"/>
                  </a:lnTo>
                  <a:lnTo>
                    <a:pt x="204" y="256"/>
                  </a:lnTo>
                  <a:lnTo>
                    <a:pt x="208" y="256"/>
                  </a:lnTo>
                  <a:lnTo>
                    <a:pt x="208" y="256"/>
                  </a:lnTo>
                  <a:lnTo>
                    <a:pt x="208" y="256"/>
                  </a:lnTo>
                  <a:lnTo>
                    <a:pt x="208" y="256"/>
                  </a:lnTo>
                  <a:lnTo>
                    <a:pt x="208" y="256"/>
                  </a:lnTo>
                  <a:lnTo>
                    <a:pt x="208" y="256"/>
                  </a:lnTo>
                  <a:lnTo>
                    <a:pt x="208" y="256"/>
                  </a:lnTo>
                  <a:lnTo>
                    <a:pt x="208" y="256"/>
                  </a:lnTo>
                  <a:lnTo>
                    <a:pt x="208" y="256"/>
                  </a:lnTo>
                  <a:lnTo>
                    <a:pt x="208" y="261"/>
                  </a:lnTo>
                  <a:lnTo>
                    <a:pt x="208" y="261"/>
                  </a:lnTo>
                  <a:lnTo>
                    <a:pt x="208" y="261"/>
                  </a:lnTo>
                  <a:lnTo>
                    <a:pt x="208" y="256"/>
                  </a:lnTo>
                  <a:lnTo>
                    <a:pt x="213" y="256"/>
                  </a:lnTo>
                  <a:lnTo>
                    <a:pt x="213" y="256"/>
                  </a:lnTo>
                  <a:lnTo>
                    <a:pt x="208" y="261"/>
                  </a:lnTo>
                  <a:lnTo>
                    <a:pt x="208" y="261"/>
                  </a:lnTo>
                  <a:lnTo>
                    <a:pt x="208" y="261"/>
                  </a:lnTo>
                  <a:lnTo>
                    <a:pt x="213" y="261"/>
                  </a:lnTo>
                  <a:lnTo>
                    <a:pt x="213" y="261"/>
                  </a:lnTo>
                  <a:lnTo>
                    <a:pt x="213" y="265"/>
                  </a:lnTo>
                  <a:lnTo>
                    <a:pt x="213" y="265"/>
                  </a:lnTo>
                  <a:lnTo>
                    <a:pt x="213" y="265"/>
                  </a:lnTo>
                  <a:lnTo>
                    <a:pt x="217" y="265"/>
                  </a:lnTo>
                  <a:lnTo>
                    <a:pt x="217" y="265"/>
                  </a:lnTo>
                  <a:lnTo>
                    <a:pt x="217" y="265"/>
                  </a:lnTo>
                  <a:lnTo>
                    <a:pt x="217" y="265"/>
                  </a:lnTo>
                  <a:lnTo>
                    <a:pt x="221" y="265"/>
                  </a:lnTo>
                  <a:lnTo>
                    <a:pt x="221" y="261"/>
                  </a:lnTo>
                  <a:lnTo>
                    <a:pt x="221" y="261"/>
                  </a:lnTo>
                  <a:lnTo>
                    <a:pt x="221" y="261"/>
                  </a:lnTo>
                  <a:lnTo>
                    <a:pt x="221" y="261"/>
                  </a:lnTo>
                  <a:lnTo>
                    <a:pt x="217" y="256"/>
                  </a:lnTo>
                  <a:lnTo>
                    <a:pt x="217" y="256"/>
                  </a:lnTo>
                  <a:lnTo>
                    <a:pt x="217" y="256"/>
                  </a:lnTo>
                  <a:lnTo>
                    <a:pt x="208" y="252"/>
                  </a:lnTo>
                  <a:lnTo>
                    <a:pt x="208" y="248"/>
                  </a:lnTo>
                  <a:lnTo>
                    <a:pt x="208" y="248"/>
                  </a:lnTo>
                  <a:lnTo>
                    <a:pt x="208" y="248"/>
                  </a:lnTo>
                  <a:lnTo>
                    <a:pt x="208" y="248"/>
                  </a:lnTo>
                  <a:lnTo>
                    <a:pt x="208" y="243"/>
                  </a:lnTo>
                  <a:lnTo>
                    <a:pt x="204" y="243"/>
                  </a:lnTo>
                  <a:lnTo>
                    <a:pt x="204" y="243"/>
                  </a:lnTo>
                  <a:lnTo>
                    <a:pt x="204" y="243"/>
                  </a:lnTo>
                  <a:lnTo>
                    <a:pt x="199" y="239"/>
                  </a:lnTo>
                  <a:lnTo>
                    <a:pt x="199" y="234"/>
                  </a:lnTo>
                  <a:lnTo>
                    <a:pt x="199" y="230"/>
                  </a:lnTo>
                  <a:lnTo>
                    <a:pt x="199" y="225"/>
                  </a:lnTo>
                  <a:lnTo>
                    <a:pt x="199" y="225"/>
                  </a:lnTo>
                  <a:lnTo>
                    <a:pt x="190" y="225"/>
                  </a:lnTo>
                  <a:lnTo>
                    <a:pt x="190" y="225"/>
                  </a:lnTo>
                  <a:lnTo>
                    <a:pt x="190" y="221"/>
                  </a:lnTo>
                  <a:lnTo>
                    <a:pt x="186" y="221"/>
                  </a:lnTo>
                  <a:lnTo>
                    <a:pt x="186" y="217"/>
                  </a:lnTo>
                  <a:lnTo>
                    <a:pt x="177" y="208"/>
                  </a:lnTo>
                  <a:lnTo>
                    <a:pt x="168" y="203"/>
                  </a:lnTo>
                  <a:lnTo>
                    <a:pt x="168" y="203"/>
                  </a:lnTo>
                  <a:lnTo>
                    <a:pt x="168" y="203"/>
                  </a:lnTo>
                  <a:lnTo>
                    <a:pt x="168" y="199"/>
                  </a:lnTo>
                  <a:lnTo>
                    <a:pt x="168" y="199"/>
                  </a:lnTo>
                  <a:lnTo>
                    <a:pt x="164" y="199"/>
                  </a:lnTo>
                  <a:lnTo>
                    <a:pt x="164" y="194"/>
                  </a:lnTo>
                  <a:lnTo>
                    <a:pt x="159" y="194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1" y="186"/>
                  </a:lnTo>
                  <a:lnTo>
                    <a:pt x="151" y="186"/>
                  </a:lnTo>
                  <a:lnTo>
                    <a:pt x="151" y="186"/>
                  </a:lnTo>
                  <a:lnTo>
                    <a:pt x="151" y="181"/>
                  </a:lnTo>
                  <a:lnTo>
                    <a:pt x="151" y="181"/>
                  </a:lnTo>
                  <a:lnTo>
                    <a:pt x="151" y="181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6" y="172"/>
                  </a:lnTo>
                  <a:lnTo>
                    <a:pt x="142" y="172"/>
                  </a:lnTo>
                  <a:lnTo>
                    <a:pt x="142" y="168"/>
                  </a:lnTo>
                  <a:lnTo>
                    <a:pt x="142" y="168"/>
                  </a:lnTo>
                  <a:lnTo>
                    <a:pt x="142" y="168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2" y="159"/>
                  </a:lnTo>
                  <a:lnTo>
                    <a:pt x="142" y="159"/>
                  </a:lnTo>
                  <a:lnTo>
                    <a:pt x="142" y="159"/>
                  </a:lnTo>
                  <a:lnTo>
                    <a:pt x="142" y="159"/>
                  </a:lnTo>
                  <a:lnTo>
                    <a:pt x="142" y="159"/>
                  </a:lnTo>
                  <a:lnTo>
                    <a:pt x="142" y="159"/>
                  </a:lnTo>
                  <a:lnTo>
                    <a:pt x="142" y="159"/>
                  </a:lnTo>
                  <a:lnTo>
                    <a:pt x="142" y="159"/>
                  </a:lnTo>
                  <a:lnTo>
                    <a:pt x="142" y="159"/>
                  </a:lnTo>
                  <a:lnTo>
                    <a:pt x="142" y="155"/>
                  </a:lnTo>
                  <a:lnTo>
                    <a:pt x="137" y="155"/>
                  </a:lnTo>
                  <a:lnTo>
                    <a:pt x="137" y="150"/>
                  </a:lnTo>
                  <a:lnTo>
                    <a:pt x="137" y="150"/>
                  </a:lnTo>
                  <a:lnTo>
                    <a:pt x="137" y="150"/>
                  </a:lnTo>
                  <a:lnTo>
                    <a:pt x="137" y="150"/>
                  </a:lnTo>
                  <a:lnTo>
                    <a:pt x="133" y="150"/>
                  </a:lnTo>
                  <a:lnTo>
                    <a:pt x="133" y="150"/>
                  </a:lnTo>
                  <a:lnTo>
                    <a:pt x="133" y="150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28" y="141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0" y="137"/>
                  </a:lnTo>
                  <a:lnTo>
                    <a:pt x="120" y="137"/>
                  </a:lnTo>
                  <a:lnTo>
                    <a:pt x="120" y="137"/>
                  </a:lnTo>
                  <a:lnTo>
                    <a:pt x="120" y="132"/>
                  </a:lnTo>
                  <a:lnTo>
                    <a:pt x="120" y="132"/>
                  </a:lnTo>
                  <a:lnTo>
                    <a:pt x="120" y="132"/>
                  </a:lnTo>
                  <a:lnTo>
                    <a:pt x="120" y="132"/>
                  </a:lnTo>
                  <a:lnTo>
                    <a:pt x="115" y="128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20" y="128"/>
                  </a:lnTo>
                  <a:lnTo>
                    <a:pt x="120" y="124"/>
                  </a:lnTo>
                  <a:lnTo>
                    <a:pt x="120" y="124"/>
                  </a:lnTo>
                  <a:lnTo>
                    <a:pt x="120" y="124"/>
                  </a:lnTo>
                  <a:lnTo>
                    <a:pt x="120" y="119"/>
                  </a:lnTo>
                  <a:lnTo>
                    <a:pt x="120" y="119"/>
                  </a:lnTo>
                  <a:lnTo>
                    <a:pt x="120" y="119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0" y="106"/>
                  </a:lnTo>
                  <a:lnTo>
                    <a:pt x="120" y="101"/>
                  </a:lnTo>
                  <a:lnTo>
                    <a:pt x="120" y="101"/>
                  </a:lnTo>
                  <a:lnTo>
                    <a:pt x="120" y="101"/>
                  </a:lnTo>
                  <a:lnTo>
                    <a:pt x="124" y="101"/>
                  </a:lnTo>
                  <a:lnTo>
                    <a:pt x="124" y="97"/>
                  </a:lnTo>
                  <a:lnTo>
                    <a:pt x="124" y="97"/>
                  </a:lnTo>
                  <a:lnTo>
                    <a:pt x="133" y="97"/>
                  </a:lnTo>
                  <a:lnTo>
                    <a:pt x="133" y="97"/>
                  </a:lnTo>
                  <a:lnTo>
                    <a:pt x="133" y="97"/>
                  </a:lnTo>
                  <a:lnTo>
                    <a:pt x="133" y="97"/>
                  </a:lnTo>
                  <a:lnTo>
                    <a:pt x="133" y="97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7" y="106"/>
                  </a:lnTo>
                  <a:lnTo>
                    <a:pt x="137" y="106"/>
                  </a:lnTo>
                  <a:lnTo>
                    <a:pt x="142" y="110"/>
                  </a:lnTo>
                  <a:lnTo>
                    <a:pt x="146" y="115"/>
                  </a:lnTo>
                  <a:lnTo>
                    <a:pt x="146" y="115"/>
                  </a:lnTo>
                  <a:lnTo>
                    <a:pt x="151" y="115"/>
                  </a:lnTo>
                  <a:lnTo>
                    <a:pt x="151" y="115"/>
                  </a:lnTo>
                  <a:lnTo>
                    <a:pt x="151" y="115"/>
                  </a:lnTo>
                  <a:lnTo>
                    <a:pt x="151" y="115"/>
                  </a:lnTo>
                  <a:lnTo>
                    <a:pt x="151" y="110"/>
                  </a:lnTo>
                  <a:lnTo>
                    <a:pt x="151" y="110"/>
                  </a:lnTo>
                  <a:lnTo>
                    <a:pt x="151" y="110"/>
                  </a:lnTo>
                  <a:lnTo>
                    <a:pt x="151" y="106"/>
                  </a:lnTo>
                  <a:lnTo>
                    <a:pt x="151" y="106"/>
                  </a:lnTo>
                  <a:lnTo>
                    <a:pt x="151" y="106"/>
                  </a:lnTo>
                  <a:lnTo>
                    <a:pt x="155" y="106"/>
                  </a:lnTo>
                  <a:lnTo>
                    <a:pt x="155" y="106"/>
                  </a:lnTo>
                  <a:lnTo>
                    <a:pt x="155" y="106"/>
                  </a:lnTo>
                  <a:lnTo>
                    <a:pt x="155" y="106"/>
                  </a:lnTo>
                  <a:lnTo>
                    <a:pt x="155" y="101"/>
                  </a:lnTo>
                  <a:lnTo>
                    <a:pt x="159" y="101"/>
                  </a:lnTo>
                  <a:lnTo>
                    <a:pt x="159" y="97"/>
                  </a:lnTo>
                  <a:lnTo>
                    <a:pt x="164" y="97"/>
                  </a:lnTo>
                  <a:lnTo>
                    <a:pt x="173" y="101"/>
                  </a:lnTo>
                  <a:lnTo>
                    <a:pt x="177" y="101"/>
                  </a:lnTo>
                  <a:lnTo>
                    <a:pt x="177" y="101"/>
                  </a:lnTo>
                  <a:lnTo>
                    <a:pt x="177" y="101"/>
                  </a:lnTo>
                  <a:lnTo>
                    <a:pt x="177" y="97"/>
                  </a:lnTo>
                  <a:lnTo>
                    <a:pt x="177" y="97"/>
                  </a:lnTo>
                  <a:lnTo>
                    <a:pt x="177" y="97"/>
                  </a:lnTo>
                  <a:lnTo>
                    <a:pt x="177" y="97"/>
                  </a:lnTo>
                  <a:lnTo>
                    <a:pt x="177" y="97"/>
                  </a:lnTo>
                  <a:lnTo>
                    <a:pt x="177" y="97"/>
                  </a:lnTo>
                  <a:lnTo>
                    <a:pt x="177" y="97"/>
                  </a:lnTo>
                  <a:lnTo>
                    <a:pt x="177" y="97"/>
                  </a:lnTo>
                  <a:lnTo>
                    <a:pt x="182" y="97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2" y="97"/>
                  </a:lnTo>
                  <a:lnTo>
                    <a:pt x="182" y="97"/>
                  </a:lnTo>
                  <a:lnTo>
                    <a:pt x="182" y="97"/>
                  </a:lnTo>
                  <a:lnTo>
                    <a:pt x="182" y="97"/>
                  </a:lnTo>
                  <a:lnTo>
                    <a:pt x="182" y="97"/>
                  </a:lnTo>
                  <a:lnTo>
                    <a:pt x="182" y="97"/>
                  </a:lnTo>
                  <a:lnTo>
                    <a:pt x="182" y="97"/>
                  </a:lnTo>
                  <a:lnTo>
                    <a:pt x="182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101"/>
                  </a:lnTo>
                  <a:lnTo>
                    <a:pt x="190" y="101"/>
                  </a:lnTo>
                  <a:lnTo>
                    <a:pt x="190" y="101"/>
                  </a:lnTo>
                  <a:lnTo>
                    <a:pt x="195" y="101"/>
                  </a:lnTo>
                  <a:lnTo>
                    <a:pt x="195" y="101"/>
                  </a:lnTo>
                  <a:lnTo>
                    <a:pt x="199" y="101"/>
                  </a:lnTo>
                  <a:lnTo>
                    <a:pt x="199" y="101"/>
                  </a:lnTo>
                  <a:lnTo>
                    <a:pt x="199" y="101"/>
                  </a:lnTo>
                  <a:lnTo>
                    <a:pt x="199" y="101"/>
                  </a:lnTo>
                  <a:lnTo>
                    <a:pt x="204" y="101"/>
                  </a:lnTo>
                  <a:lnTo>
                    <a:pt x="204" y="101"/>
                  </a:lnTo>
                  <a:lnTo>
                    <a:pt x="204" y="106"/>
                  </a:lnTo>
                  <a:lnTo>
                    <a:pt x="204" y="106"/>
                  </a:lnTo>
                  <a:lnTo>
                    <a:pt x="208" y="106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08" y="106"/>
                  </a:lnTo>
                  <a:lnTo>
                    <a:pt x="208" y="106"/>
                  </a:lnTo>
                  <a:lnTo>
                    <a:pt x="208" y="106"/>
                  </a:lnTo>
                  <a:lnTo>
                    <a:pt x="208" y="106"/>
                  </a:lnTo>
                  <a:lnTo>
                    <a:pt x="213" y="106"/>
                  </a:lnTo>
                  <a:lnTo>
                    <a:pt x="213" y="106"/>
                  </a:lnTo>
                  <a:lnTo>
                    <a:pt x="213" y="106"/>
                  </a:lnTo>
                  <a:lnTo>
                    <a:pt x="213" y="106"/>
                  </a:lnTo>
                  <a:lnTo>
                    <a:pt x="213" y="106"/>
                  </a:lnTo>
                  <a:lnTo>
                    <a:pt x="213" y="106"/>
                  </a:lnTo>
                  <a:lnTo>
                    <a:pt x="217" y="106"/>
                  </a:lnTo>
                  <a:lnTo>
                    <a:pt x="217" y="106"/>
                  </a:lnTo>
                  <a:lnTo>
                    <a:pt x="217" y="101"/>
                  </a:lnTo>
                  <a:lnTo>
                    <a:pt x="221" y="101"/>
                  </a:lnTo>
                  <a:lnTo>
                    <a:pt x="221" y="101"/>
                  </a:lnTo>
                  <a:lnTo>
                    <a:pt x="221" y="101"/>
                  </a:lnTo>
                  <a:lnTo>
                    <a:pt x="226" y="106"/>
                  </a:lnTo>
                  <a:lnTo>
                    <a:pt x="226" y="110"/>
                  </a:lnTo>
                  <a:lnTo>
                    <a:pt x="226" y="110"/>
                  </a:lnTo>
                  <a:lnTo>
                    <a:pt x="230" y="110"/>
                  </a:lnTo>
                  <a:lnTo>
                    <a:pt x="230" y="110"/>
                  </a:lnTo>
                  <a:lnTo>
                    <a:pt x="230" y="110"/>
                  </a:lnTo>
                  <a:lnTo>
                    <a:pt x="235" y="110"/>
                  </a:lnTo>
                  <a:lnTo>
                    <a:pt x="235" y="110"/>
                  </a:lnTo>
                  <a:lnTo>
                    <a:pt x="235" y="106"/>
                  </a:lnTo>
                  <a:lnTo>
                    <a:pt x="239" y="106"/>
                  </a:lnTo>
                  <a:lnTo>
                    <a:pt x="239" y="101"/>
                  </a:lnTo>
                  <a:lnTo>
                    <a:pt x="239" y="101"/>
                  </a:lnTo>
                  <a:lnTo>
                    <a:pt x="239" y="106"/>
                  </a:lnTo>
                  <a:lnTo>
                    <a:pt x="243" y="106"/>
                  </a:lnTo>
                  <a:lnTo>
                    <a:pt x="243" y="106"/>
                  </a:lnTo>
                  <a:lnTo>
                    <a:pt x="243" y="106"/>
                  </a:lnTo>
                  <a:lnTo>
                    <a:pt x="243" y="106"/>
                  </a:lnTo>
                  <a:lnTo>
                    <a:pt x="243" y="106"/>
                  </a:lnTo>
                  <a:lnTo>
                    <a:pt x="248" y="106"/>
                  </a:lnTo>
                  <a:lnTo>
                    <a:pt x="248" y="106"/>
                  </a:lnTo>
                  <a:lnTo>
                    <a:pt x="248" y="106"/>
                  </a:lnTo>
                  <a:lnTo>
                    <a:pt x="248" y="106"/>
                  </a:lnTo>
                  <a:lnTo>
                    <a:pt x="248" y="106"/>
                  </a:lnTo>
                  <a:lnTo>
                    <a:pt x="248" y="106"/>
                  </a:lnTo>
                  <a:lnTo>
                    <a:pt x="248" y="101"/>
                  </a:lnTo>
                  <a:lnTo>
                    <a:pt x="252" y="101"/>
                  </a:lnTo>
                  <a:lnTo>
                    <a:pt x="252" y="101"/>
                  </a:lnTo>
                  <a:lnTo>
                    <a:pt x="252" y="106"/>
                  </a:lnTo>
                  <a:lnTo>
                    <a:pt x="257" y="106"/>
                  </a:lnTo>
                  <a:lnTo>
                    <a:pt x="257" y="106"/>
                  </a:lnTo>
                  <a:lnTo>
                    <a:pt x="261" y="106"/>
                  </a:lnTo>
                  <a:lnTo>
                    <a:pt x="261" y="106"/>
                  </a:lnTo>
                  <a:lnTo>
                    <a:pt x="261" y="110"/>
                  </a:lnTo>
                  <a:lnTo>
                    <a:pt x="261" y="110"/>
                  </a:lnTo>
                  <a:lnTo>
                    <a:pt x="261" y="110"/>
                  </a:lnTo>
                  <a:lnTo>
                    <a:pt x="261" y="110"/>
                  </a:lnTo>
                  <a:lnTo>
                    <a:pt x="266" y="110"/>
                  </a:lnTo>
                  <a:lnTo>
                    <a:pt x="266" y="110"/>
                  </a:lnTo>
                  <a:lnTo>
                    <a:pt x="266" y="110"/>
                  </a:lnTo>
                  <a:lnTo>
                    <a:pt x="266" y="110"/>
                  </a:lnTo>
                  <a:lnTo>
                    <a:pt x="266" y="110"/>
                  </a:lnTo>
                  <a:lnTo>
                    <a:pt x="266" y="106"/>
                  </a:lnTo>
                  <a:lnTo>
                    <a:pt x="266" y="106"/>
                  </a:lnTo>
                  <a:lnTo>
                    <a:pt x="266" y="106"/>
                  </a:lnTo>
                  <a:lnTo>
                    <a:pt x="266" y="106"/>
                  </a:lnTo>
                  <a:lnTo>
                    <a:pt x="270" y="106"/>
                  </a:lnTo>
                  <a:lnTo>
                    <a:pt x="270" y="106"/>
                  </a:lnTo>
                  <a:lnTo>
                    <a:pt x="270" y="106"/>
                  </a:lnTo>
                  <a:lnTo>
                    <a:pt x="270" y="106"/>
                  </a:lnTo>
                  <a:lnTo>
                    <a:pt x="270" y="106"/>
                  </a:lnTo>
                  <a:lnTo>
                    <a:pt x="270" y="106"/>
                  </a:lnTo>
                  <a:lnTo>
                    <a:pt x="270" y="106"/>
                  </a:lnTo>
                  <a:lnTo>
                    <a:pt x="270" y="110"/>
                  </a:lnTo>
                  <a:lnTo>
                    <a:pt x="270" y="110"/>
                  </a:lnTo>
                  <a:lnTo>
                    <a:pt x="270" y="110"/>
                  </a:lnTo>
                  <a:lnTo>
                    <a:pt x="270" y="110"/>
                  </a:lnTo>
                  <a:lnTo>
                    <a:pt x="274" y="110"/>
                  </a:lnTo>
                  <a:lnTo>
                    <a:pt x="274" y="110"/>
                  </a:lnTo>
                  <a:lnTo>
                    <a:pt x="274" y="110"/>
                  </a:lnTo>
                  <a:lnTo>
                    <a:pt x="274" y="110"/>
                  </a:lnTo>
                  <a:lnTo>
                    <a:pt x="274" y="106"/>
                  </a:lnTo>
                  <a:lnTo>
                    <a:pt x="274" y="106"/>
                  </a:lnTo>
                  <a:lnTo>
                    <a:pt x="274" y="110"/>
                  </a:lnTo>
                  <a:lnTo>
                    <a:pt x="274" y="110"/>
                  </a:lnTo>
                  <a:lnTo>
                    <a:pt x="274" y="115"/>
                  </a:lnTo>
                  <a:lnTo>
                    <a:pt x="274" y="115"/>
                  </a:lnTo>
                  <a:lnTo>
                    <a:pt x="279" y="115"/>
                  </a:lnTo>
                  <a:lnTo>
                    <a:pt x="279" y="115"/>
                  </a:lnTo>
                  <a:lnTo>
                    <a:pt x="279" y="115"/>
                  </a:lnTo>
                  <a:lnTo>
                    <a:pt x="279" y="115"/>
                  </a:lnTo>
                  <a:lnTo>
                    <a:pt x="279" y="115"/>
                  </a:lnTo>
                  <a:lnTo>
                    <a:pt x="279" y="115"/>
                  </a:lnTo>
                  <a:lnTo>
                    <a:pt x="279" y="115"/>
                  </a:lnTo>
                  <a:lnTo>
                    <a:pt x="279" y="115"/>
                  </a:lnTo>
                  <a:lnTo>
                    <a:pt x="279" y="115"/>
                  </a:lnTo>
                  <a:lnTo>
                    <a:pt x="279" y="115"/>
                  </a:lnTo>
                  <a:lnTo>
                    <a:pt x="279" y="115"/>
                  </a:lnTo>
                  <a:lnTo>
                    <a:pt x="279" y="115"/>
                  </a:lnTo>
                  <a:lnTo>
                    <a:pt x="279" y="119"/>
                  </a:lnTo>
                  <a:lnTo>
                    <a:pt x="279" y="119"/>
                  </a:lnTo>
                  <a:lnTo>
                    <a:pt x="279" y="119"/>
                  </a:lnTo>
                  <a:lnTo>
                    <a:pt x="279" y="119"/>
                  </a:lnTo>
                  <a:lnTo>
                    <a:pt x="279" y="124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88" y="119"/>
                  </a:lnTo>
                  <a:lnTo>
                    <a:pt x="292" y="119"/>
                  </a:lnTo>
                  <a:lnTo>
                    <a:pt x="292" y="119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7" y="119"/>
                  </a:lnTo>
                  <a:lnTo>
                    <a:pt x="297" y="119"/>
                  </a:lnTo>
                  <a:lnTo>
                    <a:pt x="297" y="119"/>
                  </a:lnTo>
                  <a:lnTo>
                    <a:pt x="297" y="119"/>
                  </a:lnTo>
                  <a:lnTo>
                    <a:pt x="297" y="119"/>
                  </a:lnTo>
                  <a:lnTo>
                    <a:pt x="297" y="119"/>
                  </a:lnTo>
                  <a:lnTo>
                    <a:pt x="297" y="115"/>
                  </a:lnTo>
                  <a:lnTo>
                    <a:pt x="297" y="115"/>
                  </a:lnTo>
                  <a:lnTo>
                    <a:pt x="297" y="115"/>
                  </a:lnTo>
                  <a:lnTo>
                    <a:pt x="297" y="115"/>
                  </a:lnTo>
                  <a:lnTo>
                    <a:pt x="297" y="115"/>
                  </a:lnTo>
                  <a:lnTo>
                    <a:pt x="297" y="115"/>
                  </a:lnTo>
                  <a:lnTo>
                    <a:pt x="297" y="115"/>
                  </a:lnTo>
                  <a:lnTo>
                    <a:pt x="297" y="115"/>
                  </a:lnTo>
                  <a:lnTo>
                    <a:pt x="297" y="110"/>
                  </a:lnTo>
                  <a:lnTo>
                    <a:pt x="297" y="110"/>
                  </a:lnTo>
                  <a:lnTo>
                    <a:pt x="297" y="110"/>
                  </a:lnTo>
                  <a:lnTo>
                    <a:pt x="297" y="106"/>
                  </a:lnTo>
                  <a:lnTo>
                    <a:pt x="292" y="106"/>
                  </a:lnTo>
                  <a:lnTo>
                    <a:pt x="292" y="106"/>
                  </a:lnTo>
                  <a:lnTo>
                    <a:pt x="292" y="106"/>
                  </a:lnTo>
                  <a:lnTo>
                    <a:pt x="292" y="106"/>
                  </a:lnTo>
                  <a:lnTo>
                    <a:pt x="292" y="106"/>
                  </a:lnTo>
                  <a:lnTo>
                    <a:pt x="292" y="101"/>
                  </a:lnTo>
                  <a:lnTo>
                    <a:pt x="297" y="106"/>
                  </a:lnTo>
                  <a:lnTo>
                    <a:pt x="297" y="101"/>
                  </a:lnTo>
                  <a:lnTo>
                    <a:pt x="297" y="101"/>
                  </a:lnTo>
                  <a:lnTo>
                    <a:pt x="297" y="101"/>
                  </a:lnTo>
                  <a:lnTo>
                    <a:pt x="297" y="101"/>
                  </a:lnTo>
                  <a:lnTo>
                    <a:pt x="297" y="101"/>
                  </a:lnTo>
                  <a:lnTo>
                    <a:pt x="297" y="101"/>
                  </a:lnTo>
                  <a:lnTo>
                    <a:pt x="301" y="101"/>
                  </a:lnTo>
                  <a:lnTo>
                    <a:pt x="301" y="101"/>
                  </a:lnTo>
                  <a:lnTo>
                    <a:pt x="301" y="101"/>
                  </a:lnTo>
                  <a:lnTo>
                    <a:pt x="301" y="101"/>
                  </a:lnTo>
                  <a:lnTo>
                    <a:pt x="305" y="101"/>
                  </a:lnTo>
                  <a:lnTo>
                    <a:pt x="305" y="101"/>
                  </a:lnTo>
                  <a:lnTo>
                    <a:pt x="305" y="101"/>
                  </a:lnTo>
                  <a:lnTo>
                    <a:pt x="305" y="101"/>
                  </a:lnTo>
                  <a:lnTo>
                    <a:pt x="305" y="101"/>
                  </a:lnTo>
                  <a:lnTo>
                    <a:pt x="305" y="101"/>
                  </a:lnTo>
                  <a:lnTo>
                    <a:pt x="305" y="101"/>
                  </a:lnTo>
                  <a:lnTo>
                    <a:pt x="305" y="101"/>
                  </a:lnTo>
                  <a:lnTo>
                    <a:pt x="310" y="101"/>
                  </a:lnTo>
                  <a:lnTo>
                    <a:pt x="310" y="101"/>
                  </a:lnTo>
                  <a:lnTo>
                    <a:pt x="310" y="101"/>
                  </a:lnTo>
                  <a:lnTo>
                    <a:pt x="310" y="101"/>
                  </a:lnTo>
                  <a:lnTo>
                    <a:pt x="310" y="97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40" name="Freeform 72"/>
            <p:cNvSpPr>
              <a:spLocks/>
            </p:cNvSpPr>
            <p:nvPr/>
          </p:nvSpPr>
          <p:spPr bwMode="auto">
            <a:xfrm>
              <a:off x="4357688" y="5335588"/>
              <a:ext cx="527050" cy="338138"/>
            </a:xfrm>
            <a:custGeom>
              <a:avLst/>
              <a:gdLst>
                <a:gd name="T0" fmla="*/ 296 w 332"/>
                <a:gd name="T1" fmla="*/ 18 h 213"/>
                <a:gd name="T2" fmla="*/ 261 w 332"/>
                <a:gd name="T3" fmla="*/ 9 h 213"/>
                <a:gd name="T4" fmla="*/ 230 w 332"/>
                <a:gd name="T5" fmla="*/ 9 h 213"/>
                <a:gd name="T6" fmla="*/ 190 w 332"/>
                <a:gd name="T7" fmla="*/ 27 h 213"/>
                <a:gd name="T8" fmla="*/ 172 w 332"/>
                <a:gd name="T9" fmla="*/ 40 h 213"/>
                <a:gd name="T10" fmla="*/ 146 w 332"/>
                <a:gd name="T11" fmla="*/ 36 h 213"/>
                <a:gd name="T12" fmla="*/ 97 w 332"/>
                <a:gd name="T13" fmla="*/ 36 h 213"/>
                <a:gd name="T14" fmla="*/ 40 w 332"/>
                <a:gd name="T15" fmla="*/ 27 h 213"/>
                <a:gd name="T16" fmla="*/ 40 w 332"/>
                <a:gd name="T17" fmla="*/ 9 h 213"/>
                <a:gd name="T18" fmla="*/ 18 w 332"/>
                <a:gd name="T19" fmla="*/ 5 h 213"/>
                <a:gd name="T20" fmla="*/ 9 w 332"/>
                <a:gd name="T21" fmla="*/ 14 h 213"/>
                <a:gd name="T22" fmla="*/ 4 w 332"/>
                <a:gd name="T23" fmla="*/ 31 h 213"/>
                <a:gd name="T24" fmla="*/ 9 w 332"/>
                <a:gd name="T25" fmla="*/ 45 h 213"/>
                <a:gd name="T26" fmla="*/ 9 w 332"/>
                <a:gd name="T27" fmla="*/ 49 h 213"/>
                <a:gd name="T28" fmla="*/ 18 w 332"/>
                <a:gd name="T29" fmla="*/ 58 h 213"/>
                <a:gd name="T30" fmla="*/ 26 w 332"/>
                <a:gd name="T31" fmla="*/ 67 h 213"/>
                <a:gd name="T32" fmla="*/ 31 w 332"/>
                <a:gd name="T33" fmla="*/ 84 h 213"/>
                <a:gd name="T34" fmla="*/ 22 w 332"/>
                <a:gd name="T35" fmla="*/ 93 h 213"/>
                <a:gd name="T36" fmla="*/ 9 w 332"/>
                <a:gd name="T37" fmla="*/ 98 h 213"/>
                <a:gd name="T38" fmla="*/ 9 w 332"/>
                <a:gd name="T39" fmla="*/ 107 h 213"/>
                <a:gd name="T40" fmla="*/ 13 w 332"/>
                <a:gd name="T41" fmla="*/ 124 h 213"/>
                <a:gd name="T42" fmla="*/ 9 w 332"/>
                <a:gd name="T43" fmla="*/ 146 h 213"/>
                <a:gd name="T44" fmla="*/ 26 w 332"/>
                <a:gd name="T45" fmla="*/ 155 h 213"/>
                <a:gd name="T46" fmla="*/ 26 w 332"/>
                <a:gd name="T47" fmla="*/ 160 h 213"/>
                <a:gd name="T48" fmla="*/ 31 w 332"/>
                <a:gd name="T49" fmla="*/ 173 h 213"/>
                <a:gd name="T50" fmla="*/ 35 w 332"/>
                <a:gd name="T51" fmla="*/ 186 h 213"/>
                <a:gd name="T52" fmla="*/ 35 w 332"/>
                <a:gd name="T53" fmla="*/ 199 h 213"/>
                <a:gd name="T54" fmla="*/ 48 w 332"/>
                <a:gd name="T55" fmla="*/ 204 h 213"/>
                <a:gd name="T56" fmla="*/ 62 w 332"/>
                <a:gd name="T57" fmla="*/ 204 h 213"/>
                <a:gd name="T58" fmla="*/ 79 w 332"/>
                <a:gd name="T59" fmla="*/ 199 h 213"/>
                <a:gd name="T60" fmla="*/ 93 w 332"/>
                <a:gd name="T61" fmla="*/ 199 h 213"/>
                <a:gd name="T62" fmla="*/ 97 w 332"/>
                <a:gd name="T63" fmla="*/ 191 h 213"/>
                <a:gd name="T64" fmla="*/ 106 w 332"/>
                <a:gd name="T65" fmla="*/ 195 h 213"/>
                <a:gd name="T66" fmla="*/ 119 w 332"/>
                <a:gd name="T67" fmla="*/ 195 h 213"/>
                <a:gd name="T68" fmla="*/ 124 w 332"/>
                <a:gd name="T69" fmla="*/ 199 h 213"/>
                <a:gd name="T70" fmla="*/ 146 w 332"/>
                <a:gd name="T71" fmla="*/ 208 h 213"/>
                <a:gd name="T72" fmla="*/ 168 w 332"/>
                <a:gd name="T73" fmla="*/ 208 h 213"/>
                <a:gd name="T74" fmla="*/ 177 w 332"/>
                <a:gd name="T75" fmla="*/ 208 h 213"/>
                <a:gd name="T76" fmla="*/ 195 w 332"/>
                <a:gd name="T77" fmla="*/ 208 h 213"/>
                <a:gd name="T78" fmla="*/ 203 w 332"/>
                <a:gd name="T79" fmla="*/ 199 h 213"/>
                <a:gd name="T80" fmla="*/ 203 w 332"/>
                <a:gd name="T81" fmla="*/ 191 h 213"/>
                <a:gd name="T82" fmla="*/ 199 w 332"/>
                <a:gd name="T83" fmla="*/ 182 h 213"/>
                <a:gd name="T84" fmla="*/ 212 w 332"/>
                <a:gd name="T85" fmla="*/ 177 h 213"/>
                <a:gd name="T86" fmla="*/ 226 w 332"/>
                <a:gd name="T87" fmla="*/ 164 h 213"/>
                <a:gd name="T88" fmla="*/ 234 w 332"/>
                <a:gd name="T89" fmla="*/ 160 h 213"/>
                <a:gd name="T90" fmla="*/ 243 w 332"/>
                <a:gd name="T91" fmla="*/ 160 h 213"/>
                <a:gd name="T92" fmla="*/ 257 w 332"/>
                <a:gd name="T93" fmla="*/ 155 h 213"/>
                <a:gd name="T94" fmla="*/ 274 w 332"/>
                <a:gd name="T95" fmla="*/ 164 h 213"/>
                <a:gd name="T96" fmla="*/ 279 w 332"/>
                <a:gd name="T97" fmla="*/ 164 h 213"/>
                <a:gd name="T98" fmla="*/ 288 w 332"/>
                <a:gd name="T99" fmla="*/ 160 h 213"/>
                <a:gd name="T100" fmla="*/ 301 w 332"/>
                <a:gd name="T101" fmla="*/ 160 h 213"/>
                <a:gd name="T102" fmla="*/ 296 w 332"/>
                <a:gd name="T103" fmla="*/ 155 h 213"/>
                <a:gd name="T104" fmla="*/ 292 w 332"/>
                <a:gd name="T105" fmla="*/ 146 h 213"/>
                <a:gd name="T106" fmla="*/ 288 w 332"/>
                <a:gd name="T107" fmla="*/ 138 h 213"/>
                <a:gd name="T108" fmla="*/ 283 w 332"/>
                <a:gd name="T109" fmla="*/ 129 h 213"/>
                <a:gd name="T110" fmla="*/ 279 w 332"/>
                <a:gd name="T111" fmla="*/ 129 h 213"/>
                <a:gd name="T112" fmla="*/ 270 w 332"/>
                <a:gd name="T113" fmla="*/ 129 h 213"/>
                <a:gd name="T114" fmla="*/ 279 w 332"/>
                <a:gd name="T115" fmla="*/ 120 h 213"/>
                <a:gd name="T116" fmla="*/ 288 w 332"/>
                <a:gd name="T117" fmla="*/ 111 h 213"/>
                <a:gd name="T118" fmla="*/ 296 w 332"/>
                <a:gd name="T119" fmla="*/ 93 h 213"/>
                <a:gd name="T120" fmla="*/ 296 w 332"/>
                <a:gd name="T121" fmla="*/ 76 h 213"/>
                <a:gd name="T122" fmla="*/ 318 w 332"/>
                <a:gd name="T123" fmla="*/ 58 h 213"/>
                <a:gd name="T124" fmla="*/ 332 w 332"/>
                <a:gd name="T125" fmla="*/ 49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2" h="213">
                  <a:moveTo>
                    <a:pt x="332" y="49"/>
                  </a:moveTo>
                  <a:lnTo>
                    <a:pt x="332" y="49"/>
                  </a:lnTo>
                  <a:lnTo>
                    <a:pt x="332" y="49"/>
                  </a:lnTo>
                  <a:lnTo>
                    <a:pt x="332" y="45"/>
                  </a:lnTo>
                  <a:lnTo>
                    <a:pt x="332" y="45"/>
                  </a:lnTo>
                  <a:lnTo>
                    <a:pt x="332" y="36"/>
                  </a:lnTo>
                  <a:lnTo>
                    <a:pt x="332" y="36"/>
                  </a:lnTo>
                  <a:lnTo>
                    <a:pt x="323" y="36"/>
                  </a:lnTo>
                  <a:lnTo>
                    <a:pt x="310" y="36"/>
                  </a:lnTo>
                  <a:lnTo>
                    <a:pt x="301" y="27"/>
                  </a:lnTo>
                  <a:lnTo>
                    <a:pt x="301" y="27"/>
                  </a:lnTo>
                  <a:lnTo>
                    <a:pt x="296" y="18"/>
                  </a:lnTo>
                  <a:lnTo>
                    <a:pt x="296" y="18"/>
                  </a:lnTo>
                  <a:lnTo>
                    <a:pt x="296" y="18"/>
                  </a:lnTo>
                  <a:lnTo>
                    <a:pt x="292" y="18"/>
                  </a:lnTo>
                  <a:lnTo>
                    <a:pt x="288" y="18"/>
                  </a:lnTo>
                  <a:lnTo>
                    <a:pt x="283" y="18"/>
                  </a:lnTo>
                  <a:lnTo>
                    <a:pt x="283" y="18"/>
                  </a:lnTo>
                  <a:lnTo>
                    <a:pt x="283" y="18"/>
                  </a:lnTo>
                  <a:lnTo>
                    <a:pt x="283" y="14"/>
                  </a:lnTo>
                  <a:lnTo>
                    <a:pt x="279" y="14"/>
                  </a:lnTo>
                  <a:lnTo>
                    <a:pt x="279" y="14"/>
                  </a:lnTo>
                  <a:lnTo>
                    <a:pt x="265" y="14"/>
                  </a:lnTo>
                  <a:lnTo>
                    <a:pt x="265" y="14"/>
                  </a:lnTo>
                  <a:lnTo>
                    <a:pt x="265" y="14"/>
                  </a:lnTo>
                  <a:lnTo>
                    <a:pt x="265" y="14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57" y="5"/>
                  </a:lnTo>
                  <a:lnTo>
                    <a:pt x="252" y="5"/>
                  </a:lnTo>
                  <a:lnTo>
                    <a:pt x="248" y="5"/>
                  </a:lnTo>
                  <a:lnTo>
                    <a:pt x="248" y="5"/>
                  </a:lnTo>
                  <a:lnTo>
                    <a:pt x="239" y="5"/>
                  </a:lnTo>
                  <a:lnTo>
                    <a:pt x="234" y="9"/>
                  </a:lnTo>
                  <a:lnTo>
                    <a:pt x="234" y="9"/>
                  </a:lnTo>
                  <a:lnTo>
                    <a:pt x="230" y="9"/>
                  </a:lnTo>
                  <a:lnTo>
                    <a:pt x="230" y="9"/>
                  </a:lnTo>
                  <a:lnTo>
                    <a:pt x="230" y="9"/>
                  </a:lnTo>
                  <a:lnTo>
                    <a:pt x="230" y="9"/>
                  </a:lnTo>
                  <a:lnTo>
                    <a:pt x="230" y="9"/>
                  </a:lnTo>
                  <a:lnTo>
                    <a:pt x="226" y="9"/>
                  </a:lnTo>
                  <a:lnTo>
                    <a:pt x="217" y="14"/>
                  </a:lnTo>
                  <a:lnTo>
                    <a:pt x="212" y="14"/>
                  </a:lnTo>
                  <a:lnTo>
                    <a:pt x="212" y="14"/>
                  </a:lnTo>
                  <a:lnTo>
                    <a:pt x="208" y="14"/>
                  </a:lnTo>
                  <a:lnTo>
                    <a:pt x="203" y="14"/>
                  </a:lnTo>
                  <a:lnTo>
                    <a:pt x="199" y="18"/>
                  </a:lnTo>
                  <a:lnTo>
                    <a:pt x="199" y="18"/>
                  </a:lnTo>
                  <a:lnTo>
                    <a:pt x="199" y="18"/>
                  </a:lnTo>
                  <a:lnTo>
                    <a:pt x="199" y="22"/>
                  </a:lnTo>
                  <a:lnTo>
                    <a:pt x="190" y="27"/>
                  </a:lnTo>
                  <a:lnTo>
                    <a:pt x="190" y="27"/>
                  </a:lnTo>
                  <a:lnTo>
                    <a:pt x="190" y="27"/>
                  </a:lnTo>
                  <a:lnTo>
                    <a:pt x="186" y="31"/>
                  </a:lnTo>
                  <a:lnTo>
                    <a:pt x="186" y="31"/>
                  </a:lnTo>
                  <a:lnTo>
                    <a:pt x="186" y="31"/>
                  </a:lnTo>
                  <a:lnTo>
                    <a:pt x="186" y="36"/>
                  </a:lnTo>
                  <a:lnTo>
                    <a:pt x="181" y="36"/>
                  </a:lnTo>
                  <a:lnTo>
                    <a:pt x="181" y="36"/>
                  </a:lnTo>
                  <a:lnTo>
                    <a:pt x="181" y="36"/>
                  </a:lnTo>
                  <a:lnTo>
                    <a:pt x="177" y="36"/>
                  </a:lnTo>
                  <a:lnTo>
                    <a:pt x="177" y="36"/>
                  </a:lnTo>
                  <a:lnTo>
                    <a:pt x="177" y="40"/>
                  </a:lnTo>
                  <a:lnTo>
                    <a:pt x="172" y="40"/>
                  </a:lnTo>
                  <a:lnTo>
                    <a:pt x="172" y="40"/>
                  </a:lnTo>
                  <a:lnTo>
                    <a:pt x="172" y="40"/>
                  </a:lnTo>
                  <a:lnTo>
                    <a:pt x="172" y="40"/>
                  </a:lnTo>
                  <a:lnTo>
                    <a:pt x="168" y="40"/>
                  </a:lnTo>
                  <a:lnTo>
                    <a:pt x="168" y="40"/>
                  </a:lnTo>
                  <a:lnTo>
                    <a:pt x="168" y="40"/>
                  </a:lnTo>
                  <a:lnTo>
                    <a:pt x="168" y="40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46" y="36"/>
                  </a:lnTo>
                  <a:lnTo>
                    <a:pt x="141" y="36"/>
                  </a:lnTo>
                  <a:lnTo>
                    <a:pt x="137" y="36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4" y="36"/>
                  </a:lnTo>
                  <a:lnTo>
                    <a:pt x="115" y="31"/>
                  </a:lnTo>
                  <a:lnTo>
                    <a:pt x="115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2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88" y="31"/>
                  </a:lnTo>
                  <a:lnTo>
                    <a:pt x="79" y="31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66" y="27"/>
                  </a:lnTo>
                  <a:lnTo>
                    <a:pt x="62" y="27"/>
                  </a:lnTo>
                  <a:lnTo>
                    <a:pt x="53" y="22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0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26" y="27"/>
                  </a:lnTo>
                  <a:lnTo>
                    <a:pt x="26" y="22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4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1" y="9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3" y="5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4" y="14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53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6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31" y="71"/>
                  </a:lnTo>
                  <a:lnTo>
                    <a:pt x="31" y="71"/>
                  </a:lnTo>
                  <a:lnTo>
                    <a:pt x="31" y="71"/>
                  </a:lnTo>
                  <a:lnTo>
                    <a:pt x="31" y="71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2" y="89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18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9" y="98"/>
                  </a:lnTo>
                  <a:lnTo>
                    <a:pt x="9" y="98"/>
                  </a:lnTo>
                  <a:lnTo>
                    <a:pt x="9" y="98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11"/>
                  </a:lnTo>
                  <a:lnTo>
                    <a:pt x="9" y="111"/>
                  </a:lnTo>
                  <a:lnTo>
                    <a:pt x="9" y="111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9" y="120"/>
                  </a:lnTo>
                  <a:lnTo>
                    <a:pt x="9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9" y="138"/>
                  </a:lnTo>
                  <a:lnTo>
                    <a:pt x="4" y="138"/>
                  </a:lnTo>
                  <a:lnTo>
                    <a:pt x="4" y="138"/>
                  </a:lnTo>
                  <a:lnTo>
                    <a:pt x="4" y="138"/>
                  </a:lnTo>
                  <a:lnTo>
                    <a:pt x="0" y="138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13" y="151"/>
                  </a:lnTo>
                  <a:lnTo>
                    <a:pt x="18" y="155"/>
                  </a:lnTo>
                  <a:lnTo>
                    <a:pt x="18" y="155"/>
                  </a:lnTo>
                  <a:lnTo>
                    <a:pt x="18" y="155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31" y="160"/>
                  </a:lnTo>
                  <a:lnTo>
                    <a:pt x="31" y="160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31" y="169"/>
                  </a:lnTo>
                  <a:lnTo>
                    <a:pt x="31" y="169"/>
                  </a:lnTo>
                  <a:lnTo>
                    <a:pt x="31" y="169"/>
                  </a:lnTo>
                  <a:lnTo>
                    <a:pt x="31" y="169"/>
                  </a:lnTo>
                  <a:lnTo>
                    <a:pt x="31" y="169"/>
                  </a:lnTo>
                  <a:lnTo>
                    <a:pt x="31" y="169"/>
                  </a:lnTo>
                  <a:lnTo>
                    <a:pt x="31" y="169"/>
                  </a:lnTo>
                  <a:lnTo>
                    <a:pt x="31" y="169"/>
                  </a:lnTo>
                  <a:lnTo>
                    <a:pt x="31" y="169"/>
                  </a:lnTo>
                  <a:lnTo>
                    <a:pt x="31" y="173"/>
                  </a:lnTo>
                  <a:lnTo>
                    <a:pt x="35" y="177"/>
                  </a:lnTo>
                  <a:lnTo>
                    <a:pt x="35" y="177"/>
                  </a:lnTo>
                  <a:lnTo>
                    <a:pt x="35" y="177"/>
                  </a:lnTo>
                  <a:lnTo>
                    <a:pt x="35" y="177"/>
                  </a:lnTo>
                  <a:lnTo>
                    <a:pt x="35" y="177"/>
                  </a:lnTo>
                  <a:lnTo>
                    <a:pt x="35" y="177"/>
                  </a:lnTo>
                  <a:lnTo>
                    <a:pt x="35" y="182"/>
                  </a:lnTo>
                  <a:lnTo>
                    <a:pt x="35" y="182"/>
                  </a:lnTo>
                  <a:lnTo>
                    <a:pt x="35" y="182"/>
                  </a:lnTo>
                  <a:lnTo>
                    <a:pt x="35" y="182"/>
                  </a:lnTo>
                  <a:lnTo>
                    <a:pt x="35" y="186"/>
                  </a:lnTo>
                  <a:lnTo>
                    <a:pt x="35" y="186"/>
                  </a:lnTo>
                  <a:lnTo>
                    <a:pt x="35" y="186"/>
                  </a:lnTo>
                  <a:lnTo>
                    <a:pt x="35" y="186"/>
                  </a:lnTo>
                  <a:lnTo>
                    <a:pt x="35" y="186"/>
                  </a:lnTo>
                  <a:lnTo>
                    <a:pt x="31" y="186"/>
                  </a:lnTo>
                  <a:lnTo>
                    <a:pt x="31" y="186"/>
                  </a:lnTo>
                  <a:lnTo>
                    <a:pt x="31" y="186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5" y="191"/>
                  </a:lnTo>
                  <a:lnTo>
                    <a:pt x="35" y="191"/>
                  </a:lnTo>
                  <a:lnTo>
                    <a:pt x="35" y="191"/>
                  </a:lnTo>
                  <a:lnTo>
                    <a:pt x="35" y="191"/>
                  </a:lnTo>
                  <a:lnTo>
                    <a:pt x="35" y="195"/>
                  </a:lnTo>
                  <a:lnTo>
                    <a:pt x="35" y="199"/>
                  </a:lnTo>
                  <a:lnTo>
                    <a:pt x="35" y="199"/>
                  </a:lnTo>
                  <a:lnTo>
                    <a:pt x="35" y="199"/>
                  </a:lnTo>
                  <a:lnTo>
                    <a:pt x="35" y="199"/>
                  </a:lnTo>
                  <a:lnTo>
                    <a:pt x="35" y="199"/>
                  </a:lnTo>
                  <a:lnTo>
                    <a:pt x="35" y="199"/>
                  </a:lnTo>
                  <a:lnTo>
                    <a:pt x="31" y="199"/>
                  </a:lnTo>
                  <a:lnTo>
                    <a:pt x="35" y="204"/>
                  </a:lnTo>
                  <a:lnTo>
                    <a:pt x="35" y="204"/>
                  </a:lnTo>
                  <a:lnTo>
                    <a:pt x="35" y="204"/>
                  </a:lnTo>
                  <a:lnTo>
                    <a:pt x="31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4" y="208"/>
                  </a:lnTo>
                  <a:lnTo>
                    <a:pt x="48" y="208"/>
                  </a:lnTo>
                  <a:lnTo>
                    <a:pt x="48" y="208"/>
                  </a:lnTo>
                  <a:lnTo>
                    <a:pt x="48" y="204"/>
                  </a:lnTo>
                  <a:lnTo>
                    <a:pt x="48" y="204"/>
                  </a:lnTo>
                  <a:lnTo>
                    <a:pt x="48" y="204"/>
                  </a:lnTo>
                  <a:lnTo>
                    <a:pt x="48" y="204"/>
                  </a:lnTo>
                  <a:lnTo>
                    <a:pt x="48" y="204"/>
                  </a:lnTo>
                  <a:lnTo>
                    <a:pt x="48" y="204"/>
                  </a:lnTo>
                  <a:lnTo>
                    <a:pt x="53" y="204"/>
                  </a:lnTo>
                  <a:lnTo>
                    <a:pt x="53" y="204"/>
                  </a:lnTo>
                  <a:lnTo>
                    <a:pt x="53" y="204"/>
                  </a:lnTo>
                  <a:lnTo>
                    <a:pt x="53" y="204"/>
                  </a:lnTo>
                  <a:lnTo>
                    <a:pt x="53" y="204"/>
                  </a:lnTo>
                  <a:lnTo>
                    <a:pt x="57" y="204"/>
                  </a:lnTo>
                  <a:lnTo>
                    <a:pt x="57" y="204"/>
                  </a:lnTo>
                  <a:lnTo>
                    <a:pt x="57" y="204"/>
                  </a:lnTo>
                  <a:lnTo>
                    <a:pt x="62" y="204"/>
                  </a:lnTo>
                  <a:lnTo>
                    <a:pt x="66" y="204"/>
                  </a:lnTo>
                  <a:lnTo>
                    <a:pt x="71" y="204"/>
                  </a:lnTo>
                  <a:lnTo>
                    <a:pt x="71" y="204"/>
                  </a:lnTo>
                  <a:lnTo>
                    <a:pt x="71" y="204"/>
                  </a:lnTo>
                  <a:lnTo>
                    <a:pt x="71" y="204"/>
                  </a:lnTo>
                  <a:lnTo>
                    <a:pt x="71" y="204"/>
                  </a:lnTo>
                  <a:lnTo>
                    <a:pt x="75" y="204"/>
                  </a:lnTo>
                  <a:lnTo>
                    <a:pt x="75" y="204"/>
                  </a:lnTo>
                  <a:lnTo>
                    <a:pt x="75" y="204"/>
                  </a:lnTo>
                  <a:lnTo>
                    <a:pt x="75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79" y="199"/>
                  </a:lnTo>
                  <a:lnTo>
                    <a:pt x="84" y="199"/>
                  </a:lnTo>
                  <a:lnTo>
                    <a:pt x="84" y="199"/>
                  </a:lnTo>
                  <a:lnTo>
                    <a:pt x="84" y="199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93" y="199"/>
                  </a:lnTo>
                  <a:lnTo>
                    <a:pt x="93" y="199"/>
                  </a:lnTo>
                  <a:lnTo>
                    <a:pt x="93" y="199"/>
                  </a:lnTo>
                  <a:lnTo>
                    <a:pt x="93" y="195"/>
                  </a:lnTo>
                  <a:lnTo>
                    <a:pt x="93" y="195"/>
                  </a:lnTo>
                  <a:lnTo>
                    <a:pt x="93" y="195"/>
                  </a:lnTo>
                  <a:lnTo>
                    <a:pt x="93" y="191"/>
                  </a:lnTo>
                  <a:lnTo>
                    <a:pt x="97" y="191"/>
                  </a:lnTo>
                  <a:lnTo>
                    <a:pt x="97" y="195"/>
                  </a:lnTo>
                  <a:lnTo>
                    <a:pt x="97" y="195"/>
                  </a:lnTo>
                  <a:lnTo>
                    <a:pt x="97" y="195"/>
                  </a:lnTo>
                  <a:lnTo>
                    <a:pt x="97" y="195"/>
                  </a:lnTo>
                  <a:lnTo>
                    <a:pt x="97" y="195"/>
                  </a:lnTo>
                  <a:lnTo>
                    <a:pt x="97" y="195"/>
                  </a:lnTo>
                  <a:lnTo>
                    <a:pt x="97" y="195"/>
                  </a:lnTo>
                  <a:lnTo>
                    <a:pt x="97" y="191"/>
                  </a:lnTo>
                  <a:lnTo>
                    <a:pt x="97" y="191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5"/>
                  </a:lnTo>
                  <a:lnTo>
                    <a:pt x="106" y="195"/>
                  </a:lnTo>
                  <a:lnTo>
                    <a:pt x="106" y="195"/>
                  </a:lnTo>
                  <a:lnTo>
                    <a:pt x="106" y="195"/>
                  </a:lnTo>
                  <a:lnTo>
                    <a:pt x="106" y="195"/>
                  </a:lnTo>
                  <a:lnTo>
                    <a:pt x="106" y="195"/>
                  </a:lnTo>
                  <a:lnTo>
                    <a:pt x="106" y="195"/>
                  </a:lnTo>
                  <a:lnTo>
                    <a:pt x="106" y="195"/>
                  </a:lnTo>
                  <a:lnTo>
                    <a:pt x="110" y="195"/>
                  </a:lnTo>
                  <a:lnTo>
                    <a:pt x="110" y="195"/>
                  </a:lnTo>
                  <a:lnTo>
                    <a:pt x="110" y="195"/>
                  </a:lnTo>
                  <a:lnTo>
                    <a:pt x="110" y="195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9"/>
                  </a:lnTo>
                  <a:lnTo>
                    <a:pt x="119" y="199"/>
                  </a:lnTo>
                  <a:lnTo>
                    <a:pt x="119" y="199"/>
                  </a:lnTo>
                  <a:lnTo>
                    <a:pt x="119" y="199"/>
                  </a:lnTo>
                  <a:lnTo>
                    <a:pt x="119" y="199"/>
                  </a:lnTo>
                  <a:lnTo>
                    <a:pt x="119" y="199"/>
                  </a:lnTo>
                  <a:lnTo>
                    <a:pt x="119" y="199"/>
                  </a:lnTo>
                  <a:lnTo>
                    <a:pt x="124" y="199"/>
                  </a:lnTo>
                  <a:lnTo>
                    <a:pt x="124" y="199"/>
                  </a:lnTo>
                  <a:lnTo>
                    <a:pt x="124" y="199"/>
                  </a:lnTo>
                  <a:lnTo>
                    <a:pt x="124" y="199"/>
                  </a:lnTo>
                  <a:lnTo>
                    <a:pt x="124" y="199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46" y="208"/>
                  </a:lnTo>
                  <a:lnTo>
                    <a:pt x="146" y="208"/>
                  </a:lnTo>
                  <a:lnTo>
                    <a:pt x="146" y="208"/>
                  </a:lnTo>
                  <a:lnTo>
                    <a:pt x="146" y="208"/>
                  </a:lnTo>
                  <a:lnTo>
                    <a:pt x="146" y="208"/>
                  </a:lnTo>
                  <a:lnTo>
                    <a:pt x="146" y="208"/>
                  </a:lnTo>
                  <a:lnTo>
                    <a:pt x="150" y="208"/>
                  </a:lnTo>
                  <a:lnTo>
                    <a:pt x="150" y="208"/>
                  </a:lnTo>
                  <a:lnTo>
                    <a:pt x="150" y="208"/>
                  </a:lnTo>
                  <a:lnTo>
                    <a:pt x="155" y="213"/>
                  </a:lnTo>
                  <a:lnTo>
                    <a:pt x="155" y="213"/>
                  </a:lnTo>
                  <a:lnTo>
                    <a:pt x="155" y="213"/>
                  </a:lnTo>
                  <a:lnTo>
                    <a:pt x="155" y="213"/>
                  </a:lnTo>
                  <a:lnTo>
                    <a:pt x="164" y="208"/>
                  </a:lnTo>
                  <a:lnTo>
                    <a:pt x="168" y="208"/>
                  </a:lnTo>
                  <a:lnTo>
                    <a:pt x="168" y="208"/>
                  </a:lnTo>
                  <a:lnTo>
                    <a:pt x="168" y="208"/>
                  </a:lnTo>
                  <a:lnTo>
                    <a:pt x="168" y="208"/>
                  </a:lnTo>
                  <a:lnTo>
                    <a:pt x="168" y="208"/>
                  </a:lnTo>
                  <a:lnTo>
                    <a:pt x="168" y="208"/>
                  </a:lnTo>
                  <a:lnTo>
                    <a:pt x="168" y="208"/>
                  </a:lnTo>
                  <a:lnTo>
                    <a:pt x="168" y="208"/>
                  </a:lnTo>
                  <a:lnTo>
                    <a:pt x="172" y="208"/>
                  </a:lnTo>
                  <a:lnTo>
                    <a:pt x="177" y="208"/>
                  </a:lnTo>
                  <a:lnTo>
                    <a:pt x="177" y="208"/>
                  </a:lnTo>
                  <a:lnTo>
                    <a:pt x="177" y="208"/>
                  </a:lnTo>
                  <a:lnTo>
                    <a:pt x="177" y="208"/>
                  </a:lnTo>
                  <a:lnTo>
                    <a:pt x="177" y="208"/>
                  </a:lnTo>
                  <a:lnTo>
                    <a:pt x="177" y="208"/>
                  </a:lnTo>
                  <a:lnTo>
                    <a:pt x="177" y="208"/>
                  </a:lnTo>
                  <a:lnTo>
                    <a:pt x="181" y="208"/>
                  </a:lnTo>
                  <a:lnTo>
                    <a:pt x="181" y="208"/>
                  </a:lnTo>
                  <a:lnTo>
                    <a:pt x="181" y="208"/>
                  </a:lnTo>
                  <a:lnTo>
                    <a:pt x="186" y="208"/>
                  </a:lnTo>
                  <a:lnTo>
                    <a:pt x="186" y="208"/>
                  </a:lnTo>
                  <a:lnTo>
                    <a:pt x="186" y="208"/>
                  </a:lnTo>
                  <a:lnTo>
                    <a:pt x="186" y="208"/>
                  </a:lnTo>
                  <a:lnTo>
                    <a:pt x="190" y="208"/>
                  </a:lnTo>
                  <a:lnTo>
                    <a:pt x="190" y="208"/>
                  </a:lnTo>
                  <a:lnTo>
                    <a:pt x="190" y="208"/>
                  </a:lnTo>
                  <a:lnTo>
                    <a:pt x="190" y="208"/>
                  </a:lnTo>
                  <a:lnTo>
                    <a:pt x="190" y="208"/>
                  </a:lnTo>
                  <a:lnTo>
                    <a:pt x="190" y="208"/>
                  </a:lnTo>
                  <a:lnTo>
                    <a:pt x="195" y="208"/>
                  </a:lnTo>
                  <a:lnTo>
                    <a:pt x="195" y="208"/>
                  </a:lnTo>
                  <a:lnTo>
                    <a:pt x="195" y="204"/>
                  </a:lnTo>
                  <a:lnTo>
                    <a:pt x="199" y="204"/>
                  </a:lnTo>
                  <a:lnTo>
                    <a:pt x="199" y="204"/>
                  </a:lnTo>
                  <a:lnTo>
                    <a:pt x="199" y="204"/>
                  </a:lnTo>
                  <a:lnTo>
                    <a:pt x="203" y="204"/>
                  </a:lnTo>
                  <a:lnTo>
                    <a:pt x="203" y="204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03" y="195"/>
                  </a:lnTo>
                  <a:lnTo>
                    <a:pt x="203" y="195"/>
                  </a:lnTo>
                  <a:lnTo>
                    <a:pt x="203" y="195"/>
                  </a:lnTo>
                  <a:lnTo>
                    <a:pt x="203" y="195"/>
                  </a:lnTo>
                  <a:lnTo>
                    <a:pt x="203" y="195"/>
                  </a:lnTo>
                  <a:lnTo>
                    <a:pt x="203" y="195"/>
                  </a:lnTo>
                  <a:lnTo>
                    <a:pt x="203" y="191"/>
                  </a:lnTo>
                  <a:lnTo>
                    <a:pt x="203" y="191"/>
                  </a:lnTo>
                  <a:lnTo>
                    <a:pt x="203" y="191"/>
                  </a:lnTo>
                  <a:lnTo>
                    <a:pt x="203" y="191"/>
                  </a:lnTo>
                  <a:lnTo>
                    <a:pt x="203" y="191"/>
                  </a:lnTo>
                  <a:lnTo>
                    <a:pt x="203" y="191"/>
                  </a:lnTo>
                  <a:lnTo>
                    <a:pt x="203" y="191"/>
                  </a:lnTo>
                  <a:lnTo>
                    <a:pt x="199" y="186"/>
                  </a:lnTo>
                  <a:lnTo>
                    <a:pt x="199" y="186"/>
                  </a:lnTo>
                  <a:lnTo>
                    <a:pt x="199" y="186"/>
                  </a:lnTo>
                  <a:lnTo>
                    <a:pt x="199" y="186"/>
                  </a:lnTo>
                  <a:lnTo>
                    <a:pt x="199" y="186"/>
                  </a:lnTo>
                  <a:lnTo>
                    <a:pt x="199" y="186"/>
                  </a:lnTo>
                  <a:lnTo>
                    <a:pt x="199" y="186"/>
                  </a:lnTo>
                  <a:lnTo>
                    <a:pt x="199" y="186"/>
                  </a:lnTo>
                  <a:lnTo>
                    <a:pt x="199" y="182"/>
                  </a:lnTo>
                  <a:lnTo>
                    <a:pt x="199" y="182"/>
                  </a:lnTo>
                  <a:lnTo>
                    <a:pt x="199" y="182"/>
                  </a:lnTo>
                  <a:lnTo>
                    <a:pt x="199" y="182"/>
                  </a:lnTo>
                  <a:lnTo>
                    <a:pt x="199" y="182"/>
                  </a:lnTo>
                  <a:lnTo>
                    <a:pt x="199" y="182"/>
                  </a:lnTo>
                  <a:lnTo>
                    <a:pt x="199" y="182"/>
                  </a:lnTo>
                  <a:lnTo>
                    <a:pt x="199" y="182"/>
                  </a:lnTo>
                  <a:lnTo>
                    <a:pt x="199" y="177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8" y="182"/>
                  </a:lnTo>
                  <a:lnTo>
                    <a:pt x="208" y="182"/>
                  </a:lnTo>
                  <a:lnTo>
                    <a:pt x="212" y="182"/>
                  </a:lnTo>
                  <a:lnTo>
                    <a:pt x="212" y="177"/>
                  </a:lnTo>
                  <a:lnTo>
                    <a:pt x="212" y="177"/>
                  </a:lnTo>
                  <a:lnTo>
                    <a:pt x="212" y="177"/>
                  </a:lnTo>
                  <a:lnTo>
                    <a:pt x="212" y="173"/>
                  </a:lnTo>
                  <a:lnTo>
                    <a:pt x="212" y="173"/>
                  </a:lnTo>
                  <a:lnTo>
                    <a:pt x="221" y="173"/>
                  </a:lnTo>
                  <a:lnTo>
                    <a:pt x="221" y="173"/>
                  </a:lnTo>
                  <a:lnTo>
                    <a:pt x="221" y="173"/>
                  </a:lnTo>
                  <a:lnTo>
                    <a:pt x="221" y="169"/>
                  </a:lnTo>
                  <a:lnTo>
                    <a:pt x="226" y="169"/>
                  </a:lnTo>
                  <a:lnTo>
                    <a:pt x="226" y="169"/>
                  </a:lnTo>
                  <a:lnTo>
                    <a:pt x="226" y="169"/>
                  </a:lnTo>
                  <a:lnTo>
                    <a:pt x="226" y="169"/>
                  </a:lnTo>
                  <a:lnTo>
                    <a:pt x="226" y="169"/>
                  </a:lnTo>
                  <a:lnTo>
                    <a:pt x="226" y="169"/>
                  </a:lnTo>
                  <a:lnTo>
                    <a:pt x="226" y="164"/>
                  </a:lnTo>
                  <a:lnTo>
                    <a:pt x="221" y="164"/>
                  </a:lnTo>
                  <a:lnTo>
                    <a:pt x="221" y="164"/>
                  </a:lnTo>
                  <a:lnTo>
                    <a:pt x="221" y="164"/>
                  </a:lnTo>
                  <a:lnTo>
                    <a:pt x="226" y="164"/>
                  </a:lnTo>
                  <a:lnTo>
                    <a:pt x="226" y="164"/>
                  </a:lnTo>
                  <a:lnTo>
                    <a:pt x="226" y="164"/>
                  </a:lnTo>
                  <a:lnTo>
                    <a:pt x="226" y="164"/>
                  </a:lnTo>
                  <a:lnTo>
                    <a:pt x="226" y="164"/>
                  </a:lnTo>
                  <a:lnTo>
                    <a:pt x="234" y="164"/>
                  </a:lnTo>
                  <a:lnTo>
                    <a:pt x="234" y="164"/>
                  </a:lnTo>
                  <a:lnTo>
                    <a:pt x="234" y="164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9" y="164"/>
                  </a:lnTo>
                  <a:lnTo>
                    <a:pt x="239" y="164"/>
                  </a:lnTo>
                  <a:lnTo>
                    <a:pt x="239" y="164"/>
                  </a:lnTo>
                  <a:lnTo>
                    <a:pt x="239" y="160"/>
                  </a:lnTo>
                  <a:lnTo>
                    <a:pt x="239" y="160"/>
                  </a:lnTo>
                  <a:lnTo>
                    <a:pt x="239" y="160"/>
                  </a:lnTo>
                  <a:lnTo>
                    <a:pt x="239" y="160"/>
                  </a:lnTo>
                  <a:lnTo>
                    <a:pt x="239" y="160"/>
                  </a:lnTo>
                  <a:lnTo>
                    <a:pt x="243" y="160"/>
                  </a:lnTo>
                  <a:lnTo>
                    <a:pt x="243" y="160"/>
                  </a:lnTo>
                  <a:lnTo>
                    <a:pt x="243" y="160"/>
                  </a:lnTo>
                  <a:lnTo>
                    <a:pt x="243" y="160"/>
                  </a:lnTo>
                  <a:lnTo>
                    <a:pt x="243" y="160"/>
                  </a:lnTo>
                  <a:lnTo>
                    <a:pt x="243" y="160"/>
                  </a:lnTo>
                  <a:lnTo>
                    <a:pt x="243" y="160"/>
                  </a:lnTo>
                  <a:lnTo>
                    <a:pt x="243" y="160"/>
                  </a:lnTo>
                  <a:lnTo>
                    <a:pt x="248" y="160"/>
                  </a:lnTo>
                  <a:lnTo>
                    <a:pt x="248" y="155"/>
                  </a:lnTo>
                  <a:lnTo>
                    <a:pt x="248" y="155"/>
                  </a:lnTo>
                  <a:lnTo>
                    <a:pt x="248" y="155"/>
                  </a:lnTo>
                  <a:lnTo>
                    <a:pt x="248" y="155"/>
                  </a:lnTo>
                  <a:lnTo>
                    <a:pt x="252" y="155"/>
                  </a:lnTo>
                  <a:lnTo>
                    <a:pt x="252" y="155"/>
                  </a:lnTo>
                  <a:lnTo>
                    <a:pt x="252" y="155"/>
                  </a:lnTo>
                  <a:lnTo>
                    <a:pt x="252" y="155"/>
                  </a:lnTo>
                  <a:lnTo>
                    <a:pt x="252" y="155"/>
                  </a:lnTo>
                  <a:lnTo>
                    <a:pt x="257" y="155"/>
                  </a:lnTo>
                  <a:lnTo>
                    <a:pt x="257" y="155"/>
                  </a:lnTo>
                  <a:lnTo>
                    <a:pt x="257" y="155"/>
                  </a:lnTo>
                  <a:lnTo>
                    <a:pt x="257" y="155"/>
                  </a:lnTo>
                  <a:lnTo>
                    <a:pt x="257" y="155"/>
                  </a:lnTo>
                  <a:lnTo>
                    <a:pt x="257" y="155"/>
                  </a:lnTo>
                  <a:lnTo>
                    <a:pt x="257" y="155"/>
                  </a:lnTo>
                  <a:lnTo>
                    <a:pt x="261" y="151"/>
                  </a:lnTo>
                  <a:lnTo>
                    <a:pt x="261" y="155"/>
                  </a:lnTo>
                  <a:lnTo>
                    <a:pt x="265" y="155"/>
                  </a:lnTo>
                  <a:lnTo>
                    <a:pt x="265" y="155"/>
                  </a:lnTo>
                  <a:lnTo>
                    <a:pt x="265" y="160"/>
                  </a:lnTo>
                  <a:lnTo>
                    <a:pt x="270" y="160"/>
                  </a:lnTo>
                  <a:lnTo>
                    <a:pt x="270" y="160"/>
                  </a:lnTo>
                  <a:lnTo>
                    <a:pt x="274" y="164"/>
                  </a:lnTo>
                  <a:lnTo>
                    <a:pt x="274" y="164"/>
                  </a:lnTo>
                  <a:lnTo>
                    <a:pt x="274" y="169"/>
                  </a:lnTo>
                  <a:lnTo>
                    <a:pt x="274" y="169"/>
                  </a:lnTo>
                  <a:lnTo>
                    <a:pt x="279" y="169"/>
                  </a:lnTo>
                  <a:lnTo>
                    <a:pt x="274" y="164"/>
                  </a:lnTo>
                  <a:lnTo>
                    <a:pt x="274" y="164"/>
                  </a:lnTo>
                  <a:lnTo>
                    <a:pt x="279" y="164"/>
                  </a:lnTo>
                  <a:lnTo>
                    <a:pt x="279" y="164"/>
                  </a:lnTo>
                  <a:lnTo>
                    <a:pt x="279" y="164"/>
                  </a:lnTo>
                  <a:lnTo>
                    <a:pt x="274" y="164"/>
                  </a:lnTo>
                  <a:lnTo>
                    <a:pt x="274" y="164"/>
                  </a:lnTo>
                  <a:lnTo>
                    <a:pt x="274" y="164"/>
                  </a:lnTo>
                  <a:lnTo>
                    <a:pt x="279" y="164"/>
                  </a:lnTo>
                  <a:lnTo>
                    <a:pt x="279" y="164"/>
                  </a:lnTo>
                  <a:lnTo>
                    <a:pt x="279" y="164"/>
                  </a:lnTo>
                  <a:lnTo>
                    <a:pt x="279" y="164"/>
                  </a:lnTo>
                  <a:lnTo>
                    <a:pt x="279" y="164"/>
                  </a:lnTo>
                  <a:lnTo>
                    <a:pt x="279" y="164"/>
                  </a:lnTo>
                  <a:lnTo>
                    <a:pt x="279" y="164"/>
                  </a:lnTo>
                  <a:lnTo>
                    <a:pt x="283" y="164"/>
                  </a:lnTo>
                  <a:lnTo>
                    <a:pt x="288" y="164"/>
                  </a:lnTo>
                  <a:lnTo>
                    <a:pt x="288" y="164"/>
                  </a:lnTo>
                  <a:lnTo>
                    <a:pt x="288" y="164"/>
                  </a:lnTo>
                  <a:lnTo>
                    <a:pt x="288" y="164"/>
                  </a:lnTo>
                  <a:lnTo>
                    <a:pt x="292" y="164"/>
                  </a:lnTo>
                  <a:lnTo>
                    <a:pt x="292" y="164"/>
                  </a:lnTo>
                  <a:lnTo>
                    <a:pt x="288" y="164"/>
                  </a:lnTo>
                  <a:lnTo>
                    <a:pt x="288" y="164"/>
                  </a:lnTo>
                  <a:lnTo>
                    <a:pt x="288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6" y="160"/>
                  </a:lnTo>
                  <a:lnTo>
                    <a:pt x="296" y="160"/>
                  </a:lnTo>
                  <a:lnTo>
                    <a:pt x="296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55"/>
                  </a:lnTo>
                  <a:lnTo>
                    <a:pt x="301" y="155"/>
                  </a:lnTo>
                  <a:lnTo>
                    <a:pt x="301" y="155"/>
                  </a:lnTo>
                  <a:lnTo>
                    <a:pt x="301" y="155"/>
                  </a:lnTo>
                  <a:lnTo>
                    <a:pt x="301" y="155"/>
                  </a:lnTo>
                  <a:lnTo>
                    <a:pt x="296" y="155"/>
                  </a:lnTo>
                  <a:lnTo>
                    <a:pt x="296" y="155"/>
                  </a:lnTo>
                  <a:lnTo>
                    <a:pt x="296" y="155"/>
                  </a:lnTo>
                  <a:lnTo>
                    <a:pt x="296" y="151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2" y="146"/>
                  </a:lnTo>
                  <a:lnTo>
                    <a:pt x="292" y="146"/>
                  </a:lnTo>
                  <a:lnTo>
                    <a:pt x="292" y="146"/>
                  </a:lnTo>
                  <a:lnTo>
                    <a:pt x="292" y="146"/>
                  </a:lnTo>
                  <a:lnTo>
                    <a:pt x="292" y="146"/>
                  </a:lnTo>
                  <a:lnTo>
                    <a:pt x="292" y="146"/>
                  </a:lnTo>
                  <a:lnTo>
                    <a:pt x="292" y="146"/>
                  </a:lnTo>
                  <a:lnTo>
                    <a:pt x="292" y="146"/>
                  </a:lnTo>
                  <a:lnTo>
                    <a:pt x="292" y="146"/>
                  </a:lnTo>
                  <a:lnTo>
                    <a:pt x="288" y="142"/>
                  </a:lnTo>
                  <a:lnTo>
                    <a:pt x="288" y="142"/>
                  </a:lnTo>
                  <a:lnTo>
                    <a:pt x="288" y="142"/>
                  </a:lnTo>
                  <a:lnTo>
                    <a:pt x="288" y="142"/>
                  </a:lnTo>
                  <a:lnTo>
                    <a:pt x="288" y="142"/>
                  </a:lnTo>
                  <a:lnTo>
                    <a:pt x="288" y="142"/>
                  </a:lnTo>
                  <a:lnTo>
                    <a:pt x="288" y="138"/>
                  </a:lnTo>
                  <a:lnTo>
                    <a:pt x="288" y="138"/>
                  </a:lnTo>
                  <a:lnTo>
                    <a:pt x="288" y="138"/>
                  </a:lnTo>
                  <a:lnTo>
                    <a:pt x="288" y="138"/>
                  </a:lnTo>
                  <a:lnTo>
                    <a:pt x="288" y="138"/>
                  </a:lnTo>
                  <a:lnTo>
                    <a:pt x="288" y="138"/>
                  </a:lnTo>
                  <a:lnTo>
                    <a:pt x="288" y="138"/>
                  </a:lnTo>
                  <a:lnTo>
                    <a:pt x="288" y="138"/>
                  </a:lnTo>
                  <a:lnTo>
                    <a:pt x="288" y="138"/>
                  </a:lnTo>
                  <a:lnTo>
                    <a:pt x="288" y="138"/>
                  </a:lnTo>
                  <a:lnTo>
                    <a:pt x="288" y="138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29"/>
                  </a:lnTo>
                  <a:lnTo>
                    <a:pt x="283" y="129"/>
                  </a:lnTo>
                  <a:lnTo>
                    <a:pt x="283" y="129"/>
                  </a:lnTo>
                  <a:lnTo>
                    <a:pt x="283" y="129"/>
                  </a:lnTo>
                  <a:lnTo>
                    <a:pt x="283" y="129"/>
                  </a:lnTo>
                  <a:lnTo>
                    <a:pt x="283" y="129"/>
                  </a:lnTo>
                  <a:lnTo>
                    <a:pt x="283" y="129"/>
                  </a:lnTo>
                  <a:lnTo>
                    <a:pt x="283" y="129"/>
                  </a:lnTo>
                  <a:lnTo>
                    <a:pt x="279" y="129"/>
                  </a:lnTo>
                  <a:lnTo>
                    <a:pt x="279" y="129"/>
                  </a:lnTo>
                  <a:lnTo>
                    <a:pt x="283" y="129"/>
                  </a:lnTo>
                  <a:lnTo>
                    <a:pt x="283" y="129"/>
                  </a:lnTo>
                  <a:lnTo>
                    <a:pt x="283" y="129"/>
                  </a:lnTo>
                  <a:lnTo>
                    <a:pt x="279" y="129"/>
                  </a:lnTo>
                  <a:lnTo>
                    <a:pt x="279" y="129"/>
                  </a:lnTo>
                  <a:lnTo>
                    <a:pt x="279" y="129"/>
                  </a:lnTo>
                  <a:lnTo>
                    <a:pt x="279" y="129"/>
                  </a:lnTo>
                  <a:lnTo>
                    <a:pt x="279" y="129"/>
                  </a:lnTo>
                  <a:lnTo>
                    <a:pt x="279" y="129"/>
                  </a:lnTo>
                  <a:lnTo>
                    <a:pt x="279" y="129"/>
                  </a:lnTo>
                  <a:lnTo>
                    <a:pt x="279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0" y="129"/>
                  </a:lnTo>
                  <a:lnTo>
                    <a:pt x="270" y="129"/>
                  </a:lnTo>
                  <a:lnTo>
                    <a:pt x="270" y="129"/>
                  </a:lnTo>
                  <a:lnTo>
                    <a:pt x="270" y="129"/>
                  </a:lnTo>
                  <a:lnTo>
                    <a:pt x="270" y="129"/>
                  </a:lnTo>
                  <a:lnTo>
                    <a:pt x="270" y="129"/>
                  </a:lnTo>
                  <a:lnTo>
                    <a:pt x="270" y="129"/>
                  </a:lnTo>
                  <a:lnTo>
                    <a:pt x="270" y="129"/>
                  </a:lnTo>
                  <a:lnTo>
                    <a:pt x="270" y="129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0"/>
                  </a:lnTo>
                  <a:lnTo>
                    <a:pt x="274" y="120"/>
                  </a:lnTo>
                  <a:lnTo>
                    <a:pt x="279" y="120"/>
                  </a:lnTo>
                  <a:lnTo>
                    <a:pt x="283" y="120"/>
                  </a:lnTo>
                  <a:lnTo>
                    <a:pt x="283" y="120"/>
                  </a:lnTo>
                  <a:lnTo>
                    <a:pt x="279" y="115"/>
                  </a:lnTo>
                  <a:lnTo>
                    <a:pt x="279" y="115"/>
                  </a:lnTo>
                  <a:lnTo>
                    <a:pt x="283" y="115"/>
                  </a:lnTo>
                  <a:lnTo>
                    <a:pt x="283" y="115"/>
                  </a:lnTo>
                  <a:lnTo>
                    <a:pt x="283" y="111"/>
                  </a:lnTo>
                  <a:lnTo>
                    <a:pt x="288" y="111"/>
                  </a:lnTo>
                  <a:lnTo>
                    <a:pt x="288" y="111"/>
                  </a:lnTo>
                  <a:lnTo>
                    <a:pt x="283" y="111"/>
                  </a:lnTo>
                  <a:lnTo>
                    <a:pt x="283" y="111"/>
                  </a:lnTo>
                  <a:lnTo>
                    <a:pt x="283" y="111"/>
                  </a:lnTo>
                  <a:lnTo>
                    <a:pt x="288" y="111"/>
                  </a:lnTo>
                  <a:lnTo>
                    <a:pt x="288" y="111"/>
                  </a:lnTo>
                  <a:lnTo>
                    <a:pt x="288" y="111"/>
                  </a:lnTo>
                  <a:lnTo>
                    <a:pt x="288" y="111"/>
                  </a:lnTo>
                  <a:lnTo>
                    <a:pt x="292" y="111"/>
                  </a:lnTo>
                  <a:lnTo>
                    <a:pt x="296" y="111"/>
                  </a:lnTo>
                  <a:lnTo>
                    <a:pt x="296" y="111"/>
                  </a:lnTo>
                  <a:lnTo>
                    <a:pt x="296" y="107"/>
                  </a:lnTo>
                  <a:lnTo>
                    <a:pt x="296" y="102"/>
                  </a:lnTo>
                  <a:lnTo>
                    <a:pt x="292" y="102"/>
                  </a:lnTo>
                  <a:lnTo>
                    <a:pt x="292" y="102"/>
                  </a:lnTo>
                  <a:lnTo>
                    <a:pt x="292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3"/>
                  </a:lnTo>
                  <a:lnTo>
                    <a:pt x="296" y="93"/>
                  </a:lnTo>
                  <a:lnTo>
                    <a:pt x="292" y="89"/>
                  </a:lnTo>
                  <a:lnTo>
                    <a:pt x="292" y="84"/>
                  </a:lnTo>
                  <a:lnTo>
                    <a:pt x="292" y="84"/>
                  </a:lnTo>
                  <a:lnTo>
                    <a:pt x="296" y="84"/>
                  </a:lnTo>
                  <a:lnTo>
                    <a:pt x="296" y="84"/>
                  </a:lnTo>
                  <a:lnTo>
                    <a:pt x="296" y="84"/>
                  </a:lnTo>
                  <a:lnTo>
                    <a:pt x="296" y="80"/>
                  </a:lnTo>
                  <a:lnTo>
                    <a:pt x="296" y="76"/>
                  </a:lnTo>
                  <a:lnTo>
                    <a:pt x="296" y="76"/>
                  </a:lnTo>
                  <a:lnTo>
                    <a:pt x="296" y="76"/>
                  </a:lnTo>
                  <a:lnTo>
                    <a:pt x="296" y="76"/>
                  </a:lnTo>
                  <a:lnTo>
                    <a:pt x="296" y="76"/>
                  </a:lnTo>
                  <a:lnTo>
                    <a:pt x="296" y="76"/>
                  </a:lnTo>
                  <a:lnTo>
                    <a:pt x="296" y="76"/>
                  </a:lnTo>
                  <a:lnTo>
                    <a:pt x="296" y="76"/>
                  </a:lnTo>
                  <a:lnTo>
                    <a:pt x="301" y="71"/>
                  </a:lnTo>
                  <a:lnTo>
                    <a:pt x="301" y="71"/>
                  </a:lnTo>
                  <a:lnTo>
                    <a:pt x="301" y="71"/>
                  </a:lnTo>
                  <a:lnTo>
                    <a:pt x="305" y="62"/>
                  </a:lnTo>
                  <a:lnTo>
                    <a:pt x="305" y="62"/>
                  </a:lnTo>
                  <a:lnTo>
                    <a:pt x="305" y="62"/>
                  </a:lnTo>
                  <a:lnTo>
                    <a:pt x="310" y="58"/>
                  </a:lnTo>
                  <a:lnTo>
                    <a:pt x="310" y="58"/>
                  </a:lnTo>
                  <a:lnTo>
                    <a:pt x="314" y="58"/>
                  </a:lnTo>
                  <a:lnTo>
                    <a:pt x="314" y="58"/>
                  </a:lnTo>
                  <a:lnTo>
                    <a:pt x="314" y="58"/>
                  </a:lnTo>
                  <a:lnTo>
                    <a:pt x="318" y="58"/>
                  </a:lnTo>
                  <a:lnTo>
                    <a:pt x="318" y="58"/>
                  </a:lnTo>
                  <a:lnTo>
                    <a:pt x="318" y="58"/>
                  </a:lnTo>
                  <a:lnTo>
                    <a:pt x="323" y="58"/>
                  </a:lnTo>
                  <a:lnTo>
                    <a:pt x="323" y="58"/>
                  </a:lnTo>
                  <a:lnTo>
                    <a:pt x="323" y="62"/>
                  </a:lnTo>
                  <a:lnTo>
                    <a:pt x="323" y="62"/>
                  </a:lnTo>
                  <a:lnTo>
                    <a:pt x="323" y="62"/>
                  </a:lnTo>
                  <a:lnTo>
                    <a:pt x="323" y="58"/>
                  </a:lnTo>
                  <a:lnTo>
                    <a:pt x="327" y="58"/>
                  </a:lnTo>
                  <a:lnTo>
                    <a:pt x="327" y="58"/>
                  </a:lnTo>
                  <a:lnTo>
                    <a:pt x="327" y="58"/>
                  </a:lnTo>
                  <a:lnTo>
                    <a:pt x="327" y="58"/>
                  </a:lnTo>
                  <a:lnTo>
                    <a:pt x="332" y="53"/>
                  </a:lnTo>
                  <a:lnTo>
                    <a:pt x="332" y="53"/>
                  </a:lnTo>
                  <a:lnTo>
                    <a:pt x="332" y="49"/>
                  </a:lnTo>
                  <a:lnTo>
                    <a:pt x="332" y="49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41" name="Freeform 73"/>
            <p:cNvSpPr>
              <a:spLocks/>
            </p:cNvSpPr>
            <p:nvPr/>
          </p:nvSpPr>
          <p:spPr bwMode="auto">
            <a:xfrm>
              <a:off x="3802063" y="5210176"/>
              <a:ext cx="330200" cy="315913"/>
            </a:xfrm>
            <a:custGeom>
              <a:avLst/>
              <a:gdLst>
                <a:gd name="T0" fmla="*/ 204 w 208"/>
                <a:gd name="T1" fmla="*/ 88 h 199"/>
                <a:gd name="T2" fmla="*/ 195 w 208"/>
                <a:gd name="T3" fmla="*/ 84 h 199"/>
                <a:gd name="T4" fmla="*/ 186 w 208"/>
                <a:gd name="T5" fmla="*/ 75 h 199"/>
                <a:gd name="T6" fmla="*/ 182 w 208"/>
                <a:gd name="T7" fmla="*/ 62 h 199"/>
                <a:gd name="T8" fmla="*/ 186 w 208"/>
                <a:gd name="T9" fmla="*/ 53 h 199"/>
                <a:gd name="T10" fmla="*/ 195 w 208"/>
                <a:gd name="T11" fmla="*/ 39 h 199"/>
                <a:gd name="T12" fmla="*/ 195 w 208"/>
                <a:gd name="T13" fmla="*/ 31 h 199"/>
                <a:gd name="T14" fmla="*/ 186 w 208"/>
                <a:gd name="T15" fmla="*/ 26 h 199"/>
                <a:gd name="T16" fmla="*/ 177 w 208"/>
                <a:gd name="T17" fmla="*/ 31 h 199"/>
                <a:gd name="T18" fmla="*/ 164 w 208"/>
                <a:gd name="T19" fmla="*/ 26 h 199"/>
                <a:gd name="T20" fmla="*/ 164 w 208"/>
                <a:gd name="T21" fmla="*/ 22 h 199"/>
                <a:gd name="T22" fmla="*/ 159 w 208"/>
                <a:gd name="T23" fmla="*/ 17 h 199"/>
                <a:gd name="T24" fmla="*/ 155 w 208"/>
                <a:gd name="T25" fmla="*/ 13 h 199"/>
                <a:gd name="T26" fmla="*/ 151 w 208"/>
                <a:gd name="T27" fmla="*/ 17 h 199"/>
                <a:gd name="T28" fmla="*/ 142 w 208"/>
                <a:gd name="T29" fmla="*/ 13 h 199"/>
                <a:gd name="T30" fmla="*/ 133 w 208"/>
                <a:gd name="T31" fmla="*/ 13 h 199"/>
                <a:gd name="T32" fmla="*/ 124 w 208"/>
                <a:gd name="T33" fmla="*/ 13 h 199"/>
                <a:gd name="T34" fmla="*/ 106 w 208"/>
                <a:gd name="T35" fmla="*/ 8 h 199"/>
                <a:gd name="T36" fmla="*/ 98 w 208"/>
                <a:gd name="T37" fmla="*/ 13 h 199"/>
                <a:gd name="T38" fmla="*/ 93 w 208"/>
                <a:gd name="T39" fmla="*/ 8 h 199"/>
                <a:gd name="T40" fmla="*/ 84 w 208"/>
                <a:gd name="T41" fmla="*/ 8 h 199"/>
                <a:gd name="T42" fmla="*/ 71 w 208"/>
                <a:gd name="T43" fmla="*/ 4 h 199"/>
                <a:gd name="T44" fmla="*/ 67 w 208"/>
                <a:gd name="T45" fmla="*/ 4 h 199"/>
                <a:gd name="T46" fmla="*/ 62 w 208"/>
                <a:gd name="T47" fmla="*/ 4 h 199"/>
                <a:gd name="T48" fmla="*/ 58 w 208"/>
                <a:gd name="T49" fmla="*/ 8 h 199"/>
                <a:gd name="T50" fmla="*/ 36 w 208"/>
                <a:gd name="T51" fmla="*/ 13 h 199"/>
                <a:gd name="T52" fmla="*/ 31 w 208"/>
                <a:gd name="T53" fmla="*/ 22 h 199"/>
                <a:gd name="T54" fmla="*/ 18 w 208"/>
                <a:gd name="T55" fmla="*/ 8 h 199"/>
                <a:gd name="T56" fmla="*/ 5 w 208"/>
                <a:gd name="T57" fmla="*/ 8 h 199"/>
                <a:gd name="T58" fmla="*/ 5 w 208"/>
                <a:gd name="T59" fmla="*/ 26 h 199"/>
                <a:gd name="T60" fmla="*/ 5 w 208"/>
                <a:gd name="T61" fmla="*/ 39 h 199"/>
                <a:gd name="T62" fmla="*/ 9 w 208"/>
                <a:gd name="T63" fmla="*/ 44 h 199"/>
                <a:gd name="T64" fmla="*/ 13 w 208"/>
                <a:gd name="T65" fmla="*/ 44 h 199"/>
                <a:gd name="T66" fmla="*/ 18 w 208"/>
                <a:gd name="T67" fmla="*/ 48 h 199"/>
                <a:gd name="T68" fmla="*/ 22 w 208"/>
                <a:gd name="T69" fmla="*/ 57 h 199"/>
                <a:gd name="T70" fmla="*/ 27 w 208"/>
                <a:gd name="T71" fmla="*/ 66 h 199"/>
                <a:gd name="T72" fmla="*/ 27 w 208"/>
                <a:gd name="T73" fmla="*/ 70 h 199"/>
                <a:gd name="T74" fmla="*/ 36 w 208"/>
                <a:gd name="T75" fmla="*/ 88 h 199"/>
                <a:gd name="T76" fmla="*/ 44 w 208"/>
                <a:gd name="T77" fmla="*/ 97 h 199"/>
                <a:gd name="T78" fmla="*/ 53 w 208"/>
                <a:gd name="T79" fmla="*/ 110 h 199"/>
                <a:gd name="T80" fmla="*/ 84 w 208"/>
                <a:gd name="T81" fmla="*/ 137 h 199"/>
                <a:gd name="T82" fmla="*/ 93 w 208"/>
                <a:gd name="T83" fmla="*/ 155 h 199"/>
                <a:gd name="T84" fmla="*/ 102 w 208"/>
                <a:gd name="T85" fmla="*/ 172 h 199"/>
                <a:gd name="T86" fmla="*/ 106 w 208"/>
                <a:gd name="T87" fmla="*/ 172 h 199"/>
                <a:gd name="T88" fmla="*/ 115 w 208"/>
                <a:gd name="T89" fmla="*/ 177 h 199"/>
                <a:gd name="T90" fmla="*/ 133 w 208"/>
                <a:gd name="T91" fmla="*/ 194 h 199"/>
                <a:gd name="T92" fmla="*/ 146 w 208"/>
                <a:gd name="T93" fmla="*/ 199 h 199"/>
                <a:gd name="T94" fmla="*/ 151 w 208"/>
                <a:gd name="T95" fmla="*/ 194 h 199"/>
                <a:gd name="T96" fmla="*/ 146 w 208"/>
                <a:gd name="T97" fmla="*/ 181 h 199"/>
                <a:gd name="T98" fmla="*/ 146 w 208"/>
                <a:gd name="T99" fmla="*/ 168 h 199"/>
                <a:gd name="T100" fmla="*/ 159 w 208"/>
                <a:gd name="T101" fmla="*/ 150 h 199"/>
                <a:gd name="T102" fmla="*/ 173 w 208"/>
                <a:gd name="T103" fmla="*/ 146 h 199"/>
                <a:gd name="T104" fmla="*/ 177 w 208"/>
                <a:gd name="T105" fmla="*/ 146 h 199"/>
                <a:gd name="T106" fmla="*/ 173 w 208"/>
                <a:gd name="T107" fmla="*/ 137 h 199"/>
                <a:gd name="T108" fmla="*/ 173 w 208"/>
                <a:gd name="T109" fmla="*/ 132 h 199"/>
                <a:gd name="T110" fmla="*/ 182 w 208"/>
                <a:gd name="T111" fmla="*/ 132 h 199"/>
                <a:gd name="T112" fmla="*/ 190 w 208"/>
                <a:gd name="T113" fmla="*/ 124 h 199"/>
                <a:gd name="T114" fmla="*/ 199 w 208"/>
                <a:gd name="T115" fmla="*/ 128 h 199"/>
                <a:gd name="T116" fmla="*/ 199 w 208"/>
                <a:gd name="T117" fmla="*/ 124 h 199"/>
                <a:gd name="T118" fmla="*/ 186 w 208"/>
                <a:gd name="T119" fmla="*/ 97 h 199"/>
                <a:gd name="T120" fmla="*/ 190 w 208"/>
                <a:gd name="T121" fmla="*/ 97 h 199"/>
                <a:gd name="T122" fmla="*/ 208 w 208"/>
                <a:gd name="T123" fmla="*/ 93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8" h="199">
                  <a:moveTo>
                    <a:pt x="208" y="93"/>
                  </a:moveTo>
                  <a:lnTo>
                    <a:pt x="208" y="93"/>
                  </a:lnTo>
                  <a:lnTo>
                    <a:pt x="208" y="93"/>
                  </a:lnTo>
                  <a:lnTo>
                    <a:pt x="208" y="93"/>
                  </a:lnTo>
                  <a:lnTo>
                    <a:pt x="208" y="93"/>
                  </a:lnTo>
                  <a:lnTo>
                    <a:pt x="204" y="93"/>
                  </a:lnTo>
                  <a:lnTo>
                    <a:pt x="204" y="88"/>
                  </a:lnTo>
                  <a:lnTo>
                    <a:pt x="204" y="88"/>
                  </a:lnTo>
                  <a:lnTo>
                    <a:pt x="204" y="88"/>
                  </a:lnTo>
                  <a:lnTo>
                    <a:pt x="204" y="88"/>
                  </a:lnTo>
                  <a:lnTo>
                    <a:pt x="199" y="88"/>
                  </a:lnTo>
                  <a:lnTo>
                    <a:pt x="199" y="84"/>
                  </a:lnTo>
                  <a:lnTo>
                    <a:pt x="199" y="84"/>
                  </a:lnTo>
                  <a:lnTo>
                    <a:pt x="199" y="84"/>
                  </a:lnTo>
                  <a:lnTo>
                    <a:pt x="199" y="84"/>
                  </a:lnTo>
                  <a:lnTo>
                    <a:pt x="199" y="84"/>
                  </a:lnTo>
                  <a:lnTo>
                    <a:pt x="199" y="84"/>
                  </a:lnTo>
                  <a:lnTo>
                    <a:pt x="199" y="84"/>
                  </a:lnTo>
                  <a:lnTo>
                    <a:pt x="199" y="84"/>
                  </a:lnTo>
                  <a:lnTo>
                    <a:pt x="195" y="84"/>
                  </a:lnTo>
                  <a:lnTo>
                    <a:pt x="195" y="79"/>
                  </a:lnTo>
                  <a:lnTo>
                    <a:pt x="195" y="79"/>
                  </a:lnTo>
                  <a:lnTo>
                    <a:pt x="195" y="79"/>
                  </a:lnTo>
                  <a:lnTo>
                    <a:pt x="195" y="79"/>
                  </a:lnTo>
                  <a:lnTo>
                    <a:pt x="190" y="75"/>
                  </a:lnTo>
                  <a:lnTo>
                    <a:pt x="190" y="75"/>
                  </a:lnTo>
                  <a:lnTo>
                    <a:pt x="190" y="75"/>
                  </a:lnTo>
                  <a:lnTo>
                    <a:pt x="190" y="75"/>
                  </a:lnTo>
                  <a:lnTo>
                    <a:pt x="190" y="75"/>
                  </a:lnTo>
                  <a:lnTo>
                    <a:pt x="186" y="75"/>
                  </a:lnTo>
                  <a:lnTo>
                    <a:pt x="186" y="75"/>
                  </a:lnTo>
                  <a:lnTo>
                    <a:pt x="186" y="75"/>
                  </a:lnTo>
                  <a:lnTo>
                    <a:pt x="182" y="75"/>
                  </a:lnTo>
                  <a:lnTo>
                    <a:pt x="182" y="70"/>
                  </a:lnTo>
                  <a:lnTo>
                    <a:pt x="182" y="70"/>
                  </a:lnTo>
                  <a:lnTo>
                    <a:pt x="182" y="70"/>
                  </a:lnTo>
                  <a:lnTo>
                    <a:pt x="182" y="66"/>
                  </a:lnTo>
                  <a:lnTo>
                    <a:pt x="182" y="66"/>
                  </a:lnTo>
                  <a:lnTo>
                    <a:pt x="182" y="66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182" y="57"/>
                  </a:lnTo>
                  <a:lnTo>
                    <a:pt x="182" y="57"/>
                  </a:lnTo>
                  <a:lnTo>
                    <a:pt x="186" y="57"/>
                  </a:lnTo>
                  <a:lnTo>
                    <a:pt x="186" y="57"/>
                  </a:lnTo>
                  <a:lnTo>
                    <a:pt x="186" y="57"/>
                  </a:lnTo>
                  <a:lnTo>
                    <a:pt x="186" y="57"/>
                  </a:lnTo>
                  <a:lnTo>
                    <a:pt x="186" y="53"/>
                  </a:lnTo>
                  <a:lnTo>
                    <a:pt x="186" y="53"/>
                  </a:lnTo>
                  <a:lnTo>
                    <a:pt x="186" y="53"/>
                  </a:lnTo>
                  <a:lnTo>
                    <a:pt x="186" y="53"/>
                  </a:lnTo>
                  <a:lnTo>
                    <a:pt x="186" y="53"/>
                  </a:lnTo>
                  <a:lnTo>
                    <a:pt x="186" y="53"/>
                  </a:lnTo>
                  <a:lnTo>
                    <a:pt x="190" y="48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5" y="39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0" y="26"/>
                  </a:lnTo>
                  <a:lnTo>
                    <a:pt x="190" y="26"/>
                  </a:lnTo>
                  <a:lnTo>
                    <a:pt x="190" y="26"/>
                  </a:lnTo>
                  <a:lnTo>
                    <a:pt x="190" y="26"/>
                  </a:lnTo>
                  <a:lnTo>
                    <a:pt x="186" y="26"/>
                  </a:lnTo>
                  <a:lnTo>
                    <a:pt x="186" y="26"/>
                  </a:lnTo>
                  <a:lnTo>
                    <a:pt x="186" y="26"/>
                  </a:lnTo>
                  <a:lnTo>
                    <a:pt x="186" y="26"/>
                  </a:lnTo>
                  <a:lnTo>
                    <a:pt x="186" y="26"/>
                  </a:lnTo>
                  <a:lnTo>
                    <a:pt x="186" y="26"/>
                  </a:lnTo>
                  <a:lnTo>
                    <a:pt x="186" y="26"/>
                  </a:lnTo>
                  <a:lnTo>
                    <a:pt x="186" y="26"/>
                  </a:lnTo>
                  <a:lnTo>
                    <a:pt x="182" y="31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4" y="31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59" y="17"/>
                  </a:lnTo>
                  <a:lnTo>
                    <a:pt x="159" y="17"/>
                  </a:lnTo>
                  <a:lnTo>
                    <a:pt x="159" y="13"/>
                  </a:lnTo>
                  <a:lnTo>
                    <a:pt x="159" y="13"/>
                  </a:lnTo>
                  <a:lnTo>
                    <a:pt x="159" y="17"/>
                  </a:lnTo>
                  <a:lnTo>
                    <a:pt x="159" y="17"/>
                  </a:lnTo>
                  <a:lnTo>
                    <a:pt x="159" y="17"/>
                  </a:lnTo>
                  <a:lnTo>
                    <a:pt x="159" y="17"/>
                  </a:lnTo>
                  <a:lnTo>
                    <a:pt x="155" y="17"/>
                  </a:lnTo>
                  <a:lnTo>
                    <a:pt x="155" y="17"/>
                  </a:lnTo>
                  <a:lnTo>
                    <a:pt x="155" y="17"/>
                  </a:lnTo>
                  <a:lnTo>
                    <a:pt x="155" y="17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51" y="17"/>
                  </a:lnTo>
                  <a:lnTo>
                    <a:pt x="151" y="17"/>
                  </a:lnTo>
                  <a:lnTo>
                    <a:pt x="151" y="17"/>
                  </a:lnTo>
                  <a:lnTo>
                    <a:pt x="151" y="17"/>
                  </a:lnTo>
                  <a:lnTo>
                    <a:pt x="151" y="17"/>
                  </a:lnTo>
                  <a:lnTo>
                    <a:pt x="146" y="17"/>
                  </a:lnTo>
                  <a:lnTo>
                    <a:pt x="146" y="17"/>
                  </a:lnTo>
                  <a:lnTo>
                    <a:pt x="146" y="17"/>
                  </a:lnTo>
                  <a:lnTo>
                    <a:pt x="146" y="17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37" y="13"/>
                  </a:lnTo>
                  <a:lnTo>
                    <a:pt x="137" y="8"/>
                  </a:lnTo>
                  <a:lnTo>
                    <a:pt x="137" y="8"/>
                  </a:lnTo>
                  <a:lnTo>
                    <a:pt x="133" y="8"/>
                  </a:lnTo>
                  <a:lnTo>
                    <a:pt x="133" y="13"/>
                  </a:lnTo>
                  <a:lnTo>
                    <a:pt x="133" y="13"/>
                  </a:lnTo>
                  <a:lnTo>
                    <a:pt x="133" y="13"/>
                  </a:lnTo>
                  <a:lnTo>
                    <a:pt x="133" y="13"/>
                  </a:lnTo>
                  <a:lnTo>
                    <a:pt x="133" y="13"/>
                  </a:lnTo>
                  <a:lnTo>
                    <a:pt x="133" y="13"/>
                  </a:lnTo>
                  <a:lnTo>
                    <a:pt x="128" y="13"/>
                  </a:lnTo>
                  <a:lnTo>
                    <a:pt x="128" y="13"/>
                  </a:lnTo>
                  <a:lnTo>
                    <a:pt x="128" y="13"/>
                  </a:lnTo>
                  <a:lnTo>
                    <a:pt x="128" y="13"/>
                  </a:lnTo>
                  <a:lnTo>
                    <a:pt x="128" y="13"/>
                  </a:lnTo>
                  <a:lnTo>
                    <a:pt x="124" y="13"/>
                  </a:lnTo>
                  <a:lnTo>
                    <a:pt x="124" y="8"/>
                  </a:lnTo>
                  <a:lnTo>
                    <a:pt x="124" y="8"/>
                  </a:lnTo>
                  <a:lnTo>
                    <a:pt x="124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15" y="17"/>
                  </a:lnTo>
                  <a:lnTo>
                    <a:pt x="115" y="17"/>
                  </a:lnTo>
                  <a:lnTo>
                    <a:pt x="115" y="17"/>
                  </a:lnTo>
                  <a:lnTo>
                    <a:pt x="111" y="17"/>
                  </a:lnTo>
                  <a:lnTo>
                    <a:pt x="111" y="17"/>
                  </a:lnTo>
                  <a:lnTo>
                    <a:pt x="111" y="13"/>
                  </a:lnTo>
                  <a:lnTo>
                    <a:pt x="106" y="8"/>
                  </a:lnTo>
                  <a:lnTo>
                    <a:pt x="106" y="8"/>
                  </a:lnTo>
                  <a:lnTo>
                    <a:pt x="106" y="8"/>
                  </a:lnTo>
                  <a:lnTo>
                    <a:pt x="102" y="8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13"/>
                  </a:lnTo>
                  <a:lnTo>
                    <a:pt x="89" y="13"/>
                  </a:lnTo>
                  <a:lnTo>
                    <a:pt x="89" y="13"/>
                  </a:lnTo>
                  <a:lnTo>
                    <a:pt x="89" y="8"/>
                  </a:lnTo>
                  <a:lnTo>
                    <a:pt x="89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1" y="8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58" y="8"/>
                  </a:lnTo>
                  <a:lnTo>
                    <a:pt x="49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27" y="17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0" y="35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3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2" y="62"/>
                  </a:lnTo>
                  <a:lnTo>
                    <a:pt x="27" y="62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9"/>
                  </a:lnTo>
                  <a:lnTo>
                    <a:pt x="31" y="79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4" y="101"/>
                  </a:lnTo>
                  <a:lnTo>
                    <a:pt x="49" y="101"/>
                  </a:lnTo>
                  <a:lnTo>
                    <a:pt x="49" y="106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10"/>
                  </a:lnTo>
                  <a:lnTo>
                    <a:pt x="53" y="110"/>
                  </a:lnTo>
                  <a:lnTo>
                    <a:pt x="53" y="110"/>
                  </a:lnTo>
                  <a:lnTo>
                    <a:pt x="62" y="115"/>
                  </a:lnTo>
                  <a:lnTo>
                    <a:pt x="71" y="124"/>
                  </a:lnTo>
                  <a:lnTo>
                    <a:pt x="71" y="128"/>
                  </a:lnTo>
                  <a:lnTo>
                    <a:pt x="75" y="128"/>
                  </a:lnTo>
                  <a:lnTo>
                    <a:pt x="75" y="132"/>
                  </a:lnTo>
                  <a:lnTo>
                    <a:pt x="75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7"/>
                  </a:lnTo>
                  <a:lnTo>
                    <a:pt x="84" y="141"/>
                  </a:lnTo>
                  <a:lnTo>
                    <a:pt x="84" y="146"/>
                  </a:lnTo>
                  <a:lnTo>
                    <a:pt x="89" y="150"/>
                  </a:lnTo>
                  <a:lnTo>
                    <a:pt x="89" y="150"/>
                  </a:lnTo>
                  <a:lnTo>
                    <a:pt x="89" y="150"/>
                  </a:lnTo>
                  <a:lnTo>
                    <a:pt x="93" y="150"/>
                  </a:lnTo>
                  <a:lnTo>
                    <a:pt x="93" y="155"/>
                  </a:lnTo>
                  <a:lnTo>
                    <a:pt x="93" y="155"/>
                  </a:lnTo>
                  <a:lnTo>
                    <a:pt x="93" y="155"/>
                  </a:lnTo>
                  <a:lnTo>
                    <a:pt x="93" y="155"/>
                  </a:lnTo>
                  <a:lnTo>
                    <a:pt x="93" y="159"/>
                  </a:lnTo>
                  <a:lnTo>
                    <a:pt x="102" y="163"/>
                  </a:lnTo>
                  <a:lnTo>
                    <a:pt x="102" y="163"/>
                  </a:lnTo>
                  <a:lnTo>
                    <a:pt x="102" y="163"/>
                  </a:lnTo>
                  <a:lnTo>
                    <a:pt x="106" y="168"/>
                  </a:lnTo>
                  <a:lnTo>
                    <a:pt x="106" y="168"/>
                  </a:lnTo>
                  <a:lnTo>
                    <a:pt x="106" y="168"/>
                  </a:lnTo>
                  <a:lnTo>
                    <a:pt x="106" y="168"/>
                  </a:lnTo>
                  <a:lnTo>
                    <a:pt x="106" y="172"/>
                  </a:lnTo>
                  <a:lnTo>
                    <a:pt x="102" y="172"/>
                  </a:lnTo>
                  <a:lnTo>
                    <a:pt x="102" y="172"/>
                  </a:lnTo>
                  <a:lnTo>
                    <a:pt x="102" y="172"/>
                  </a:lnTo>
                  <a:lnTo>
                    <a:pt x="102" y="172"/>
                  </a:lnTo>
                  <a:lnTo>
                    <a:pt x="102" y="172"/>
                  </a:lnTo>
                  <a:lnTo>
                    <a:pt x="102" y="172"/>
                  </a:lnTo>
                  <a:lnTo>
                    <a:pt x="98" y="172"/>
                  </a:lnTo>
                  <a:lnTo>
                    <a:pt x="106" y="177"/>
                  </a:lnTo>
                  <a:lnTo>
                    <a:pt x="106" y="177"/>
                  </a:lnTo>
                  <a:lnTo>
                    <a:pt x="106" y="177"/>
                  </a:lnTo>
                  <a:lnTo>
                    <a:pt x="106" y="172"/>
                  </a:lnTo>
                  <a:lnTo>
                    <a:pt x="106" y="172"/>
                  </a:lnTo>
                  <a:lnTo>
                    <a:pt x="106" y="172"/>
                  </a:lnTo>
                  <a:lnTo>
                    <a:pt x="106" y="172"/>
                  </a:lnTo>
                  <a:lnTo>
                    <a:pt x="111" y="172"/>
                  </a:lnTo>
                  <a:lnTo>
                    <a:pt x="111" y="177"/>
                  </a:lnTo>
                  <a:lnTo>
                    <a:pt x="111" y="172"/>
                  </a:lnTo>
                  <a:lnTo>
                    <a:pt x="111" y="172"/>
                  </a:lnTo>
                  <a:lnTo>
                    <a:pt x="111" y="172"/>
                  </a:lnTo>
                  <a:lnTo>
                    <a:pt x="115" y="177"/>
                  </a:lnTo>
                  <a:lnTo>
                    <a:pt x="115" y="177"/>
                  </a:lnTo>
                  <a:lnTo>
                    <a:pt x="115" y="177"/>
                  </a:lnTo>
                  <a:lnTo>
                    <a:pt x="115" y="177"/>
                  </a:lnTo>
                  <a:lnTo>
                    <a:pt x="115" y="181"/>
                  </a:lnTo>
                  <a:lnTo>
                    <a:pt x="115" y="181"/>
                  </a:lnTo>
                  <a:lnTo>
                    <a:pt x="120" y="181"/>
                  </a:lnTo>
                  <a:lnTo>
                    <a:pt x="120" y="181"/>
                  </a:lnTo>
                  <a:lnTo>
                    <a:pt x="120" y="186"/>
                  </a:lnTo>
                  <a:lnTo>
                    <a:pt x="124" y="186"/>
                  </a:lnTo>
                  <a:lnTo>
                    <a:pt x="124" y="190"/>
                  </a:lnTo>
                  <a:lnTo>
                    <a:pt x="133" y="194"/>
                  </a:lnTo>
                  <a:lnTo>
                    <a:pt x="137" y="194"/>
                  </a:lnTo>
                  <a:lnTo>
                    <a:pt x="137" y="194"/>
                  </a:lnTo>
                  <a:lnTo>
                    <a:pt x="142" y="194"/>
                  </a:lnTo>
                  <a:lnTo>
                    <a:pt x="142" y="194"/>
                  </a:lnTo>
                  <a:lnTo>
                    <a:pt x="142" y="199"/>
                  </a:lnTo>
                  <a:lnTo>
                    <a:pt x="142" y="199"/>
                  </a:lnTo>
                  <a:lnTo>
                    <a:pt x="142" y="199"/>
                  </a:lnTo>
                  <a:lnTo>
                    <a:pt x="142" y="199"/>
                  </a:lnTo>
                  <a:lnTo>
                    <a:pt x="146" y="199"/>
                  </a:lnTo>
                  <a:lnTo>
                    <a:pt x="146" y="199"/>
                  </a:lnTo>
                  <a:lnTo>
                    <a:pt x="146" y="199"/>
                  </a:lnTo>
                  <a:lnTo>
                    <a:pt x="146" y="199"/>
                  </a:lnTo>
                  <a:lnTo>
                    <a:pt x="146" y="199"/>
                  </a:lnTo>
                  <a:lnTo>
                    <a:pt x="146" y="199"/>
                  </a:lnTo>
                  <a:lnTo>
                    <a:pt x="151" y="199"/>
                  </a:lnTo>
                  <a:lnTo>
                    <a:pt x="151" y="199"/>
                  </a:lnTo>
                  <a:lnTo>
                    <a:pt x="151" y="199"/>
                  </a:lnTo>
                  <a:lnTo>
                    <a:pt x="146" y="199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51" y="190"/>
                  </a:lnTo>
                  <a:lnTo>
                    <a:pt x="151" y="190"/>
                  </a:lnTo>
                  <a:lnTo>
                    <a:pt x="151" y="190"/>
                  </a:lnTo>
                  <a:lnTo>
                    <a:pt x="151" y="186"/>
                  </a:lnTo>
                  <a:lnTo>
                    <a:pt x="146" y="186"/>
                  </a:lnTo>
                  <a:lnTo>
                    <a:pt x="146" y="181"/>
                  </a:lnTo>
                  <a:lnTo>
                    <a:pt x="146" y="181"/>
                  </a:lnTo>
                  <a:lnTo>
                    <a:pt x="146" y="181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6" y="172"/>
                  </a:lnTo>
                  <a:lnTo>
                    <a:pt x="146" y="172"/>
                  </a:lnTo>
                  <a:lnTo>
                    <a:pt x="146" y="172"/>
                  </a:lnTo>
                  <a:lnTo>
                    <a:pt x="146" y="168"/>
                  </a:lnTo>
                  <a:lnTo>
                    <a:pt x="146" y="168"/>
                  </a:lnTo>
                  <a:lnTo>
                    <a:pt x="151" y="168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5" y="159"/>
                  </a:lnTo>
                  <a:lnTo>
                    <a:pt x="155" y="159"/>
                  </a:lnTo>
                  <a:lnTo>
                    <a:pt x="155" y="159"/>
                  </a:lnTo>
                  <a:lnTo>
                    <a:pt x="155" y="155"/>
                  </a:lnTo>
                  <a:lnTo>
                    <a:pt x="155" y="155"/>
                  </a:lnTo>
                  <a:lnTo>
                    <a:pt x="159" y="150"/>
                  </a:lnTo>
                  <a:lnTo>
                    <a:pt x="159" y="150"/>
                  </a:lnTo>
                  <a:lnTo>
                    <a:pt x="159" y="150"/>
                  </a:lnTo>
                  <a:lnTo>
                    <a:pt x="164" y="146"/>
                  </a:lnTo>
                  <a:lnTo>
                    <a:pt x="168" y="146"/>
                  </a:lnTo>
                  <a:lnTo>
                    <a:pt x="168" y="146"/>
                  </a:lnTo>
                  <a:lnTo>
                    <a:pt x="168" y="141"/>
                  </a:lnTo>
                  <a:lnTo>
                    <a:pt x="164" y="141"/>
                  </a:lnTo>
                  <a:lnTo>
                    <a:pt x="168" y="141"/>
                  </a:lnTo>
                  <a:lnTo>
                    <a:pt x="168" y="141"/>
                  </a:lnTo>
                  <a:lnTo>
                    <a:pt x="173" y="141"/>
                  </a:lnTo>
                  <a:lnTo>
                    <a:pt x="173" y="146"/>
                  </a:lnTo>
                  <a:lnTo>
                    <a:pt x="173" y="146"/>
                  </a:lnTo>
                  <a:lnTo>
                    <a:pt x="173" y="146"/>
                  </a:lnTo>
                  <a:lnTo>
                    <a:pt x="173" y="146"/>
                  </a:lnTo>
                  <a:lnTo>
                    <a:pt x="173" y="146"/>
                  </a:lnTo>
                  <a:lnTo>
                    <a:pt x="173" y="146"/>
                  </a:lnTo>
                  <a:lnTo>
                    <a:pt x="173" y="150"/>
                  </a:lnTo>
                  <a:lnTo>
                    <a:pt x="173" y="150"/>
                  </a:lnTo>
                  <a:lnTo>
                    <a:pt x="177" y="150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1"/>
                  </a:lnTo>
                  <a:lnTo>
                    <a:pt x="177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32"/>
                  </a:lnTo>
                  <a:lnTo>
                    <a:pt x="173" y="132"/>
                  </a:lnTo>
                  <a:lnTo>
                    <a:pt x="173" y="132"/>
                  </a:lnTo>
                  <a:lnTo>
                    <a:pt x="173" y="132"/>
                  </a:lnTo>
                  <a:lnTo>
                    <a:pt x="173" y="132"/>
                  </a:lnTo>
                  <a:lnTo>
                    <a:pt x="168" y="132"/>
                  </a:lnTo>
                  <a:lnTo>
                    <a:pt x="168" y="132"/>
                  </a:lnTo>
                  <a:lnTo>
                    <a:pt x="173" y="132"/>
                  </a:lnTo>
                  <a:lnTo>
                    <a:pt x="173" y="132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7" y="128"/>
                  </a:lnTo>
                  <a:lnTo>
                    <a:pt x="177" y="128"/>
                  </a:lnTo>
                  <a:lnTo>
                    <a:pt x="177" y="128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82" y="132"/>
                  </a:lnTo>
                  <a:lnTo>
                    <a:pt x="182" y="132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6" y="128"/>
                  </a:lnTo>
                  <a:lnTo>
                    <a:pt x="186" y="128"/>
                  </a:lnTo>
                  <a:lnTo>
                    <a:pt x="186" y="128"/>
                  </a:lnTo>
                  <a:lnTo>
                    <a:pt x="186" y="128"/>
                  </a:lnTo>
                  <a:lnTo>
                    <a:pt x="190" y="124"/>
                  </a:lnTo>
                  <a:lnTo>
                    <a:pt x="190" y="124"/>
                  </a:lnTo>
                  <a:lnTo>
                    <a:pt x="190" y="124"/>
                  </a:lnTo>
                  <a:lnTo>
                    <a:pt x="190" y="124"/>
                  </a:lnTo>
                  <a:lnTo>
                    <a:pt x="190" y="124"/>
                  </a:lnTo>
                  <a:lnTo>
                    <a:pt x="195" y="124"/>
                  </a:lnTo>
                  <a:lnTo>
                    <a:pt x="195" y="124"/>
                  </a:lnTo>
                  <a:lnTo>
                    <a:pt x="195" y="124"/>
                  </a:lnTo>
                  <a:lnTo>
                    <a:pt x="195" y="124"/>
                  </a:lnTo>
                  <a:lnTo>
                    <a:pt x="195" y="128"/>
                  </a:lnTo>
                  <a:lnTo>
                    <a:pt x="195" y="128"/>
                  </a:lnTo>
                  <a:lnTo>
                    <a:pt x="195" y="128"/>
                  </a:lnTo>
                  <a:lnTo>
                    <a:pt x="199" y="128"/>
                  </a:lnTo>
                  <a:lnTo>
                    <a:pt x="199" y="128"/>
                  </a:lnTo>
                  <a:lnTo>
                    <a:pt x="199" y="128"/>
                  </a:lnTo>
                  <a:lnTo>
                    <a:pt x="199" y="128"/>
                  </a:lnTo>
                  <a:lnTo>
                    <a:pt x="199" y="128"/>
                  </a:lnTo>
                  <a:lnTo>
                    <a:pt x="199" y="128"/>
                  </a:lnTo>
                  <a:lnTo>
                    <a:pt x="199" y="128"/>
                  </a:lnTo>
                  <a:lnTo>
                    <a:pt x="199" y="128"/>
                  </a:lnTo>
                  <a:lnTo>
                    <a:pt x="199" y="124"/>
                  </a:lnTo>
                  <a:lnTo>
                    <a:pt x="199" y="124"/>
                  </a:lnTo>
                  <a:lnTo>
                    <a:pt x="199" y="124"/>
                  </a:lnTo>
                  <a:lnTo>
                    <a:pt x="199" y="124"/>
                  </a:lnTo>
                  <a:lnTo>
                    <a:pt x="204" y="119"/>
                  </a:lnTo>
                  <a:lnTo>
                    <a:pt x="204" y="119"/>
                  </a:lnTo>
                  <a:lnTo>
                    <a:pt x="199" y="115"/>
                  </a:lnTo>
                  <a:lnTo>
                    <a:pt x="199" y="115"/>
                  </a:lnTo>
                  <a:lnTo>
                    <a:pt x="195" y="106"/>
                  </a:lnTo>
                  <a:lnTo>
                    <a:pt x="190" y="101"/>
                  </a:lnTo>
                  <a:lnTo>
                    <a:pt x="190" y="101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90" y="97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90" y="97"/>
                  </a:lnTo>
                  <a:lnTo>
                    <a:pt x="195" y="97"/>
                  </a:lnTo>
                  <a:lnTo>
                    <a:pt x="195" y="97"/>
                  </a:lnTo>
                  <a:lnTo>
                    <a:pt x="195" y="97"/>
                  </a:lnTo>
                  <a:lnTo>
                    <a:pt x="195" y="97"/>
                  </a:lnTo>
                  <a:lnTo>
                    <a:pt x="199" y="97"/>
                  </a:lnTo>
                  <a:lnTo>
                    <a:pt x="204" y="97"/>
                  </a:lnTo>
                  <a:lnTo>
                    <a:pt x="204" y="97"/>
                  </a:lnTo>
                  <a:lnTo>
                    <a:pt x="204" y="97"/>
                  </a:lnTo>
                  <a:lnTo>
                    <a:pt x="208" y="93"/>
                  </a:lnTo>
                  <a:lnTo>
                    <a:pt x="208" y="93"/>
                  </a:lnTo>
                  <a:lnTo>
                    <a:pt x="208" y="93"/>
                  </a:lnTo>
                  <a:lnTo>
                    <a:pt x="208" y="93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42" name="Freeform 74"/>
            <p:cNvSpPr>
              <a:spLocks/>
            </p:cNvSpPr>
            <p:nvPr/>
          </p:nvSpPr>
          <p:spPr bwMode="auto">
            <a:xfrm>
              <a:off x="2698750" y="4429126"/>
              <a:ext cx="323850" cy="260350"/>
            </a:xfrm>
            <a:custGeom>
              <a:avLst/>
              <a:gdLst>
                <a:gd name="T0" fmla="*/ 204 w 204"/>
                <a:gd name="T1" fmla="*/ 84 h 164"/>
                <a:gd name="T2" fmla="*/ 195 w 204"/>
                <a:gd name="T3" fmla="*/ 84 h 164"/>
                <a:gd name="T4" fmla="*/ 195 w 204"/>
                <a:gd name="T5" fmla="*/ 80 h 164"/>
                <a:gd name="T6" fmla="*/ 191 w 204"/>
                <a:gd name="T7" fmla="*/ 67 h 164"/>
                <a:gd name="T8" fmla="*/ 186 w 204"/>
                <a:gd name="T9" fmla="*/ 62 h 164"/>
                <a:gd name="T10" fmla="*/ 173 w 204"/>
                <a:gd name="T11" fmla="*/ 62 h 164"/>
                <a:gd name="T12" fmla="*/ 164 w 204"/>
                <a:gd name="T13" fmla="*/ 58 h 164"/>
                <a:gd name="T14" fmla="*/ 173 w 204"/>
                <a:gd name="T15" fmla="*/ 44 h 164"/>
                <a:gd name="T16" fmla="*/ 177 w 204"/>
                <a:gd name="T17" fmla="*/ 36 h 164"/>
                <a:gd name="T18" fmla="*/ 177 w 204"/>
                <a:gd name="T19" fmla="*/ 31 h 164"/>
                <a:gd name="T20" fmla="*/ 164 w 204"/>
                <a:gd name="T21" fmla="*/ 27 h 164"/>
                <a:gd name="T22" fmla="*/ 155 w 204"/>
                <a:gd name="T23" fmla="*/ 18 h 164"/>
                <a:gd name="T24" fmla="*/ 137 w 204"/>
                <a:gd name="T25" fmla="*/ 13 h 164"/>
                <a:gd name="T26" fmla="*/ 133 w 204"/>
                <a:gd name="T27" fmla="*/ 0 h 164"/>
                <a:gd name="T28" fmla="*/ 120 w 204"/>
                <a:gd name="T29" fmla="*/ 5 h 164"/>
                <a:gd name="T30" fmla="*/ 120 w 204"/>
                <a:gd name="T31" fmla="*/ 0 h 164"/>
                <a:gd name="T32" fmla="*/ 106 w 204"/>
                <a:gd name="T33" fmla="*/ 5 h 164"/>
                <a:gd name="T34" fmla="*/ 102 w 204"/>
                <a:gd name="T35" fmla="*/ 9 h 164"/>
                <a:gd name="T36" fmla="*/ 93 w 204"/>
                <a:gd name="T37" fmla="*/ 13 h 164"/>
                <a:gd name="T38" fmla="*/ 98 w 204"/>
                <a:gd name="T39" fmla="*/ 18 h 164"/>
                <a:gd name="T40" fmla="*/ 93 w 204"/>
                <a:gd name="T41" fmla="*/ 9 h 164"/>
                <a:gd name="T42" fmla="*/ 67 w 204"/>
                <a:gd name="T43" fmla="*/ 22 h 164"/>
                <a:gd name="T44" fmla="*/ 53 w 204"/>
                <a:gd name="T45" fmla="*/ 18 h 164"/>
                <a:gd name="T46" fmla="*/ 44 w 204"/>
                <a:gd name="T47" fmla="*/ 13 h 164"/>
                <a:gd name="T48" fmla="*/ 5 w 204"/>
                <a:gd name="T49" fmla="*/ 40 h 164"/>
                <a:gd name="T50" fmla="*/ 5 w 204"/>
                <a:gd name="T51" fmla="*/ 53 h 164"/>
                <a:gd name="T52" fmla="*/ 9 w 204"/>
                <a:gd name="T53" fmla="*/ 58 h 164"/>
                <a:gd name="T54" fmla="*/ 22 w 204"/>
                <a:gd name="T55" fmla="*/ 67 h 164"/>
                <a:gd name="T56" fmla="*/ 36 w 204"/>
                <a:gd name="T57" fmla="*/ 62 h 164"/>
                <a:gd name="T58" fmla="*/ 40 w 204"/>
                <a:gd name="T59" fmla="*/ 80 h 164"/>
                <a:gd name="T60" fmla="*/ 53 w 204"/>
                <a:gd name="T61" fmla="*/ 80 h 164"/>
                <a:gd name="T62" fmla="*/ 62 w 204"/>
                <a:gd name="T63" fmla="*/ 93 h 164"/>
                <a:gd name="T64" fmla="*/ 67 w 204"/>
                <a:gd name="T65" fmla="*/ 98 h 164"/>
                <a:gd name="T66" fmla="*/ 84 w 204"/>
                <a:gd name="T67" fmla="*/ 98 h 164"/>
                <a:gd name="T68" fmla="*/ 89 w 204"/>
                <a:gd name="T69" fmla="*/ 102 h 164"/>
                <a:gd name="T70" fmla="*/ 89 w 204"/>
                <a:gd name="T71" fmla="*/ 115 h 164"/>
                <a:gd name="T72" fmla="*/ 84 w 204"/>
                <a:gd name="T73" fmla="*/ 124 h 164"/>
                <a:gd name="T74" fmla="*/ 102 w 204"/>
                <a:gd name="T75" fmla="*/ 129 h 164"/>
                <a:gd name="T76" fmla="*/ 115 w 204"/>
                <a:gd name="T77" fmla="*/ 120 h 164"/>
                <a:gd name="T78" fmla="*/ 124 w 204"/>
                <a:gd name="T79" fmla="*/ 115 h 164"/>
                <a:gd name="T80" fmla="*/ 124 w 204"/>
                <a:gd name="T81" fmla="*/ 133 h 164"/>
                <a:gd name="T82" fmla="*/ 124 w 204"/>
                <a:gd name="T83" fmla="*/ 142 h 164"/>
                <a:gd name="T84" fmla="*/ 137 w 204"/>
                <a:gd name="T85" fmla="*/ 146 h 164"/>
                <a:gd name="T86" fmla="*/ 146 w 204"/>
                <a:gd name="T87" fmla="*/ 155 h 164"/>
                <a:gd name="T88" fmla="*/ 155 w 204"/>
                <a:gd name="T89" fmla="*/ 155 h 164"/>
                <a:gd name="T90" fmla="*/ 160 w 204"/>
                <a:gd name="T91" fmla="*/ 164 h 164"/>
                <a:gd name="T92" fmla="*/ 168 w 204"/>
                <a:gd name="T93" fmla="*/ 164 h 164"/>
                <a:gd name="T94" fmla="*/ 177 w 204"/>
                <a:gd name="T95" fmla="*/ 155 h 164"/>
                <a:gd name="T96" fmla="*/ 177 w 204"/>
                <a:gd name="T97" fmla="*/ 151 h 164"/>
                <a:gd name="T98" fmla="*/ 177 w 204"/>
                <a:gd name="T99" fmla="*/ 146 h 164"/>
                <a:gd name="T100" fmla="*/ 173 w 204"/>
                <a:gd name="T101" fmla="*/ 142 h 164"/>
                <a:gd name="T102" fmla="*/ 173 w 204"/>
                <a:gd name="T103" fmla="*/ 133 h 164"/>
                <a:gd name="T104" fmla="*/ 173 w 204"/>
                <a:gd name="T105" fmla="*/ 129 h 164"/>
                <a:gd name="T106" fmla="*/ 177 w 204"/>
                <a:gd name="T107" fmla="*/ 120 h 164"/>
                <a:gd name="T108" fmla="*/ 182 w 204"/>
                <a:gd name="T109" fmla="*/ 111 h 164"/>
                <a:gd name="T110" fmla="*/ 191 w 204"/>
                <a:gd name="T111" fmla="*/ 111 h 164"/>
                <a:gd name="T112" fmla="*/ 191 w 204"/>
                <a:gd name="T113" fmla="*/ 111 h 164"/>
                <a:gd name="T114" fmla="*/ 195 w 204"/>
                <a:gd name="T115" fmla="*/ 106 h 164"/>
                <a:gd name="T116" fmla="*/ 204 w 204"/>
                <a:gd name="T117" fmla="*/ 98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4" h="164">
                  <a:moveTo>
                    <a:pt x="204" y="98"/>
                  </a:moveTo>
                  <a:lnTo>
                    <a:pt x="204" y="98"/>
                  </a:lnTo>
                  <a:lnTo>
                    <a:pt x="204" y="93"/>
                  </a:lnTo>
                  <a:lnTo>
                    <a:pt x="204" y="93"/>
                  </a:lnTo>
                  <a:lnTo>
                    <a:pt x="204" y="93"/>
                  </a:lnTo>
                  <a:lnTo>
                    <a:pt x="204" y="89"/>
                  </a:lnTo>
                  <a:lnTo>
                    <a:pt x="204" y="89"/>
                  </a:lnTo>
                  <a:lnTo>
                    <a:pt x="204" y="89"/>
                  </a:lnTo>
                  <a:lnTo>
                    <a:pt x="204" y="89"/>
                  </a:lnTo>
                  <a:lnTo>
                    <a:pt x="204" y="89"/>
                  </a:lnTo>
                  <a:lnTo>
                    <a:pt x="204" y="84"/>
                  </a:lnTo>
                  <a:lnTo>
                    <a:pt x="204" y="84"/>
                  </a:lnTo>
                  <a:lnTo>
                    <a:pt x="204" y="84"/>
                  </a:lnTo>
                  <a:lnTo>
                    <a:pt x="204" y="84"/>
                  </a:lnTo>
                  <a:lnTo>
                    <a:pt x="204" y="84"/>
                  </a:lnTo>
                  <a:lnTo>
                    <a:pt x="199" y="84"/>
                  </a:lnTo>
                  <a:lnTo>
                    <a:pt x="199" y="84"/>
                  </a:lnTo>
                  <a:lnTo>
                    <a:pt x="199" y="84"/>
                  </a:lnTo>
                  <a:lnTo>
                    <a:pt x="199" y="84"/>
                  </a:lnTo>
                  <a:lnTo>
                    <a:pt x="199" y="84"/>
                  </a:lnTo>
                  <a:lnTo>
                    <a:pt x="199" y="84"/>
                  </a:lnTo>
                  <a:lnTo>
                    <a:pt x="195" y="84"/>
                  </a:lnTo>
                  <a:lnTo>
                    <a:pt x="195" y="84"/>
                  </a:lnTo>
                  <a:lnTo>
                    <a:pt x="195" y="84"/>
                  </a:lnTo>
                  <a:lnTo>
                    <a:pt x="195" y="84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5" y="75"/>
                  </a:lnTo>
                  <a:lnTo>
                    <a:pt x="199" y="75"/>
                  </a:lnTo>
                  <a:lnTo>
                    <a:pt x="199" y="75"/>
                  </a:lnTo>
                  <a:lnTo>
                    <a:pt x="199" y="75"/>
                  </a:lnTo>
                  <a:lnTo>
                    <a:pt x="199" y="75"/>
                  </a:lnTo>
                  <a:lnTo>
                    <a:pt x="199" y="75"/>
                  </a:lnTo>
                  <a:lnTo>
                    <a:pt x="195" y="75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86" y="67"/>
                  </a:lnTo>
                  <a:lnTo>
                    <a:pt x="186" y="67"/>
                  </a:lnTo>
                  <a:lnTo>
                    <a:pt x="186" y="67"/>
                  </a:lnTo>
                  <a:lnTo>
                    <a:pt x="186" y="62"/>
                  </a:lnTo>
                  <a:lnTo>
                    <a:pt x="186" y="62"/>
                  </a:lnTo>
                  <a:lnTo>
                    <a:pt x="186" y="62"/>
                  </a:lnTo>
                  <a:lnTo>
                    <a:pt x="186" y="62"/>
                  </a:lnTo>
                  <a:lnTo>
                    <a:pt x="186" y="62"/>
                  </a:lnTo>
                  <a:lnTo>
                    <a:pt x="186" y="62"/>
                  </a:lnTo>
                  <a:lnTo>
                    <a:pt x="186" y="62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3" y="62"/>
                  </a:lnTo>
                  <a:lnTo>
                    <a:pt x="173" y="62"/>
                  </a:lnTo>
                  <a:lnTo>
                    <a:pt x="173" y="62"/>
                  </a:lnTo>
                  <a:lnTo>
                    <a:pt x="173" y="62"/>
                  </a:lnTo>
                  <a:lnTo>
                    <a:pt x="173" y="62"/>
                  </a:lnTo>
                  <a:lnTo>
                    <a:pt x="173" y="62"/>
                  </a:lnTo>
                  <a:lnTo>
                    <a:pt x="173" y="62"/>
                  </a:lnTo>
                  <a:lnTo>
                    <a:pt x="168" y="62"/>
                  </a:lnTo>
                  <a:lnTo>
                    <a:pt x="168" y="62"/>
                  </a:lnTo>
                  <a:lnTo>
                    <a:pt x="168" y="62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4" y="53"/>
                  </a:lnTo>
                  <a:lnTo>
                    <a:pt x="168" y="49"/>
                  </a:lnTo>
                  <a:lnTo>
                    <a:pt x="168" y="49"/>
                  </a:lnTo>
                  <a:lnTo>
                    <a:pt x="168" y="49"/>
                  </a:lnTo>
                  <a:lnTo>
                    <a:pt x="168" y="49"/>
                  </a:lnTo>
                  <a:lnTo>
                    <a:pt x="173" y="49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68" y="44"/>
                  </a:lnTo>
                  <a:lnTo>
                    <a:pt x="173" y="40"/>
                  </a:lnTo>
                  <a:lnTo>
                    <a:pt x="173" y="40"/>
                  </a:lnTo>
                  <a:lnTo>
                    <a:pt x="173" y="40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7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1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31"/>
                  </a:lnTo>
                  <a:lnTo>
                    <a:pt x="177" y="27"/>
                  </a:lnTo>
                  <a:lnTo>
                    <a:pt x="177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68" y="27"/>
                  </a:lnTo>
                  <a:lnTo>
                    <a:pt x="168" y="27"/>
                  </a:lnTo>
                  <a:lnTo>
                    <a:pt x="168" y="27"/>
                  </a:lnTo>
                  <a:lnTo>
                    <a:pt x="168" y="27"/>
                  </a:lnTo>
                  <a:lnTo>
                    <a:pt x="164" y="27"/>
                  </a:lnTo>
                  <a:lnTo>
                    <a:pt x="164" y="27"/>
                  </a:lnTo>
                  <a:lnTo>
                    <a:pt x="164" y="22"/>
                  </a:lnTo>
                  <a:lnTo>
                    <a:pt x="160" y="22"/>
                  </a:lnTo>
                  <a:lnTo>
                    <a:pt x="160" y="22"/>
                  </a:lnTo>
                  <a:lnTo>
                    <a:pt x="160" y="22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1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2" y="18"/>
                  </a:lnTo>
                  <a:lnTo>
                    <a:pt x="142" y="18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3" y="5"/>
                  </a:lnTo>
                  <a:lnTo>
                    <a:pt x="133" y="5"/>
                  </a:lnTo>
                  <a:lnTo>
                    <a:pt x="133" y="5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0" y="9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24" y="5"/>
                  </a:lnTo>
                  <a:lnTo>
                    <a:pt x="124" y="5"/>
                  </a:lnTo>
                  <a:lnTo>
                    <a:pt x="124" y="5"/>
                  </a:lnTo>
                  <a:lnTo>
                    <a:pt x="124" y="5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2" y="5"/>
                  </a:lnTo>
                  <a:lnTo>
                    <a:pt x="98" y="5"/>
                  </a:lnTo>
                  <a:lnTo>
                    <a:pt x="102" y="5"/>
                  </a:lnTo>
                  <a:lnTo>
                    <a:pt x="102" y="5"/>
                  </a:lnTo>
                  <a:lnTo>
                    <a:pt x="98" y="5"/>
                  </a:lnTo>
                  <a:lnTo>
                    <a:pt x="98" y="9"/>
                  </a:lnTo>
                  <a:lnTo>
                    <a:pt x="102" y="9"/>
                  </a:lnTo>
                  <a:lnTo>
                    <a:pt x="102" y="9"/>
                  </a:lnTo>
                  <a:lnTo>
                    <a:pt x="102" y="9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3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3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3" y="18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89" y="13"/>
                  </a:lnTo>
                  <a:lnTo>
                    <a:pt x="89" y="13"/>
                  </a:lnTo>
                  <a:lnTo>
                    <a:pt x="89" y="18"/>
                  </a:lnTo>
                  <a:lnTo>
                    <a:pt x="84" y="18"/>
                  </a:lnTo>
                  <a:lnTo>
                    <a:pt x="80" y="22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2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36" y="13"/>
                  </a:lnTo>
                  <a:lnTo>
                    <a:pt x="22" y="22"/>
                  </a:lnTo>
                  <a:lnTo>
                    <a:pt x="14" y="27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5" y="36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4" y="58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7" y="62"/>
                  </a:lnTo>
                  <a:lnTo>
                    <a:pt x="27" y="62"/>
                  </a:lnTo>
                  <a:lnTo>
                    <a:pt x="31" y="58"/>
                  </a:lnTo>
                  <a:lnTo>
                    <a:pt x="36" y="58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40" y="71"/>
                  </a:lnTo>
                  <a:lnTo>
                    <a:pt x="40" y="75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9" y="84"/>
                  </a:lnTo>
                  <a:lnTo>
                    <a:pt x="49" y="84"/>
                  </a:lnTo>
                  <a:lnTo>
                    <a:pt x="49" y="84"/>
                  </a:lnTo>
                  <a:lnTo>
                    <a:pt x="49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62" y="84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93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67" y="98"/>
                  </a:lnTo>
                  <a:lnTo>
                    <a:pt x="67" y="98"/>
                  </a:lnTo>
                  <a:lnTo>
                    <a:pt x="67" y="98"/>
                  </a:lnTo>
                  <a:lnTo>
                    <a:pt x="67" y="98"/>
                  </a:lnTo>
                  <a:lnTo>
                    <a:pt x="67" y="98"/>
                  </a:lnTo>
                  <a:lnTo>
                    <a:pt x="71" y="98"/>
                  </a:lnTo>
                  <a:lnTo>
                    <a:pt x="71" y="98"/>
                  </a:lnTo>
                  <a:lnTo>
                    <a:pt x="71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75" y="98"/>
                  </a:lnTo>
                  <a:lnTo>
                    <a:pt x="80" y="98"/>
                  </a:lnTo>
                  <a:lnTo>
                    <a:pt x="80" y="98"/>
                  </a:lnTo>
                  <a:lnTo>
                    <a:pt x="80" y="98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89" y="106"/>
                  </a:lnTo>
                  <a:lnTo>
                    <a:pt x="89" y="106"/>
                  </a:lnTo>
                  <a:lnTo>
                    <a:pt x="89" y="106"/>
                  </a:lnTo>
                  <a:lnTo>
                    <a:pt x="89" y="106"/>
                  </a:lnTo>
                  <a:lnTo>
                    <a:pt x="89" y="106"/>
                  </a:lnTo>
                  <a:lnTo>
                    <a:pt x="89" y="111"/>
                  </a:lnTo>
                  <a:lnTo>
                    <a:pt x="84" y="111"/>
                  </a:lnTo>
                  <a:lnTo>
                    <a:pt x="84" y="115"/>
                  </a:lnTo>
                  <a:lnTo>
                    <a:pt x="89" y="115"/>
                  </a:lnTo>
                  <a:lnTo>
                    <a:pt x="89" y="115"/>
                  </a:lnTo>
                  <a:lnTo>
                    <a:pt x="89" y="115"/>
                  </a:lnTo>
                  <a:lnTo>
                    <a:pt x="89" y="115"/>
                  </a:lnTo>
                  <a:lnTo>
                    <a:pt x="89" y="115"/>
                  </a:lnTo>
                  <a:lnTo>
                    <a:pt x="89" y="120"/>
                  </a:lnTo>
                  <a:lnTo>
                    <a:pt x="89" y="120"/>
                  </a:lnTo>
                  <a:lnTo>
                    <a:pt x="89" y="120"/>
                  </a:lnTo>
                  <a:lnTo>
                    <a:pt x="89" y="120"/>
                  </a:lnTo>
                  <a:lnTo>
                    <a:pt x="89" y="120"/>
                  </a:lnTo>
                  <a:lnTo>
                    <a:pt x="89" y="120"/>
                  </a:lnTo>
                  <a:lnTo>
                    <a:pt x="89" y="124"/>
                  </a:lnTo>
                  <a:lnTo>
                    <a:pt x="89" y="124"/>
                  </a:lnTo>
                  <a:lnTo>
                    <a:pt x="84" y="124"/>
                  </a:lnTo>
                  <a:lnTo>
                    <a:pt x="89" y="124"/>
                  </a:lnTo>
                  <a:lnTo>
                    <a:pt x="89" y="124"/>
                  </a:lnTo>
                  <a:lnTo>
                    <a:pt x="89" y="124"/>
                  </a:lnTo>
                  <a:lnTo>
                    <a:pt x="89" y="124"/>
                  </a:lnTo>
                  <a:lnTo>
                    <a:pt x="89" y="124"/>
                  </a:lnTo>
                  <a:lnTo>
                    <a:pt x="89" y="129"/>
                  </a:lnTo>
                  <a:lnTo>
                    <a:pt x="89" y="129"/>
                  </a:lnTo>
                  <a:lnTo>
                    <a:pt x="93" y="129"/>
                  </a:lnTo>
                  <a:lnTo>
                    <a:pt x="93" y="129"/>
                  </a:lnTo>
                  <a:lnTo>
                    <a:pt x="102" y="129"/>
                  </a:lnTo>
                  <a:lnTo>
                    <a:pt x="102" y="129"/>
                  </a:lnTo>
                  <a:lnTo>
                    <a:pt x="102" y="129"/>
                  </a:lnTo>
                  <a:lnTo>
                    <a:pt x="111" y="12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15" y="120"/>
                  </a:lnTo>
                  <a:lnTo>
                    <a:pt x="115" y="120"/>
                  </a:lnTo>
                  <a:lnTo>
                    <a:pt x="115" y="120"/>
                  </a:lnTo>
                  <a:lnTo>
                    <a:pt x="115" y="120"/>
                  </a:lnTo>
                  <a:lnTo>
                    <a:pt x="115" y="120"/>
                  </a:lnTo>
                  <a:lnTo>
                    <a:pt x="115" y="115"/>
                  </a:lnTo>
                  <a:lnTo>
                    <a:pt x="120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0" y="124"/>
                  </a:lnTo>
                  <a:lnTo>
                    <a:pt x="120" y="129"/>
                  </a:lnTo>
                  <a:lnTo>
                    <a:pt x="120" y="129"/>
                  </a:lnTo>
                  <a:lnTo>
                    <a:pt x="124" y="129"/>
                  </a:lnTo>
                  <a:lnTo>
                    <a:pt x="124" y="133"/>
                  </a:lnTo>
                  <a:lnTo>
                    <a:pt x="124" y="133"/>
                  </a:lnTo>
                  <a:lnTo>
                    <a:pt x="124" y="133"/>
                  </a:lnTo>
                  <a:lnTo>
                    <a:pt x="124" y="133"/>
                  </a:lnTo>
                  <a:lnTo>
                    <a:pt x="124" y="133"/>
                  </a:lnTo>
                  <a:lnTo>
                    <a:pt x="124" y="133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42"/>
                  </a:lnTo>
                  <a:lnTo>
                    <a:pt x="124" y="142"/>
                  </a:lnTo>
                  <a:lnTo>
                    <a:pt x="124" y="142"/>
                  </a:lnTo>
                  <a:lnTo>
                    <a:pt x="129" y="142"/>
                  </a:lnTo>
                  <a:lnTo>
                    <a:pt x="129" y="142"/>
                  </a:lnTo>
                  <a:lnTo>
                    <a:pt x="129" y="142"/>
                  </a:lnTo>
                  <a:lnTo>
                    <a:pt x="133" y="142"/>
                  </a:lnTo>
                  <a:lnTo>
                    <a:pt x="133" y="142"/>
                  </a:lnTo>
                  <a:lnTo>
                    <a:pt x="133" y="142"/>
                  </a:lnTo>
                  <a:lnTo>
                    <a:pt x="133" y="142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51" y="151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51" y="155"/>
                  </a:lnTo>
                  <a:lnTo>
                    <a:pt x="151" y="155"/>
                  </a:lnTo>
                  <a:lnTo>
                    <a:pt x="151" y="155"/>
                  </a:lnTo>
                  <a:lnTo>
                    <a:pt x="151" y="155"/>
                  </a:lnTo>
                  <a:lnTo>
                    <a:pt x="151" y="155"/>
                  </a:lnTo>
                  <a:lnTo>
                    <a:pt x="151" y="155"/>
                  </a:lnTo>
                  <a:lnTo>
                    <a:pt x="151" y="155"/>
                  </a:lnTo>
                  <a:lnTo>
                    <a:pt x="151" y="155"/>
                  </a:lnTo>
                  <a:lnTo>
                    <a:pt x="155" y="155"/>
                  </a:lnTo>
                  <a:lnTo>
                    <a:pt x="155" y="155"/>
                  </a:lnTo>
                  <a:lnTo>
                    <a:pt x="155" y="160"/>
                  </a:lnTo>
                  <a:lnTo>
                    <a:pt x="155" y="160"/>
                  </a:lnTo>
                  <a:lnTo>
                    <a:pt x="155" y="164"/>
                  </a:lnTo>
                  <a:lnTo>
                    <a:pt x="155" y="164"/>
                  </a:lnTo>
                  <a:lnTo>
                    <a:pt x="155" y="164"/>
                  </a:lnTo>
                  <a:lnTo>
                    <a:pt x="155" y="164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64" y="164"/>
                  </a:lnTo>
                  <a:lnTo>
                    <a:pt x="164" y="164"/>
                  </a:lnTo>
                  <a:lnTo>
                    <a:pt x="164" y="164"/>
                  </a:lnTo>
                  <a:lnTo>
                    <a:pt x="164" y="164"/>
                  </a:lnTo>
                  <a:lnTo>
                    <a:pt x="164" y="164"/>
                  </a:lnTo>
                  <a:lnTo>
                    <a:pt x="164" y="164"/>
                  </a:lnTo>
                  <a:lnTo>
                    <a:pt x="168" y="160"/>
                  </a:lnTo>
                  <a:lnTo>
                    <a:pt x="168" y="160"/>
                  </a:lnTo>
                  <a:lnTo>
                    <a:pt x="168" y="164"/>
                  </a:lnTo>
                  <a:lnTo>
                    <a:pt x="168" y="164"/>
                  </a:lnTo>
                  <a:lnTo>
                    <a:pt x="168" y="164"/>
                  </a:lnTo>
                  <a:lnTo>
                    <a:pt x="173" y="160"/>
                  </a:lnTo>
                  <a:lnTo>
                    <a:pt x="173" y="160"/>
                  </a:lnTo>
                  <a:lnTo>
                    <a:pt x="173" y="160"/>
                  </a:lnTo>
                  <a:lnTo>
                    <a:pt x="173" y="160"/>
                  </a:lnTo>
                  <a:lnTo>
                    <a:pt x="173" y="160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7" y="155"/>
                  </a:lnTo>
                  <a:lnTo>
                    <a:pt x="177" y="155"/>
                  </a:lnTo>
                  <a:lnTo>
                    <a:pt x="177" y="155"/>
                  </a:lnTo>
                  <a:lnTo>
                    <a:pt x="177" y="155"/>
                  </a:lnTo>
                  <a:lnTo>
                    <a:pt x="177" y="155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7" y="146"/>
                  </a:lnTo>
                  <a:lnTo>
                    <a:pt x="173" y="146"/>
                  </a:lnTo>
                  <a:lnTo>
                    <a:pt x="173" y="146"/>
                  </a:lnTo>
                  <a:lnTo>
                    <a:pt x="173" y="146"/>
                  </a:lnTo>
                  <a:lnTo>
                    <a:pt x="173" y="146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68" y="137"/>
                  </a:lnTo>
                  <a:lnTo>
                    <a:pt x="168" y="137"/>
                  </a:lnTo>
                  <a:lnTo>
                    <a:pt x="168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33"/>
                  </a:lnTo>
                  <a:lnTo>
                    <a:pt x="173" y="133"/>
                  </a:lnTo>
                  <a:lnTo>
                    <a:pt x="168" y="133"/>
                  </a:lnTo>
                  <a:lnTo>
                    <a:pt x="168" y="133"/>
                  </a:lnTo>
                  <a:lnTo>
                    <a:pt x="173" y="129"/>
                  </a:lnTo>
                  <a:lnTo>
                    <a:pt x="173" y="129"/>
                  </a:lnTo>
                  <a:lnTo>
                    <a:pt x="173" y="129"/>
                  </a:lnTo>
                  <a:lnTo>
                    <a:pt x="173" y="129"/>
                  </a:lnTo>
                  <a:lnTo>
                    <a:pt x="173" y="129"/>
                  </a:lnTo>
                  <a:lnTo>
                    <a:pt x="173" y="129"/>
                  </a:lnTo>
                  <a:lnTo>
                    <a:pt x="173" y="129"/>
                  </a:lnTo>
                  <a:lnTo>
                    <a:pt x="173" y="129"/>
                  </a:lnTo>
                  <a:lnTo>
                    <a:pt x="177" y="124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7" y="124"/>
                  </a:lnTo>
                  <a:lnTo>
                    <a:pt x="177" y="124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77" y="115"/>
                  </a:lnTo>
                  <a:lnTo>
                    <a:pt x="177" y="115"/>
                  </a:lnTo>
                  <a:lnTo>
                    <a:pt x="177" y="115"/>
                  </a:lnTo>
                  <a:lnTo>
                    <a:pt x="182" y="115"/>
                  </a:lnTo>
                  <a:lnTo>
                    <a:pt x="182" y="115"/>
                  </a:lnTo>
                  <a:lnTo>
                    <a:pt x="182" y="111"/>
                  </a:lnTo>
                  <a:lnTo>
                    <a:pt x="182" y="111"/>
                  </a:lnTo>
                  <a:lnTo>
                    <a:pt x="182" y="111"/>
                  </a:lnTo>
                  <a:lnTo>
                    <a:pt x="186" y="111"/>
                  </a:lnTo>
                  <a:lnTo>
                    <a:pt x="186" y="111"/>
                  </a:lnTo>
                  <a:lnTo>
                    <a:pt x="186" y="111"/>
                  </a:lnTo>
                  <a:lnTo>
                    <a:pt x="186" y="111"/>
                  </a:lnTo>
                  <a:lnTo>
                    <a:pt x="186" y="111"/>
                  </a:lnTo>
                  <a:lnTo>
                    <a:pt x="186" y="111"/>
                  </a:lnTo>
                  <a:lnTo>
                    <a:pt x="186" y="111"/>
                  </a:lnTo>
                  <a:lnTo>
                    <a:pt x="186" y="111"/>
                  </a:lnTo>
                  <a:lnTo>
                    <a:pt x="191" y="111"/>
                  </a:lnTo>
                  <a:lnTo>
                    <a:pt x="191" y="111"/>
                  </a:lnTo>
                  <a:lnTo>
                    <a:pt x="191" y="111"/>
                  </a:lnTo>
                  <a:lnTo>
                    <a:pt x="191" y="111"/>
                  </a:lnTo>
                  <a:lnTo>
                    <a:pt x="191" y="111"/>
                  </a:lnTo>
                  <a:lnTo>
                    <a:pt x="191" y="111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1"/>
                  </a:lnTo>
                  <a:lnTo>
                    <a:pt x="191" y="111"/>
                  </a:lnTo>
                  <a:lnTo>
                    <a:pt x="191" y="111"/>
                  </a:lnTo>
                  <a:lnTo>
                    <a:pt x="191" y="111"/>
                  </a:lnTo>
                  <a:lnTo>
                    <a:pt x="191" y="111"/>
                  </a:lnTo>
                  <a:lnTo>
                    <a:pt x="191" y="111"/>
                  </a:lnTo>
                  <a:lnTo>
                    <a:pt x="191" y="111"/>
                  </a:lnTo>
                  <a:lnTo>
                    <a:pt x="195" y="111"/>
                  </a:lnTo>
                  <a:lnTo>
                    <a:pt x="195" y="111"/>
                  </a:lnTo>
                  <a:lnTo>
                    <a:pt x="195" y="111"/>
                  </a:lnTo>
                  <a:lnTo>
                    <a:pt x="195" y="106"/>
                  </a:lnTo>
                  <a:lnTo>
                    <a:pt x="195" y="106"/>
                  </a:lnTo>
                  <a:lnTo>
                    <a:pt x="195" y="106"/>
                  </a:lnTo>
                  <a:lnTo>
                    <a:pt x="195" y="106"/>
                  </a:lnTo>
                  <a:lnTo>
                    <a:pt x="195" y="106"/>
                  </a:lnTo>
                  <a:lnTo>
                    <a:pt x="195" y="102"/>
                  </a:lnTo>
                  <a:lnTo>
                    <a:pt x="195" y="102"/>
                  </a:lnTo>
                  <a:lnTo>
                    <a:pt x="199" y="102"/>
                  </a:lnTo>
                  <a:lnTo>
                    <a:pt x="199" y="102"/>
                  </a:lnTo>
                  <a:lnTo>
                    <a:pt x="199" y="102"/>
                  </a:lnTo>
                  <a:lnTo>
                    <a:pt x="199" y="102"/>
                  </a:lnTo>
                  <a:lnTo>
                    <a:pt x="199" y="98"/>
                  </a:lnTo>
                  <a:lnTo>
                    <a:pt x="199" y="98"/>
                  </a:lnTo>
                  <a:lnTo>
                    <a:pt x="199" y="98"/>
                  </a:lnTo>
                  <a:lnTo>
                    <a:pt x="199" y="98"/>
                  </a:lnTo>
                  <a:lnTo>
                    <a:pt x="204" y="98"/>
                  </a:lnTo>
                  <a:lnTo>
                    <a:pt x="204" y="98"/>
                  </a:lnTo>
                  <a:lnTo>
                    <a:pt x="204" y="98"/>
                  </a:lnTo>
                  <a:lnTo>
                    <a:pt x="204" y="98"/>
                  </a:lnTo>
                  <a:lnTo>
                    <a:pt x="204" y="9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43" name="Freeform 75"/>
            <p:cNvSpPr>
              <a:spLocks/>
            </p:cNvSpPr>
            <p:nvPr/>
          </p:nvSpPr>
          <p:spPr bwMode="auto">
            <a:xfrm>
              <a:off x="4427538" y="3768726"/>
              <a:ext cx="801687" cy="695325"/>
            </a:xfrm>
            <a:custGeom>
              <a:avLst/>
              <a:gdLst>
                <a:gd name="T0" fmla="*/ 491 w 505"/>
                <a:gd name="T1" fmla="*/ 239 h 438"/>
                <a:gd name="T2" fmla="*/ 483 w 505"/>
                <a:gd name="T3" fmla="*/ 221 h 438"/>
                <a:gd name="T4" fmla="*/ 456 w 505"/>
                <a:gd name="T5" fmla="*/ 195 h 438"/>
                <a:gd name="T6" fmla="*/ 429 w 505"/>
                <a:gd name="T7" fmla="*/ 168 h 438"/>
                <a:gd name="T8" fmla="*/ 412 w 505"/>
                <a:gd name="T9" fmla="*/ 133 h 438"/>
                <a:gd name="T10" fmla="*/ 407 w 505"/>
                <a:gd name="T11" fmla="*/ 106 h 438"/>
                <a:gd name="T12" fmla="*/ 412 w 505"/>
                <a:gd name="T13" fmla="*/ 93 h 438"/>
                <a:gd name="T14" fmla="*/ 407 w 505"/>
                <a:gd name="T15" fmla="*/ 66 h 438"/>
                <a:gd name="T16" fmla="*/ 394 w 505"/>
                <a:gd name="T17" fmla="*/ 44 h 438"/>
                <a:gd name="T18" fmla="*/ 367 w 505"/>
                <a:gd name="T19" fmla="*/ 31 h 438"/>
                <a:gd name="T20" fmla="*/ 328 w 505"/>
                <a:gd name="T21" fmla="*/ 31 h 438"/>
                <a:gd name="T22" fmla="*/ 319 w 505"/>
                <a:gd name="T23" fmla="*/ 13 h 438"/>
                <a:gd name="T24" fmla="*/ 288 w 505"/>
                <a:gd name="T25" fmla="*/ 9 h 438"/>
                <a:gd name="T26" fmla="*/ 252 w 505"/>
                <a:gd name="T27" fmla="*/ 4 h 438"/>
                <a:gd name="T28" fmla="*/ 221 w 505"/>
                <a:gd name="T29" fmla="*/ 31 h 438"/>
                <a:gd name="T30" fmla="*/ 182 w 505"/>
                <a:gd name="T31" fmla="*/ 44 h 438"/>
                <a:gd name="T32" fmla="*/ 177 w 505"/>
                <a:gd name="T33" fmla="*/ 80 h 438"/>
                <a:gd name="T34" fmla="*/ 173 w 505"/>
                <a:gd name="T35" fmla="*/ 93 h 438"/>
                <a:gd name="T36" fmla="*/ 151 w 505"/>
                <a:gd name="T37" fmla="*/ 111 h 438"/>
                <a:gd name="T38" fmla="*/ 137 w 505"/>
                <a:gd name="T39" fmla="*/ 128 h 438"/>
                <a:gd name="T40" fmla="*/ 128 w 505"/>
                <a:gd name="T41" fmla="*/ 159 h 438"/>
                <a:gd name="T42" fmla="*/ 137 w 505"/>
                <a:gd name="T43" fmla="*/ 173 h 438"/>
                <a:gd name="T44" fmla="*/ 133 w 505"/>
                <a:gd name="T45" fmla="*/ 186 h 438"/>
                <a:gd name="T46" fmla="*/ 120 w 505"/>
                <a:gd name="T47" fmla="*/ 177 h 438"/>
                <a:gd name="T48" fmla="*/ 89 w 505"/>
                <a:gd name="T49" fmla="*/ 186 h 438"/>
                <a:gd name="T50" fmla="*/ 80 w 505"/>
                <a:gd name="T51" fmla="*/ 199 h 438"/>
                <a:gd name="T52" fmla="*/ 44 w 505"/>
                <a:gd name="T53" fmla="*/ 204 h 438"/>
                <a:gd name="T54" fmla="*/ 18 w 505"/>
                <a:gd name="T55" fmla="*/ 212 h 438"/>
                <a:gd name="T56" fmla="*/ 40 w 505"/>
                <a:gd name="T57" fmla="*/ 270 h 438"/>
                <a:gd name="T58" fmla="*/ 40 w 505"/>
                <a:gd name="T59" fmla="*/ 297 h 438"/>
                <a:gd name="T60" fmla="*/ 4 w 505"/>
                <a:gd name="T61" fmla="*/ 350 h 438"/>
                <a:gd name="T62" fmla="*/ 18 w 505"/>
                <a:gd name="T63" fmla="*/ 359 h 438"/>
                <a:gd name="T64" fmla="*/ 27 w 505"/>
                <a:gd name="T65" fmla="*/ 376 h 438"/>
                <a:gd name="T66" fmla="*/ 22 w 505"/>
                <a:gd name="T67" fmla="*/ 394 h 438"/>
                <a:gd name="T68" fmla="*/ 22 w 505"/>
                <a:gd name="T69" fmla="*/ 412 h 438"/>
                <a:gd name="T70" fmla="*/ 35 w 505"/>
                <a:gd name="T71" fmla="*/ 403 h 438"/>
                <a:gd name="T72" fmla="*/ 102 w 505"/>
                <a:gd name="T73" fmla="*/ 376 h 438"/>
                <a:gd name="T74" fmla="*/ 173 w 505"/>
                <a:gd name="T75" fmla="*/ 390 h 438"/>
                <a:gd name="T76" fmla="*/ 217 w 505"/>
                <a:gd name="T77" fmla="*/ 407 h 438"/>
                <a:gd name="T78" fmla="*/ 239 w 505"/>
                <a:gd name="T79" fmla="*/ 416 h 438"/>
                <a:gd name="T80" fmla="*/ 261 w 505"/>
                <a:gd name="T81" fmla="*/ 412 h 438"/>
                <a:gd name="T82" fmla="*/ 274 w 505"/>
                <a:gd name="T83" fmla="*/ 412 h 438"/>
                <a:gd name="T84" fmla="*/ 297 w 505"/>
                <a:gd name="T85" fmla="*/ 421 h 438"/>
                <a:gd name="T86" fmla="*/ 319 w 505"/>
                <a:gd name="T87" fmla="*/ 412 h 438"/>
                <a:gd name="T88" fmla="*/ 336 w 505"/>
                <a:gd name="T89" fmla="*/ 421 h 438"/>
                <a:gd name="T90" fmla="*/ 354 w 505"/>
                <a:gd name="T91" fmla="*/ 416 h 438"/>
                <a:gd name="T92" fmla="*/ 376 w 505"/>
                <a:gd name="T93" fmla="*/ 429 h 438"/>
                <a:gd name="T94" fmla="*/ 390 w 505"/>
                <a:gd name="T95" fmla="*/ 434 h 438"/>
                <a:gd name="T96" fmla="*/ 394 w 505"/>
                <a:gd name="T97" fmla="*/ 421 h 438"/>
                <a:gd name="T98" fmla="*/ 390 w 505"/>
                <a:gd name="T99" fmla="*/ 407 h 438"/>
                <a:gd name="T100" fmla="*/ 394 w 505"/>
                <a:gd name="T101" fmla="*/ 398 h 438"/>
                <a:gd name="T102" fmla="*/ 398 w 505"/>
                <a:gd name="T103" fmla="*/ 385 h 438"/>
                <a:gd name="T104" fmla="*/ 407 w 505"/>
                <a:gd name="T105" fmla="*/ 376 h 438"/>
                <a:gd name="T106" fmla="*/ 421 w 505"/>
                <a:gd name="T107" fmla="*/ 367 h 438"/>
                <a:gd name="T108" fmla="*/ 452 w 505"/>
                <a:gd name="T109" fmla="*/ 354 h 438"/>
                <a:gd name="T110" fmla="*/ 447 w 505"/>
                <a:gd name="T111" fmla="*/ 332 h 438"/>
                <a:gd name="T112" fmla="*/ 438 w 505"/>
                <a:gd name="T113" fmla="*/ 314 h 438"/>
                <a:gd name="T114" fmla="*/ 429 w 505"/>
                <a:gd name="T115" fmla="*/ 283 h 438"/>
                <a:gd name="T116" fmla="*/ 452 w 505"/>
                <a:gd name="T117" fmla="*/ 270 h 438"/>
                <a:gd name="T118" fmla="*/ 478 w 505"/>
                <a:gd name="T119" fmla="*/ 279 h 438"/>
                <a:gd name="T120" fmla="*/ 491 w 505"/>
                <a:gd name="T121" fmla="*/ 261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5" h="438">
                  <a:moveTo>
                    <a:pt x="505" y="248"/>
                  </a:moveTo>
                  <a:lnTo>
                    <a:pt x="505" y="248"/>
                  </a:lnTo>
                  <a:lnTo>
                    <a:pt x="505" y="248"/>
                  </a:lnTo>
                  <a:lnTo>
                    <a:pt x="500" y="248"/>
                  </a:lnTo>
                  <a:lnTo>
                    <a:pt x="500" y="248"/>
                  </a:lnTo>
                  <a:lnTo>
                    <a:pt x="500" y="243"/>
                  </a:lnTo>
                  <a:lnTo>
                    <a:pt x="500" y="243"/>
                  </a:lnTo>
                  <a:lnTo>
                    <a:pt x="500" y="243"/>
                  </a:lnTo>
                  <a:lnTo>
                    <a:pt x="500" y="243"/>
                  </a:lnTo>
                  <a:lnTo>
                    <a:pt x="500" y="243"/>
                  </a:lnTo>
                  <a:lnTo>
                    <a:pt x="500" y="243"/>
                  </a:lnTo>
                  <a:lnTo>
                    <a:pt x="496" y="243"/>
                  </a:lnTo>
                  <a:lnTo>
                    <a:pt x="496" y="243"/>
                  </a:lnTo>
                  <a:lnTo>
                    <a:pt x="496" y="243"/>
                  </a:lnTo>
                  <a:lnTo>
                    <a:pt x="496" y="243"/>
                  </a:lnTo>
                  <a:lnTo>
                    <a:pt x="496" y="243"/>
                  </a:lnTo>
                  <a:lnTo>
                    <a:pt x="496" y="243"/>
                  </a:lnTo>
                  <a:lnTo>
                    <a:pt x="496" y="239"/>
                  </a:lnTo>
                  <a:lnTo>
                    <a:pt x="491" y="239"/>
                  </a:lnTo>
                  <a:lnTo>
                    <a:pt x="491" y="239"/>
                  </a:lnTo>
                  <a:lnTo>
                    <a:pt x="491" y="239"/>
                  </a:lnTo>
                  <a:lnTo>
                    <a:pt x="487" y="235"/>
                  </a:lnTo>
                  <a:lnTo>
                    <a:pt x="487" y="235"/>
                  </a:lnTo>
                  <a:lnTo>
                    <a:pt x="487" y="230"/>
                  </a:lnTo>
                  <a:lnTo>
                    <a:pt x="487" y="230"/>
                  </a:lnTo>
                  <a:lnTo>
                    <a:pt x="487" y="230"/>
                  </a:lnTo>
                  <a:lnTo>
                    <a:pt x="491" y="230"/>
                  </a:lnTo>
                  <a:lnTo>
                    <a:pt x="491" y="226"/>
                  </a:lnTo>
                  <a:lnTo>
                    <a:pt x="491" y="226"/>
                  </a:lnTo>
                  <a:lnTo>
                    <a:pt x="491" y="226"/>
                  </a:lnTo>
                  <a:lnTo>
                    <a:pt x="491" y="226"/>
                  </a:lnTo>
                  <a:lnTo>
                    <a:pt x="491" y="226"/>
                  </a:lnTo>
                  <a:lnTo>
                    <a:pt x="491" y="221"/>
                  </a:lnTo>
                  <a:lnTo>
                    <a:pt x="487" y="221"/>
                  </a:lnTo>
                  <a:lnTo>
                    <a:pt x="487" y="221"/>
                  </a:lnTo>
                  <a:lnTo>
                    <a:pt x="487" y="221"/>
                  </a:lnTo>
                  <a:lnTo>
                    <a:pt x="483" y="221"/>
                  </a:lnTo>
                  <a:lnTo>
                    <a:pt x="483" y="221"/>
                  </a:lnTo>
                  <a:lnTo>
                    <a:pt x="474" y="217"/>
                  </a:lnTo>
                  <a:lnTo>
                    <a:pt x="474" y="217"/>
                  </a:lnTo>
                  <a:lnTo>
                    <a:pt x="469" y="217"/>
                  </a:lnTo>
                  <a:lnTo>
                    <a:pt x="460" y="217"/>
                  </a:lnTo>
                  <a:lnTo>
                    <a:pt x="456" y="217"/>
                  </a:lnTo>
                  <a:lnTo>
                    <a:pt x="452" y="217"/>
                  </a:lnTo>
                  <a:lnTo>
                    <a:pt x="452" y="212"/>
                  </a:lnTo>
                  <a:lnTo>
                    <a:pt x="456" y="212"/>
                  </a:lnTo>
                  <a:lnTo>
                    <a:pt x="456" y="208"/>
                  </a:lnTo>
                  <a:lnTo>
                    <a:pt x="456" y="204"/>
                  </a:lnTo>
                  <a:lnTo>
                    <a:pt x="456" y="199"/>
                  </a:lnTo>
                  <a:lnTo>
                    <a:pt x="460" y="199"/>
                  </a:lnTo>
                  <a:lnTo>
                    <a:pt x="460" y="199"/>
                  </a:lnTo>
                  <a:lnTo>
                    <a:pt x="460" y="199"/>
                  </a:lnTo>
                  <a:lnTo>
                    <a:pt x="460" y="199"/>
                  </a:lnTo>
                  <a:lnTo>
                    <a:pt x="456" y="195"/>
                  </a:lnTo>
                  <a:lnTo>
                    <a:pt x="456" y="195"/>
                  </a:lnTo>
                  <a:lnTo>
                    <a:pt x="456" y="195"/>
                  </a:lnTo>
                  <a:lnTo>
                    <a:pt x="456" y="195"/>
                  </a:lnTo>
                  <a:lnTo>
                    <a:pt x="456" y="195"/>
                  </a:lnTo>
                  <a:lnTo>
                    <a:pt x="456" y="195"/>
                  </a:lnTo>
                  <a:lnTo>
                    <a:pt x="456" y="195"/>
                  </a:lnTo>
                  <a:lnTo>
                    <a:pt x="456" y="195"/>
                  </a:lnTo>
                  <a:lnTo>
                    <a:pt x="456" y="190"/>
                  </a:lnTo>
                  <a:lnTo>
                    <a:pt x="452" y="190"/>
                  </a:lnTo>
                  <a:lnTo>
                    <a:pt x="452" y="190"/>
                  </a:lnTo>
                  <a:lnTo>
                    <a:pt x="452" y="190"/>
                  </a:lnTo>
                  <a:lnTo>
                    <a:pt x="452" y="190"/>
                  </a:lnTo>
                  <a:lnTo>
                    <a:pt x="447" y="190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43" y="186"/>
                  </a:lnTo>
                  <a:lnTo>
                    <a:pt x="438" y="186"/>
                  </a:lnTo>
                  <a:lnTo>
                    <a:pt x="429" y="177"/>
                  </a:lnTo>
                  <a:lnTo>
                    <a:pt x="429" y="177"/>
                  </a:lnTo>
                  <a:lnTo>
                    <a:pt x="429" y="173"/>
                  </a:lnTo>
                  <a:lnTo>
                    <a:pt x="429" y="168"/>
                  </a:lnTo>
                  <a:lnTo>
                    <a:pt x="429" y="168"/>
                  </a:lnTo>
                  <a:lnTo>
                    <a:pt x="429" y="164"/>
                  </a:lnTo>
                  <a:lnTo>
                    <a:pt x="429" y="164"/>
                  </a:lnTo>
                  <a:lnTo>
                    <a:pt x="425" y="164"/>
                  </a:lnTo>
                  <a:lnTo>
                    <a:pt x="425" y="159"/>
                  </a:lnTo>
                  <a:lnTo>
                    <a:pt x="425" y="159"/>
                  </a:lnTo>
                  <a:lnTo>
                    <a:pt x="425" y="159"/>
                  </a:lnTo>
                  <a:lnTo>
                    <a:pt x="425" y="159"/>
                  </a:lnTo>
                  <a:lnTo>
                    <a:pt x="425" y="155"/>
                  </a:lnTo>
                  <a:lnTo>
                    <a:pt x="421" y="155"/>
                  </a:lnTo>
                  <a:lnTo>
                    <a:pt x="416" y="155"/>
                  </a:lnTo>
                  <a:lnTo>
                    <a:pt x="421" y="150"/>
                  </a:lnTo>
                  <a:lnTo>
                    <a:pt x="421" y="146"/>
                  </a:lnTo>
                  <a:lnTo>
                    <a:pt x="425" y="142"/>
                  </a:lnTo>
                  <a:lnTo>
                    <a:pt x="421" y="142"/>
                  </a:lnTo>
                  <a:lnTo>
                    <a:pt x="421" y="137"/>
                  </a:lnTo>
                  <a:lnTo>
                    <a:pt x="416" y="137"/>
                  </a:lnTo>
                  <a:lnTo>
                    <a:pt x="416" y="137"/>
                  </a:lnTo>
                  <a:lnTo>
                    <a:pt x="412" y="137"/>
                  </a:lnTo>
                  <a:lnTo>
                    <a:pt x="412" y="133"/>
                  </a:lnTo>
                  <a:lnTo>
                    <a:pt x="403" y="128"/>
                  </a:lnTo>
                  <a:lnTo>
                    <a:pt x="403" y="128"/>
                  </a:lnTo>
                  <a:lnTo>
                    <a:pt x="403" y="128"/>
                  </a:lnTo>
                  <a:lnTo>
                    <a:pt x="403" y="124"/>
                  </a:lnTo>
                  <a:lnTo>
                    <a:pt x="403" y="124"/>
                  </a:lnTo>
                  <a:lnTo>
                    <a:pt x="403" y="119"/>
                  </a:lnTo>
                  <a:lnTo>
                    <a:pt x="403" y="119"/>
                  </a:lnTo>
                  <a:lnTo>
                    <a:pt x="403" y="119"/>
                  </a:lnTo>
                  <a:lnTo>
                    <a:pt x="403" y="115"/>
                  </a:lnTo>
                  <a:lnTo>
                    <a:pt x="403" y="115"/>
                  </a:lnTo>
                  <a:lnTo>
                    <a:pt x="403" y="115"/>
                  </a:lnTo>
                  <a:lnTo>
                    <a:pt x="407" y="115"/>
                  </a:lnTo>
                  <a:lnTo>
                    <a:pt x="407" y="111"/>
                  </a:lnTo>
                  <a:lnTo>
                    <a:pt x="412" y="111"/>
                  </a:lnTo>
                  <a:lnTo>
                    <a:pt x="412" y="111"/>
                  </a:lnTo>
                  <a:lnTo>
                    <a:pt x="412" y="111"/>
                  </a:lnTo>
                  <a:lnTo>
                    <a:pt x="412" y="106"/>
                  </a:lnTo>
                  <a:lnTo>
                    <a:pt x="407" y="106"/>
                  </a:lnTo>
                  <a:lnTo>
                    <a:pt x="407" y="106"/>
                  </a:lnTo>
                  <a:lnTo>
                    <a:pt x="412" y="106"/>
                  </a:lnTo>
                  <a:lnTo>
                    <a:pt x="412" y="106"/>
                  </a:lnTo>
                  <a:lnTo>
                    <a:pt x="416" y="106"/>
                  </a:lnTo>
                  <a:lnTo>
                    <a:pt x="416" y="102"/>
                  </a:lnTo>
                  <a:lnTo>
                    <a:pt x="412" y="102"/>
                  </a:lnTo>
                  <a:lnTo>
                    <a:pt x="412" y="97"/>
                  </a:lnTo>
                  <a:lnTo>
                    <a:pt x="412" y="97"/>
                  </a:lnTo>
                  <a:lnTo>
                    <a:pt x="412" y="97"/>
                  </a:lnTo>
                  <a:lnTo>
                    <a:pt x="412" y="97"/>
                  </a:lnTo>
                  <a:lnTo>
                    <a:pt x="412" y="97"/>
                  </a:lnTo>
                  <a:lnTo>
                    <a:pt x="412" y="97"/>
                  </a:lnTo>
                  <a:lnTo>
                    <a:pt x="412" y="97"/>
                  </a:lnTo>
                  <a:lnTo>
                    <a:pt x="412" y="93"/>
                  </a:lnTo>
                  <a:lnTo>
                    <a:pt x="412" y="93"/>
                  </a:lnTo>
                  <a:lnTo>
                    <a:pt x="412" y="93"/>
                  </a:lnTo>
                  <a:lnTo>
                    <a:pt x="412" y="93"/>
                  </a:lnTo>
                  <a:lnTo>
                    <a:pt x="412" y="93"/>
                  </a:lnTo>
                  <a:lnTo>
                    <a:pt x="412" y="93"/>
                  </a:lnTo>
                  <a:lnTo>
                    <a:pt x="412" y="93"/>
                  </a:lnTo>
                  <a:lnTo>
                    <a:pt x="412" y="93"/>
                  </a:lnTo>
                  <a:lnTo>
                    <a:pt x="412" y="93"/>
                  </a:lnTo>
                  <a:lnTo>
                    <a:pt x="407" y="89"/>
                  </a:lnTo>
                  <a:lnTo>
                    <a:pt x="407" y="89"/>
                  </a:lnTo>
                  <a:lnTo>
                    <a:pt x="407" y="84"/>
                  </a:lnTo>
                  <a:lnTo>
                    <a:pt x="407" y="84"/>
                  </a:lnTo>
                  <a:lnTo>
                    <a:pt x="403" y="84"/>
                  </a:lnTo>
                  <a:lnTo>
                    <a:pt x="403" y="84"/>
                  </a:lnTo>
                  <a:lnTo>
                    <a:pt x="403" y="80"/>
                  </a:lnTo>
                  <a:lnTo>
                    <a:pt x="403" y="80"/>
                  </a:lnTo>
                  <a:lnTo>
                    <a:pt x="403" y="80"/>
                  </a:lnTo>
                  <a:lnTo>
                    <a:pt x="407" y="75"/>
                  </a:lnTo>
                  <a:lnTo>
                    <a:pt x="407" y="71"/>
                  </a:lnTo>
                  <a:lnTo>
                    <a:pt x="412" y="71"/>
                  </a:lnTo>
                  <a:lnTo>
                    <a:pt x="412" y="71"/>
                  </a:lnTo>
                  <a:lnTo>
                    <a:pt x="407" y="71"/>
                  </a:lnTo>
                  <a:lnTo>
                    <a:pt x="407" y="66"/>
                  </a:lnTo>
                  <a:lnTo>
                    <a:pt x="407" y="66"/>
                  </a:lnTo>
                  <a:lnTo>
                    <a:pt x="407" y="66"/>
                  </a:lnTo>
                  <a:lnTo>
                    <a:pt x="407" y="62"/>
                  </a:lnTo>
                  <a:lnTo>
                    <a:pt x="412" y="62"/>
                  </a:lnTo>
                  <a:lnTo>
                    <a:pt x="407" y="62"/>
                  </a:lnTo>
                  <a:lnTo>
                    <a:pt x="407" y="62"/>
                  </a:lnTo>
                  <a:lnTo>
                    <a:pt x="412" y="58"/>
                  </a:lnTo>
                  <a:lnTo>
                    <a:pt x="407" y="53"/>
                  </a:lnTo>
                  <a:lnTo>
                    <a:pt x="407" y="53"/>
                  </a:lnTo>
                  <a:lnTo>
                    <a:pt x="407" y="53"/>
                  </a:lnTo>
                  <a:lnTo>
                    <a:pt x="407" y="53"/>
                  </a:lnTo>
                  <a:lnTo>
                    <a:pt x="403" y="53"/>
                  </a:lnTo>
                  <a:lnTo>
                    <a:pt x="403" y="53"/>
                  </a:lnTo>
                  <a:lnTo>
                    <a:pt x="398" y="53"/>
                  </a:lnTo>
                  <a:lnTo>
                    <a:pt x="398" y="49"/>
                  </a:lnTo>
                  <a:lnTo>
                    <a:pt x="398" y="49"/>
                  </a:lnTo>
                  <a:lnTo>
                    <a:pt x="398" y="49"/>
                  </a:lnTo>
                  <a:lnTo>
                    <a:pt x="398" y="49"/>
                  </a:lnTo>
                  <a:lnTo>
                    <a:pt x="394" y="49"/>
                  </a:lnTo>
                  <a:lnTo>
                    <a:pt x="394" y="49"/>
                  </a:lnTo>
                  <a:lnTo>
                    <a:pt x="394" y="44"/>
                  </a:lnTo>
                  <a:lnTo>
                    <a:pt x="394" y="44"/>
                  </a:lnTo>
                  <a:lnTo>
                    <a:pt x="394" y="44"/>
                  </a:lnTo>
                  <a:lnTo>
                    <a:pt x="394" y="44"/>
                  </a:lnTo>
                  <a:lnTo>
                    <a:pt x="394" y="44"/>
                  </a:lnTo>
                  <a:lnTo>
                    <a:pt x="394" y="40"/>
                  </a:lnTo>
                  <a:lnTo>
                    <a:pt x="394" y="40"/>
                  </a:lnTo>
                  <a:lnTo>
                    <a:pt x="390" y="40"/>
                  </a:lnTo>
                  <a:lnTo>
                    <a:pt x="385" y="35"/>
                  </a:lnTo>
                  <a:lnTo>
                    <a:pt x="385" y="35"/>
                  </a:lnTo>
                  <a:lnTo>
                    <a:pt x="385" y="35"/>
                  </a:lnTo>
                  <a:lnTo>
                    <a:pt x="385" y="35"/>
                  </a:lnTo>
                  <a:lnTo>
                    <a:pt x="385" y="35"/>
                  </a:lnTo>
                  <a:lnTo>
                    <a:pt x="385" y="35"/>
                  </a:lnTo>
                  <a:lnTo>
                    <a:pt x="376" y="31"/>
                  </a:lnTo>
                  <a:lnTo>
                    <a:pt x="376" y="31"/>
                  </a:lnTo>
                  <a:lnTo>
                    <a:pt x="372" y="27"/>
                  </a:lnTo>
                  <a:lnTo>
                    <a:pt x="372" y="27"/>
                  </a:lnTo>
                  <a:lnTo>
                    <a:pt x="372" y="27"/>
                  </a:lnTo>
                  <a:lnTo>
                    <a:pt x="367" y="31"/>
                  </a:lnTo>
                  <a:lnTo>
                    <a:pt x="367" y="31"/>
                  </a:lnTo>
                  <a:lnTo>
                    <a:pt x="359" y="31"/>
                  </a:lnTo>
                  <a:lnTo>
                    <a:pt x="359" y="31"/>
                  </a:lnTo>
                  <a:lnTo>
                    <a:pt x="359" y="31"/>
                  </a:lnTo>
                  <a:lnTo>
                    <a:pt x="354" y="31"/>
                  </a:lnTo>
                  <a:lnTo>
                    <a:pt x="354" y="31"/>
                  </a:lnTo>
                  <a:lnTo>
                    <a:pt x="350" y="35"/>
                  </a:lnTo>
                  <a:lnTo>
                    <a:pt x="350" y="35"/>
                  </a:lnTo>
                  <a:lnTo>
                    <a:pt x="345" y="35"/>
                  </a:lnTo>
                  <a:lnTo>
                    <a:pt x="345" y="35"/>
                  </a:lnTo>
                  <a:lnTo>
                    <a:pt x="341" y="40"/>
                  </a:lnTo>
                  <a:lnTo>
                    <a:pt x="336" y="44"/>
                  </a:lnTo>
                  <a:lnTo>
                    <a:pt x="332" y="44"/>
                  </a:lnTo>
                  <a:lnTo>
                    <a:pt x="332" y="44"/>
                  </a:lnTo>
                  <a:lnTo>
                    <a:pt x="332" y="40"/>
                  </a:lnTo>
                  <a:lnTo>
                    <a:pt x="328" y="40"/>
                  </a:lnTo>
                  <a:lnTo>
                    <a:pt x="328" y="35"/>
                  </a:lnTo>
                  <a:lnTo>
                    <a:pt x="328" y="35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27"/>
                  </a:lnTo>
                  <a:lnTo>
                    <a:pt x="328" y="27"/>
                  </a:lnTo>
                  <a:lnTo>
                    <a:pt x="328" y="27"/>
                  </a:lnTo>
                  <a:lnTo>
                    <a:pt x="328" y="27"/>
                  </a:lnTo>
                  <a:lnTo>
                    <a:pt x="332" y="27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28" y="18"/>
                  </a:lnTo>
                  <a:lnTo>
                    <a:pt x="328" y="18"/>
                  </a:lnTo>
                  <a:lnTo>
                    <a:pt x="319" y="18"/>
                  </a:lnTo>
                  <a:lnTo>
                    <a:pt x="319" y="13"/>
                  </a:lnTo>
                  <a:lnTo>
                    <a:pt x="314" y="13"/>
                  </a:lnTo>
                  <a:lnTo>
                    <a:pt x="314" y="13"/>
                  </a:lnTo>
                  <a:lnTo>
                    <a:pt x="310" y="13"/>
                  </a:lnTo>
                  <a:lnTo>
                    <a:pt x="305" y="13"/>
                  </a:lnTo>
                  <a:lnTo>
                    <a:pt x="305" y="13"/>
                  </a:lnTo>
                  <a:lnTo>
                    <a:pt x="305" y="13"/>
                  </a:lnTo>
                  <a:lnTo>
                    <a:pt x="305" y="13"/>
                  </a:lnTo>
                  <a:lnTo>
                    <a:pt x="305" y="13"/>
                  </a:lnTo>
                  <a:lnTo>
                    <a:pt x="301" y="18"/>
                  </a:lnTo>
                  <a:lnTo>
                    <a:pt x="301" y="18"/>
                  </a:lnTo>
                  <a:lnTo>
                    <a:pt x="301" y="22"/>
                  </a:lnTo>
                  <a:lnTo>
                    <a:pt x="297" y="22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2" y="13"/>
                  </a:lnTo>
                  <a:lnTo>
                    <a:pt x="292" y="13"/>
                  </a:lnTo>
                  <a:lnTo>
                    <a:pt x="292" y="9"/>
                  </a:lnTo>
                  <a:lnTo>
                    <a:pt x="288" y="9"/>
                  </a:lnTo>
                  <a:lnTo>
                    <a:pt x="288" y="9"/>
                  </a:lnTo>
                  <a:lnTo>
                    <a:pt x="288" y="4"/>
                  </a:lnTo>
                  <a:lnTo>
                    <a:pt x="288" y="4"/>
                  </a:lnTo>
                  <a:lnTo>
                    <a:pt x="283" y="4"/>
                  </a:lnTo>
                  <a:lnTo>
                    <a:pt x="274" y="4"/>
                  </a:lnTo>
                  <a:lnTo>
                    <a:pt x="274" y="9"/>
                  </a:lnTo>
                  <a:lnTo>
                    <a:pt x="274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66" y="4"/>
                  </a:lnTo>
                  <a:lnTo>
                    <a:pt x="266" y="0"/>
                  </a:lnTo>
                  <a:lnTo>
                    <a:pt x="261" y="0"/>
                  </a:lnTo>
                  <a:lnTo>
                    <a:pt x="261" y="0"/>
                  </a:lnTo>
                  <a:lnTo>
                    <a:pt x="257" y="0"/>
                  </a:lnTo>
                  <a:lnTo>
                    <a:pt x="257" y="4"/>
                  </a:lnTo>
                  <a:lnTo>
                    <a:pt x="257" y="4"/>
                  </a:lnTo>
                  <a:lnTo>
                    <a:pt x="252" y="4"/>
                  </a:lnTo>
                  <a:lnTo>
                    <a:pt x="252" y="4"/>
                  </a:lnTo>
                  <a:lnTo>
                    <a:pt x="252" y="4"/>
                  </a:lnTo>
                  <a:lnTo>
                    <a:pt x="252" y="4"/>
                  </a:lnTo>
                  <a:lnTo>
                    <a:pt x="252" y="9"/>
                  </a:lnTo>
                  <a:lnTo>
                    <a:pt x="248" y="9"/>
                  </a:lnTo>
                  <a:lnTo>
                    <a:pt x="248" y="13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4" y="18"/>
                  </a:lnTo>
                  <a:lnTo>
                    <a:pt x="239" y="22"/>
                  </a:lnTo>
                  <a:lnTo>
                    <a:pt x="235" y="27"/>
                  </a:lnTo>
                  <a:lnTo>
                    <a:pt x="235" y="31"/>
                  </a:lnTo>
                  <a:lnTo>
                    <a:pt x="235" y="31"/>
                  </a:lnTo>
                  <a:lnTo>
                    <a:pt x="235" y="35"/>
                  </a:lnTo>
                  <a:lnTo>
                    <a:pt x="235" y="35"/>
                  </a:lnTo>
                  <a:lnTo>
                    <a:pt x="226" y="35"/>
                  </a:lnTo>
                  <a:lnTo>
                    <a:pt x="226" y="31"/>
                  </a:lnTo>
                  <a:lnTo>
                    <a:pt x="221" y="31"/>
                  </a:lnTo>
                  <a:lnTo>
                    <a:pt x="221" y="31"/>
                  </a:lnTo>
                  <a:lnTo>
                    <a:pt x="221" y="31"/>
                  </a:lnTo>
                  <a:lnTo>
                    <a:pt x="217" y="35"/>
                  </a:lnTo>
                  <a:lnTo>
                    <a:pt x="217" y="35"/>
                  </a:lnTo>
                  <a:lnTo>
                    <a:pt x="217" y="35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08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199" y="31"/>
                  </a:lnTo>
                  <a:lnTo>
                    <a:pt x="199" y="35"/>
                  </a:lnTo>
                  <a:lnTo>
                    <a:pt x="195" y="40"/>
                  </a:lnTo>
                  <a:lnTo>
                    <a:pt x="195" y="44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86" y="44"/>
                  </a:lnTo>
                  <a:lnTo>
                    <a:pt x="186" y="44"/>
                  </a:lnTo>
                  <a:lnTo>
                    <a:pt x="182" y="44"/>
                  </a:lnTo>
                  <a:lnTo>
                    <a:pt x="182" y="44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53"/>
                  </a:lnTo>
                  <a:lnTo>
                    <a:pt x="182" y="53"/>
                  </a:lnTo>
                  <a:lnTo>
                    <a:pt x="182" y="58"/>
                  </a:lnTo>
                  <a:lnTo>
                    <a:pt x="182" y="58"/>
                  </a:lnTo>
                  <a:lnTo>
                    <a:pt x="177" y="58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7" y="66"/>
                  </a:lnTo>
                  <a:lnTo>
                    <a:pt x="177" y="66"/>
                  </a:lnTo>
                  <a:lnTo>
                    <a:pt x="177" y="66"/>
                  </a:lnTo>
                  <a:lnTo>
                    <a:pt x="177" y="71"/>
                  </a:lnTo>
                  <a:lnTo>
                    <a:pt x="177" y="71"/>
                  </a:lnTo>
                  <a:lnTo>
                    <a:pt x="173" y="75"/>
                  </a:lnTo>
                  <a:lnTo>
                    <a:pt x="173" y="75"/>
                  </a:lnTo>
                  <a:lnTo>
                    <a:pt x="173" y="75"/>
                  </a:lnTo>
                  <a:lnTo>
                    <a:pt x="177" y="80"/>
                  </a:lnTo>
                  <a:lnTo>
                    <a:pt x="177" y="80"/>
                  </a:lnTo>
                  <a:lnTo>
                    <a:pt x="177" y="80"/>
                  </a:lnTo>
                  <a:lnTo>
                    <a:pt x="182" y="80"/>
                  </a:lnTo>
                  <a:lnTo>
                    <a:pt x="190" y="80"/>
                  </a:lnTo>
                  <a:lnTo>
                    <a:pt x="190" y="80"/>
                  </a:lnTo>
                  <a:lnTo>
                    <a:pt x="195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86" y="84"/>
                  </a:lnTo>
                  <a:lnTo>
                    <a:pt x="186" y="84"/>
                  </a:lnTo>
                  <a:lnTo>
                    <a:pt x="186" y="89"/>
                  </a:lnTo>
                  <a:lnTo>
                    <a:pt x="186" y="89"/>
                  </a:lnTo>
                  <a:lnTo>
                    <a:pt x="186" y="89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2" y="97"/>
                  </a:lnTo>
                  <a:lnTo>
                    <a:pt x="182" y="97"/>
                  </a:lnTo>
                  <a:lnTo>
                    <a:pt x="177" y="93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3" y="97"/>
                  </a:lnTo>
                  <a:lnTo>
                    <a:pt x="173" y="97"/>
                  </a:lnTo>
                  <a:lnTo>
                    <a:pt x="173" y="97"/>
                  </a:lnTo>
                  <a:lnTo>
                    <a:pt x="168" y="93"/>
                  </a:lnTo>
                  <a:lnTo>
                    <a:pt x="164" y="93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64" y="102"/>
                  </a:lnTo>
                  <a:lnTo>
                    <a:pt x="164" y="102"/>
                  </a:lnTo>
                  <a:lnTo>
                    <a:pt x="164" y="102"/>
                  </a:lnTo>
                  <a:lnTo>
                    <a:pt x="159" y="106"/>
                  </a:lnTo>
                  <a:lnTo>
                    <a:pt x="159" y="106"/>
                  </a:lnTo>
                  <a:lnTo>
                    <a:pt x="159" y="111"/>
                  </a:lnTo>
                  <a:lnTo>
                    <a:pt x="159" y="111"/>
                  </a:lnTo>
                  <a:lnTo>
                    <a:pt x="155" y="111"/>
                  </a:lnTo>
                  <a:lnTo>
                    <a:pt x="151" y="111"/>
                  </a:lnTo>
                  <a:lnTo>
                    <a:pt x="151" y="111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2" y="115"/>
                  </a:lnTo>
                  <a:lnTo>
                    <a:pt x="142" y="115"/>
                  </a:lnTo>
                  <a:lnTo>
                    <a:pt x="142" y="115"/>
                  </a:lnTo>
                  <a:lnTo>
                    <a:pt x="142" y="115"/>
                  </a:lnTo>
                  <a:lnTo>
                    <a:pt x="142" y="115"/>
                  </a:lnTo>
                  <a:lnTo>
                    <a:pt x="142" y="119"/>
                  </a:lnTo>
                  <a:lnTo>
                    <a:pt x="142" y="119"/>
                  </a:lnTo>
                  <a:lnTo>
                    <a:pt x="137" y="119"/>
                  </a:lnTo>
                  <a:lnTo>
                    <a:pt x="137" y="119"/>
                  </a:lnTo>
                  <a:lnTo>
                    <a:pt x="137" y="124"/>
                  </a:lnTo>
                  <a:lnTo>
                    <a:pt x="137" y="124"/>
                  </a:lnTo>
                  <a:lnTo>
                    <a:pt x="137" y="124"/>
                  </a:lnTo>
                  <a:lnTo>
                    <a:pt x="137" y="124"/>
                  </a:lnTo>
                  <a:lnTo>
                    <a:pt x="137" y="124"/>
                  </a:lnTo>
                  <a:lnTo>
                    <a:pt x="137" y="124"/>
                  </a:lnTo>
                  <a:lnTo>
                    <a:pt x="137" y="124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7" y="133"/>
                  </a:lnTo>
                  <a:lnTo>
                    <a:pt x="137" y="133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3" y="137"/>
                  </a:lnTo>
                  <a:lnTo>
                    <a:pt x="137" y="142"/>
                  </a:lnTo>
                  <a:lnTo>
                    <a:pt x="137" y="142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3" y="150"/>
                  </a:lnTo>
                  <a:lnTo>
                    <a:pt x="133" y="150"/>
                  </a:lnTo>
                  <a:lnTo>
                    <a:pt x="133" y="150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9"/>
                  </a:lnTo>
                  <a:lnTo>
                    <a:pt x="128" y="159"/>
                  </a:lnTo>
                  <a:lnTo>
                    <a:pt x="128" y="164"/>
                  </a:lnTo>
                  <a:lnTo>
                    <a:pt x="128" y="164"/>
                  </a:lnTo>
                  <a:lnTo>
                    <a:pt x="124" y="168"/>
                  </a:lnTo>
                  <a:lnTo>
                    <a:pt x="124" y="168"/>
                  </a:lnTo>
                  <a:lnTo>
                    <a:pt x="128" y="168"/>
                  </a:lnTo>
                  <a:lnTo>
                    <a:pt x="128" y="173"/>
                  </a:lnTo>
                  <a:lnTo>
                    <a:pt x="128" y="173"/>
                  </a:lnTo>
                  <a:lnTo>
                    <a:pt x="133" y="168"/>
                  </a:lnTo>
                  <a:lnTo>
                    <a:pt x="133" y="168"/>
                  </a:lnTo>
                  <a:lnTo>
                    <a:pt x="133" y="168"/>
                  </a:lnTo>
                  <a:lnTo>
                    <a:pt x="133" y="168"/>
                  </a:lnTo>
                  <a:lnTo>
                    <a:pt x="133" y="173"/>
                  </a:lnTo>
                  <a:lnTo>
                    <a:pt x="137" y="173"/>
                  </a:lnTo>
                  <a:lnTo>
                    <a:pt x="137" y="173"/>
                  </a:lnTo>
                  <a:lnTo>
                    <a:pt x="137" y="173"/>
                  </a:lnTo>
                  <a:lnTo>
                    <a:pt x="137" y="173"/>
                  </a:lnTo>
                  <a:lnTo>
                    <a:pt x="137" y="173"/>
                  </a:lnTo>
                  <a:lnTo>
                    <a:pt x="137" y="173"/>
                  </a:lnTo>
                  <a:lnTo>
                    <a:pt x="137" y="173"/>
                  </a:lnTo>
                  <a:lnTo>
                    <a:pt x="137" y="173"/>
                  </a:lnTo>
                  <a:lnTo>
                    <a:pt x="137" y="177"/>
                  </a:lnTo>
                  <a:lnTo>
                    <a:pt x="137" y="177"/>
                  </a:lnTo>
                  <a:lnTo>
                    <a:pt x="137" y="177"/>
                  </a:lnTo>
                  <a:lnTo>
                    <a:pt x="137" y="177"/>
                  </a:lnTo>
                  <a:lnTo>
                    <a:pt x="137" y="177"/>
                  </a:lnTo>
                  <a:lnTo>
                    <a:pt x="137" y="177"/>
                  </a:lnTo>
                  <a:lnTo>
                    <a:pt x="137" y="177"/>
                  </a:lnTo>
                  <a:lnTo>
                    <a:pt x="137" y="177"/>
                  </a:lnTo>
                  <a:lnTo>
                    <a:pt x="137" y="181"/>
                  </a:lnTo>
                  <a:lnTo>
                    <a:pt x="137" y="186"/>
                  </a:lnTo>
                  <a:lnTo>
                    <a:pt x="137" y="186"/>
                  </a:lnTo>
                  <a:lnTo>
                    <a:pt x="137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33" y="186"/>
                  </a:lnTo>
                  <a:lnTo>
                    <a:pt x="128" y="186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1"/>
                  </a:lnTo>
                  <a:lnTo>
                    <a:pt x="124" y="181"/>
                  </a:lnTo>
                  <a:lnTo>
                    <a:pt x="124" y="181"/>
                  </a:lnTo>
                  <a:lnTo>
                    <a:pt x="124" y="181"/>
                  </a:lnTo>
                  <a:lnTo>
                    <a:pt x="124" y="181"/>
                  </a:lnTo>
                  <a:lnTo>
                    <a:pt x="124" y="177"/>
                  </a:lnTo>
                  <a:lnTo>
                    <a:pt x="124" y="177"/>
                  </a:lnTo>
                  <a:lnTo>
                    <a:pt x="124" y="177"/>
                  </a:lnTo>
                  <a:lnTo>
                    <a:pt x="128" y="177"/>
                  </a:lnTo>
                  <a:lnTo>
                    <a:pt x="128" y="177"/>
                  </a:lnTo>
                  <a:lnTo>
                    <a:pt x="124" y="173"/>
                  </a:lnTo>
                  <a:lnTo>
                    <a:pt x="124" y="173"/>
                  </a:lnTo>
                  <a:lnTo>
                    <a:pt x="124" y="173"/>
                  </a:lnTo>
                  <a:lnTo>
                    <a:pt x="124" y="173"/>
                  </a:lnTo>
                  <a:lnTo>
                    <a:pt x="120" y="173"/>
                  </a:lnTo>
                  <a:lnTo>
                    <a:pt x="120" y="177"/>
                  </a:lnTo>
                  <a:lnTo>
                    <a:pt x="115" y="177"/>
                  </a:lnTo>
                  <a:lnTo>
                    <a:pt x="111" y="177"/>
                  </a:lnTo>
                  <a:lnTo>
                    <a:pt x="111" y="173"/>
                  </a:lnTo>
                  <a:lnTo>
                    <a:pt x="111" y="177"/>
                  </a:lnTo>
                  <a:lnTo>
                    <a:pt x="106" y="177"/>
                  </a:lnTo>
                  <a:lnTo>
                    <a:pt x="106" y="181"/>
                  </a:lnTo>
                  <a:lnTo>
                    <a:pt x="106" y="181"/>
                  </a:lnTo>
                  <a:lnTo>
                    <a:pt x="102" y="186"/>
                  </a:lnTo>
                  <a:lnTo>
                    <a:pt x="102" y="186"/>
                  </a:lnTo>
                  <a:lnTo>
                    <a:pt x="97" y="186"/>
                  </a:lnTo>
                  <a:lnTo>
                    <a:pt x="93" y="186"/>
                  </a:lnTo>
                  <a:lnTo>
                    <a:pt x="93" y="186"/>
                  </a:lnTo>
                  <a:lnTo>
                    <a:pt x="89" y="186"/>
                  </a:lnTo>
                  <a:lnTo>
                    <a:pt x="89" y="186"/>
                  </a:lnTo>
                  <a:lnTo>
                    <a:pt x="89" y="186"/>
                  </a:lnTo>
                  <a:lnTo>
                    <a:pt x="89" y="186"/>
                  </a:lnTo>
                  <a:lnTo>
                    <a:pt x="89" y="186"/>
                  </a:lnTo>
                  <a:lnTo>
                    <a:pt x="89" y="186"/>
                  </a:lnTo>
                  <a:lnTo>
                    <a:pt x="89" y="186"/>
                  </a:lnTo>
                  <a:lnTo>
                    <a:pt x="89" y="190"/>
                  </a:lnTo>
                  <a:lnTo>
                    <a:pt x="89" y="190"/>
                  </a:lnTo>
                  <a:lnTo>
                    <a:pt x="84" y="190"/>
                  </a:lnTo>
                  <a:lnTo>
                    <a:pt x="84" y="190"/>
                  </a:lnTo>
                  <a:lnTo>
                    <a:pt x="89" y="190"/>
                  </a:lnTo>
                  <a:lnTo>
                    <a:pt x="89" y="195"/>
                  </a:lnTo>
                  <a:lnTo>
                    <a:pt x="89" y="195"/>
                  </a:lnTo>
                  <a:lnTo>
                    <a:pt x="89" y="195"/>
                  </a:lnTo>
                  <a:lnTo>
                    <a:pt x="89" y="199"/>
                  </a:lnTo>
                  <a:lnTo>
                    <a:pt x="89" y="199"/>
                  </a:lnTo>
                  <a:lnTo>
                    <a:pt x="89" y="199"/>
                  </a:lnTo>
                  <a:lnTo>
                    <a:pt x="89" y="199"/>
                  </a:lnTo>
                  <a:lnTo>
                    <a:pt x="89" y="199"/>
                  </a:lnTo>
                  <a:lnTo>
                    <a:pt x="84" y="199"/>
                  </a:lnTo>
                  <a:lnTo>
                    <a:pt x="84" y="199"/>
                  </a:lnTo>
                  <a:lnTo>
                    <a:pt x="80" y="199"/>
                  </a:lnTo>
                  <a:lnTo>
                    <a:pt x="80" y="199"/>
                  </a:lnTo>
                  <a:lnTo>
                    <a:pt x="80" y="199"/>
                  </a:lnTo>
                  <a:lnTo>
                    <a:pt x="80" y="199"/>
                  </a:lnTo>
                  <a:lnTo>
                    <a:pt x="80" y="199"/>
                  </a:lnTo>
                  <a:lnTo>
                    <a:pt x="80" y="199"/>
                  </a:lnTo>
                  <a:lnTo>
                    <a:pt x="75" y="199"/>
                  </a:lnTo>
                  <a:lnTo>
                    <a:pt x="71" y="204"/>
                  </a:lnTo>
                  <a:lnTo>
                    <a:pt x="66" y="208"/>
                  </a:lnTo>
                  <a:lnTo>
                    <a:pt x="66" y="208"/>
                  </a:lnTo>
                  <a:lnTo>
                    <a:pt x="62" y="208"/>
                  </a:lnTo>
                  <a:lnTo>
                    <a:pt x="62" y="208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53" y="204"/>
                  </a:lnTo>
                  <a:lnTo>
                    <a:pt x="53" y="204"/>
                  </a:lnTo>
                  <a:lnTo>
                    <a:pt x="49" y="204"/>
                  </a:lnTo>
                  <a:lnTo>
                    <a:pt x="49" y="204"/>
                  </a:lnTo>
                  <a:lnTo>
                    <a:pt x="44" y="204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40" y="204"/>
                  </a:lnTo>
                  <a:lnTo>
                    <a:pt x="40" y="204"/>
                  </a:lnTo>
                  <a:lnTo>
                    <a:pt x="35" y="204"/>
                  </a:lnTo>
                  <a:lnTo>
                    <a:pt x="35" y="204"/>
                  </a:lnTo>
                  <a:lnTo>
                    <a:pt x="35" y="204"/>
                  </a:lnTo>
                  <a:lnTo>
                    <a:pt x="35" y="204"/>
                  </a:lnTo>
                  <a:lnTo>
                    <a:pt x="35" y="204"/>
                  </a:lnTo>
                  <a:lnTo>
                    <a:pt x="31" y="204"/>
                  </a:lnTo>
                  <a:lnTo>
                    <a:pt x="31" y="204"/>
                  </a:lnTo>
                  <a:lnTo>
                    <a:pt x="27" y="208"/>
                  </a:lnTo>
                  <a:lnTo>
                    <a:pt x="27" y="208"/>
                  </a:lnTo>
                  <a:lnTo>
                    <a:pt x="27" y="208"/>
                  </a:lnTo>
                  <a:lnTo>
                    <a:pt x="27" y="208"/>
                  </a:lnTo>
                  <a:lnTo>
                    <a:pt x="18" y="204"/>
                  </a:lnTo>
                  <a:lnTo>
                    <a:pt x="18" y="204"/>
                  </a:lnTo>
                  <a:lnTo>
                    <a:pt x="18" y="208"/>
                  </a:lnTo>
                  <a:lnTo>
                    <a:pt x="18" y="208"/>
                  </a:lnTo>
                  <a:lnTo>
                    <a:pt x="18" y="212"/>
                  </a:lnTo>
                  <a:lnTo>
                    <a:pt x="18" y="212"/>
                  </a:lnTo>
                  <a:lnTo>
                    <a:pt x="22" y="217"/>
                  </a:lnTo>
                  <a:lnTo>
                    <a:pt x="22" y="217"/>
                  </a:lnTo>
                  <a:lnTo>
                    <a:pt x="22" y="221"/>
                  </a:lnTo>
                  <a:lnTo>
                    <a:pt x="22" y="221"/>
                  </a:lnTo>
                  <a:lnTo>
                    <a:pt x="22" y="221"/>
                  </a:lnTo>
                  <a:lnTo>
                    <a:pt x="22" y="226"/>
                  </a:lnTo>
                  <a:lnTo>
                    <a:pt x="22" y="235"/>
                  </a:lnTo>
                  <a:lnTo>
                    <a:pt x="27" y="248"/>
                  </a:lnTo>
                  <a:lnTo>
                    <a:pt x="31" y="252"/>
                  </a:lnTo>
                  <a:lnTo>
                    <a:pt x="31" y="252"/>
                  </a:lnTo>
                  <a:lnTo>
                    <a:pt x="35" y="261"/>
                  </a:lnTo>
                  <a:lnTo>
                    <a:pt x="35" y="266"/>
                  </a:lnTo>
                  <a:lnTo>
                    <a:pt x="35" y="266"/>
                  </a:lnTo>
                  <a:lnTo>
                    <a:pt x="35" y="266"/>
                  </a:lnTo>
                  <a:lnTo>
                    <a:pt x="35" y="270"/>
                  </a:lnTo>
                  <a:lnTo>
                    <a:pt x="35" y="270"/>
                  </a:lnTo>
                  <a:lnTo>
                    <a:pt x="40" y="270"/>
                  </a:lnTo>
                  <a:lnTo>
                    <a:pt x="40" y="270"/>
                  </a:lnTo>
                  <a:lnTo>
                    <a:pt x="40" y="274"/>
                  </a:lnTo>
                  <a:lnTo>
                    <a:pt x="40" y="274"/>
                  </a:lnTo>
                  <a:lnTo>
                    <a:pt x="40" y="274"/>
                  </a:lnTo>
                  <a:lnTo>
                    <a:pt x="40" y="279"/>
                  </a:lnTo>
                  <a:lnTo>
                    <a:pt x="35" y="279"/>
                  </a:lnTo>
                  <a:lnTo>
                    <a:pt x="35" y="279"/>
                  </a:lnTo>
                  <a:lnTo>
                    <a:pt x="40" y="283"/>
                  </a:lnTo>
                  <a:lnTo>
                    <a:pt x="40" y="283"/>
                  </a:lnTo>
                  <a:lnTo>
                    <a:pt x="40" y="283"/>
                  </a:lnTo>
                  <a:lnTo>
                    <a:pt x="40" y="288"/>
                  </a:lnTo>
                  <a:lnTo>
                    <a:pt x="40" y="288"/>
                  </a:lnTo>
                  <a:lnTo>
                    <a:pt x="40" y="288"/>
                  </a:lnTo>
                  <a:lnTo>
                    <a:pt x="40" y="292"/>
                  </a:lnTo>
                  <a:lnTo>
                    <a:pt x="40" y="292"/>
                  </a:lnTo>
                  <a:lnTo>
                    <a:pt x="40" y="292"/>
                  </a:lnTo>
                  <a:lnTo>
                    <a:pt x="40" y="292"/>
                  </a:lnTo>
                  <a:lnTo>
                    <a:pt x="40" y="292"/>
                  </a:lnTo>
                  <a:lnTo>
                    <a:pt x="40" y="292"/>
                  </a:lnTo>
                  <a:lnTo>
                    <a:pt x="40" y="297"/>
                  </a:lnTo>
                  <a:lnTo>
                    <a:pt x="40" y="297"/>
                  </a:lnTo>
                  <a:lnTo>
                    <a:pt x="40" y="297"/>
                  </a:lnTo>
                  <a:lnTo>
                    <a:pt x="40" y="305"/>
                  </a:lnTo>
                  <a:lnTo>
                    <a:pt x="40" y="310"/>
                  </a:lnTo>
                  <a:lnTo>
                    <a:pt x="40" y="314"/>
                  </a:lnTo>
                  <a:lnTo>
                    <a:pt x="40" y="314"/>
                  </a:lnTo>
                  <a:lnTo>
                    <a:pt x="31" y="319"/>
                  </a:lnTo>
                  <a:lnTo>
                    <a:pt x="22" y="323"/>
                  </a:lnTo>
                  <a:lnTo>
                    <a:pt x="18" y="323"/>
                  </a:lnTo>
                  <a:lnTo>
                    <a:pt x="13" y="328"/>
                  </a:lnTo>
                  <a:lnTo>
                    <a:pt x="4" y="341"/>
                  </a:lnTo>
                  <a:lnTo>
                    <a:pt x="4" y="341"/>
                  </a:lnTo>
                  <a:lnTo>
                    <a:pt x="4" y="341"/>
                  </a:lnTo>
                  <a:lnTo>
                    <a:pt x="0" y="350"/>
                  </a:lnTo>
                  <a:lnTo>
                    <a:pt x="0" y="350"/>
                  </a:lnTo>
                  <a:lnTo>
                    <a:pt x="0" y="350"/>
                  </a:lnTo>
                  <a:lnTo>
                    <a:pt x="0" y="350"/>
                  </a:lnTo>
                  <a:lnTo>
                    <a:pt x="4" y="350"/>
                  </a:lnTo>
                  <a:lnTo>
                    <a:pt x="4" y="350"/>
                  </a:lnTo>
                  <a:lnTo>
                    <a:pt x="0" y="354"/>
                  </a:lnTo>
                  <a:lnTo>
                    <a:pt x="4" y="354"/>
                  </a:lnTo>
                  <a:lnTo>
                    <a:pt x="9" y="354"/>
                  </a:lnTo>
                  <a:lnTo>
                    <a:pt x="9" y="354"/>
                  </a:lnTo>
                  <a:lnTo>
                    <a:pt x="9" y="354"/>
                  </a:lnTo>
                  <a:lnTo>
                    <a:pt x="13" y="354"/>
                  </a:lnTo>
                  <a:lnTo>
                    <a:pt x="13" y="354"/>
                  </a:lnTo>
                  <a:lnTo>
                    <a:pt x="13" y="354"/>
                  </a:lnTo>
                  <a:lnTo>
                    <a:pt x="13" y="359"/>
                  </a:lnTo>
                  <a:lnTo>
                    <a:pt x="13" y="359"/>
                  </a:lnTo>
                  <a:lnTo>
                    <a:pt x="13" y="359"/>
                  </a:lnTo>
                  <a:lnTo>
                    <a:pt x="13" y="359"/>
                  </a:lnTo>
                  <a:lnTo>
                    <a:pt x="13" y="359"/>
                  </a:lnTo>
                  <a:lnTo>
                    <a:pt x="13" y="359"/>
                  </a:lnTo>
                  <a:lnTo>
                    <a:pt x="18" y="359"/>
                  </a:lnTo>
                  <a:lnTo>
                    <a:pt x="18" y="359"/>
                  </a:lnTo>
                  <a:lnTo>
                    <a:pt x="18" y="359"/>
                  </a:lnTo>
                  <a:lnTo>
                    <a:pt x="18" y="359"/>
                  </a:lnTo>
                  <a:lnTo>
                    <a:pt x="18" y="359"/>
                  </a:lnTo>
                  <a:lnTo>
                    <a:pt x="18" y="359"/>
                  </a:lnTo>
                  <a:lnTo>
                    <a:pt x="18" y="359"/>
                  </a:lnTo>
                  <a:lnTo>
                    <a:pt x="18" y="359"/>
                  </a:lnTo>
                  <a:lnTo>
                    <a:pt x="18" y="363"/>
                  </a:lnTo>
                  <a:lnTo>
                    <a:pt x="22" y="363"/>
                  </a:lnTo>
                  <a:lnTo>
                    <a:pt x="22" y="363"/>
                  </a:lnTo>
                  <a:lnTo>
                    <a:pt x="22" y="363"/>
                  </a:lnTo>
                  <a:lnTo>
                    <a:pt x="22" y="363"/>
                  </a:lnTo>
                  <a:lnTo>
                    <a:pt x="27" y="363"/>
                  </a:lnTo>
                  <a:lnTo>
                    <a:pt x="27" y="363"/>
                  </a:lnTo>
                  <a:lnTo>
                    <a:pt x="27" y="363"/>
                  </a:lnTo>
                  <a:lnTo>
                    <a:pt x="27" y="367"/>
                  </a:lnTo>
                  <a:lnTo>
                    <a:pt x="27" y="367"/>
                  </a:lnTo>
                  <a:lnTo>
                    <a:pt x="27" y="367"/>
                  </a:lnTo>
                  <a:lnTo>
                    <a:pt x="27" y="367"/>
                  </a:lnTo>
                  <a:lnTo>
                    <a:pt x="27" y="372"/>
                  </a:lnTo>
                  <a:lnTo>
                    <a:pt x="27" y="372"/>
                  </a:lnTo>
                  <a:lnTo>
                    <a:pt x="27" y="372"/>
                  </a:lnTo>
                  <a:lnTo>
                    <a:pt x="27" y="376"/>
                  </a:lnTo>
                  <a:lnTo>
                    <a:pt x="27" y="376"/>
                  </a:lnTo>
                  <a:lnTo>
                    <a:pt x="27" y="381"/>
                  </a:lnTo>
                  <a:lnTo>
                    <a:pt x="27" y="381"/>
                  </a:lnTo>
                  <a:lnTo>
                    <a:pt x="27" y="381"/>
                  </a:lnTo>
                  <a:lnTo>
                    <a:pt x="27" y="381"/>
                  </a:lnTo>
                  <a:lnTo>
                    <a:pt x="27" y="381"/>
                  </a:lnTo>
                  <a:lnTo>
                    <a:pt x="27" y="381"/>
                  </a:lnTo>
                  <a:lnTo>
                    <a:pt x="27" y="385"/>
                  </a:lnTo>
                  <a:lnTo>
                    <a:pt x="27" y="385"/>
                  </a:lnTo>
                  <a:lnTo>
                    <a:pt x="22" y="385"/>
                  </a:lnTo>
                  <a:lnTo>
                    <a:pt x="22" y="385"/>
                  </a:lnTo>
                  <a:lnTo>
                    <a:pt x="27" y="390"/>
                  </a:lnTo>
                  <a:lnTo>
                    <a:pt x="27" y="390"/>
                  </a:lnTo>
                  <a:lnTo>
                    <a:pt x="27" y="390"/>
                  </a:lnTo>
                  <a:lnTo>
                    <a:pt x="22" y="394"/>
                  </a:lnTo>
                  <a:lnTo>
                    <a:pt x="22" y="394"/>
                  </a:lnTo>
                  <a:lnTo>
                    <a:pt x="22" y="394"/>
                  </a:lnTo>
                  <a:lnTo>
                    <a:pt x="22" y="394"/>
                  </a:lnTo>
                  <a:lnTo>
                    <a:pt x="22" y="394"/>
                  </a:lnTo>
                  <a:lnTo>
                    <a:pt x="22" y="398"/>
                  </a:lnTo>
                  <a:lnTo>
                    <a:pt x="22" y="398"/>
                  </a:lnTo>
                  <a:lnTo>
                    <a:pt x="22" y="398"/>
                  </a:lnTo>
                  <a:lnTo>
                    <a:pt x="22" y="398"/>
                  </a:lnTo>
                  <a:lnTo>
                    <a:pt x="22" y="398"/>
                  </a:lnTo>
                  <a:lnTo>
                    <a:pt x="22" y="398"/>
                  </a:lnTo>
                  <a:lnTo>
                    <a:pt x="22" y="398"/>
                  </a:lnTo>
                  <a:lnTo>
                    <a:pt x="22" y="398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2" y="412"/>
                  </a:lnTo>
                  <a:lnTo>
                    <a:pt x="22" y="412"/>
                  </a:lnTo>
                  <a:lnTo>
                    <a:pt x="22" y="412"/>
                  </a:lnTo>
                  <a:lnTo>
                    <a:pt x="22" y="412"/>
                  </a:lnTo>
                  <a:lnTo>
                    <a:pt x="22" y="412"/>
                  </a:lnTo>
                  <a:lnTo>
                    <a:pt x="22" y="412"/>
                  </a:lnTo>
                  <a:lnTo>
                    <a:pt x="22" y="412"/>
                  </a:lnTo>
                  <a:lnTo>
                    <a:pt x="27" y="416"/>
                  </a:lnTo>
                  <a:lnTo>
                    <a:pt x="27" y="416"/>
                  </a:lnTo>
                  <a:lnTo>
                    <a:pt x="27" y="412"/>
                  </a:lnTo>
                  <a:lnTo>
                    <a:pt x="27" y="412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7" y="403"/>
                  </a:lnTo>
                  <a:lnTo>
                    <a:pt x="27" y="403"/>
                  </a:lnTo>
                  <a:lnTo>
                    <a:pt x="31" y="403"/>
                  </a:lnTo>
                  <a:lnTo>
                    <a:pt x="31" y="403"/>
                  </a:lnTo>
                  <a:lnTo>
                    <a:pt x="35" y="403"/>
                  </a:lnTo>
                  <a:lnTo>
                    <a:pt x="35" y="403"/>
                  </a:lnTo>
                  <a:lnTo>
                    <a:pt x="40" y="407"/>
                  </a:lnTo>
                  <a:lnTo>
                    <a:pt x="40" y="407"/>
                  </a:lnTo>
                  <a:lnTo>
                    <a:pt x="40" y="407"/>
                  </a:lnTo>
                  <a:lnTo>
                    <a:pt x="44" y="407"/>
                  </a:lnTo>
                  <a:lnTo>
                    <a:pt x="53" y="403"/>
                  </a:lnTo>
                  <a:lnTo>
                    <a:pt x="58" y="398"/>
                  </a:lnTo>
                  <a:lnTo>
                    <a:pt x="58" y="394"/>
                  </a:lnTo>
                  <a:lnTo>
                    <a:pt x="62" y="390"/>
                  </a:lnTo>
                  <a:lnTo>
                    <a:pt x="62" y="390"/>
                  </a:lnTo>
                  <a:lnTo>
                    <a:pt x="62" y="385"/>
                  </a:lnTo>
                  <a:lnTo>
                    <a:pt x="66" y="385"/>
                  </a:lnTo>
                  <a:lnTo>
                    <a:pt x="66" y="385"/>
                  </a:lnTo>
                  <a:lnTo>
                    <a:pt x="80" y="381"/>
                  </a:lnTo>
                  <a:lnTo>
                    <a:pt x="80" y="381"/>
                  </a:lnTo>
                  <a:lnTo>
                    <a:pt x="84" y="381"/>
                  </a:lnTo>
                  <a:lnTo>
                    <a:pt x="93" y="381"/>
                  </a:lnTo>
                  <a:lnTo>
                    <a:pt x="97" y="381"/>
                  </a:lnTo>
                  <a:lnTo>
                    <a:pt x="102" y="376"/>
                  </a:lnTo>
                  <a:lnTo>
                    <a:pt x="106" y="376"/>
                  </a:lnTo>
                  <a:lnTo>
                    <a:pt x="106" y="376"/>
                  </a:lnTo>
                  <a:lnTo>
                    <a:pt x="115" y="381"/>
                  </a:lnTo>
                  <a:lnTo>
                    <a:pt x="120" y="381"/>
                  </a:lnTo>
                  <a:lnTo>
                    <a:pt x="128" y="381"/>
                  </a:lnTo>
                  <a:lnTo>
                    <a:pt x="133" y="381"/>
                  </a:lnTo>
                  <a:lnTo>
                    <a:pt x="137" y="381"/>
                  </a:lnTo>
                  <a:lnTo>
                    <a:pt x="151" y="381"/>
                  </a:lnTo>
                  <a:lnTo>
                    <a:pt x="155" y="381"/>
                  </a:lnTo>
                  <a:lnTo>
                    <a:pt x="155" y="381"/>
                  </a:lnTo>
                  <a:lnTo>
                    <a:pt x="159" y="385"/>
                  </a:lnTo>
                  <a:lnTo>
                    <a:pt x="159" y="385"/>
                  </a:lnTo>
                  <a:lnTo>
                    <a:pt x="173" y="385"/>
                  </a:lnTo>
                  <a:lnTo>
                    <a:pt x="173" y="385"/>
                  </a:lnTo>
                  <a:lnTo>
                    <a:pt x="173" y="385"/>
                  </a:lnTo>
                  <a:lnTo>
                    <a:pt x="173" y="385"/>
                  </a:lnTo>
                  <a:lnTo>
                    <a:pt x="173" y="390"/>
                  </a:lnTo>
                  <a:lnTo>
                    <a:pt x="173" y="390"/>
                  </a:lnTo>
                  <a:lnTo>
                    <a:pt x="173" y="390"/>
                  </a:lnTo>
                  <a:lnTo>
                    <a:pt x="186" y="390"/>
                  </a:lnTo>
                  <a:lnTo>
                    <a:pt x="195" y="394"/>
                  </a:lnTo>
                  <a:lnTo>
                    <a:pt x="199" y="394"/>
                  </a:lnTo>
                  <a:lnTo>
                    <a:pt x="204" y="394"/>
                  </a:lnTo>
                  <a:lnTo>
                    <a:pt x="208" y="394"/>
                  </a:lnTo>
                  <a:lnTo>
                    <a:pt x="213" y="394"/>
                  </a:lnTo>
                  <a:lnTo>
                    <a:pt x="213" y="394"/>
                  </a:lnTo>
                  <a:lnTo>
                    <a:pt x="213" y="394"/>
                  </a:lnTo>
                  <a:lnTo>
                    <a:pt x="213" y="398"/>
                  </a:lnTo>
                  <a:lnTo>
                    <a:pt x="213" y="398"/>
                  </a:lnTo>
                  <a:lnTo>
                    <a:pt x="213" y="403"/>
                  </a:lnTo>
                  <a:lnTo>
                    <a:pt x="213" y="403"/>
                  </a:lnTo>
                  <a:lnTo>
                    <a:pt x="217" y="403"/>
                  </a:lnTo>
                  <a:lnTo>
                    <a:pt x="217" y="403"/>
                  </a:lnTo>
                  <a:lnTo>
                    <a:pt x="217" y="403"/>
                  </a:lnTo>
                  <a:lnTo>
                    <a:pt x="217" y="403"/>
                  </a:lnTo>
                  <a:lnTo>
                    <a:pt x="217" y="407"/>
                  </a:lnTo>
                  <a:lnTo>
                    <a:pt x="217" y="407"/>
                  </a:lnTo>
                  <a:lnTo>
                    <a:pt x="217" y="407"/>
                  </a:lnTo>
                  <a:lnTo>
                    <a:pt x="217" y="407"/>
                  </a:lnTo>
                  <a:lnTo>
                    <a:pt x="221" y="407"/>
                  </a:lnTo>
                  <a:lnTo>
                    <a:pt x="226" y="407"/>
                  </a:lnTo>
                  <a:lnTo>
                    <a:pt x="226" y="407"/>
                  </a:lnTo>
                  <a:lnTo>
                    <a:pt x="226" y="407"/>
                  </a:lnTo>
                  <a:lnTo>
                    <a:pt x="226" y="407"/>
                  </a:lnTo>
                  <a:lnTo>
                    <a:pt x="230" y="403"/>
                  </a:lnTo>
                  <a:lnTo>
                    <a:pt x="230" y="403"/>
                  </a:lnTo>
                  <a:lnTo>
                    <a:pt x="230" y="403"/>
                  </a:lnTo>
                  <a:lnTo>
                    <a:pt x="235" y="407"/>
                  </a:lnTo>
                  <a:lnTo>
                    <a:pt x="239" y="407"/>
                  </a:lnTo>
                  <a:lnTo>
                    <a:pt x="239" y="407"/>
                  </a:lnTo>
                  <a:lnTo>
                    <a:pt x="239" y="412"/>
                  </a:lnTo>
                  <a:lnTo>
                    <a:pt x="239" y="412"/>
                  </a:lnTo>
                  <a:lnTo>
                    <a:pt x="239" y="416"/>
                  </a:lnTo>
                  <a:lnTo>
                    <a:pt x="239" y="416"/>
                  </a:lnTo>
                  <a:lnTo>
                    <a:pt x="239" y="416"/>
                  </a:lnTo>
                  <a:lnTo>
                    <a:pt x="239" y="416"/>
                  </a:lnTo>
                  <a:lnTo>
                    <a:pt x="239" y="416"/>
                  </a:lnTo>
                  <a:lnTo>
                    <a:pt x="239" y="421"/>
                  </a:lnTo>
                  <a:lnTo>
                    <a:pt x="244" y="416"/>
                  </a:lnTo>
                  <a:lnTo>
                    <a:pt x="244" y="416"/>
                  </a:lnTo>
                  <a:lnTo>
                    <a:pt x="244" y="416"/>
                  </a:lnTo>
                  <a:lnTo>
                    <a:pt x="244" y="412"/>
                  </a:lnTo>
                  <a:lnTo>
                    <a:pt x="244" y="412"/>
                  </a:lnTo>
                  <a:lnTo>
                    <a:pt x="244" y="412"/>
                  </a:lnTo>
                  <a:lnTo>
                    <a:pt x="244" y="412"/>
                  </a:lnTo>
                  <a:lnTo>
                    <a:pt x="244" y="412"/>
                  </a:lnTo>
                  <a:lnTo>
                    <a:pt x="244" y="407"/>
                  </a:lnTo>
                  <a:lnTo>
                    <a:pt x="248" y="407"/>
                  </a:lnTo>
                  <a:lnTo>
                    <a:pt x="248" y="407"/>
                  </a:lnTo>
                  <a:lnTo>
                    <a:pt x="248" y="407"/>
                  </a:lnTo>
                  <a:lnTo>
                    <a:pt x="248" y="407"/>
                  </a:lnTo>
                  <a:lnTo>
                    <a:pt x="252" y="412"/>
                  </a:lnTo>
                  <a:lnTo>
                    <a:pt x="252" y="412"/>
                  </a:lnTo>
                  <a:lnTo>
                    <a:pt x="252" y="412"/>
                  </a:lnTo>
                  <a:lnTo>
                    <a:pt x="261" y="412"/>
                  </a:lnTo>
                  <a:lnTo>
                    <a:pt x="261" y="412"/>
                  </a:lnTo>
                  <a:lnTo>
                    <a:pt x="261" y="407"/>
                  </a:lnTo>
                  <a:lnTo>
                    <a:pt x="266" y="407"/>
                  </a:lnTo>
                  <a:lnTo>
                    <a:pt x="266" y="403"/>
                  </a:lnTo>
                  <a:lnTo>
                    <a:pt x="266" y="403"/>
                  </a:lnTo>
                  <a:lnTo>
                    <a:pt x="266" y="403"/>
                  </a:lnTo>
                  <a:lnTo>
                    <a:pt x="270" y="403"/>
                  </a:lnTo>
                  <a:lnTo>
                    <a:pt x="270" y="403"/>
                  </a:lnTo>
                  <a:lnTo>
                    <a:pt x="270" y="403"/>
                  </a:lnTo>
                  <a:lnTo>
                    <a:pt x="270" y="403"/>
                  </a:lnTo>
                  <a:lnTo>
                    <a:pt x="270" y="407"/>
                  </a:lnTo>
                  <a:lnTo>
                    <a:pt x="270" y="407"/>
                  </a:lnTo>
                  <a:lnTo>
                    <a:pt x="270" y="407"/>
                  </a:lnTo>
                  <a:lnTo>
                    <a:pt x="270" y="407"/>
                  </a:lnTo>
                  <a:lnTo>
                    <a:pt x="270" y="407"/>
                  </a:lnTo>
                  <a:lnTo>
                    <a:pt x="274" y="412"/>
                  </a:lnTo>
                  <a:lnTo>
                    <a:pt x="274" y="412"/>
                  </a:lnTo>
                  <a:lnTo>
                    <a:pt x="274" y="412"/>
                  </a:lnTo>
                  <a:lnTo>
                    <a:pt x="274" y="412"/>
                  </a:lnTo>
                  <a:lnTo>
                    <a:pt x="274" y="412"/>
                  </a:lnTo>
                  <a:lnTo>
                    <a:pt x="274" y="412"/>
                  </a:lnTo>
                  <a:lnTo>
                    <a:pt x="279" y="412"/>
                  </a:lnTo>
                  <a:lnTo>
                    <a:pt x="279" y="407"/>
                  </a:lnTo>
                  <a:lnTo>
                    <a:pt x="283" y="407"/>
                  </a:lnTo>
                  <a:lnTo>
                    <a:pt x="288" y="412"/>
                  </a:lnTo>
                  <a:lnTo>
                    <a:pt x="288" y="412"/>
                  </a:lnTo>
                  <a:lnTo>
                    <a:pt x="288" y="412"/>
                  </a:lnTo>
                  <a:lnTo>
                    <a:pt x="288" y="412"/>
                  </a:lnTo>
                  <a:lnTo>
                    <a:pt x="288" y="421"/>
                  </a:lnTo>
                  <a:lnTo>
                    <a:pt x="288" y="421"/>
                  </a:lnTo>
                  <a:lnTo>
                    <a:pt x="288" y="421"/>
                  </a:lnTo>
                  <a:lnTo>
                    <a:pt x="292" y="421"/>
                  </a:lnTo>
                  <a:lnTo>
                    <a:pt x="292" y="421"/>
                  </a:lnTo>
                  <a:lnTo>
                    <a:pt x="292" y="421"/>
                  </a:lnTo>
                  <a:lnTo>
                    <a:pt x="292" y="421"/>
                  </a:lnTo>
                  <a:lnTo>
                    <a:pt x="292" y="421"/>
                  </a:lnTo>
                  <a:lnTo>
                    <a:pt x="292" y="425"/>
                  </a:lnTo>
                  <a:lnTo>
                    <a:pt x="292" y="425"/>
                  </a:lnTo>
                  <a:lnTo>
                    <a:pt x="297" y="421"/>
                  </a:lnTo>
                  <a:lnTo>
                    <a:pt x="297" y="421"/>
                  </a:lnTo>
                  <a:lnTo>
                    <a:pt x="297" y="416"/>
                  </a:lnTo>
                  <a:lnTo>
                    <a:pt x="297" y="416"/>
                  </a:lnTo>
                  <a:lnTo>
                    <a:pt x="297" y="416"/>
                  </a:lnTo>
                  <a:lnTo>
                    <a:pt x="297" y="412"/>
                  </a:lnTo>
                  <a:lnTo>
                    <a:pt x="301" y="412"/>
                  </a:lnTo>
                  <a:lnTo>
                    <a:pt x="301" y="412"/>
                  </a:lnTo>
                  <a:lnTo>
                    <a:pt x="301" y="412"/>
                  </a:lnTo>
                  <a:lnTo>
                    <a:pt x="305" y="412"/>
                  </a:lnTo>
                  <a:lnTo>
                    <a:pt x="305" y="407"/>
                  </a:lnTo>
                  <a:lnTo>
                    <a:pt x="310" y="407"/>
                  </a:lnTo>
                  <a:lnTo>
                    <a:pt x="310" y="407"/>
                  </a:lnTo>
                  <a:lnTo>
                    <a:pt x="310" y="403"/>
                  </a:lnTo>
                  <a:lnTo>
                    <a:pt x="310" y="403"/>
                  </a:lnTo>
                  <a:lnTo>
                    <a:pt x="314" y="403"/>
                  </a:lnTo>
                  <a:lnTo>
                    <a:pt x="314" y="403"/>
                  </a:lnTo>
                  <a:lnTo>
                    <a:pt x="314" y="407"/>
                  </a:lnTo>
                  <a:lnTo>
                    <a:pt x="319" y="407"/>
                  </a:lnTo>
                  <a:lnTo>
                    <a:pt x="319" y="412"/>
                  </a:lnTo>
                  <a:lnTo>
                    <a:pt x="319" y="412"/>
                  </a:lnTo>
                  <a:lnTo>
                    <a:pt x="319" y="412"/>
                  </a:lnTo>
                  <a:lnTo>
                    <a:pt x="319" y="416"/>
                  </a:lnTo>
                  <a:lnTo>
                    <a:pt x="319" y="416"/>
                  </a:lnTo>
                  <a:lnTo>
                    <a:pt x="319" y="421"/>
                  </a:lnTo>
                  <a:lnTo>
                    <a:pt x="323" y="421"/>
                  </a:lnTo>
                  <a:lnTo>
                    <a:pt x="323" y="421"/>
                  </a:lnTo>
                  <a:lnTo>
                    <a:pt x="323" y="421"/>
                  </a:lnTo>
                  <a:lnTo>
                    <a:pt x="323" y="425"/>
                  </a:lnTo>
                  <a:lnTo>
                    <a:pt x="323" y="425"/>
                  </a:lnTo>
                  <a:lnTo>
                    <a:pt x="328" y="425"/>
                  </a:lnTo>
                  <a:lnTo>
                    <a:pt x="328" y="425"/>
                  </a:lnTo>
                  <a:lnTo>
                    <a:pt x="328" y="425"/>
                  </a:lnTo>
                  <a:lnTo>
                    <a:pt x="328" y="425"/>
                  </a:lnTo>
                  <a:lnTo>
                    <a:pt x="328" y="425"/>
                  </a:lnTo>
                  <a:lnTo>
                    <a:pt x="332" y="425"/>
                  </a:lnTo>
                  <a:lnTo>
                    <a:pt x="332" y="425"/>
                  </a:lnTo>
                  <a:lnTo>
                    <a:pt x="332" y="425"/>
                  </a:lnTo>
                  <a:lnTo>
                    <a:pt x="336" y="421"/>
                  </a:lnTo>
                  <a:lnTo>
                    <a:pt x="336" y="421"/>
                  </a:lnTo>
                  <a:lnTo>
                    <a:pt x="336" y="421"/>
                  </a:lnTo>
                  <a:lnTo>
                    <a:pt x="336" y="421"/>
                  </a:lnTo>
                  <a:lnTo>
                    <a:pt x="336" y="421"/>
                  </a:lnTo>
                  <a:lnTo>
                    <a:pt x="341" y="421"/>
                  </a:lnTo>
                  <a:lnTo>
                    <a:pt x="341" y="416"/>
                  </a:lnTo>
                  <a:lnTo>
                    <a:pt x="341" y="416"/>
                  </a:lnTo>
                  <a:lnTo>
                    <a:pt x="341" y="416"/>
                  </a:lnTo>
                  <a:lnTo>
                    <a:pt x="345" y="416"/>
                  </a:lnTo>
                  <a:lnTo>
                    <a:pt x="345" y="416"/>
                  </a:lnTo>
                  <a:lnTo>
                    <a:pt x="345" y="416"/>
                  </a:lnTo>
                  <a:lnTo>
                    <a:pt x="345" y="416"/>
                  </a:lnTo>
                  <a:lnTo>
                    <a:pt x="345" y="421"/>
                  </a:lnTo>
                  <a:lnTo>
                    <a:pt x="345" y="421"/>
                  </a:lnTo>
                  <a:lnTo>
                    <a:pt x="354" y="421"/>
                  </a:lnTo>
                  <a:lnTo>
                    <a:pt x="354" y="421"/>
                  </a:lnTo>
                  <a:lnTo>
                    <a:pt x="354" y="421"/>
                  </a:lnTo>
                  <a:lnTo>
                    <a:pt x="354" y="421"/>
                  </a:lnTo>
                  <a:lnTo>
                    <a:pt x="354" y="416"/>
                  </a:lnTo>
                  <a:lnTo>
                    <a:pt x="354" y="416"/>
                  </a:lnTo>
                  <a:lnTo>
                    <a:pt x="359" y="421"/>
                  </a:lnTo>
                  <a:lnTo>
                    <a:pt x="359" y="421"/>
                  </a:lnTo>
                  <a:lnTo>
                    <a:pt x="359" y="416"/>
                  </a:lnTo>
                  <a:lnTo>
                    <a:pt x="363" y="416"/>
                  </a:lnTo>
                  <a:lnTo>
                    <a:pt x="367" y="416"/>
                  </a:lnTo>
                  <a:lnTo>
                    <a:pt x="372" y="416"/>
                  </a:lnTo>
                  <a:lnTo>
                    <a:pt x="372" y="416"/>
                  </a:lnTo>
                  <a:lnTo>
                    <a:pt x="372" y="421"/>
                  </a:lnTo>
                  <a:lnTo>
                    <a:pt x="376" y="421"/>
                  </a:lnTo>
                  <a:lnTo>
                    <a:pt x="376" y="425"/>
                  </a:lnTo>
                  <a:lnTo>
                    <a:pt x="376" y="425"/>
                  </a:lnTo>
                  <a:lnTo>
                    <a:pt x="376" y="425"/>
                  </a:lnTo>
                  <a:lnTo>
                    <a:pt x="381" y="425"/>
                  </a:lnTo>
                  <a:lnTo>
                    <a:pt x="381" y="425"/>
                  </a:lnTo>
                  <a:lnTo>
                    <a:pt x="381" y="425"/>
                  </a:lnTo>
                  <a:lnTo>
                    <a:pt x="381" y="425"/>
                  </a:lnTo>
                  <a:lnTo>
                    <a:pt x="376" y="429"/>
                  </a:lnTo>
                  <a:lnTo>
                    <a:pt x="376" y="429"/>
                  </a:lnTo>
                  <a:lnTo>
                    <a:pt x="376" y="429"/>
                  </a:lnTo>
                  <a:lnTo>
                    <a:pt x="381" y="434"/>
                  </a:lnTo>
                  <a:lnTo>
                    <a:pt x="381" y="434"/>
                  </a:lnTo>
                  <a:lnTo>
                    <a:pt x="381" y="434"/>
                  </a:lnTo>
                  <a:lnTo>
                    <a:pt x="385" y="434"/>
                  </a:lnTo>
                  <a:lnTo>
                    <a:pt x="385" y="434"/>
                  </a:lnTo>
                  <a:lnTo>
                    <a:pt x="385" y="434"/>
                  </a:lnTo>
                  <a:lnTo>
                    <a:pt x="385" y="434"/>
                  </a:lnTo>
                  <a:lnTo>
                    <a:pt x="385" y="434"/>
                  </a:lnTo>
                  <a:lnTo>
                    <a:pt x="385" y="434"/>
                  </a:lnTo>
                  <a:lnTo>
                    <a:pt x="390" y="434"/>
                  </a:lnTo>
                  <a:lnTo>
                    <a:pt x="390" y="438"/>
                  </a:lnTo>
                  <a:lnTo>
                    <a:pt x="390" y="438"/>
                  </a:lnTo>
                  <a:lnTo>
                    <a:pt x="390" y="438"/>
                  </a:lnTo>
                  <a:lnTo>
                    <a:pt x="390" y="438"/>
                  </a:lnTo>
                  <a:lnTo>
                    <a:pt x="390" y="438"/>
                  </a:lnTo>
                  <a:lnTo>
                    <a:pt x="390" y="438"/>
                  </a:lnTo>
                  <a:lnTo>
                    <a:pt x="390" y="434"/>
                  </a:lnTo>
                  <a:lnTo>
                    <a:pt x="390" y="434"/>
                  </a:lnTo>
                  <a:lnTo>
                    <a:pt x="390" y="434"/>
                  </a:lnTo>
                  <a:lnTo>
                    <a:pt x="394" y="434"/>
                  </a:lnTo>
                  <a:lnTo>
                    <a:pt x="394" y="429"/>
                  </a:lnTo>
                  <a:lnTo>
                    <a:pt x="394" y="429"/>
                  </a:lnTo>
                  <a:lnTo>
                    <a:pt x="394" y="425"/>
                  </a:lnTo>
                  <a:lnTo>
                    <a:pt x="394" y="425"/>
                  </a:lnTo>
                  <a:lnTo>
                    <a:pt x="394" y="425"/>
                  </a:lnTo>
                  <a:lnTo>
                    <a:pt x="394" y="425"/>
                  </a:lnTo>
                  <a:lnTo>
                    <a:pt x="394" y="425"/>
                  </a:lnTo>
                  <a:lnTo>
                    <a:pt x="394" y="421"/>
                  </a:lnTo>
                  <a:lnTo>
                    <a:pt x="394" y="421"/>
                  </a:lnTo>
                  <a:lnTo>
                    <a:pt x="394" y="421"/>
                  </a:lnTo>
                  <a:lnTo>
                    <a:pt x="394" y="421"/>
                  </a:lnTo>
                  <a:lnTo>
                    <a:pt x="394" y="421"/>
                  </a:lnTo>
                  <a:lnTo>
                    <a:pt x="394" y="421"/>
                  </a:lnTo>
                  <a:lnTo>
                    <a:pt x="394" y="421"/>
                  </a:lnTo>
                  <a:lnTo>
                    <a:pt x="394" y="421"/>
                  </a:lnTo>
                  <a:lnTo>
                    <a:pt x="394" y="421"/>
                  </a:lnTo>
                  <a:lnTo>
                    <a:pt x="394" y="421"/>
                  </a:lnTo>
                  <a:lnTo>
                    <a:pt x="394" y="416"/>
                  </a:lnTo>
                  <a:lnTo>
                    <a:pt x="394" y="416"/>
                  </a:lnTo>
                  <a:lnTo>
                    <a:pt x="394" y="416"/>
                  </a:lnTo>
                  <a:lnTo>
                    <a:pt x="394" y="416"/>
                  </a:lnTo>
                  <a:lnTo>
                    <a:pt x="394" y="416"/>
                  </a:lnTo>
                  <a:lnTo>
                    <a:pt x="394" y="416"/>
                  </a:lnTo>
                  <a:lnTo>
                    <a:pt x="394" y="416"/>
                  </a:lnTo>
                  <a:lnTo>
                    <a:pt x="390" y="416"/>
                  </a:lnTo>
                  <a:lnTo>
                    <a:pt x="390" y="412"/>
                  </a:lnTo>
                  <a:lnTo>
                    <a:pt x="390" y="412"/>
                  </a:lnTo>
                  <a:lnTo>
                    <a:pt x="390" y="412"/>
                  </a:lnTo>
                  <a:lnTo>
                    <a:pt x="394" y="412"/>
                  </a:lnTo>
                  <a:lnTo>
                    <a:pt x="390" y="412"/>
                  </a:lnTo>
                  <a:lnTo>
                    <a:pt x="390" y="412"/>
                  </a:lnTo>
                  <a:lnTo>
                    <a:pt x="390" y="412"/>
                  </a:lnTo>
                  <a:lnTo>
                    <a:pt x="390" y="407"/>
                  </a:lnTo>
                  <a:lnTo>
                    <a:pt x="390" y="407"/>
                  </a:lnTo>
                  <a:lnTo>
                    <a:pt x="390" y="407"/>
                  </a:lnTo>
                  <a:lnTo>
                    <a:pt x="390" y="407"/>
                  </a:lnTo>
                  <a:lnTo>
                    <a:pt x="390" y="407"/>
                  </a:lnTo>
                  <a:lnTo>
                    <a:pt x="390" y="407"/>
                  </a:lnTo>
                  <a:lnTo>
                    <a:pt x="390" y="407"/>
                  </a:lnTo>
                  <a:lnTo>
                    <a:pt x="390" y="407"/>
                  </a:lnTo>
                  <a:lnTo>
                    <a:pt x="390" y="407"/>
                  </a:lnTo>
                  <a:lnTo>
                    <a:pt x="390" y="407"/>
                  </a:lnTo>
                  <a:lnTo>
                    <a:pt x="390" y="403"/>
                  </a:lnTo>
                  <a:lnTo>
                    <a:pt x="390" y="403"/>
                  </a:lnTo>
                  <a:lnTo>
                    <a:pt x="390" y="403"/>
                  </a:lnTo>
                  <a:lnTo>
                    <a:pt x="390" y="403"/>
                  </a:lnTo>
                  <a:lnTo>
                    <a:pt x="390" y="403"/>
                  </a:lnTo>
                  <a:lnTo>
                    <a:pt x="390" y="403"/>
                  </a:lnTo>
                  <a:lnTo>
                    <a:pt x="390" y="403"/>
                  </a:lnTo>
                  <a:lnTo>
                    <a:pt x="390" y="398"/>
                  </a:lnTo>
                  <a:lnTo>
                    <a:pt x="390" y="398"/>
                  </a:lnTo>
                  <a:lnTo>
                    <a:pt x="394" y="398"/>
                  </a:lnTo>
                  <a:lnTo>
                    <a:pt x="394" y="398"/>
                  </a:lnTo>
                  <a:lnTo>
                    <a:pt x="394" y="398"/>
                  </a:lnTo>
                  <a:lnTo>
                    <a:pt x="394" y="398"/>
                  </a:lnTo>
                  <a:lnTo>
                    <a:pt x="394" y="394"/>
                  </a:lnTo>
                  <a:lnTo>
                    <a:pt x="394" y="394"/>
                  </a:lnTo>
                  <a:lnTo>
                    <a:pt x="394" y="394"/>
                  </a:lnTo>
                  <a:lnTo>
                    <a:pt x="394" y="394"/>
                  </a:lnTo>
                  <a:lnTo>
                    <a:pt x="394" y="394"/>
                  </a:lnTo>
                  <a:lnTo>
                    <a:pt x="394" y="394"/>
                  </a:lnTo>
                  <a:lnTo>
                    <a:pt x="394" y="394"/>
                  </a:lnTo>
                  <a:lnTo>
                    <a:pt x="394" y="390"/>
                  </a:lnTo>
                  <a:lnTo>
                    <a:pt x="398" y="390"/>
                  </a:lnTo>
                  <a:lnTo>
                    <a:pt x="398" y="390"/>
                  </a:lnTo>
                  <a:lnTo>
                    <a:pt x="394" y="390"/>
                  </a:lnTo>
                  <a:lnTo>
                    <a:pt x="394" y="390"/>
                  </a:lnTo>
                  <a:lnTo>
                    <a:pt x="398" y="390"/>
                  </a:lnTo>
                  <a:lnTo>
                    <a:pt x="398" y="390"/>
                  </a:lnTo>
                  <a:lnTo>
                    <a:pt x="398" y="385"/>
                  </a:lnTo>
                  <a:lnTo>
                    <a:pt x="398" y="385"/>
                  </a:lnTo>
                  <a:lnTo>
                    <a:pt x="398" y="385"/>
                  </a:lnTo>
                  <a:lnTo>
                    <a:pt x="398" y="385"/>
                  </a:lnTo>
                  <a:lnTo>
                    <a:pt x="398" y="385"/>
                  </a:lnTo>
                  <a:lnTo>
                    <a:pt x="398" y="385"/>
                  </a:lnTo>
                  <a:lnTo>
                    <a:pt x="398" y="381"/>
                  </a:lnTo>
                  <a:lnTo>
                    <a:pt x="398" y="381"/>
                  </a:lnTo>
                  <a:lnTo>
                    <a:pt x="398" y="381"/>
                  </a:lnTo>
                  <a:lnTo>
                    <a:pt x="403" y="381"/>
                  </a:lnTo>
                  <a:lnTo>
                    <a:pt x="403" y="381"/>
                  </a:lnTo>
                  <a:lnTo>
                    <a:pt x="403" y="381"/>
                  </a:lnTo>
                  <a:lnTo>
                    <a:pt x="403" y="381"/>
                  </a:lnTo>
                  <a:lnTo>
                    <a:pt x="403" y="381"/>
                  </a:lnTo>
                  <a:lnTo>
                    <a:pt x="403" y="381"/>
                  </a:lnTo>
                  <a:lnTo>
                    <a:pt x="403" y="381"/>
                  </a:lnTo>
                  <a:lnTo>
                    <a:pt x="403" y="376"/>
                  </a:lnTo>
                  <a:lnTo>
                    <a:pt x="403" y="376"/>
                  </a:lnTo>
                  <a:lnTo>
                    <a:pt x="407" y="376"/>
                  </a:lnTo>
                  <a:lnTo>
                    <a:pt x="407" y="376"/>
                  </a:lnTo>
                  <a:lnTo>
                    <a:pt x="407" y="376"/>
                  </a:lnTo>
                  <a:lnTo>
                    <a:pt x="407" y="376"/>
                  </a:lnTo>
                  <a:lnTo>
                    <a:pt x="407" y="376"/>
                  </a:lnTo>
                  <a:lnTo>
                    <a:pt x="407" y="376"/>
                  </a:lnTo>
                  <a:lnTo>
                    <a:pt x="407" y="376"/>
                  </a:lnTo>
                  <a:lnTo>
                    <a:pt x="407" y="372"/>
                  </a:lnTo>
                  <a:lnTo>
                    <a:pt x="407" y="372"/>
                  </a:lnTo>
                  <a:lnTo>
                    <a:pt x="407" y="372"/>
                  </a:lnTo>
                  <a:lnTo>
                    <a:pt x="407" y="372"/>
                  </a:lnTo>
                  <a:lnTo>
                    <a:pt x="407" y="372"/>
                  </a:lnTo>
                  <a:lnTo>
                    <a:pt x="412" y="372"/>
                  </a:lnTo>
                  <a:lnTo>
                    <a:pt x="412" y="372"/>
                  </a:lnTo>
                  <a:lnTo>
                    <a:pt x="412" y="372"/>
                  </a:lnTo>
                  <a:lnTo>
                    <a:pt x="412" y="372"/>
                  </a:lnTo>
                  <a:lnTo>
                    <a:pt x="407" y="372"/>
                  </a:lnTo>
                  <a:lnTo>
                    <a:pt x="412" y="372"/>
                  </a:lnTo>
                  <a:lnTo>
                    <a:pt x="412" y="372"/>
                  </a:lnTo>
                  <a:lnTo>
                    <a:pt x="412" y="372"/>
                  </a:lnTo>
                  <a:lnTo>
                    <a:pt x="412" y="367"/>
                  </a:lnTo>
                  <a:lnTo>
                    <a:pt x="412" y="367"/>
                  </a:lnTo>
                  <a:lnTo>
                    <a:pt x="412" y="367"/>
                  </a:lnTo>
                  <a:lnTo>
                    <a:pt x="412" y="367"/>
                  </a:lnTo>
                  <a:lnTo>
                    <a:pt x="421" y="367"/>
                  </a:lnTo>
                  <a:lnTo>
                    <a:pt x="421" y="367"/>
                  </a:lnTo>
                  <a:lnTo>
                    <a:pt x="421" y="367"/>
                  </a:lnTo>
                  <a:lnTo>
                    <a:pt x="425" y="367"/>
                  </a:lnTo>
                  <a:lnTo>
                    <a:pt x="425" y="367"/>
                  </a:lnTo>
                  <a:lnTo>
                    <a:pt x="429" y="367"/>
                  </a:lnTo>
                  <a:lnTo>
                    <a:pt x="429" y="367"/>
                  </a:lnTo>
                  <a:lnTo>
                    <a:pt x="429" y="367"/>
                  </a:lnTo>
                  <a:lnTo>
                    <a:pt x="429" y="363"/>
                  </a:lnTo>
                  <a:lnTo>
                    <a:pt x="434" y="363"/>
                  </a:lnTo>
                  <a:lnTo>
                    <a:pt x="438" y="363"/>
                  </a:lnTo>
                  <a:lnTo>
                    <a:pt x="447" y="363"/>
                  </a:lnTo>
                  <a:lnTo>
                    <a:pt x="456" y="363"/>
                  </a:lnTo>
                  <a:lnTo>
                    <a:pt x="456" y="363"/>
                  </a:lnTo>
                  <a:lnTo>
                    <a:pt x="456" y="359"/>
                  </a:lnTo>
                  <a:lnTo>
                    <a:pt x="452" y="359"/>
                  </a:lnTo>
                  <a:lnTo>
                    <a:pt x="452" y="359"/>
                  </a:lnTo>
                  <a:lnTo>
                    <a:pt x="452" y="359"/>
                  </a:lnTo>
                  <a:lnTo>
                    <a:pt x="452" y="354"/>
                  </a:lnTo>
                  <a:lnTo>
                    <a:pt x="452" y="354"/>
                  </a:lnTo>
                  <a:lnTo>
                    <a:pt x="452" y="354"/>
                  </a:lnTo>
                  <a:lnTo>
                    <a:pt x="452" y="354"/>
                  </a:lnTo>
                  <a:lnTo>
                    <a:pt x="452" y="350"/>
                  </a:lnTo>
                  <a:lnTo>
                    <a:pt x="452" y="350"/>
                  </a:lnTo>
                  <a:lnTo>
                    <a:pt x="447" y="350"/>
                  </a:lnTo>
                  <a:lnTo>
                    <a:pt x="447" y="350"/>
                  </a:lnTo>
                  <a:lnTo>
                    <a:pt x="447" y="350"/>
                  </a:lnTo>
                  <a:lnTo>
                    <a:pt x="447" y="350"/>
                  </a:lnTo>
                  <a:lnTo>
                    <a:pt x="443" y="345"/>
                  </a:lnTo>
                  <a:lnTo>
                    <a:pt x="443" y="345"/>
                  </a:lnTo>
                  <a:lnTo>
                    <a:pt x="447" y="345"/>
                  </a:lnTo>
                  <a:lnTo>
                    <a:pt x="447" y="345"/>
                  </a:lnTo>
                  <a:lnTo>
                    <a:pt x="447" y="341"/>
                  </a:lnTo>
                  <a:lnTo>
                    <a:pt x="447" y="341"/>
                  </a:lnTo>
                  <a:lnTo>
                    <a:pt x="447" y="341"/>
                  </a:lnTo>
                  <a:lnTo>
                    <a:pt x="447" y="341"/>
                  </a:lnTo>
                  <a:lnTo>
                    <a:pt x="443" y="336"/>
                  </a:lnTo>
                  <a:lnTo>
                    <a:pt x="443" y="336"/>
                  </a:lnTo>
                  <a:lnTo>
                    <a:pt x="447" y="332"/>
                  </a:lnTo>
                  <a:lnTo>
                    <a:pt x="447" y="332"/>
                  </a:lnTo>
                  <a:lnTo>
                    <a:pt x="443" y="332"/>
                  </a:lnTo>
                  <a:lnTo>
                    <a:pt x="443" y="328"/>
                  </a:lnTo>
                  <a:lnTo>
                    <a:pt x="443" y="328"/>
                  </a:lnTo>
                  <a:lnTo>
                    <a:pt x="443" y="328"/>
                  </a:lnTo>
                  <a:lnTo>
                    <a:pt x="443" y="328"/>
                  </a:lnTo>
                  <a:lnTo>
                    <a:pt x="443" y="328"/>
                  </a:lnTo>
                  <a:lnTo>
                    <a:pt x="443" y="328"/>
                  </a:lnTo>
                  <a:lnTo>
                    <a:pt x="443" y="328"/>
                  </a:lnTo>
                  <a:lnTo>
                    <a:pt x="447" y="328"/>
                  </a:lnTo>
                  <a:lnTo>
                    <a:pt x="447" y="328"/>
                  </a:lnTo>
                  <a:lnTo>
                    <a:pt x="447" y="328"/>
                  </a:lnTo>
                  <a:lnTo>
                    <a:pt x="447" y="323"/>
                  </a:lnTo>
                  <a:lnTo>
                    <a:pt x="443" y="323"/>
                  </a:lnTo>
                  <a:lnTo>
                    <a:pt x="443" y="323"/>
                  </a:lnTo>
                  <a:lnTo>
                    <a:pt x="443" y="319"/>
                  </a:lnTo>
                  <a:lnTo>
                    <a:pt x="438" y="314"/>
                  </a:lnTo>
                  <a:lnTo>
                    <a:pt x="438" y="314"/>
                  </a:lnTo>
                  <a:lnTo>
                    <a:pt x="438" y="314"/>
                  </a:lnTo>
                  <a:lnTo>
                    <a:pt x="443" y="310"/>
                  </a:lnTo>
                  <a:lnTo>
                    <a:pt x="443" y="310"/>
                  </a:lnTo>
                  <a:lnTo>
                    <a:pt x="443" y="305"/>
                  </a:lnTo>
                  <a:lnTo>
                    <a:pt x="443" y="305"/>
                  </a:lnTo>
                  <a:lnTo>
                    <a:pt x="443" y="305"/>
                  </a:lnTo>
                  <a:lnTo>
                    <a:pt x="443" y="305"/>
                  </a:lnTo>
                  <a:lnTo>
                    <a:pt x="443" y="301"/>
                  </a:lnTo>
                  <a:lnTo>
                    <a:pt x="443" y="301"/>
                  </a:lnTo>
                  <a:lnTo>
                    <a:pt x="443" y="301"/>
                  </a:lnTo>
                  <a:lnTo>
                    <a:pt x="443" y="301"/>
                  </a:lnTo>
                  <a:lnTo>
                    <a:pt x="438" y="301"/>
                  </a:lnTo>
                  <a:lnTo>
                    <a:pt x="438" y="301"/>
                  </a:lnTo>
                  <a:lnTo>
                    <a:pt x="434" y="297"/>
                  </a:lnTo>
                  <a:lnTo>
                    <a:pt x="434" y="297"/>
                  </a:lnTo>
                  <a:lnTo>
                    <a:pt x="434" y="297"/>
                  </a:lnTo>
                  <a:lnTo>
                    <a:pt x="434" y="292"/>
                  </a:lnTo>
                  <a:lnTo>
                    <a:pt x="429" y="288"/>
                  </a:lnTo>
                  <a:lnTo>
                    <a:pt x="425" y="283"/>
                  </a:lnTo>
                  <a:lnTo>
                    <a:pt x="429" y="283"/>
                  </a:lnTo>
                  <a:lnTo>
                    <a:pt x="429" y="279"/>
                  </a:lnTo>
                  <a:lnTo>
                    <a:pt x="429" y="279"/>
                  </a:lnTo>
                  <a:lnTo>
                    <a:pt x="434" y="279"/>
                  </a:lnTo>
                  <a:lnTo>
                    <a:pt x="434" y="279"/>
                  </a:lnTo>
                  <a:lnTo>
                    <a:pt x="434" y="279"/>
                  </a:lnTo>
                  <a:lnTo>
                    <a:pt x="434" y="279"/>
                  </a:lnTo>
                  <a:lnTo>
                    <a:pt x="434" y="274"/>
                  </a:lnTo>
                  <a:lnTo>
                    <a:pt x="434" y="274"/>
                  </a:lnTo>
                  <a:lnTo>
                    <a:pt x="434" y="274"/>
                  </a:lnTo>
                  <a:lnTo>
                    <a:pt x="434" y="270"/>
                  </a:lnTo>
                  <a:lnTo>
                    <a:pt x="434" y="270"/>
                  </a:lnTo>
                  <a:lnTo>
                    <a:pt x="438" y="270"/>
                  </a:lnTo>
                  <a:lnTo>
                    <a:pt x="443" y="270"/>
                  </a:lnTo>
                  <a:lnTo>
                    <a:pt x="443" y="270"/>
                  </a:lnTo>
                  <a:lnTo>
                    <a:pt x="443" y="270"/>
                  </a:lnTo>
                  <a:lnTo>
                    <a:pt x="447" y="270"/>
                  </a:lnTo>
                  <a:lnTo>
                    <a:pt x="447" y="270"/>
                  </a:lnTo>
                  <a:lnTo>
                    <a:pt x="452" y="270"/>
                  </a:lnTo>
                  <a:lnTo>
                    <a:pt x="452" y="270"/>
                  </a:lnTo>
                  <a:lnTo>
                    <a:pt x="452" y="270"/>
                  </a:lnTo>
                  <a:lnTo>
                    <a:pt x="456" y="270"/>
                  </a:lnTo>
                  <a:lnTo>
                    <a:pt x="456" y="270"/>
                  </a:lnTo>
                  <a:lnTo>
                    <a:pt x="456" y="274"/>
                  </a:lnTo>
                  <a:lnTo>
                    <a:pt x="456" y="274"/>
                  </a:lnTo>
                  <a:lnTo>
                    <a:pt x="456" y="279"/>
                  </a:lnTo>
                  <a:lnTo>
                    <a:pt x="460" y="274"/>
                  </a:lnTo>
                  <a:lnTo>
                    <a:pt x="460" y="279"/>
                  </a:lnTo>
                  <a:lnTo>
                    <a:pt x="460" y="279"/>
                  </a:lnTo>
                  <a:lnTo>
                    <a:pt x="465" y="279"/>
                  </a:lnTo>
                  <a:lnTo>
                    <a:pt x="465" y="279"/>
                  </a:lnTo>
                  <a:lnTo>
                    <a:pt x="465" y="279"/>
                  </a:lnTo>
                  <a:lnTo>
                    <a:pt x="469" y="279"/>
                  </a:lnTo>
                  <a:lnTo>
                    <a:pt x="469" y="279"/>
                  </a:lnTo>
                  <a:lnTo>
                    <a:pt x="474" y="279"/>
                  </a:lnTo>
                  <a:lnTo>
                    <a:pt x="474" y="279"/>
                  </a:lnTo>
                  <a:lnTo>
                    <a:pt x="474" y="279"/>
                  </a:lnTo>
                  <a:lnTo>
                    <a:pt x="478" y="279"/>
                  </a:lnTo>
                  <a:lnTo>
                    <a:pt x="478" y="279"/>
                  </a:lnTo>
                  <a:lnTo>
                    <a:pt x="478" y="279"/>
                  </a:lnTo>
                  <a:lnTo>
                    <a:pt x="478" y="279"/>
                  </a:lnTo>
                  <a:lnTo>
                    <a:pt x="478" y="279"/>
                  </a:lnTo>
                  <a:lnTo>
                    <a:pt x="478" y="279"/>
                  </a:lnTo>
                  <a:lnTo>
                    <a:pt x="478" y="274"/>
                  </a:lnTo>
                  <a:lnTo>
                    <a:pt x="478" y="274"/>
                  </a:lnTo>
                  <a:lnTo>
                    <a:pt x="478" y="274"/>
                  </a:lnTo>
                  <a:lnTo>
                    <a:pt x="478" y="274"/>
                  </a:lnTo>
                  <a:lnTo>
                    <a:pt x="483" y="274"/>
                  </a:lnTo>
                  <a:lnTo>
                    <a:pt x="483" y="274"/>
                  </a:lnTo>
                  <a:lnTo>
                    <a:pt x="483" y="270"/>
                  </a:lnTo>
                  <a:lnTo>
                    <a:pt x="487" y="270"/>
                  </a:lnTo>
                  <a:lnTo>
                    <a:pt x="487" y="270"/>
                  </a:lnTo>
                  <a:lnTo>
                    <a:pt x="487" y="270"/>
                  </a:lnTo>
                  <a:lnTo>
                    <a:pt x="487" y="270"/>
                  </a:lnTo>
                  <a:lnTo>
                    <a:pt x="491" y="266"/>
                  </a:lnTo>
                  <a:lnTo>
                    <a:pt x="491" y="266"/>
                  </a:lnTo>
                  <a:lnTo>
                    <a:pt x="491" y="261"/>
                  </a:lnTo>
                  <a:lnTo>
                    <a:pt x="491" y="261"/>
                  </a:lnTo>
                  <a:lnTo>
                    <a:pt x="491" y="261"/>
                  </a:lnTo>
                  <a:lnTo>
                    <a:pt x="491" y="261"/>
                  </a:lnTo>
                  <a:lnTo>
                    <a:pt x="491" y="261"/>
                  </a:lnTo>
                  <a:lnTo>
                    <a:pt x="491" y="261"/>
                  </a:lnTo>
                  <a:lnTo>
                    <a:pt x="496" y="261"/>
                  </a:lnTo>
                  <a:lnTo>
                    <a:pt x="496" y="261"/>
                  </a:lnTo>
                  <a:lnTo>
                    <a:pt x="500" y="261"/>
                  </a:lnTo>
                  <a:lnTo>
                    <a:pt x="496" y="261"/>
                  </a:lnTo>
                  <a:lnTo>
                    <a:pt x="496" y="257"/>
                  </a:lnTo>
                  <a:lnTo>
                    <a:pt x="496" y="257"/>
                  </a:lnTo>
                  <a:lnTo>
                    <a:pt x="500" y="257"/>
                  </a:lnTo>
                  <a:lnTo>
                    <a:pt x="500" y="257"/>
                  </a:lnTo>
                  <a:lnTo>
                    <a:pt x="505" y="257"/>
                  </a:lnTo>
                  <a:lnTo>
                    <a:pt x="505" y="257"/>
                  </a:lnTo>
                  <a:lnTo>
                    <a:pt x="505" y="257"/>
                  </a:lnTo>
                  <a:lnTo>
                    <a:pt x="505" y="252"/>
                  </a:lnTo>
                  <a:lnTo>
                    <a:pt x="505" y="248"/>
                  </a:lnTo>
                  <a:lnTo>
                    <a:pt x="505" y="248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45" name="Freeform 77"/>
            <p:cNvSpPr>
              <a:spLocks/>
            </p:cNvSpPr>
            <p:nvPr/>
          </p:nvSpPr>
          <p:spPr bwMode="auto">
            <a:xfrm>
              <a:off x="3289300" y="4752976"/>
              <a:ext cx="639762" cy="330200"/>
            </a:xfrm>
            <a:custGeom>
              <a:avLst/>
              <a:gdLst>
                <a:gd name="T0" fmla="*/ 390 w 403"/>
                <a:gd name="T1" fmla="*/ 66 h 208"/>
                <a:gd name="T2" fmla="*/ 390 w 403"/>
                <a:gd name="T3" fmla="*/ 53 h 208"/>
                <a:gd name="T4" fmla="*/ 390 w 403"/>
                <a:gd name="T5" fmla="*/ 40 h 208"/>
                <a:gd name="T6" fmla="*/ 376 w 403"/>
                <a:gd name="T7" fmla="*/ 22 h 208"/>
                <a:gd name="T8" fmla="*/ 359 w 403"/>
                <a:gd name="T9" fmla="*/ 22 h 208"/>
                <a:gd name="T10" fmla="*/ 332 w 403"/>
                <a:gd name="T11" fmla="*/ 13 h 208"/>
                <a:gd name="T12" fmla="*/ 305 w 403"/>
                <a:gd name="T13" fmla="*/ 4 h 208"/>
                <a:gd name="T14" fmla="*/ 292 w 403"/>
                <a:gd name="T15" fmla="*/ 0 h 208"/>
                <a:gd name="T16" fmla="*/ 283 w 403"/>
                <a:gd name="T17" fmla="*/ 22 h 208"/>
                <a:gd name="T18" fmla="*/ 270 w 403"/>
                <a:gd name="T19" fmla="*/ 35 h 208"/>
                <a:gd name="T20" fmla="*/ 252 w 403"/>
                <a:gd name="T21" fmla="*/ 35 h 208"/>
                <a:gd name="T22" fmla="*/ 235 w 403"/>
                <a:gd name="T23" fmla="*/ 26 h 208"/>
                <a:gd name="T24" fmla="*/ 226 w 403"/>
                <a:gd name="T25" fmla="*/ 26 h 208"/>
                <a:gd name="T26" fmla="*/ 217 w 403"/>
                <a:gd name="T27" fmla="*/ 35 h 208"/>
                <a:gd name="T28" fmla="*/ 204 w 403"/>
                <a:gd name="T29" fmla="*/ 48 h 208"/>
                <a:gd name="T30" fmla="*/ 173 w 403"/>
                <a:gd name="T31" fmla="*/ 71 h 208"/>
                <a:gd name="T32" fmla="*/ 177 w 403"/>
                <a:gd name="T33" fmla="*/ 84 h 208"/>
                <a:gd name="T34" fmla="*/ 182 w 403"/>
                <a:gd name="T35" fmla="*/ 102 h 208"/>
                <a:gd name="T36" fmla="*/ 182 w 403"/>
                <a:gd name="T37" fmla="*/ 115 h 208"/>
                <a:gd name="T38" fmla="*/ 173 w 403"/>
                <a:gd name="T39" fmla="*/ 115 h 208"/>
                <a:gd name="T40" fmla="*/ 159 w 403"/>
                <a:gd name="T41" fmla="*/ 110 h 208"/>
                <a:gd name="T42" fmla="*/ 142 w 403"/>
                <a:gd name="T43" fmla="*/ 106 h 208"/>
                <a:gd name="T44" fmla="*/ 142 w 403"/>
                <a:gd name="T45" fmla="*/ 110 h 208"/>
                <a:gd name="T46" fmla="*/ 106 w 403"/>
                <a:gd name="T47" fmla="*/ 119 h 208"/>
                <a:gd name="T48" fmla="*/ 89 w 403"/>
                <a:gd name="T49" fmla="*/ 128 h 208"/>
                <a:gd name="T50" fmla="*/ 71 w 403"/>
                <a:gd name="T51" fmla="*/ 119 h 208"/>
                <a:gd name="T52" fmla="*/ 49 w 403"/>
                <a:gd name="T53" fmla="*/ 115 h 208"/>
                <a:gd name="T54" fmla="*/ 49 w 403"/>
                <a:gd name="T55" fmla="*/ 119 h 208"/>
                <a:gd name="T56" fmla="*/ 31 w 403"/>
                <a:gd name="T57" fmla="*/ 137 h 208"/>
                <a:gd name="T58" fmla="*/ 31 w 403"/>
                <a:gd name="T59" fmla="*/ 128 h 208"/>
                <a:gd name="T60" fmla="*/ 22 w 403"/>
                <a:gd name="T61" fmla="*/ 119 h 208"/>
                <a:gd name="T62" fmla="*/ 13 w 403"/>
                <a:gd name="T63" fmla="*/ 110 h 208"/>
                <a:gd name="T64" fmla="*/ 4 w 403"/>
                <a:gd name="T65" fmla="*/ 133 h 208"/>
                <a:gd name="T66" fmla="*/ 0 w 403"/>
                <a:gd name="T67" fmla="*/ 155 h 208"/>
                <a:gd name="T68" fmla="*/ 27 w 403"/>
                <a:gd name="T69" fmla="*/ 168 h 208"/>
                <a:gd name="T70" fmla="*/ 44 w 403"/>
                <a:gd name="T71" fmla="*/ 159 h 208"/>
                <a:gd name="T72" fmla="*/ 62 w 403"/>
                <a:gd name="T73" fmla="*/ 172 h 208"/>
                <a:gd name="T74" fmla="*/ 75 w 403"/>
                <a:gd name="T75" fmla="*/ 177 h 208"/>
                <a:gd name="T76" fmla="*/ 93 w 403"/>
                <a:gd name="T77" fmla="*/ 159 h 208"/>
                <a:gd name="T78" fmla="*/ 106 w 403"/>
                <a:gd name="T79" fmla="*/ 159 h 208"/>
                <a:gd name="T80" fmla="*/ 128 w 403"/>
                <a:gd name="T81" fmla="*/ 155 h 208"/>
                <a:gd name="T82" fmla="*/ 137 w 403"/>
                <a:gd name="T83" fmla="*/ 164 h 208"/>
                <a:gd name="T84" fmla="*/ 146 w 403"/>
                <a:gd name="T85" fmla="*/ 177 h 208"/>
                <a:gd name="T86" fmla="*/ 168 w 403"/>
                <a:gd name="T87" fmla="*/ 186 h 208"/>
                <a:gd name="T88" fmla="*/ 217 w 403"/>
                <a:gd name="T89" fmla="*/ 195 h 208"/>
                <a:gd name="T90" fmla="*/ 252 w 403"/>
                <a:gd name="T91" fmla="*/ 203 h 208"/>
                <a:gd name="T92" fmla="*/ 266 w 403"/>
                <a:gd name="T93" fmla="*/ 203 h 208"/>
                <a:gd name="T94" fmla="*/ 279 w 403"/>
                <a:gd name="T95" fmla="*/ 195 h 208"/>
                <a:gd name="T96" fmla="*/ 297 w 403"/>
                <a:gd name="T97" fmla="*/ 186 h 208"/>
                <a:gd name="T98" fmla="*/ 319 w 403"/>
                <a:gd name="T99" fmla="*/ 181 h 208"/>
                <a:gd name="T100" fmla="*/ 341 w 403"/>
                <a:gd name="T101" fmla="*/ 181 h 208"/>
                <a:gd name="T102" fmla="*/ 345 w 403"/>
                <a:gd name="T103" fmla="*/ 168 h 208"/>
                <a:gd name="T104" fmla="*/ 359 w 403"/>
                <a:gd name="T105" fmla="*/ 159 h 208"/>
                <a:gd name="T106" fmla="*/ 367 w 403"/>
                <a:gd name="T107" fmla="*/ 155 h 208"/>
                <a:gd name="T108" fmla="*/ 363 w 403"/>
                <a:gd name="T109" fmla="*/ 146 h 208"/>
                <a:gd name="T110" fmla="*/ 363 w 403"/>
                <a:gd name="T111" fmla="*/ 128 h 208"/>
                <a:gd name="T112" fmla="*/ 376 w 403"/>
                <a:gd name="T113" fmla="*/ 110 h 208"/>
                <a:gd name="T114" fmla="*/ 367 w 403"/>
                <a:gd name="T115" fmla="*/ 102 h 208"/>
                <a:gd name="T116" fmla="*/ 390 w 403"/>
                <a:gd name="T117" fmla="*/ 106 h 208"/>
                <a:gd name="T118" fmla="*/ 394 w 403"/>
                <a:gd name="T119" fmla="*/ 8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3" h="208">
                  <a:moveTo>
                    <a:pt x="403" y="79"/>
                  </a:moveTo>
                  <a:lnTo>
                    <a:pt x="398" y="79"/>
                  </a:lnTo>
                  <a:lnTo>
                    <a:pt x="398" y="79"/>
                  </a:lnTo>
                  <a:lnTo>
                    <a:pt x="398" y="79"/>
                  </a:lnTo>
                  <a:lnTo>
                    <a:pt x="398" y="75"/>
                  </a:lnTo>
                  <a:lnTo>
                    <a:pt x="398" y="75"/>
                  </a:lnTo>
                  <a:lnTo>
                    <a:pt x="394" y="75"/>
                  </a:lnTo>
                  <a:lnTo>
                    <a:pt x="398" y="75"/>
                  </a:lnTo>
                  <a:lnTo>
                    <a:pt x="398" y="75"/>
                  </a:lnTo>
                  <a:lnTo>
                    <a:pt x="398" y="71"/>
                  </a:lnTo>
                  <a:lnTo>
                    <a:pt x="398" y="71"/>
                  </a:lnTo>
                  <a:lnTo>
                    <a:pt x="398" y="71"/>
                  </a:lnTo>
                  <a:lnTo>
                    <a:pt x="394" y="71"/>
                  </a:lnTo>
                  <a:lnTo>
                    <a:pt x="394" y="71"/>
                  </a:lnTo>
                  <a:lnTo>
                    <a:pt x="394" y="71"/>
                  </a:lnTo>
                  <a:lnTo>
                    <a:pt x="394" y="71"/>
                  </a:lnTo>
                  <a:lnTo>
                    <a:pt x="394" y="66"/>
                  </a:lnTo>
                  <a:lnTo>
                    <a:pt x="390" y="66"/>
                  </a:lnTo>
                  <a:lnTo>
                    <a:pt x="390" y="66"/>
                  </a:lnTo>
                  <a:lnTo>
                    <a:pt x="390" y="62"/>
                  </a:lnTo>
                  <a:lnTo>
                    <a:pt x="390" y="62"/>
                  </a:lnTo>
                  <a:lnTo>
                    <a:pt x="390" y="62"/>
                  </a:lnTo>
                  <a:lnTo>
                    <a:pt x="390" y="57"/>
                  </a:lnTo>
                  <a:lnTo>
                    <a:pt x="390" y="57"/>
                  </a:lnTo>
                  <a:lnTo>
                    <a:pt x="390" y="57"/>
                  </a:lnTo>
                  <a:lnTo>
                    <a:pt x="390" y="57"/>
                  </a:lnTo>
                  <a:lnTo>
                    <a:pt x="390" y="57"/>
                  </a:lnTo>
                  <a:lnTo>
                    <a:pt x="390" y="57"/>
                  </a:lnTo>
                  <a:lnTo>
                    <a:pt x="390" y="57"/>
                  </a:lnTo>
                  <a:lnTo>
                    <a:pt x="390" y="57"/>
                  </a:lnTo>
                  <a:lnTo>
                    <a:pt x="390" y="57"/>
                  </a:lnTo>
                  <a:lnTo>
                    <a:pt x="390" y="57"/>
                  </a:lnTo>
                  <a:lnTo>
                    <a:pt x="390" y="57"/>
                  </a:lnTo>
                  <a:lnTo>
                    <a:pt x="390" y="57"/>
                  </a:lnTo>
                  <a:lnTo>
                    <a:pt x="390" y="57"/>
                  </a:lnTo>
                  <a:lnTo>
                    <a:pt x="390" y="53"/>
                  </a:lnTo>
                  <a:lnTo>
                    <a:pt x="390" y="53"/>
                  </a:lnTo>
                  <a:lnTo>
                    <a:pt x="390" y="53"/>
                  </a:lnTo>
                  <a:lnTo>
                    <a:pt x="390" y="53"/>
                  </a:lnTo>
                  <a:lnTo>
                    <a:pt x="385" y="53"/>
                  </a:lnTo>
                  <a:lnTo>
                    <a:pt x="385" y="53"/>
                  </a:lnTo>
                  <a:lnTo>
                    <a:pt x="385" y="53"/>
                  </a:lnTo>
                  <a:lnTo>
                    <a:pt x="385" y="53"/>
                  </a:lnTo>
                  <a:lnTo>
                    <a:pt x="385" y="53"/>
                  </a:lnTo>
                  <a:lnTo>
                    <a:pt x="385" y="53"/>
                  </a:lnTo>
                  <a:lnTo>
                    <a:pt x="385" y="48"/>
                  </a:lnTo>
                  <a:lnTo>
                    <a:pt x="385" y="48"/>
                  </a:lnTo>
                  <a:lnTo>
                    <a:pt x="385" y="48"/>
                  </a:lnTo>
                  <a:lnTo>
                    <a:pt x="385" y="48"/>
                  </a:lnTo>
                  <a:lnTo>
                    <a:pt x="385" y="44"/>
                  </a:lnTo>
                  <a:lnTo>
                    <a:pt x="385" y="44"/>
                  </a:lnTo>
                  <a:lnTo>
                    <a:pt x="385" y="44"/>
                  </a:lnTo>
                  <a:lnTo>
                    <a:pt x="390" y="40"/>
                  </a:lnTo>
                  <a:lnTo>
                    <a:pt x="390" y="40"/>
                  </a:lnTo>
                  <a:lnTo>
                    <a:pt x="390" y="40"/>
                  </a:lnTo>
                  <a:lnTo>
                    <a:pt x="390" y="40"/>
                  </a:lnTo>
                  <a:lnTo>
                    <a:pt x="390" y="40"/>
                  </a:lnTo>
                  <a:lnTo>
                    <a:pt x="390" y="35"/>
                  </a:lnTo>
                  <a:lnTo>
                    <a:pt x="390" y="35"/>
                  </a:lnTo>
                  <a:lnTo>
                    <a:pt x="390" y="31"/>
                  </a:lnTo>
                  <a:lnTo>
                    <a:pt x="390" y="31"/>
                  </a:lnTo>
                  <a:lnTo>
                    <a:pt x="390" y="26"/>
                  </a:lnTo>
                  <a:lnTo>
                    <a:pt x="385" y="22"/>
                  </a:lnTo>
                  <a:lnTo>
                    <a:pt x="385" y="22"/>
                  </a:lnTo>
                  <a:lnTo>
                    <a:pt x="385" y="22"/>
                  </a:lnTo>
                  <a:lnTo>
                    <a:pt x="381" y="26"/>
                  </a:lnTo>
                  <a:lnTo>
                    <a:pt x="381" y="22"/>
                  </a:lnTo>
                  <a:lnTo>
                    <a:pt x="381" y="22"/>
                  </a:lnTo>
                  <a:lnTo>
                    <a:pt x="381" y="22"/>
                  </a:lnTo>
                  <a:lnTo>
                    <a:pt x="376" y="22"/>
                  </a:lnTo>
                  <a:lnTo>
                    <a:pt x="376" y="22"/>
                  </a:lnTo>
                  <a:lnTo>
                    <a:pt x="376" y="22"/>
                  </a:lnTo>
                  <a:lnTo>
                    <a:pt x="376" y="22"/>
                  </a:lnTo>
                  <a:lnTo>
                    <a:pt x="376" y="18"/>
                  </a:lnTo>
                  <a:lnTo>
                    <a:pt x="376" y="18"/>
                  </a:lnTo>
                  <a:lnTo>
                    <a:pt x="372" y="18"/>
                  </a:lnTo>
                  <a:lnTo>
                    <a:pt x="372" y="18"/>
                  </a:lnTo>
                  <a:lnTo>
                    <a:pt x="367" y="18"/>
                  </a:lnTo>
                  <a:lnTo>
                    <a:pt x="367" y="18"/>
                  </a:lnTo>
                  <a:lnTo>
                    <a:pt x="367" y="18"/>
                  </a:lnTo>
                  <a:lnTo>
                    <a:pt x="367" y="18"/>
                  </a:lnTo>
                  <a:lnTo>
                    <a:pt x="367" y="18"/>
                  </a:lnTo>
                  <a:lnTo>
                    <a:pt x="367" y="18"/>
                  </a:lnTo>
                  <a:lnTo>
                    <a:pt x="363" y="18"/>
                  </a:lnTo>
                  <a:lnTo>
                    <a:pt x="363" y="18"/>
                  </a:lnTo>
                  <a:lnTo>
                    <a:pt x="359" y="22"/>
                  </a:lnTo>
                  <a:lnTo>
                    <a:pt x="359" y="22"/>
                  </a:lnTo>
                  <a:lnTo>
                    <a:pt x="359" y="22"/>
                  </a:lnTo>
                  <a:lnTo>
                    <a:pt x="359" y="22"/>
                  </a:lnTo>
                  <a:lnTo>
                    <a:pt x="359" y="22"/>
                  </a:lnTo>
                  <a:lnTo>
                    <a:pt x="359" y="22"/>
                  </a:lnTo>
                  <a:lnTo>
                    <a:pt x="359" y="22"/>
                  </a:lnTo>
                  <a:lnTo>
                    <a:pt x="350" y="22"/>
                  </a:lnTo>
                  <a:lnTo>
                    <a:pt x="345" y="22"/>
                  </a:lnTo>
                  <a:lnTo>
                    <a:pt x="341" y="22"/>
                  </a:lnTo>
                  <a:lnTo>
                    <a:pt x="336" y="18"/>
                  </a:lnTo>
                  <a:lnTo>
                    <a:pt x="336" y="18"/>
                  </a:lnTo>
                  <a:lnTo>
                    <a:pt x="336" y="18"/>
                  </a:lnTo>
                  <a:lnTo>
                    <a:pt x="336" y="13"/>
                  </a:lnTo>
                  <a:lnTo>
                    <a:pt x="336" y="18"/>
                  </a:lnTo>
                  <a:lnTo>
                    <a:pt x="336" y="13"/>
                  </a:lnTo>
                  <a:lnTo>
                    <a:pt x="336" y="13"/>
                  </a:lnTo>
                  <a:lnTo>
                    <a:pt x="336" y="13"/>
                  </a:lnTo>
                  <a:lnTo>
                    <a:pt x="332" y="13"/>
                  </a:lnTo>
                  <a:lnTo>
                    <a:pt x="336" y="13"/>
                  </a:lnTo>
                  <a:lnTo>
                    <a:pt x="332" y="13"/>
                  </a:lnTo>
                  <a:lnTo>
                    <a:pt x="332" y="13"/>
                  </a:lnTo>
                  <a:lnTo>
                    <a:pt x="332" y="13"/>
                  </a:lnTo>
                  <a:lnTo>
                    <a:pt x="332" y="13"/>
                  </a:lnTo>
                  <a:lnTo>
                    <a:pt x="332" y="13"/>
                  </a:lnTo>
                  <a:lnTo>
                    <a:pt x="332" y="13"/>
                  </a:lnTo>
                  <a:lnTo>
                    <a:pt x="332" y="13"/>
                  </a:lnTo>
                  <a:lnTo>
                    <a:pt x="332" y="13"/>
                  </a:lnTo>
                  <a:lnTo>
                    <a:pt x="328" y="13"/>
                  </a:lnTo>
                  <a:lnTo>
                    <a:pt x="328" y="13"/>
                  </a:lnTo>
                  <a:lnTo>
                    <a:pt x="328" y="13"/>
                  </a:lnTo>
                  <a:lnTo>
                    <a:pt x="328" y="13"/>
                  </a:lnTo>
                  <a:lnTo>
                    <a:pt x="323" y="13"/>
                  </a:lnTo>
                  <a:lnTo>
                    <a:pt x="323" y="13"/>
                  </a:lnTo>
                  <a:lnTo>
                    <a:pt x="319" y="9"/>
                  </a:lnTo>
                  <a:lnTo>
                    <a:pt x="314" y="9"/>
                  </a:lnTo>
                  <a:lnTo>
                    <a:pt x="314" y="9"/>
                  </a:lnTo>
                  <a:lnTo>
                    <a:pt x="314" y="4"/>
                  </a:lnTo>
                  <a:lnTo>
                    <a:pt x="310" y="4"/>
                  </a:lnTo>
                  <a:lnTo>
                    <a:pt x="310" y="4"/>
                  </a:lnTo>
                  <a:lnTo>
                    <a:pt x="305" y="4"/>
                  </a:lnTo>
                  <a:lnTo>
                    <a:pt x="305" y="4"/>
                  </a:lnTo>
                  <a:lnTo>
                    <a:pt x="301" y="4"/>
                  </a:lnTo>
                  <a:lnTo>
                    <a:pt x="301" y="4"/>
                  </a:lnTo>
                  <a:lnTo>
                    <a:pt x="301" y="4"/>
                  </a:lnTo>
                  <a:lnTo>
                    <a:pt x="301" y="4"/>
                  </a:lnTo>
                  <a:lnTo>
                    <a:pt x="301" y="4"/>
                  </a:lnTo>
                  <a:lnTo>
                    <a:pt x="301" y="4"/>
                  </a:lnTo>
                  <a:lnTo>
                    <a:pt x="301" y="4"/>
                  </a:lnTo>
                  <a:lnTo>
                    <a:pt x="301" y="4"/>
                  </a:lnTo>
                  <a:lnTo>
                    <a:pt x="301" y="4"/>
                  </a:lnTo>
                  <a:lnTo>
                    <a:pt x="301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0"/>
                  </a:lnTo>
                  <a:lnTo>
                    <a:pt x="292" y="0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88" y="4"/>
                  </a:lnTo>
                  <a:lnTo>
                    <a:pt x="288" y="4"/>
                  </a:lnTo>
                  <a:lnTo>
                    <a:pt x="288" y="9"/>
                  </a:lnTo>
                  <a:lnTo>
                    <a:pt x="288" y="9"/>
                  </a:lnTo>
                  <a:lnTo>
                    <a:pt x="283" y="13"/>
                  </a:lnTo>
                  <a:lnTo>
                    <a:pt x="283" y="18"/>
                  </a:lnTo>
                  <a:lnTo>
                    <a:pt x="283" y="18"/>
                  </a:lnTo>
                  <a:lnTo>
                    <a:pt x="283" y="18"/>
                  </a:lnTo>
                  <a:lnTo>
                    <a:pt x="283" y="18"/>
                  </a:lnTo>
                  <a:lnTo>
                    <a:pt x="283" y="18"/>
                  </a:lnTo>
                  <a:lnTo>
                    <a:pt x="283" y="18"/>
                  </a:lnTo>
                  <a:lnTo>
                    <a:pt x="283" y="22"/>
                  </a:lnTo>
                  <a:lnTo>
                    <a:pt x="283" y="22"/>
                  </a:lnTo>
                  <a:lnTo>
                    <a:pt x="279" y="18"/>
                  </a:lnTo>
                  <a:lnTo>
                    <a:pt x="279" y="18"/>
                  </a:lnTo>
                  <a:lnTo>
                    <a:pt x="279" y="18"/>
                  </a:lnTo>
                  <a:lnTo>
                    <a:pt x="279" y="18"/>
                  </a:lnTo>
                  <a:lnTo>
                    <a:pt x="274" y="22"/>
                  </a:lnTo>
                  <a:lnTo>
                    <a:pt x="274" y="22"/>
                  </a:lnTo>
                  <a:lnTo>
                    <a:pt x="274" y="22"/>
                  </a:lnTo>
                  <a:lnTo>
                    <a:pt x="274" y="26"/>
                  </a:lnTo>
                  <a:lnTo>
                    <a:pt x="270" y="26"/>
                  </a:lnTo>
                  <a:lnTo>
                    <a:pt x="270" y="31"/>
                  </a:lnTo>
                  <a:lnTo>
                    <a:pt x="270" y="31"/>
                  </a:lnTo>
                  <a:lnTo>
                    <a:pt x="270" y="35"/>
                  </a:lnTo>
                  <a:lnTo>
                    <a:pt x="270" y="35"/>
                  </a:lnTo>
                  <a:lnTo>
                    <a:pt x="270" y="35"/>
                  </a:lnTo>
                  <a:lnTo>
                    <a:pt x="270" y="35"/>
                  </a:lnTo>
                  <a:lnTo>
                    <a:pt x="270" y="35"/>
                  </a:lnTo>
                  <a:lnTo>
                    <a:pt x="270" y="35"/>
                  </a:lnTo>
                  <a:lnTo>
                    <a:pt x="270" y="31"/>
                  </a:lnTo>
                  <a:lnTo>
                    <a:pt x="270" y="31"/>
                  </a:lnTo>
                  <a:lnTo>
                    <a:pt x="266" y="31"/>
                  </a:lnTo>
                  <a:lnTo>
                    <a:pt x="266" y="31"/>
                  </a:lnTo>
                  <a:lnTo>
                    <a:pt x="266" y="31"/>
                  </a:lnTo>
                  <a:lnTo>
                    <a:pt x="266" y="31"/>
                  </a:lnTo>
                  <a:lnTo>
                    <a:pt x="266" y="31"/>
                  </a:lnTo>
                  <a:lnTo>
                    <a:pt x="266" y="31"/>
                  </a:lnTo>
                  <a:lnTo>
                    <a:pt x="266" y="31"/>
                  </a:lnTo>
                  <a:lnTo>
                    <a:pt x="266" y="31"/>
                  </a:lnTo>
                  <a:lnTo>
                    <a:pt x="261" y="31"/>
                  </a:lnTo>
                  <a:lnTo>
                    <a:pt x="261" y="31"/>
                  </a:lnTo>
                  <a:lnTo>
                    <a:pt x="261" y="31"/>
                  </a:lnTo>
                  <a:lnTo>
                    <a:pt x="261" y="31"/>
                  </a:lnTo>
                  <a:lnTo>
                    <a:pt x="257" y="31"/>
                  </a:lnTo>
                  <a:lnTo>
                    <a:pt x="257" y="35"/>
                  </a:lnTo>
                  <a:lnTo>
                    <a:pt x="257" y="35"/>
                  </a:lnTo>
                  <a:lnTo>
                    <a:pt x="252" y="35"/>
                  </a:lnTo>
                  <a:lnTo>
                    <a:pt x="252" y="35"/>
                  </a:lnTo>
                  <a:lnTo>
                    <a:pt x="252" y="35"/>
                  </a:lnTo>
                  <a:lnTo>
                    <a:pt x="252" y="35"/>
                  </a:lnTo>
                  <a:lnTo>
                    <a:pt x="248" y="35"/>
                  </a:lnTo>
                  <a:lnTo>
                    <a:pt x="239" y="35"/>
                  </a:lnTo>
                  <a:lnTo>
                    <a:pt x="239" y="31"/>
                  </a:lnTo>
                  <a:lnTo>
                    <a:pt x="235" y="31"/>
                  </a:lnTo>
                  <a:lnTo>
                    <a:pt x="235" y="31"/>
                  </a:lnTo>
                  <a:lnTo>
                    <a:pt x="235" y="31"/>
                  </a:lnTo>
                  <a:lnTo>
                    <a:pt x="235" y="31"/>
                  </a:lnTo>
                  <a:lnTo>
                    <a:pt x="235" y="31"/>
                  </a:lnTo>
                  <a:lnTo>
                    <a:pt x="235" y="31"/>
                  </a:lnTo>
                  <a:lnTo>
                    <a:pt x="235" y="31"/>
                  </a:lnTo>
                  <a:lnTo>
                    <a:pt x="235" y="26"/>
                  </a:lnTo>
                  <a:lnTo>
                    <a:pt x="235" y="31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26" y="22"/>
                  </a:lnTo>
                  <a:lnTo>
                    <a:pt x="226" y="18"/>
                  </a:lnTo>
                  <a:lnTo>
                    <a:pt x="226" y="22"/>
                  </a:lnTo>
                  <a:lnTo>
                    <a:pt x="221" y="22"/>
                  </a:lnTo>
                  <a:lnTo>
                    <a:pt x="226" y="22"/>
                  </a:lnTo>
                  <a:lnTo>
                    <a:pt x="226" y="26"/>
                  </a:lnTo>
                  <a:lnTo>
                    <a:pt x="226" y="26"/>
                  </a:lnTo>
                  <a:lnTo>
                    <a:pt x="226" y="26"/>
                  </a:lnTo>
                  <a:lnTo>
                    <a:pt x="226" y="26"/>
                  </a:lnTo>
                  <a:lnTo>
                    <a:pt x="226" y="26"/>
                  </a:lnTo>
                  <a:lnTo>
                    <a:pt x="226" y="31"/>
                  </a:lnTo>
                  <a:lnTo>
                    <a:pt x="226" y="31"/>
                  </a:lnTo>
                  <a:lnTo>
                    <a:pt x="226" y="31"/>
                  </a:lnTo>
                  <a:lnTo>
                    <a:pt x="226" y="31"/>
                  </a:lnTo>
                  <a:lnTo>
                    <a:pt x="221" y="35"/>
                  </a:lnTo>
                  <a:lnTo>
                    <a:pt x="221" y="35"/>
                  </a:lnTo>
                  <a:lnTo>
                    <a:pt x="221" y="35"/>
                  </a:lnTo>
                  <a:lnTo>
                    <a:pt x="221" y="35"/>
                  </a:lnTo>
                  <a:lnTo>
                    <a:pt x="221" y="35"/>
                  </a:lnTo>
                  <a:lnTo>
                    <a:pt x="221" y="35"/>
                  </a:lnTo>
                  <a:lnTo>
                    <a:pt x="221" y="35"/>
                  </a:lnTo>
                  <a:lnTo>
                    <a:pt x="221" y="40"/>
                  </a:lnTo>
                  <a:lnTo>
                    <a:pt x="221" y="40"/>
                  </a:lnTo>
                  <a:lnTo>
                    <a:pt x="217" y="40"/>
                  </a:lnTo>
                  <a:lnTo>
                    <a:pt x="217" y="35"/>
                  </a:lnTo>
                  <a:lnTo>
                    <a:pt x="217" y="35"/>
                  </a:lnTo>
                  <a:lnTo>
                    <a:pt x="217" y="35"/>
                  </a:lnTo>
                  <a:lnTo>
                    <a:pt x="208" y="35"/>
                  </a:lnTo>
                  <a:lnTo>
                    <a:pt x="208" y="35"/>
                  </a:lnTo>
                  <a:lnTo>
                    <a:pt x="208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4" y="35"/>
                  </a:lnTo>
                  <a:lnTo>
                    <a:pt x="204" y="40"/>
                  </a:lnTo>
                  <a:lnTo>
                    <a:pt x="208" y="40"/>
                  </a:lnTo>
                  <a:lnTo>
                    <a:pt x="208" y="40"/>
                  </a:lnTo>
                  <a:lnTo>
                    <a:pt x="208" y="40"/>
                  </a:lnTo>
                  <a:lnTo>
                    <a:pt x="204" y="40"/>
                  </a:lnTo>
                  <a:lnTo>
                    <a:pt x="204" y="44"/>
                  </a:lnTo>
                  <a:lnTo>
                    <a:pt x="204" y="44"/>
                  </a:lnTo>
                  <a:lnTo>
                    <a:pt x="204" y="44"/>
                  </a:lnTo>
                  <a:lnTo>
                    <a:pt x="204" y="48"/>
                  </a:lnTo>
                  <a:lnTo>
                    <a:pt x="204" y="48"/>
                  </a:lnTo>
                  <a:lnTo>
                    <a:pt x="204" y="48"/>
                  </a:lnTo>
                  <a:lnTo>
                    <a:pt x="204" y="48"/>
                  </a:lnTo>
                  <a:lnTo>
                    <a:pt x="204" y="48"/>
                  </a:lnTo>
                  <a:lnTo>
                    <a:pt x="204" y="48"/>
                  </a:lnTo>
                  <a:lnTo>
                    <a:pt x="199" y="53"/>
                  </a:lnTo>
                  <a:lnTo>
                    <a:pt x="195" y="57"/>
                  </a:lnTo>
                  <a:lnTo>
                    <a:pt x="190" y="57"/>
                  </a:lnTo>
                  <a:lnTo>
                    <a:pt x="186" y="57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7" y="66"/>
                  </a:lnTo>
                  <a:lnTo>
                    <a:pt x="177" y="66"/>
                  </a:lnTo>
                  <a:lnTo>
                    <a:pt x="173" y="66"/>
                  </a:lnTo>
                  <a:lnTo>
                    <a:pt x="173" y="66"/>
                  </a:lnTo>
                  <a:lnTo>
                    <a:pt x="173" y="66"/>
                  </a:lnTo>
                  <a:lnTo>
                    <a:pt x="173" y="71"/>
                  </a:lnTo>
                  <a:lnTo>
                    <a:pt x="173" y="71"/>
                  </a:lnTo>
                  <a:lnTo>
                    <a:pt x="168" y="71"/>
                  </a:lnTo>
                  <a:lnTo>
                    <a:pt x="168" y="71"/>
                  </a:lnTo>
                  <a:lnTo>
                    <a:pt x="168" y="71"/>
                  </a:lnTo>
                  <a:lnTo>
                    <a:pt x="168" y="71"/>
                  </a:lnTo>
                  <a:lnTo>
                    <a:pt x="168" y="71"/>
                  </a:lnTo>
                  <a:lnTo>
                    <a:pt x="168" y="71"/>
                  </a:lnTo>
                  <a:lnTo>
                    <a:pt x="168" y="75"/>
                  </a:lnTo>
                  <a:lnTo>
                    <a:pt x="168" y="75"/>
                  </a:lnTo>
                  <a:lnTo>
                    <a:pt x="168" y="75"/>
                  </a:lnTo>
                  <a:lnTo>
                    <a:pt x="173" y="79"/>
                  </a:lnTo>
                  <a:lnTo>
                    <a:pt x="173" y="79"/>
                  </a:lnTo>
                  <a:lnTo>
                    <a:pt x="173" y="79"/>
                  </a:lnTo>
                  <a:lnTo>
                    <a:pt x="173" y="84"/>
                  </a:lnTo>
                  <a:lnTo>
                    <a:pt x="173" y="84"/>
                  </a:lnTo>
                  <a:lnTo>
                    <a:pt x="173" y="84"/>
                  </a:lnTo>
                  <a:lnTo>
                    <a:pt x="177" y="84"/>
                  </a:lnTo>
                  <a:lnTo>
                    <a:pt x="177" y="84"/>
                  </a:lnTo>
                  <a:lnTo>
                    <a:pt x="177" y="84"/>
                  </a:lnTo>
                  <a:lnTo>
                    <a:pt x="177" y="88"/>
                  </a:lnTo>
                  <a:lnTo>
                    <a:pt x="182" y="88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77" y="97"/>
                  </a:lnTo>
                  <a:lnTo>
                    <a:pt x="177" y="97"/>
                  </a:lnTo>
                  <a:lnTo>
                    <a:pt x="177" y="97"/>
                  </a:lnTo>
                  <a:lnTo>
                    <a:pt x="177" y="97"/>
                  </a:lnTo>
                  <a:lnTo>
                    <a:pt x="177" y="102"/>
                  </a:lnTo>
                  <a:lnTo>
                    <a:pt x="177" y="102"/>
                  </a:lnTo>
                  <a:lnTo>
                    <a:pt x="177" y="102"/>
                  </a:lnTo>
                  <a:lnTo>
                    <a:pt x="177" y="102"/>
                  </a:lnTo>
                  <a:lnTo>
                    <a:pt x="177" y="102"/>
                  </a:lnTo>
                  <a:lnTo>
                    <a:pt x="177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6" y="102"/>
                  </a:lnTo>
                  <a:lnTo>
                    <a:pt x="186" y="106"/>
                  </a:lnTo>
                  <a:lnTo>
                    <a:pt x="186" y="106"/>
                  </a:lnTo>
                  <a:lnTo>
                    <a:pt x="186" y="106"/>
                  </a:lnTo>
                  <a:lnTo>
                    <a:pt x="186" y="106"/>
                  </a:lnTo>
                  <a:lnTo>
                    <a:pt x="186" y="110"/>
                  </a:lnTo>
                  <a:lnTo>
                    <a:pt x="186" y="110"/>
                  </a:lnTo>
                  <a:lnTo>
                    <a:pt x="186" y="110"/>
                  </a:lnTo>
                  <a:lnTo>
                    <a:pt x="186" y="110"/>
                  </a:lnTo>
                  <a:lnTo>
                    <a:pt x="186" y="110"/>
                  </a:lnTo>
                  <a:lnTo>
                    <a:pt x="186" y="115"/>
                  </a:lnTo>
                  <a:lnTo>
                    <a:pt x="186" y="115"/>
                  </a:lnTo>
                  <a:lnTo>
                    <a:pt x="186" y="115"/>
                  </a:lnTo>
                  <a:lnTo>
                    <a:pt x="186" y="115"/>
                  </a:lnTo>
                  <a:lnTo>
                    <a:pt x="186" y="115"/>
                  </a:lnTo>
                  <a:lnTo>
                    <a:pt x="186" y="115"/>
                  </a:lnTo>
                  <a:lnTo>
                    <a:pt x="182" y="115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6" y="119"/>
                  </a:lnTo>
                  <a:lnTo>
                    <a:pt x="186" y="119"/>
                  </a:lnTo>
                  <a:lnTo>
                    <a:pt x="186" y="119"/>
                  </a:lnTo>
                  <a:lnTo>
                    <a:pt x="186" y="119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77" y="124"/>
                  </a:lnTo>
                  <a:lnTo>
                    <a:pt x="177" y="119"/>
                  </a:lnTo>
                  <a:lnTo>
                    <a:pt x="177" y="119"/>
                  </a:lnTo>
                  <a:lnTo>
                    <a:pt x="173" y="115"/>
                  </a:lnTo>
                  <a:lnTo>
                    <a:pt x="173" y="115"/>
                  </a:lnTo>
                  <a:lnTo>
                    <a:pt x="173" y="115"/>
                  </a:lnTo>
                  <a:lnTo>
                    <a:pt x="173" y="115"/>
                  </a:lnTo>
                  <a:lnTo>
                    <a:pt x="173" y="115"/>
                  </a:lnTo>
                  <a:lnTo>
                    <a:pt x="168" y="115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68" y="110"/>
                  </a:lnTo>
                  <a:lnTo>
                    <a:pt x="168" y="106"/>
                  </a:lnTo>
                  <a:lnTo>
                    <a:pt x="168" y="106"/>
                  </a:lnTo>
                  <a:lnTo>
                    <a:pt x="168" y="106"/>
                  </a:lnTo>
                  <a:lnTo>
                    <a:pt x="164" y="106"/>
                  </a:lnTo>
                  <a:lnTo>
                    <a:pt x="164" y="106"/>
                  </a:lnTo>
                  <a:lnTo>
                    <a:pt x="164" y="106"/>
                  </a:lnTo>
                  <a:lnTo>
                    <a:pt x="159" y="106"/>
                  </a:lnTo>
                  <a:lnTo>
                    <a:pt x="159" y="110"/>
                  </a:lnTo>
                  <a:lnTo>
                    <a:pt x="159" y="110"/>
                  </a:lnTo>
                  <a:lnTo>
                    <a:pt x="159" y="110"/>
                  </a:lnTo>
                  <a:lnTo>
                    <a:pt x="155" y="110"/>
                  </a:lnTo>
                  <a:lnTo>
                    <a:pt x="155" y="110"/>
                  </a:lnTo>
                  <a:lnTo>
                    <a:pt x="155" y="110"/>
                  </a:lnTo>
                  <a:lnTo>
                    <a:pt x="155" y="106"/>
                  </a:lnTo>
                  <a:lnTo>
                    <a:pt x="155" y="106"/>
                  </a:lnTo>
                  <a:lnTo>
                    <a:pt x="151" y="106"/>
                  </a:lnTo>
                  <a:lnTo>
                    <a:pt x="151" y="106"/>
                  </a:lnTo>
                  <a:lnTo>
                    <a:pt x="151" y="106"/>
                  </a:lnTo>
                  <a:lnTo>
                    <a:pt x="151" y="106"/>
                  </a:lnTo>
                  <a:lnTo>
                    <a:pt x="151" y="106"/>
                  </a:lnTo>
                  <a:lnTo>
                    <a:pt x="146" y="106"/>
                  </a:lnTo>
                  <a:lnTo>
                    <a:pt x="146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37" y="102"/>
                  </a:lnTo>
                  <a:lnTo>
                    <a:pt x="137" y="106"/>
                  </a:lnTo>
                  <a:lnTo>
                    <a:pt x="137" y="106"/>
                  </a:lnTo>
                  <a:lnTo>
                    <a:pt x="137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10"/>
                  </a:lnTo>
                  <a:lnTo>
                    <a:pt x="142" y="110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24" y="110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15" y="115"/>
                  </a:lnTo>
                  <a:lnTo>
                    <a:pt x="111" y="115"/>
                  </a:lnTo>
                  <a:lnTo>
                    <a:pt x="111" y="110"/>
                  </a:lnTo>
                  <a:lnTo>
                    <a:pt x="111" y="110"/>
                  </a:lnTo>
                  <a:lnTo>
                    <a:pt x="111" y="110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2" y="119"/>
                  </a:lnTo>
                  <a:lnTo>
                    <a:pt x="102" y="119"/>
                  </a:lnTo>
                  <a:lnTo>
                    <a:pt x="102" y="119"/>
                  </a:lnTo>
                  <a:lnTo>
                    <a:pt x="97" y="119"/>
                  </a:lnTo>
                  <a:lnTo>
                    <a:pt x="97" y="124"/>
                  </a:lnTo>
                  <a:lnTo>
                    <a:pt x="97" y="124"/>
                  </a:lnTo>
                  <a:lnTo>
                    <a:pt x="97" y="124"/>
                  </a:lnTo>
                  <a:lnTo>
                    <a:pt x="97" y="124"/>
                  </a:lnTo>
                  <a:lnTo>
                    <a:pt x="97" y="124"/>
                  </a:lnTo>
                  <a:lnTo>
                    <a:pt x="97" y="124"/>
                  </a:lnTo>
                  <a:lnTo>
                    <a:pt x="93" y="124"/>
                  </a:lnTo>
                  <a:lnTo>
                    <a:pt x="93" y="124"/>
                  </a:lnTo>
                  <a:lnTo>
                    <a:pt x="93" y="124"/>
                  </a:lnTo>
                  <a:lnTo>
                    <a:pt x="93" y="128"/>
                  </a:lnTo>
                  <a:lnTo>
                    <a:pt x="89" y="128"/>
                  </a:lnTo>
                  <a:lnTo>
                    <a:pt x="89" y="128"/>
                  </a:lnTo>
                  <a:lnTo>
                    <a:pt x="89" y="128"/>
                  </a:lnTo>
                  <a:lnTo>
                    <a:pt x="89" y="124"/>
                  </a:lnTo>
                  <a:lnTo>
                    <a:pt x="89" y="124"/>
                  </a:lnTo>
                  <a:lnTo>
                    <a:pt x="84" y="124"/>
                  </a:lnTo>
                  <a:lnTo>
                    <a:pt x="84" y="128"/>
                  </a:lnTo>
                  <a:lnTo>
                    <a:pt x="80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4"/>
                  </a:lnTo>
                  <a:lnTo>
                    <a:pt x="75" y="124"/>
                  </a:lnTo>
                  <a:lnTo>
                    <a:pt x="75" y="124"/>
                  </a:lnTo>
                  <a:lnTo>
                    <a:pt x="71" y="124"/>
                  </a:lnTo>
                  <a:lnTo>
                    <a:pt x="71" y="119"/>
                  </a:lnTo>
                  <a:lnTo>
                    <a:pt x="71" y="119"/>
                  </a:lnTo>
                  <a:lnTo>
                    <a:pt x="71" y="119"/>
                  </a:lnTo>
                  <a:lnTo>
                    <a:pt x="71" y="119"/>
                  </a:lnTo>
                  <a:lnTo>
                    <a:pt x="71" y="119"/>
                  </a:lnTo>
                  <a:lnTo>
                    <a:pt x="71" y="115"/>
                  </a:lnTo>
                  <a:lnTo>
                    <a:pt x="66" y="115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58" y="115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53" y="119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4" y="115"/>
                  </a:lnTo>
                  <a:lnTo>
                    <a:pt x="44" y="115"/>
                  </a:lnTo>
                  <a:lnTo>
                    <a:pt x="44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4" y="119"/>
                  </a:lnTo>
                  <a:lnTo>
                    <a:pt x="49" y="119"/>
                  </a:lnTo>
                  <a:lnTo>
                    <a:pt x="49" y="119"/>
                  </a:lnTo>
                  <a:lnTo>
                    <a:pt x="49" y="119"/>
                  </a:lnTo>
                  <a:lnTo>
                    <a:pt x="49" y="124"/>
                  </a:lnTo>
                  <a:lnTo>
                    <a:pt x="49" y="124"/>
                  </a:lnTo>
                  <a:lnTo>
                    <a:pt x="49" y="124"/>
                  </a:lnTo>
                  <a:lnTo>
                    <a:pt x="49" y="128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33"/>
                  </a:lnTo>
                  <a:lnTo>
                    <a:pt x="40" y="133"/>
                  </a:lnTo>
                  <a:lnTo>
                    <a:pt x="40" y="133"/>
                  </a:lnTo>
                  <a:lnTo>
                    <a:pt x="40" y="137"/>
                  </a:lnTo>
                  <a:lnTo>
                    <a:pt x="35" y="137"/>
                  </a:lnTo>
                  <a:lnTo>
                    <a:pt x="31" y="137"/>
                  </a:lnTo>
                  <a:lnTo>
                    <a:pt x="31" y="137"/>
                  </a:lnTo>
                  <a:lnTo>
                    <a:pt x="31" y="137"/>
                  </a:lnTo>
                  <a:lnTo>
                    <a:pt x="31" y="137"/>
                  </a:lnTo>
                  <a:lnTo>
                    <a:pt x="31" y="137"/>
                  </a:lnTo>
                  <a:lnTo>
                    <a:pt x="31" y="137"/>
                  </a:lnTo>
                  <a:lnTo>
                    <a:pt x="35" y="137"/>
                  </a:lnTo>
                  <a:lnTo>
                    <a:pt x="35" y="137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35" y="128"/>
                  </a:lnTo>
                  <a:lnTo>
                    <a:pt x="35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9"/>
                  </a:lnTo>
                  <a:lnTo>
                    <a:pt x="4" y="119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8"/>
                  </a:lnTo>
                  <a:lnTo>
                    <a:pt x="4" y="128"/>
                  </a:lnTo>
                  <a:lnTo>
                    <a:pt x="4" y="128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0" y="133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4" y="146"/>
                  </a:lnTo>
                  <a:lnTo>
                    <a:pt x="4" y="150"/>
                  </a:lnTo>
                  <a:lnTo>
                    <a:pt x="4" y="150"/>
                  </a:lnTo>
                  <a:lnTo>
                    <a:pt x="0" y="155"/>
                  </a:lnTo>
                  <a:lnTo>
                    <a:pt x="4" y="155"/>
                  </a:lnTo>
                  <a:lnTo>
                    <a:pt x="4" y="155"/>
                  </a:lnTo>
                  <a:lnTo>
                    <a:pt x="4" y="155"/>
                  </a:lnTo>
                  <a:lnTo>
                    <a:pt x="18" y="155"/>
                  </a:lnTo>
                  <a:lnTo>
                    <a:pt x="18" y="159"/>
                  </a:lnTo>
                  <a:lnTo>
                    <a:pt x="18" y="159"/>
                  </a:lnTo>
                  <a:lnTo>
                    <a:pt x="18" y="159"/>
                  </a:lnTo>
                  <a:lnTo>
                    <a:pt x="18" y="159"/>
                  </a:lnTo>
                  <a:lnTo>
                    <a:pt x="18" y="159"/>
                  </a:lnTo>
                  <a:lnTo>
                    <a:pt x="18" y="159"/>
                  </a:lnTo>
                  <a:lnTo>
                    <a:pt x="18" y="159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22" y="168"/>
                  </a:lnTo>
                  <a:lnTo>
                    <a:pt x="27" y="168"/>
                  </a:lnTo>
                  <a:lnTo>
                    <a:pt x="27" y="168"/>
                  </a:lnTo>
                  <a:lnTo>
                    <a:pt x="31" y="168"/>
                  </a:lnTo>
                  <a:lnTo>
                    <a:pt x="31" y="168"/>
                  </a:lnTo>
                  <a:lnTo>
                    <a:pt x="31" y="168"/>
                  </a:lnTo>
                  <a:lnTo>
                    <a:pt x="31" y="168"/>
                  </a:lnTo>
                  <a:lnTo>
                    <a:pt x="35" y="168"/>
                  </a:lnTo>
                  <a:lnTo>
                    <a:pt x="35" y="168"/>
                  </a:lnTo>
                  <a:lnTo>
                    <a:pt x="35" y="168"/>
                  </a:lnTo>
                  <a:lnTo>
                    <a:pt x="35" y="168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40" y="159"/>
                  </a:lnTo>
                  <a:lnTo>
                    <a:pt x="40" y="159"/>
                  </a:lnTo>
                  <a:lnTo>
                    <a:pt x="44" y="159"/>
                  </a:lnTo>
                  <a:lnTo>
                    <a:pt x="44" y="159"/>
                  </a:lnTo>
                  <a:lnTo>
                    <a:pt x="44" y="159"/>
                  </a:lnTo>
                  <a:lnTo>
                    <a:pt x="44" y="159"/>
                  </a:lnTo>
                  <a:lnTo>
                    <a:pt x="44" y="159"/>
                  </a:lnTo>
                  <a:lnTo>
                    <a:pt x="44" y="159"/>
                  </a:lnTo>
                  <a:lnTo>
                    <a:pt x="44" y="159"/>
                  </a:lnTo>
                  <a:lnTo>
                    <a:pt x="44" y="159"/>
                  </a:lnTo>
                  <a:lnTo>
                    <a:pt x="49" y="164"/>
                  </a:lnTo>
                  <a:lnTo>
                    <a:pt x="49" y="164"/>
                  </a:lnTo>
                  <a:lnTo>
                    <a:pt x="49" y="164"/>
                  </a:lnTo>
                  <a:lnTo>
                    <a:pt x="49" y="168"/>
                  </a:lnTo>
                  <a:lnTo>
                    <a:pt x="49" y="168"/>
                  </a:lnTo>
                  <a:lnTo>
                    <a:pt x="49" y="168"/>
                  </a:lnTo>
                  <a:lnTo>
                    <a:pt x="53" y="168"/>
                  </a:lnTo>
                  <a:lnTo>
                    <a:pt x="58" y="168"/>
                  </a:lnTo>
                  <a:lnTo>
                    <a:pt x="58" y="168"/>
                  </a:lnTo>
                  <a:lnTo>
                    <a:pt x="58" y="168"/>
                  </a:lnTo>
                  <a:lnTo>
                    <a:pt x="62" y="172"/>
                  </a:lnTo>
                  <a:lnTo>
                    <a:pt x="62" y="172"/>
                  </a:lnTo>
                  <a:lnTo>
                    <a:pt x="62" y="172"/>
                  </a:lnTo>
                  <a:lnTo>
                    <a:pt x="62" y="172"/>
                  </a:lnTo>
                  <a:lnTo>
                    <a:pt x="62" y="172"/>
                  </a:lnTo>
                  <a:lnTo>
                    <a:pt x="62" y="172"/>
                  </a:lnTo>
                  <a:lnTo>
                    <a:pt x="62" y="172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66" y="177"/>
                  </a:lnTo>
                  <a:lnTo>
                    <a:pt x="66" y="177"/>
                  </a:lnTo>
                  <a:lnTo>
                    <a:pt x="66" y="177"/>
                  </a:lnTo>
                  <a:lnTo>
                    <a:pt x="66" y="177"/>
                  </a:lnTo>
                  <a:lnTo>
                    <a:pt x="66" y="177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0" y="168"/>
                  </a:lnTo>
                  <a:lnTo>
                    <a:pt x="80" y="164"/>
                  </a:lnTo>
                  <a:lnTo>
                    <a:pt x="80" y="164"/>
                  </a:lnTo>
                  <a:lnTo>
                    <a:pt x="84" y="164"/>
                  </a:lnTo>
                  <a:lnTo>
                    <a:pt x="84" y="159"/>
                  </a:lnTo>
                  <a:lnTo>
                    <a:pt x="89" y="159"/>
                  </a:lnTo>
                  <a:lnTo>
                    <a:pt x="93" y="159"/>
                  </a:lnTo>
                  <a:lnTo>
                    <a:pt x="93" y="159"/>
                  </a:lnTo>
                  <a:lnTo>
                    <a:pt x="97" y="159"/>
                  </a:lnTo>
                  <a:lnTo>
                    <a:pt x="97" y="159"/>
                  </a:lnTo>
                  <a:lnTo>
                    <a:pt x="102" y="159"/>
                  </a:lnTo>
                  <a:lnTo>
                    <a:pt x="102" y="159"/>
                  </a:lnTo>
                  <a:lnTo>
                    <a:pt x="102" y="159"/>
                  </a:lnTo>
                  <a:lnTo>
                    <a:pt x="102" y="159"/>
                  </a:lnTo>
                  <a:lnTo>
                    <a:pt x="102" y="159"/>
                  </a:lnTo>
                  <a:lnTo>
                    <a:pt x="102" y="159"/>
                  </a:lnTo>
                  <a:lnTo>
                    <a:pt x="102" y="159"/>
                  </a:lnTo>
                  <a:lnTo>
                    <a:pt x="102" y="159"/>
                  </a:lnTo>
                  <a:lnTo>
                    <a:pt x="102" y="159"/>
                  </a:lnTo>
                  <a:lnTo>
                    <a:pt x="102" y="159"/>
                  </a:lnTo>
                  <a:lnTo>
                    <a:pt x="106" y="159"/>
                  </a:lnTo>
                  <a:lnTo>
                    <a:pt x="106" y="159"/>
                  </a:lnTo>
                  <a:lnTo>
                    <a:pt x="106" y="159"/>
                  </a:lnTo>
                  <a:lnTo>
                    <a:pt x="106" y="159"/>
                  </a:lnTo>
                  <a:lnTo>
                    <a:pt x="106" y="159"/>
                  </a:lnTo>
                  <a:lnTo>
                    <a:pt x="106" y="159"/>
                  </a:lnTo>
                  <a:lnTo>
                    <a:pt x="106" y="159"/>
                  </a:lnTo>
                  <a:lnTo>
                    <a:pt x="106" y="159"/>
                  </a:lnTo>
                  <a:lnTo>
                    <a:pt x="111" y="159"/>
                  </a:lnTo>
                  <a:lnTo>
                    <a:pt x="111" y="159"/>
                  </a:lnTo>
                  <a:lnTo>
                    <a:pt x="111" y="159"/>
                  </a:lnTo>
                  <a:lnTo>
                    <a:pt x="111" y="159"/>
                  </a:lnTo>
                  <a:lnTo>
                    <a:pt x="111" y="159"/>
                  </a:lnTo>
                  <a:lnTo>
                    <a:pt x="111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20" y="159"/>
                  </a:lnTo>
                  <a:lnTo>
                    <a:pt x="120" y="159"/>
                  </a:lnTo>
                  <a:lnTo>
                    <a:pt x="124" y="159"/>
                  </a:lnTo>
                  <a:lnTo>
                    <a:pt x="124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37" y="150"/>
                  </a:lnTo>
                  <a:lnTo>
                    <a:pt x="137" y="150"/>
                  </a:lnTo>
                  <a:lnTo>
                    <a:pt x="137" y="150"/>
                  </a:lnTo>
                  <a:lnTo>
                    <a:pt x="142" y="150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37" y="155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42" y="168"/>
                  </a:lnTo>
                  <a:lnTo>
                    <a:pt x="142" y="168"/>
                  </a:lnTo>
                  <a:lnTo>
                    <a:pt x="142" y="168"/>
                  </a:lnTo>
                  <a:lnTo>
                    <a:pt x="142" y="168"/>
                  </a:lnTo>
                  <a:lnTo>
                    <a:pt x="146" y="168"/>
                  </a:lnTo>
                  <a:lnTo>
                    <a:pt x="146" y="172"/>
                  </a:lnTo>
                  <a:lnTo>
                    <a:pt x="142" y="172"/>
                  </a:lnTo>
                  <a:lnTo>
                    <a:pt x="142" y="172"/>
                  </a:lnTo>
                  <a:lnTo>
                    <a:pt x="142" y="172"/>
                  </a:lnTo>
                  <a:lnTo>
                    <a:pt x="142" y="172"/>
                  </a:lnTo>
                  <a:lnTo>
                    <a:pt x="142" y="172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51" y="181"/>
                  </a:lnTo>
                  <a:lnTo>
                    <a:pt x="151" y="181"/>
                  </a:lnTo>
                  <a:lnTo>
                    <a:pt x="155" y="181"/>
                  </a:lnTo>
                  <a:lnTo>
                    <a:pt x="155" y="181"/>
                  </a:lnTo>
                  <a:lnTo>
                    <a:pt x="155" y="181"/>
                  </a:lnTo>
                  <a:lnTo>
                    <a:pt x="159" y="186"/>
                  </a:lnTo>
                  <a:lnTo>
                    <a:pt x="159" y="186"/>
                  </a:lnTo>
                  <a:lnTo>
                    <a:pt x="159" y="186"/>
                  </a:lnTo>
                  <a:lnTo>
                    <a:pt x="164" y="186"/>
                  </a:lnTo>
                  <a:lnTo>
                    <a:pt x="164" y="186"/>
                  </a:lnTo>
                  <a:lnTo>
                    <a:pt x="164" y="186"/>
                  </a:lnTo>
                  <a:lnTo>
                    <a:pt x="164" y="186"/>
                  </a:lnTo>
                  <a:lnTo>
                    <a:pt x="168" y="186"/>
                  </a:lnTo>
                  <a:lnTo>
                    <a:pt x="168" y="186"/>
                  </a:lnTo>
                  <a:lnTo>
                    <a:pt x="168" y="186"/>
                  </a:lnTo>
                  <a:lnTo>
                    <a:pt x="168" y="186"/>
                  </a:lnTo>
                  <a:lnTo>
                    <a:pt x="168" y="186"/>
                  </a:lnTo>
                  <a:lnTo>
                    <a:pt x="168" y="186"/>
                  </a:lnTo>
                  <a:lnTo>
                    <a:pt x="168" y="186"/>
                  </a:lnTo>
                  <a:lnTo>
                    <a:pt x="173" y="190"/>
                  </a:lnTo>
                  <a:lnTo>
                    <a:pt x="186" y="190"/>
                  </a:lnTo>
                  <a:lnTo>
                    <a:pt x="190" y="190"/>
                  </a:lnTo>
                  <a:lnTo>
                    <a:pt x="195" y="190"/>
                  </a:lnTo>
                  <a:lnTo>
                    <a:pt x="195" y="195"/>
                  </a:lnTo>
                  <a:lnTo>
                    <a:pt x="195" y="195"/>
                  </a:lnTo>
                  <a:lnTo>
                    <a:pt x="204" y="190"/>
                  </a:lnTo>
                  <a:lnTo>
                    <a:pt x="204" y="190"/>
                  </a:lnTo>
                  <a:lnTo>
                    <a:pt x="208" y="190"/>
                  </a:lnTo>
                  <a:lnTo>
                    <a:pt x="208" y="190"/>
                  </a:lnTo>
                  <a:lnTo>
                    <a:pt x="208" y="195"/>
                  </a:lnTo>
                  <a:lnTo>
                    <a:pt x="208" y="195"/>
                  </a:lnTo>
                  <a:lnTo>
                    <a:pt x="212" y="195"/>
                  </a:lnTo>
                  <a:lnTo>
                    <a:pt x="217" y="195"/>
                  </a:lnTo>
                  <a:lnTo>
                    <a:pt x="217" y="195"/>
                  </a:lnTo>
                  <a:lnTo>
                    <a:pt x="217" y="195"/>
                  </a:lnTo>
                  <a:lnTo>
                    <a:pt x="221" y="195"/>
                  </a:lnTo>
                  <a:lnTo>
                    <a:pt x="221" y="195"/>
                  </a:lnTo>
                  <a:lnTo>
                    <a:pt x="226" y="195"/>
                  </a:lnTo>
                  <a:lnTo>
                    <a:pt x="226" y="195"/>
                  </a:lnTo>
                  <a:lnTo>
                    <a:pt x="230" y="195"/>
                  </a:lnTo>
                  <a:lnTo>
                    <a:pt x="235" y="199"/>
                  </a:lnTo>
                  <a:lnTo>
                    <a:pt x="235" y="199"/>
                  </a:lnTo>
                  <a:lnTo>
                    <a:pt x="235" y="199"/>
                  </a:lnTo>
                  <a:lnTo>
                    <a:pt x="235" y="199"/>
                  </a:lnTo>
                  <a:lnTo>
                    <a:pt x="239" y="199"/>
                  </a:lnTo>
                  <a:lnTo>
                    <a:pt x="239" y="199"/>
                  </a:lnTo>
                  <a:lnTo>
                    <a:pt x="239" y="199"/>
                  </a:lnTo>
                  <a:lnTo>
                    <a:pt x="243" y="199"/>
                  </a:lnTo>
                  <a:lnTo>
                    <a:pt x="243" y="199"/>
                  </a:lnTo>
                  <a:lnTo>
                    <a:pt x="243" y="199"/>
                  </a:lnTo>
                  <a:lnTo>
                    <a:pt x="248" y="199"/>
                  </a:lnTo>
                  <a:lnTo>
                    <a:pt x="252" y="203"/>
                  </a:lnTo>
                  <a:lnTo>
                    <a:pt x="257" y="199"/>
                  </a:lnTo>
                  <a:lnTo>
                    <a:pt x="257" y="199"/>
                  </a:lnTo>
                  <a:lnTo>
                    <a:pt x="257" y="203"/>
                  </a:lnTo>
                  <a:lnTo>
                    <a:pt x="257" y="203"/>
                  </a:lnTo>
                  <a:lnTo>
                    <a:pt x="257" y="203"/>
                  </a:lnTo>
                  <a:lnTo>
                    <a:pt x="257" y="203"/>
                  </a:lnTo>
                  <a:lnTo>
                    <a:pt x="257" y="203"/>
                  </a:lnTo>
                  <a:lnTo>
                    <a:pt x="261" y="203"/>
                  </a:lnTo>
                  <a:lnTo>
                    <a:pt x="261" y="203"/>
                  </a:lnTo>
                  <a:lnTo>
                    <a:pt x="261" y="203"/>
                  </a:lnTo>
                  <a:lnTo>
                    <a:pt x="261" y="203"/>
                  </a:lnTo>
                  <a:lnTo>
                    <a:pt x="261" y="208"/>
                  </a:lnTo>
                  <a:lnTo>
                    <a:pt x="266" y="203"/>
                  </a:lnTo>
                  <a:lnTo>
                    <a:pt x="266" y="203"/>
                  </a:lnTo>
                  <a:lnTo>
                    <a:pt x="266" y="203"/>
                  </a:lnTo>
                  <a:lnTo>
                    <a:pt x="266" y="203"/>
                  </a:lnTo>
                  <a:lnTo>
                    <a:pt x="266" y="203"/>
                  </a:lnTo>
                  <a:lnTo>
                    <a:pt x="266" y="203"/>
                  </a:lnTo>
                  <a:lnTo>
                    <a:pt x="266" y="199"/>
                  </a:lnTo>
                  <a:lnTo>
                    <a:pt x="270" y="199"/>
                  </a:lnTo>
                  <a:lnTo>
                    <a:pt x="270" y="199"/>
                  </a:lnTo>
                  <a:lnTo>
                    <a:pt x="270" y="199"/>
                  </a:lnTo>
                  <a:lnTo>
                    <a:pt x="270" y="199"/>
                  </a:lnTo>
                  <a:lnTo>
                    <a:pt x="270" y="199"/>
                  </a:lnTo>
                  <a:lnTo>
                    <a:pt x="270" y="199"/>
                  </a:lnTo>
                  <a:lnTo>
                    <a:pt x="270" y="199"/>
                  </a:lnTo>
                  <a:lnTo>
                    <a:pt x="270" y="199"/>
                  </a:lnTo>
                  <a:lnTo>
                    <a:pt x="270" y="199"/>
                  </a:lnTo>
                  <a:lnTo>
                    <a:pt x="274" y="199"/>
                  </a:lnTo>
                  <a:lnTo>
                    <a:pt x="274" y="195"/>
                  </a:lnTo>
                  <a:lnTo>
                    <a:pt x="274" y="199"/>
                  </a:lnTo>
                  <a:lnTo>
                    <a:pt x="274" y="195"/>
                  </a:lnTo>
                  <a:lnTo>
                    <a:pt x="274" y="195"/>
                  </a:lnTo>
                  <a:lnTo>
                    <a:pt x="274" y="195"/>
                  </a:lnTo>
                  <a:lnTo>
                    <a:pt x="279" y="195"/>
                  </a:lnTo>
                  <a:lnTo>
                    <a:pt x="279" y="195"/>
                  </a:lnTo>
                  <a:lnTo>
                    <a:pt x="279" y="195"/>
                  </a:lnTo>
                  <a:lnTo>
                    <a:pt x="279" y="190"/>
                  </a:lnTo>
                  <a:lnTo>
                    <a:pt x="279" y="190"/>
                  </a:lnTo>
                  <a:lnTo>
                    <a:pt x="279" y="190"/>
                  </a:lnTo>
                  <a:lnTo>
                    <a:pt x="279" y="190"/>
                  </a:lnTo>
                  <a:lnTo>
                    <a:pt x="279" y="190"/>
                  </a:lnTo>
                  <a:lnTo>
                    <a:pt x="283" y="190"/>
                  </a:lnTo>
                  <a:lnTo>
                    <a:pt x="283" y="190"/>
                  </a:lnTo>
                  <a:lnTo>
                    <a:pt x="283" y="186"/>
                  </a:lnTo>
                  <a:lnTo>
                    <a:pt x="283" y="186"/>
                  </a:lnTo>
                  <a:lnTo>
                    <a:pt x="283" y="186"/>
                  </a:lnTo>
                  <a:lnTo>
                    <a:pt x="288" y="190"/>
                  </a:lnTo>
                  <a:lnTo>
                    <a:pt x="288" y="186"/>
                  </a:lnTo>
                  <a:lnTo>
                    <a:pt x="292" y="186"/>
                  </a:lnTo>
                  <a:lnTo>
                    <a:pt x="292" y="186"/>
                  </a:lnTo>
                  <a:lnTo>
                    <a:pt x="292" y="186"/>
                  </a:lnTo>
                  <a:lnTo>
                    <a:pt x="297" y="186"/>
                  </a:lnTo>
                  <a:lnTo>
                    <a:pt x="297" y="186"/>
                  </a:lnTo>
                  <a:lnTo>
                    <a:pt x="305" y="186"/>
                  </a:lnTo>
                  <a:lnTo>
                    <a:pt x="310" y="186"/>
                  </a:lnTo>
                  <a:lnTo>
                    <a:pt x="310" y="186"/>
                  </a:lnTo>
                  <a:lnTo>
                    <a:pt x="310" y="186"/>
                  </a:lnTo>
                  <a:lnTo>
                    <a:pt x="310" y="186"/>
                  </a:lnTo>
                  <a:lnTo>
                    <a:pt x="310" y="186"/>
                  </a:lnTo>
                  <a:lnTo>
                    <a:pt x="314" y="186"/>
                  </a:lnTo>
                  <a:lnTo>
                    <a:pt x="314" y="186"/>
                  </a:lnTo>
                  <a:lnTo>
                    <a:pt x="314" y="186"/>
                  </a:lnTo>
                  <a:lnTo>
                    <a:pt x="314" y="186"/>
                  </a:lnTo>
                  <a:lnTo>
                    <a:pt x="314" y="186"/>
                  </a:lnTo>
                  <a:lnTo>
                    <a:pt x="314" y="186"/>
                  </a:lnTo>
                  <a:lnTo>
                    <a:pt x="314" y="186"/>
                  </a:lnTo>
                  <a:lnTo>
                    <a:pt x="314" y="181"/>
                  </a:lnTo>
                  <a:lnTo>
                    <a:pt x="319" y="181"/>
                  </a:lnTo>
                  <a:lnTo>
                    <a:pt x="319" y="181"/>
                  </a:lnTo>
                  <a:lnTo>
                    <a:pt x="319" y="181"/>
                  </a:lnTo>
                  <a:lnTo>
                    <a:pt x="319" y="181"/>
                  </a:lnTo>
                  <a:lnTo>
                    <a:pt x="319" y="181"/>
                  </a:lnTo>
                  <a:lnTo>
                    <a:pt x="319" y="181"/>
                  </a:lnTo>
                  <a:lnTo>
                    <a:pt x="319" y="181"/>
                  </a:lnTo>
                  <a:lnTo>
                    <a:pt x="319" y="181"/>
                  </a:lnTo>
                  <a:lnTo>
                    <a:pt x="323" y="181"/>
                  </a:lnTo>
                  <a:lnTo>
                    <a:pt x="323" y="181"/>
                  </a:lnTo>
                  <a:lnTo>
                    <a:pt x="328" y="181"/>
                  </a:lnTo>
                  <a:lnTo>
                    <a:pt x="328" y="181"/>
                  </a:lnTo>
                  <a:lnTo>
                    <a:pt x="328" y="181"/>
                  </a:lnTo>
                  <a:lnTo>
                    <a:pt x="332" y="181"/>
                  </a:lnTo>
                  <a:lnTo>
                    <a:pt x="332" y="181"/>
                  </a:lnTo>
                  <a:lnTo>
                    <a:pt x="332" y="181"/>
                  </a:lnTo>
                  <a:lnTo>
                    <a:pt x="336" y="181"/>
                  </a:lnTo>
                  <a:lnTo>
                    <a:pt x="341" y="181"/>
                  </a:lnTo>
                  <a:lnTo>
                    <a:pt x="341" y="181"/>
                  </a:lnTo>
                  <a:lnTo>
                    <a:pt x="341" y="181"/>
                  </a:lnTo>
                  <a:lnTo>
                    <a:pt x="341" y="181"/>
                  </a:lnTo>
                  <a:lnTo>
                    <a:pt x="341" y="181"/>
                  </a:lnTo>
                  <a:lnTo>
                    <a:pt x="341" y="181"/>
                  </a:lnTo>
                  <a:lnTo>
                    <a:pt x="341" y="181"/>
                  </a:lnTo>
                  <a:lnTo>
                    <a:pt x="341" y="181"/>
                  </a:lnTo>
                  <a:lnTo>
                    <a:pt x="341" y="177"/>
                  </a:lnTo>
                  <a:lnTo>
                    <a:pt x="341" y="177"/>
                  </a:lnTo>
                  <a:lnTo>
                    <a:pt x="341" y="177"/>
                  </a:lnTo>
                  <a:lnTo>
                    <a:pt x="341" y="177"/>
                  </a:lnTo>
                  <a:lnTo>
                    <a:pt x="341" y="172"/>
                  </a:lnTo>
                  <a:lnTo>
                    <a:pt x="341" y="172"/>
                  </a:lnTo>
                  <a:lnTo>
                    <a:pt x="341" y="172"/>
                  </a:lnTo>
                  <a:lnTo>
                    <a:pt x="341" y="172"/>
                  </a:lnTo>
                  <a:lnTo>
                    <a:pt x="341" y="172"/>
                  </a:lnTo>
                  <a:lnTo>
                    <a:pt x="341" y="172"/>
                  </a:lnTo>
                  <a:lnTo>
                    <a:pt x="341" y="172"/>
                  </a:lnTo>
                  <a:lnTo>
                    <a:pt x="341" y="172"/>
                  </a:lnTo>
                  <a:lnTo>
                    <a:pt x="345" y="168"/>
                  </a:lnTo>
                  <a:lnTo>
                    <a:pt x="345" y="168"/>
                  </a:lnTo>
                  <a:lnTo>
                    <a:pt x="345" y="168"/>
                  </a:lnTo>
                  <a:lnTo>
                    <a:pt x="345" y="168"/>
                  </a:lnTo>
                  <a:lnTo>
                    <a:pt x="350" y="164"/>
                  </a:lnTo>
                  <a:lnTo>
                    <a:pt x="350" y="164"/>
                  </a:lnTo>
                  <a:lnTo>
                    <a:pt x="350" y="164"/>
                  </a:lnTo>
                  <a:lnTo>
                    <a:pt x="350" y="164"/>
                  </a:lnTo>
                  <a:lnTo>
                    <a:pt x="354" y="164"/>
                  </a:lnTo>
                  <a:lnTo>
                    <a:pt x="354" y="164"/>
                  </a:lnTo>
                  <a:lnTo>
                    <a:pt x="354" y="164"/>
                  </a:lnTo>
                  <a:lnTo>
                    <a:pt x="354" y="159"/>
                  </a:lnTo>
                  <a:lnTo>
                    <a:pt x="354" y="159"/>
                  </a:lnTo>
                  <a:lnTo>
                    <a:pt x="354" y="159"/>
                  </a:lnTo>
                  <a:lnTo>
                    <a:pt x="354" y="159"/>
                  </a:lnTo>
                  <a:lnTo>
                    <a:pt x="354" y="159"/>
                  </a:lnTo>
                  <a:lnTo>
                    <a:pt x="354" y="159"/>
                  </a:lnTo>
                  <a:lnTo>
                    <a:pt x="354" y="159"/>
                  </a:lnTo>
                  <a:lnTo>
                    <a:pt x="354" y="159"/>
                  </a:lnTo>
                  <a:lnTo>
                    <a:pt x="359" y="159"/>
                  </a:lnTo>
                  <a:lnTo>
                    <a:pt x="359" y="159"/>
                  </a:lnTo>
                  <a:lnTo>
                    <a:pt x="359" y="159"/>
                  </a:lnTo>
                  <a:lnTo>
                    <a:pt x="363" y="159"/>
                  </a:lnTo>
                  <a:lnTo>
                    <a:pt x="363" y="159"/>
                  </a:lnTo>
                  <a:lnTo>
                    <a:pt x="363" y="159"/>
                  </a:lnTo>
                  <a:lnTo>
                    <a:pt x="363" y="159"/>
                  </a:lnTo>
                  <a:lnTo>
                    <a:pt x="363" y="159"/>
                  </a:lnTo>
                  <a:lnTo>
                    <a:pt x="363" y="159"/>
                  </a:lnTo>
                  <a:lnTo>
                    <a:pt x="363" y="159"/>
                  </a:lnTo>
                  <a:lnTo>
                    <a:pt x="363" y="159"/>
                  </a:lnTo>
                  <a:lnTo>
                    <a:pt x="367" y="159"/>
                  </a:lnTo>
                  <a:lnTo>
                    <a:pt x="367" y="159"/>
                  </a:lnTo>
                  <a:lnTo>
                    <a:pt x="363" y="155"/>
                  </a:lnTo>
                  <a:lnTo>
                    <a:pt x="363" y="155"/>
                  </a:lnTo>
                  <a:lnTo>
                    <a:pt x="363" y="155"/>
                  </a:lnTo>
                  <a:lnTo>
                    <a:pt x="363" y="155"/>
                  </a:lnTo>
                  <a:lnTo>
                    <a:pt x="367" y="155"/>
                  </a:lnTo>
                  <a:lnTo>
                    <a:pt x="367" y="155"/>
                  </a:lnTo>
                  <a:lnTo>
                    <a:pt x="367" y="155"/>
                  </a:lnTo>
                  <a:lnTo>
                    <a:pt x="367" y="155"/>
                  </a:lnTo>
                  <a:lnTo>
                    <a:pt x="367" y="155"/>
                  </a:lnTo>
                  <a:lnTo>
                    <a:pt x="363" y="155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67" y="150"/>
                  </a:lnTo>
                  <a:lnTo>
                    <a:pt x="367" y="150"/>
                  </a:lnTo>
                  <a:lnTo>
                    <a:pt x="367" y="146"/>
                  </a:lnTo>
                  <a:lnTo>
                    <a:pt x="367" y="146"/>
                  </a:lnTo>
                  <a:lnTo>
                    <a:pt x="367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1"/>
                  </a:lnTo>
                  <a:lnTo>
                    <a:pt x="363" y="141"/>
                  </a:lnTo>
                  <a:lnTo>
                    <a:pt x="363" y="141"/>
                  </a:lnTo>
                  <a:lnTo>
                    <a:pt x="363" y="141"/>
                  </a:lnTo>
                  <a:lnTo>
                    <a:pt x="363" y="141"/>
                  </a:lnTo>
                  <a:lnTo>
                    <a:pt x="363" y="137"/>
                  </a:lnTo>
                  <a:lnTo>
                    <a:pt x="363" y="137"/>
                  </a:lnTo>
                  <a:lnTo>
                    <a:pt x="367" y="137"/>
                  </a:lnTo>
                  <a:lnTo>
                    <a:pt x="363" y="137"/>
                  </a:lnTo>
                  <a:lnTo>
                    <a:pt x="363" y="133"/>
                  </a:lnTo>
                  <a:lnTo>
                    <a:pt x="363" y="133"/>
                  </a:lnTo>
                  <a:lnTo>
                    <a:pt x="363" y="133"/>
                  </a:lnTo>
                  <a:lnTo>
                    <a:pt x="363" y="133"/>
                  </a:lnTo>
                  <a:lnTo>
                    <a:pt x="363" y="133"/>
                  </a:lnTo>
                  <a:lnTo>
                    <a:pt x="363" y="133"/>
                  </a:lnTo>
                  <a:lnTo>
                    <a:pt x="363" y="133"/>
                  </a:lnTo>
                  <a:lnTo>
                    <a:pt x="363" y="133"/>
                  </a:lnTo>
                  <a:lnTo>
                    <a:pt x="363" y="128"/>
                  </a:lnTo>
                  <a:lnTo>
                    <a:pt x="363" y="128"/>
                  </a:lnTo>
                  <a:lnTo>
                    <a:pt x="363" y="128"/>
                  </a:lnTo>
                  <a:lnTo>
                    <a:pt x="363" y="128"/>
                  </a:lnTo>
                  <a:lnTo>
                    <a:pt x="363" y="128"/>
                  </a:lnTo>
                  <a:lnTo>
                    <a:pt x="367" y="128"/>
                  </a:lnTo>
                  <a:lnTo>
                    <a:pt x="372" y="124"/>
                  </a:lnTo>
                  <a:lnTo>
                    <a:pt x="372" y="124"/>
                  </a:lnTo>
                  <a:lnTo>
                    <a:pt x="376" y="124"/>
                  </a:lnTo>
                  <a:lnTo>
                    <a:pt x="372" y="119"/>
                  </a:lnTo>
                  <a:lnTo>
                    <a:pt x="376" y="119"/>
                  </a:lnTo>
                  <a:lnTo>
                    <a:pt x="376" y="119"/>
                  </a:lnTo>
                  <a:lnTo>
                    <a:pt x="376" y="119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6" y="110"/>
                  </a:lnTo>
                  <a:lnTo>
                    <a:pt x="372" y="110"/>
                  </a:lnTo>
                  <a:lnTo>
                    <a:pt x="372" y="110"/>
                  </a:lnTo>
                  <a:lnTo>
                    <a:pt x="372" y="110"/>
                  </a:lnTo>
                  <a:lnTo>
                    <a:pt x="367" y="106"/>
                  </a:lnTo>
                  <a:lnTo>
                    <a:pt x="367" y="110"/>
                  </a:lnTo>
                  <a:lnTo>
                    <a:pt x="363" y="106"/>
                  </a:lnTo>
                  <a:lnTo>
                    <a:pt x="363" y="106"/>
                  </a:lnTo>
                  <a:lnTo>
                    <a:pt x="363" y="106"/>
                  </a:lnTo>
                  <a:lnTo>
                    <a:pt x="363" y="106"/>
                  </a:lnTo>
                  <a:lnTo>
                    <a:pt x="363" y="106"/>
                  </a:lnTo>
                  <a:lnTo>
                    <a:pt x="363" y="106"/>
                  </a:lnTo>
                  <a:lnTo>
                    <a:pt x="363" y="106"/>
                  </a:lnTo>
                  <a:lnTo>
                    <a:pt x="363" y="106"/>
                  </a:lnTo>
                  <a:lnTo>
                    <a:pt x="363" y="106"/>
                  </a:lnTo>
                  <a:lnTo>
                    <a:pt x="367" y="106"/>
                  </a:lnTo>
                  <a:lnTo>
                    <a:pt x="367" y="102"/>
                  </a:lnTo>
                  <a:lnTo>
                    <a:pt x="367" y="102"/>
                  </a:lnTo>
                  <a:lnTo>
                    <a:pt x="367" y="102"/>
                  </a:lnTo>
                  <a:lnTo>
                    <a:pt x="367" y="102"/>
                  </a:lnTo>
                  <a:lnTo>
                    <a:pt x="367" y="102"/>
                  </a:lnTo>
                  <a:lnTo>
                    <a:pt x="372" y="102"/>
                  </a:lnTo>
                  <a:lnTo>
                    <a:pt x="372" y="102"/>
                  </a:lnTo>
                  <a:lnTo>
                    <a:pt x="376" y="102"/>
                  </a:lnTo>
                  <a:lnTo>
                    <a:pt x="376" y="102"/>
                  </a:lnTo>
                  <a:lnTo>
                    <a:pt x="376" y="102"/>
                  </a:lnTo>
                  <a:lnTo>
                    <a:pt x="376" y="102"/>
                  </a:lnTo>
                  <a:lnTo>
                    <a:pt x="376" y="106"/>
                  </a:lnTo>
                  <a:lnTo>
                    <a:pt x="381" y="106"/>
                  </a:lnTo>
                  <a:lnTo>
                    <a:pt x="381" y="106"/>
                  </a:lnTo>
                  <a:lnTo>
                    <a:pt x="381" y="106"/>
                  </a:lnTo>
                  <a:lnTo>
                    <a:pt x="381" y="106"/>
                  </a:lnTo>
                  <a:lnTo>
                    <a:pt x="385" y="106"/>
                  </a:lnTo>
                  <a:lnTo>
                    <a:pt x="385" y="102"/>
                  </a:lnTo>
                  <a:lnTo>
                    <a:pt x="385" y="102"/>
                  </a:lnTo>
                  <a:lnTo>
                    <a:pt x="385" y="106"/>
                  </a:lnTo>
                  <a:lnTo>
                    <a:pt x="390" y="106"/>
                  </a:lnTo>
                  <a:lnTo>
                    <a:pt x="394" y="106"/>
                  </a:lnTo>
                  <a:lnTo>
                    <a:pt x="394" y="102"/>
                  </a:lnTo>
                  <a:lnTo>
                    <a:pt x="398" y="102"/>
                  </a:lnTo>
                  <a:lnTo>
                    <a:pt x="398" y="102"/>
                  </a:lnTo>
                  <a:lnTo>
                    <a:pt x="394" y="102"/>
                  </a:lnTo>
                  <a:lnTo>
                    <a:pt x="394" y="102"/>
                  </a:lnTo>
                  <a:lnTo>
                    <a:pt x="394" y="97"/>
                  </a:lnTo>
                  <a:lnTo>
                    <a:pt x="394" y="97"/>
                  </a:lnTo>
                  <a:lnTo>
                    <a:pt x="394" y="97"/>
                  </a:lnTo>
                  <a:lnTo>
                    <a:pt x="394" y="97"/>
                  </a:lnTo>
                  <a:lnTo>
                    <a:pt x="394" y="93"/>
                  </a:lnTo>
                  <a:lnTo>
                    <a:pt x="394" y="93"/>
                  </a:lnTo>
                  <a:lnTo>
                    <a:pt x="394" y="93"/>
                  </a:lnTo>
                  <a:lnTo>
                    <a:pt x="394" y="93"/>
                  </a:lnTo>
                  <a:lnTo>
                    <a:pt x="394" y="93"/>
                  </a:lnTo>
                  <a:lnTo>
                    <a:pt x="394" y="93"/>
                  </a:lnTo>
                  <a:lnTo>
                    <a:pt x="394" y="93"/>
                  </a:lnTo>
                  <a:lnTo>
                    <a:pt x="394" y="88"/>
                  </a:lnTo>
                  <a:lnTo>
                    <a:pt x="398" y="88"/>
                  </a:lnTo>
                  <a:lnTo>
                    <a:pt x="398" y="88"/>
                  </a:lnTo>
                  <a:lnTo>
                    <a:pt x="398" y="88"/>
                  </a:lnTo>
                  <a:lnTo>
                    <a:pt x="398" y="88"/>
                  </a:lnTo>
                  <a:lnTo>
                    <a:pt x="398" y="88"/>
                  </a:lnTo>
                  <a:lnTo>
                    <a:pt x="398" y="84"/>
                  </a:lnTo>
                  <a:lnTo>
                    <a:pt x="398" y="84"/>
                  </a:lnTo>
                  <a:lnTo>
                    <a:pt x="398" y="84"/>
                  </a:lnTo>
                  <a:lnTo>
                    <a:pt x="398" y="84"/>
                  </a:lnTo>
                  <a:lnTo>
                    <a:pt x="398" y="84"/>
                  </a:lnTo>
                  <a:lnTo>
                    <a:pt x="398" y="84"/>
                  </a:lnTo>
                  <a:lnTo>
                    <a:pt x="398" y="84"/>
                  </a:lnTo>
                  <a:lnTo>
                    <a:pt x="398" y="84"/>
                  </a:lnTo>
                  <a:lnTo>
                    <a:pt x="398" y="84"/>
                  </a:lnTo>
                  <a:lnTo>
                    <a:pt x="398" y="84"/>
                  </a:lnTo>
                  <a:lnTo>
                    <a:pt x="403" y="79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47" name="Freeform 79"/>
            <p:cNvSpPr>
              <a:spLocks/>
            </p:cNvSpPr>
            <p:nvPr/>
          </p:nvSpPr>
          <p:spPr bwMode="auto">
            <a:xfrm>
              <a:off x="2608263" y="5518151"/>
              <a:ext cx="26987" cy="22225"/>
            </a:xfrm>
            <a:custGeom>
              <a:avLst/>
              <a:gdLst>
                <a:gd name="T0" fmla="*/ 17 w 17"/>
                <a:gd name="T1" fmla="*/ 5 h 14"/>
                <a:gd name="T2" fmla="*/ 17 w 17"/>
                <a:gd name="T3" fmla="*/ 5 h 14"/>
                <a:gd name="T4" fmla="*/ 17 w 17"/>
                <a:gd name="T5" fmla="*/ 5 h 14"/>
                <a:gd name="T6" fmla="*/ 17 w 17"/>
                <a:gd name="T7" fmla="*/ 5 h 14"/>
                <a:gd name="T8" fmla="*/ 17 w 17"/>
                <a:gd name="T9" fmla="*/ 0 h 14"/>
                <a:gd name="T10" fmla="*/ 9 w 17"/>
                <a:gd name="T11" fmla="*/ 0 h 14"/>
                <a:gd name="T12" fmla="*/ 9 w 17"/>
                <a:gd name="T13" fmla="*/ 0 h 14"/>
                <a:gd name="T14" fmla="*/ 9 w 17"/>
                <a:gd name="T15" fmla="*/ 0 h 14"/>
                <a:gd name="T16" fmla="*/ 9 w 17"/>
                <a:gd name="T17" fmla="*/ 0 h 14"/>
                <a:gd name="T18" fmla="*/ 4 w 17"/>
                <a:gd name="T19" fmla="*/ 0 h 14"/>
                <a:gd name="T20" fmla="*/ 4 w 17"/>
                <a:gd name="T21" fmla="*/ 0 h 14"/>
                <a:gd name="T22" fmla="*/ 4 w 17"/>
                <a:gd name="T23" fmla="*/ 0 h 14"/>
                <a:gd name="T24" fmla="*/ 0 w 17"/>
                <a:gd name="T25" fmla="*/ 0 h 14"/>
                <a:gd name="T26" fmla="*/ 0 w 17"/>
                <a:gd name="T27" fmla="*/ 5 h 14"/>
                <a:gd name="T28" fmla="*/ 0 w 17"/>
                <a:gd name="T29" fmla="*/ 5 h 14"/>
                <a:gd name="T30" fmla="*/ 0 w 17"/>
                <a:gd name="T31" fmla="*/ 5 h 14"/>
                <a:gd name="T32" fmla="*/ 0 w 17"/>
                <a:gd name="T33" fmla="*/ 5 h 14"/>
                <a:gd name="T34" fmla="*/ 0 w 17"/>
                <a:gd name="T35" fmla="*/ 5 h 14"/>
                <a:gd name="T36" fmla="*/ 0 w 17"/>
                <a:gd name="T37" fmla="*/ 5 h 14"/>
                <a:gd name="T38" fmla="*/ 0 w 17"/>
                <a:gd name="T39" fmla="*/ 9 h 14"/>
                <a:gd name="T40" fmla="*/ 0 w 17"/>
                <a:gd name="T41" fmla="*/ 9 h 14"/>
                <a:gd name="T42" fmla="*/ 4 w 17"/>
                <a:gd name="T43" fmla="*/ 9 h 14"/>
                <a:gd name="T44" fmla="*/ 4 w 17"/>
                <a:gd name="T45" fmla="*/ 9 h 14"/>
                <a:gd name="T46" fmla="*/ 0 w 17"/>
                <a:gd name="T47" fmla="*/ 9 h 14"/>
                <a:gd name="T48" fmla="*/ 0 w 17"/>
                <a:gd name="T49" fmla="*/ 9 h 14"/>
                <a:gd name="T50" fmla="*/ 0 w 17"/>
                <a:gd name="T51" fmla="*/ 9 h 14"/>
                <a:gd name="T52" fmla="*/ 0 w 17"/>
                <a:gd name="T53" fmla="*/ 14 h 14"/>
                <a:gd name="T54" fmla="*/ 0 w 17"/>
                <a:gd name="T55" fmla="*/ 14 h 14"/>
                <a:gd name="T56" fmla="*/ 4 w 17"/>
                <a:gd name="T57" fmla="*/ 14 h 14"/>
                <a:gd name="T58" fmla="*/ 4 w 17"/>
                <a:gd name="T59" fmla="*/ 14 h 14"/>
                <a:gd name="T60" fmla="*/ 4 w 17"/>
                <a:gd name="T61" fmla="*/ 14 h 14"/>
                <a:gd name="T62" fmla="*/ 9 w 17"/>
                <a:gd name="T63" fmla="*/ 14 h 14"/>
                <a:gd name="T64" fmla="*/ 9 w 17"/>
                <a:gd name="T65" fmla="*/ 14 h 14"/>
                <a:gd name="T66" fmla="*/ 9 w 17"/>
                <a:gd name="T67" fmla="*/ 14 h 14"/>
                <a:gd name="T68" fmla="*/ 9 w 17"/>
                <a:gd name="T69" fmla="*/ 14 h 14"/>
                <a:gd name="T70" fmla="*/ 9 w 17"/>
                <a:gd name="T71" fmla="*/ 14 h 14"/>
                <a:gd name="T72" fmla="*/ 13 w 17"/>
                <a:gd name="T73" fmla="*/ 14 h 14"/>
                <a:gd name="T74" fmla="*/ 13 w 17"/>
                <a:gd name="T75" fmla="*/ 9 h 14"/>
                <a:gd name="T76" fmla="*/ 13 w 17"/>
                <a:gd name="T77" fmla="*/ 9 h 14"/>
                <a:gd name="T78" fmla="*/ 13 w 17"/>
                <a:gd name="T79" fmla="*/ 9 h 14"/>
                <a:gd name="T80" fmla="*/ 13 w 17"/>
                <a:gd name="T81" fmla="*/ 9 h 14"/>
                <a:gd name="T82" fmla="*/ 13 w 17"/>
                <a:gd name="T83" fmla="*/ 9 h 14"/>
                <a:gd name="T84" fmla="*/ 13 w 17"/>
                <a:gd name="T85" fmla="*/ 9 h 14"/>
                <a:gd name="T86" fmla="*/ 13 w 17"/>
                <a:gd name="T87" fmla="*/ 9 h 14"/>
                <a:gd name="T88" fmla="*/ 17 w 17"/>
                <a:gd name="T89" fmla="*/ 9 h 14"/>
                <a:gd name="T90" fmla="*/ 17 w 17"/>
                <a:gd name="T91" fmla="*/ 9 h 14"/>
                <a:gd name="T92" fmla="*/ 17 w 17"/>
                <a:gd name="T93" fmla="*/ 9 h 14"/>
                <a:gd name="T94" fmla="*/ 17 w 17"/>
                <a:gd name="T95" fmla="*/ 5 h 14"/>
                <a:gd name="T96" fmla="*/ 17 w 17"/>
                <a:gd name="T97" fmla="*/ 5 h 14"/>
                <a:gd name="T98" fmla="*/ 17 w 17"/>
                <a:gd name="T99" fmla="*/ 5 h 14"/>
                <a:gd name="T100" fmla="*/ 17 w 17"/>
                <a:gd name="T101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" h="14">
                  <a:moveTo>
                    <a:pt x="17" y="5"/>
                  </a:move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3" y="14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close/>
                </a:path>
              </a:pathLst>
            </a:custGeom>
            <a:solidFill>
              <a:srgbClr val="D8DAD9"/>
            </a:solidFill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48" name="Freeform 80"/>
            <p:cNvSpPr>
              <a:spLocks/>
            </p:cNvSpPr>
            <p:nvPr/>
          </p:nvSpPr>
          <p:spPr bwMode="auto">
            <a:xfrm>
              <a:off x="4103688" y="5518151"/>
              <a:ext cx="147637" cy="330200"/>
            </a:xfrm>
            <a:custGeom>
              <a:avLst/>
              <a:gdLst>
                <a:gd name="T0" fmla="*/ 5 w 93"/>
                <a:gd name="T1" fmla="*/ 124 h 208"/>
                <a:gd name="T2" fmla="*/ 5 w 93"/>
                <a:gd name="T3" fmla="*/ 138 h 208"/>
                <a:gd name="T4" fmla="*/ 9 w 93"/>
                <a:gd name="T5" fmla="*/ 142 h 208"/>
                <a:gd name="T6" fmla="*/ 5 w 93"/>
                <a:gd name="T7" fmla="*/ 146 h 208"/>
                <a:gd name="T8" fmla="*/ 9 w 93"/>
                <a:gd name="T9" fmla="*/ 160 h 208"/>
                <a:gd name="T10" fmla="*/ 5 w 93"/>
                <a:gd name="T11" fmla="*/ 155 h 208"/>
                <a:gd name="T12" fmla="*/ 5 w 93"/>
                <a:gd name="T13" fmla="*/ 160 h 208"/>
                <a:gd name="T14" fmla="*/ 23 w 93"/>
                <a:gd name="T15" fmla="*/ 177 h 208"/>
                <a:gd name="T16" fmla="*/ 27 w 93"/>
                <a:gd name="T17" fmla="*/ 182 h 208"/>
                <a:gd name="T18" fmla="*/ 31 w 93"/>
                <a:gd name="T19" fmla="*/ 182 h 208"/>
                <a:gd name="T20" fmla="*/ 31 w 93"/>
                <a:gd name="T21" fmla="*/ 191 h 208"/>
                <a:gd name="T22" fmla="*/ 40 w 93"/>
                <a:gd name="T23" fmla="*/ 191 h 208"/>
                <a:gd name="T24" fmla="*/ 36 w 93"/>
                <a:gd name="T25" fmla="*/ 204 h 208"/>
                <a:gd name="T26" fmla="*/ 45 w 93"/>
                <a:gd name="T27" fmla="*/ 208 h 208"/>
                <a:gd name="T28" fmla="*/ 49 w 93"/>
                <a:gd name="T29" fmla="*/ 208 h 208"/>
                <a:gd name="T30" fmla="*/ 54 w 93"/>
                <a:gd name="T31" fmla="*/ 204 h 208"/>
                <a:gd name="T32" fmla="*/ 54 w 93"/>
                <a:gd name="T33" fmla="*/ 200 h 208"/>
                <a:gd name="T34" fmla="*/ 58 w 93"/>
                <a:gd name="T35" fmla="*/ 200 h 208"/>
                <a:gd name="T36" fmla="*/ 58 w 93"/>
                <a:gd name="T37" fmla="*/ 186 h 208"/>
                <a:gd name="T38" fmla="*/ 62 w 93"/>
                <a:gd name="T39" fmla="*/ 177 h 208"/>
                <a:gd name="T40" fmla="*/ 71 w 93"/>
                <a:gd name="T41" fmla="*/ 173 h 208"/>
                <a:gd name="T42" fmla="*/ 76 w 93"/>
                <a:gd name="T43" fmla="*/ 169 h 208"/>
                <a:gd name="T44" fmla="*/ 80 w 93"/>
                <a:gd name="T45" fmla="*/ 160 h 208"/>
                <a:gd name="T46" fmla="*/ 80 w 93"/>
                <a:gd name="T47" fmla="*/ 151 h 208"/>
                <a:gd name="T48" fmla="*/ 89 w 93"/>
                <a:gd name="T49" fmla="*/ 151 h 208"/>
                <a:gd name="T50" fmla="*/ 93 w 93"/>
                <a:gd name="T51" fmla="*/ 146 h 208"/>
                <a:gd name="T52" fmla="*/ 89 w 93"/>
                <a:gd name="T53" fmla="*/ 133 h 208"/>
                <a:gd name="T54" fmla="*/ 89 w 93"/>
                <a:gd name="T55" fmla="*/ 124 h 208"/>
                <a:gd name="T56" fmla="*/ 76 w 93"/>
                <a:gd name="T57" fmla="*/ 120 h 208"/>
                <a:gd name="T58" fmla="*/ 71 w 93"/>
                <a:gd name="T59" fmla="*/ 111 h 208"/>
                <a:gd name="T60" fmla="*/ 67 w 93"/>
                <a:gd name="T61" fmla="*/ 102 h 208"/>
                <a:gd name="T62" fmla="*/ 67 w 93"/>
                <a:gd name="T63" fmla="*/ 89 h 208"/>
                <a:gd name="T64" fmla="*/ 62 w 93"/>
                <a:gd name="T65" fmla="*/ 84 h 208"/>
                <a:gd name="T66" fmla="*/ 62 w 93"/>
                <a:gd name="T67" fmla="*/ 76 h 208"/>
                <a:gd name="T68" fmla="*/ 67 w 93"/>
                <a:gd name="T69" fmla="*/ 67 h 208"/>
                <a:gd name="T70" fmla="*/ 67 w 93"/>
                <a:gd name="T71" fmla="*/ 58 h 208"/>
                <a:gd name="T72" fmla="*/ 67 w 93"/>
                <a:gd name="T73" fmla="*/ 49 h 208"/>
                <a:gd name="T74" fmla="*/ 67 w 93"/>
                <a:gd name="T75" fmla="*/ 36 h 208"/>
                <a:gd name="T76" fmla="*/ 49 w 93"/>
                <a:gd name="T77" fmla="*/ 23 h 208"/>
                <a:gd name="T78" fmla="*/ 49 w 93"/>
                <a:gd name="T79" fmla="*/ 18 h 208"/>
                <a:gd name="T80" fmla="*/ 45 w 93"/>
                <a:gd name="T81" fmla="*/ 9 h 208"/>
                <a:gd name="T82" fmla="*/ 31 w 93"/>
                <a:gd name="T83" fmla="*/ 9 h 208"/>
                <a:gd name="T84" fmla="*/ 27 w 93"/>
                <a:gd name="T85" fmla="*/ 9 h 208"/>
                <a:gd name="T86" fmla="*/ 27 w 93"/>
                <a:gd name="T87" fmla="*/ 5 h 208"/>
                <a:gd name="T88" fmla="*/ 18 w 93"/>
                <a:gd name="T89" fmla="*/ 0 h 208"/>
                <a:gd name="T90" fmla="*/ 14 w 93"/>
                <a:gd name="T91" fmla="*/ 9 h 208"/>
                <a:gd name="T92" fmla="*/ 5 w 93"/>
                <a:gd name="T93" fmla="*/ 23 h 208"/>
                <a:gd name="T94" fmla="*/ 5 w 93"/>
                <a:gd name="T95" fmla="*/ 36 h 208"/>
                <a:gd name="T96" fmla="*/ 5 w 93"/>
                <a:gd name="T97" fmla="*/ 45 h 208"/>
                <a:gd name="T98" fmla="*/ 5 w 93"/>
                <a:gd name="T99" fmla="*/ 49 h 208"/>
                <a:gd name="T100" fmla="*/ 9 w 93"/>
                <a:gd name="T101" fmla="*/ 54 h 208"/>
                <a:gd name="T102" fmla="*/ 14 w 93"/>
                <a:gd name="T103" fmla="*/ 67 h 208"/>
                <a:gd name="T104" fmla="*/ 18 w 93"/>
                <a:gd name="T105" fmla="*/ 71 h 208"/>
                <a:gd name="T106" fmla="*/ 9 w 93"/>
                <a:gd name="T107" fmla="*/ 76 h 208"/>
                <a:gd name="T108" fmla="*/ 9 w 93"/>
                <a:gd name="T109" fmla="*/ 84 h 208"/>
                <a:gd name="T110" fmla="*/ 9 w 93"/>
                <a:gd name="T111" fmla="*/ 93 h 208"/>
                <a:gd name="T112" fmla="*/ 9 w 93"/>
                <a:gd name="T113" fmla="*/ 102 h 208"/>
                <a:gd name="T114" fmla="*/ 9 w 93"/>
                <a:gd name="T115" fmla="*/ 111 h 208"/>
                <a:gd name="T116" fmla="*/ 9 w 93"/>
                <a:gd name="T117" fmla="*/ 120 h 208"/>
                <a:gd name="T118" fmla="*/ 14 w 93"/>
                <a:gd name="T119" fmla="*/ 120 h 208"/>
                <a:gd name="T120" fmla="*/ 9 w 93"/>
                <a:gd name="T121" fmla="*/ 124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3" h="208">
                  <a:moveTo>
                    <a:pt x="5" y="120"/>
                  </a:moveTo>
                  <a:lnTo>
                    <a:pt x="5" y="124"/>
                  </a:lnTo>
                  <a:lnTo>
                    <a:pt x="5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5" y="124"/>
                  </a:lnTo>
                  <a:lnTo>
                    <a:pt x="5" y="124"/>
                  </a:lnTo>
                  <a:lnTo>
                    <a:pt x="5" y="124"/>
                  </a:lnTo>
                  <a:lnTo>
                    <a:pt x="5" y="124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2"/>
                  </a:lnTo>
                  <a:lnTo>
                    <a:pt x="9" y="142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9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9" y="155"/>
                  </a:lnTo>
                  <a:lnTo>
                    <a:pt x="9" y="160"/>
                  </a:lnTo>
                  <a:lnTo>
                    <a:pt x="9" y="160"/>
                  </a:lnTo>
                  <a:lnTo>
                    <a:pt x="9" y="160"/>
                  </a:lnTo>
                  <a:lnTo>
                    <a:pt x="9" y="160"/>
                  </a:lnTo>
                  <a:lnTo>
                    <a:pt x="9" y="160"/>
                  </a:lnTo>
                  <a:lnTo>
                    <a:pt x="9" y="160"/>
                  </a:lnTo>
                  <a:lnTo>
                    <a:pt x="5" y="160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64"/>
                  </a:lnTo>
                  <a:lnTo>
                    <a:pt x="5" y="164"/>
                  </a:lnTo>
                  <a:lnTo>
                    <a:pt x="5" y="164"/>
                  </a:lnTo>
                  <a:lnTo>
                    <a:pt x="9" y="169"/>
                  </a:lnTo>
                  <a:lnTo>
                    <a:pt x="14" y="169"/>
                  </a:lnTo>
                  <a:lnTo>
                    <a:pt x="14" y="173"/>
                  </a:lnTo>
                  <a:lnTo>
                    <a:pt x="18" y="173"/>
                  </a:lnTo>
                  <a:lnTo>
                    <a:pt x="18" y="173"/>
                  </a:lnTo>
                  <a:lnTo>
                    <a:pt x="23" y="177"/>
                  </a:lnTo>
                  <a:lnTo>
                    <a:pt x="23" y="177"/>
                  </a:lnTo>
                  <a:lnTo>
                    <a:pt x="23" y="177"/>
                  </a:lnTo>
                  <a:lnTo>
                    <a:pt x="23" y="177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27" y="182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27" y="182"/>
                  </a:lnTo>
                  <a:lnTo>
                    <a:pt x="27" y="182"/>
                  </a:lnTo>
                  <a:lnTo>
                    <a:pt x="27" y="182"/>
                  </a:lnTo>
                  <a:lnTo>
                    <a:pt x="27" y="182"/>
                  </a:lnTo>
                  <a:lnTo>
                    <a:pt x="31" y="182"/>
                  </a:lnTo>
                  <a:lnTo>
                    <a:pt x="31" y="182"/>
                  </a:lnTo>
                  <a:lnTo>
                    <a:pt x="31" y="182"/>
                  </a:lnTo>
                  <a:lnTo>
                    <a:pt x="31" y="182"/>
                  </a:lnTo>
                  <a:lnTo>
                    <a:pt x="36" y="186"/>
                  </a:lnTo>
                  <a:lnTo>
                    <a:pt x="36" y="186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40" y="191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40" y="200"/>
                  </a:lnTo>
                  <a:lnTo>
                    <a:pt x="36" y="204"/>
                  </a:lnTo>
                  <a:lnTo>
                    <a:pt x="36" y="204"/>
                  </a:lnTo>
                  <a:lnTo>
                    <a:pt x="36" y="204"/>
                  </a:lnTo>
                  <a:lnTo>
                    <a:pt x="36" y="204"/>
                  </a:lnTo>
                  <a:lnTo>
                    <a:pt x="36" y="204"/>
                  </a:lnTo>
                  <a:lnTo>
                    <a:pt x="40" y="204"/>
                  </a:lnTo>
                  <a:lnTo>
                    <a:pt x="40" y="204"/>
                  </a:lnTo>
                  <a:lnTo>
                    <a:pt x="40" y="204"/>
                  </a:lnTo>
                  <a:lnTo>
                    <a:pt x="40" y="204"/>
                  </a:lnTo>
                  <a:lnTo>
                    <a:pt x="45" y="204"/>
                  </a:lnTo>
                  <a:lnTo>
                    <a:pt x="45" y="208"/>
                  </a:lnTo>
                  <a:lnTo>
                    <a:pt x="45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4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200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58" y="191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4" y="186"/>
                  </a:lnTo>
                  <a:lnTo>
                    <a:pt x="54" y="186"/>
                  </a:lnTo>
                  <a:lnTo>
                    <a:pt x="54" y="186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62" y="177"/>
                  </a:lnTo>
                  <a:lnTo>
                    <a:pt x="62" y="182"/>
                  </a:lnTo>
                  <a:lnTo>
                    <a:pt x="62" y="177"/>
                  </a:lnTo>
                  <a:lnTo>
                    <a:pt x="62" y="177"/>
                  </a:lnTo>
                  <a:lnTo>
                    <a:pt x="67" y="177"/>
                  </a:lnTo>
                  <a:lnTo>
                    <a:pt x="67" y="177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73"/>
                  </a:lnTo>
                  <a:lnTo>
                    <a:pt x="71" y="173"/>
                  </a:lnTo>
                  <a:lnTo>
                    <a:pt x="71" y="173"/>
                  </a:lnTo>
                  <a:lnTo>
                    <a:pt x="71" y="173"/>
                  </a:lnTo>
                  <a:lnTo>
                    <a:pt x="71" y="173"/>
                  </a:lnTo>
                  <a:lnTo>
                    <a:pt x="71" y="173"/>
                  </a:lnTo>
                  <a:lnTo>
                    <a:pt x="71" y="173"/>
                  </a:lnTo>
                  <a:lnTo>
                    <a:pt x="76" y="173"/>
                  </a:lnTo>
                  <a:lnTo>
                    <a:pt x="76" y="173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80" y="160"/>
                  </a:lnTo>
                  <a:lnTo>
                    <a:pt x="80" y="160"/>
                  </a:lnTo>
                  <a:lnTo>
                    <a:pt x="80" y="160"/>
                  </a:lnTo>
                  <a:lnTo>
                    <a:pt x="80" y="160"/>
                  </a:lnTo>
                  <a:lnTo>
                    <a:pt x="80" y="160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1"/>
                  </a:lnTo>
                  <a:lnTo>
                    <a:pt x="80" y="151"/>
                  </a:lnTo>
                  <a:lnTo>
                    <a:pt x="85" y="151"/>
                  </a:lnTo>
                  <a:lnTo>
                    <a:pt x="85" y="151"/>
                  </a:lnTo>
                  <a:lnTo>
                    <a:pt x="85" y="151"/>
                  </a:lnTo>
                  <a:lnTo>
                    <a:pt x="85" y="151"/>
                  </a:lnTo>
                  <a:lnTo>
                    <a:pt x="89" y="151"/>
                  </a:lnTo>
                  <a:lnTo>
                    <a:pt x="89" y="151"/>
                  </a:lnTo>
                  <a:lnTo>
                    <a:pt x="89" y="151"/>
                  </a:lnTo>
                  <a:lnTo>
                    <a:pt x="89" y="151"/>
                  </a:lnTo>
                  <a:lnTo>
                    <a:pt x="89" y="151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93" y="146"/>
                  </a:lnTo>
                  <a:lnTo>
                    <a:pt x="93" y="146"/>
                  </a:lnTo>
                  <a:lnTo>
                    <a:pt x="93" y="146"/>
                  </a:lnTo>
                  <a:lnTo>
                    <a:pt x="93" y="146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89" y="133"/>
                  </a:lnTo>
                  <a:lnTo>
                    <a:pt x="89" y="133"/>
                  </a:lnTo>
                  <a:lnTo>
                    <a:pt x="89" y="133"/>
                  </a:lnTo>
                  <a:lnTo>
                    <a:pt x="89" y="133"/>
                  </a:lnTo>
                  <a:lnTo>
                    <a:pt x="89" y="133"/>
                  </a:lnTo>
                  <a:lnTo>
                    <a:pt x="89" y="133"/>
                  </a:lnTo>
                  <a:lnTo>
                    <a:pt x="89" y="129"/>
                  </a:lnTo>
                  <a:lnTo>
                    <a:pt x="89" y="129"/>
                  </a:lnTo>
                  <a:lnTo>
                    <a:pt x="89" y="124"/>
                  </a:lnTo>
                  <a:lnTo>
                    <a:pt x="89" y="124"/>
                  </a:lnTo>
                  <a:lnTo>
                    <a:pt x="89" y="124"/>
                  </a:lnTo>
                  <a:lnTo>
                    <a:pt x="89" y="120"/>
                  </a:lnTo>
                  <a:lnTo>
                    <a:pt x="85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0" y="124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15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67" y="107"/>
                  </a:lnTo>
                  <a:lnTo>
                    <a:pt x="67" y="107"/>
                  </a:lnTo>
                  <a:lnTo>
                    <a:pt x="67" y="107"/>
                  </a:lnTo>
                  <a:lnTo>
                    <a:pt x="67" y="107"/>
                  </a:lnTo>
                  <a:lnTo>
                    <a:pt x="67" y="102"/>
                  </a:lnTo>
                  <a:lnTo>
                    <a:pt x="67" y="102"/>
                  </a:lnTo>
                  <a:lnTo>
                    <a:pt x="62" y="98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1"/>
                  </a:lnTo>
                  <a:lnTo>
                    <a:pt x="67" y="67"/>
                  </a:lnTo>
                  <a:lnTo>
                    <a:pt x="62" y="62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71" y="49"/>
                  </a:lnTo>
                  <a:lnTo>
                    <a:pt x="71" y="49"/>
                  </a:lnTo>
                  <a:lnTo>
                    <a:pt x="71" y="49"/>
                  </a:lnTo>
                  <a:lnTo>
                    <a:pt x="71" y="45"/>
                  </a:lnTo>
                  <a:lnTo>
                    <a:pt x="71" y="45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2" y="31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3" y="9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7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9"/>
                  </a:lnTo>
                  <a:lnTo>
                    <a:pt x="5" y="89"/>
                  </a:lnTo>
                  <a:lnTo>
                    <a:pt x="5" y="84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9" y="89"/>
                  </a:lnTo>
                  <a:lnTo>
                    <a:pt x="9" y="89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14" y="93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11"/>
                  </a:lnTo>
                  <a:lnTo>
                    <a:pt x="9" y="111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15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5" y="120"/>
                  </a:lnTo>
                  <a:close/>
                </a:path>
              </a:pathLst>
            </a:custGeom>
            <a:solidFill>
              <a:srgbClr val="D8DA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49" name="Freeform 81"/>
            <p:cNvSpPr>
              <a:spLocks/>
            </p:cNvSpPr>
            <p:nvPr/>
          </p:nvSpPr>
          <p:spPr bwMode="auto">
            <a:xfrm>
              <a:off x="4103688" y="5518151"/>
              <a:ext cx="147637" cy="330200"/>
            </a:xfrm>
            <a:custGeom>
              <a:avLst/>
              <a:gdLst>
                <a:gd name="T0" fmla="*/ 5 w 93"/>
                <a:gd name="T1" fmla="*/ 124 h 208"/>
                <a:gd name="T2" fmla="*/ 5 w 93"/>
                <a:gd name="T3" fmla="*/ 138 h 208"/>
                <a:gd name="T4" fmla="*/ 9 w 93"/>
                <a:gd name="T5" fmla="*/ 142 h 208"/>
                <a:gd name="T6" fmla="*/ 5 w 93"/>
                <a:gd name="T7" fmla="*/ 146 h 208"/>
                <a:gd name="T8" fmla="*/ 9 w 93"/>
                <a:gd name="T9" fmla="*/ 160 h 208"/>
                <a:gd name="T10" fmla="*/ 5 w 93"/>
                <a:gd name="T11" fmla="*/ 155 h 208"/>
                <a:gd name="T12" fmla="*/ 5 w 93"/>
                <a:gd name="T13" fmla="*/ 160 h 208"/>
                <a:gd name="T14" fmla="*/ 23 w 93"/>
                <a:gd name="T15" fmla="*/ 177 h 208"/>
                <a:gd name="T16" fmla="*/ 27 w 93"/>
                <a:gd name="T17" fmla="*/ 182 h 208"/>
                <a:gd name="T18" fmla="*/ 31 w 93"/>
                <a:gd name="T19" fmla="*/ 182 h 208"/>
                <a:gd name="T20" fmla="*/ 31 w 93"/>
                <a:gd name="T21" fmla="*/ 191 h 208"/>
                <a:gd name="T22" fmla="*/ 40 w 93"/>
                <a:gd name="T23" fmla="*/ 191 h 208"/>
                <a:gd name="T24" fmla="*/ 36 w 93"/>
                <a:gd name="T25" fmla="*/ 204 h 208"/>
                <a:gd name="T26" fmla="*/ 45 w 93"/>
                <a:gd name="T27" fmla="*/ 208 h 208"/>
                <a:gd name="T28" fmla="*/ 49 w 93"/>
                <a:gd name="T29" fmla="*/ 208 h 208"/>
                <a:gd name="T30" fmla="*/ 54 w 93"/>
                <a:gd name="T31" fmla="*/ 204 h 208"/>
                <a:gd name="T32" fmla="*/ 54 w 93"/>
                <a:gd name="T33" fmla="*/ 200 h 208"/>
                <a:gd name="T34" fmla="*/ 58 w 93"/>
                <a:gd name="T35" fmla="*/ 200 h 208"/>
                <a:gd name="T36" fmla="*/ 58 w 93"/>
                <a:gd name="T37" fmla="*/ 186 h 208"/>
                <a:gd name="T38" fmla="*/ 62 w 93"/>
                <a:gd name="T39" fmla="*/ 177 h 208"/>
                <a:gd name="T40" fmla="*/ 71 w 93"/>
                <a:gd name="T41" fmla="*/ 173 h 208"/>
                <a:gd name="T42" fmla="*/ 76 w 93"/>
                <a:gd name="T43" fmla="*/ 169 h 208"/>
                <a:gd name="T44" fmla="*/ 80 w 93"/>
                <a:gd name="T45" fmla="*/ 160 h 208"/>
                <a:gd name="T46" fmla="*/ 80 w 93"/>
                <a:gd name="T47" fmla="*/ 151 h 208"/>
                <a:gd name="T48" fmla="*/ 89 w 93"/>
                <a:gd name="T49" fmla="*/ 151 h 208"/>
                <a:gd name="T50" fmla="*/ 93 w 93"/>
                <a:gd name="T51" fmla="*/ 146 h 208"/>
                <a:gd name="T52" fmla="*/ 89 w 93"/>
                <a:gd name="T53" fmla="*/ 133 h 208"/>
                <a:gd name="T54" fmla="*/ 89 w 93"/>
                <a:gd name="T55" fmla="*/ 124 h 208"/>
                <a:gd name="T56" fmla="*/ 76 w 93"/>
                <a:gd name="T57" fmla="*/ 120 h 208"/>
                <a:gd name="T58" fmla="*/ 71 w 93"/>
                <a:gd name="T59" fmla="*/ 111 h 208"/>
                <a:gd name="T60" fmla="*/ 67 w 93"/>
                <a:gd name="T61" fmla="*/ 102 h 208"/>
                <a:gd name="T62" fmla="*/ 67 w 93"/>
                <a:gd name="T63" fmla="*/ 89 h 208"/>
                <a:gd name="T64" fmla="*/ 62 w 93"/>
                <a:gd name="T65" fmla="*/ 84 h 208"/>
                <a:gd name="T66" fmla="*/ 62 w 93"/>
                <a:gd name="T67" fmla="*/ 76 h 208"/>
                <a:gd name="T68" fmla="*/ 67 w 93"/>
                <a:gd name="T69" fmla="*/ 67 h 208"/>
                <a:gd name="T70" fmla="*/ 67 w 93"/>
                <a:gd name="T71" fmla="*/ 58 h 208"/>
                <a:gd name="T72" fmla="*/ 67 w 93"/>
                <a:gd name="T73" fmla="*/ 49 h 208"/>
                <a:gd name="T74" fmla="*/ 67 w 93"/>
                <a:gd name="T75" fmla="*/ 36 h 208"/>
                <a:gd name="T76" fmla="*/ 49 w 93"/>
                <a:gd name="T77" fmla="*/ 23 h 208"/>
                <a:gd name="T78" fmla="*/ 49 w 93"/>
                <a:gd name="T79" fmla="*/ 18 h 208"/>
                <a:gd name="T80" fmla="*/ 45 w 93"/>
                <a:gd name="T81" fmla="*/ 9 h 208"/>
                <a:gd name="T82" fmla="*/ 31 w 93"/>
                <a:gd name="T83" fmla="*/ 9 h 208"/>
                <a:gd name="T84" fmla="*/ 27 w 93"/>
                <a:gd name="T85" fmla="*/ 9 h 208"/>
                <a:gd name="T86" fmla="*/ 27 w 93"/>
                <a:gd name="T87" fmla="*/ 5 h 208"/>
                <a:gd name="T88" fmla="*/ 18 w 93"/>
                <a:gd name="T89" fmla="*/ 0 h 208"/>
                <a:gd name="T90" fmla="*/ 14 w 93"/>
                <a:gd name="T91" fmla="*/ 9 h 208"/>
                <a:gd name="T92" fmla="*/ 5 w 93"/>
                <a:gd name="T93" fmla="*/ 23 h 208"/>
                <a:gd name="T94" fmla="*/ 5 w 93"/>
                <a:gd name="T95" fmla="*/ 36 h 208"/>
                <a:gd name="T96" fmla="*/ 5 w 93"/>
                <a:gd name="T97" fmla="*/ 45 h 208"/>
                <a:gd name="T98" fmla="*/ 5 w 93"/>
                <a:gd name="T99" fmla="*/ 49 h 208"/>
                <a:gd name="T100" fmla="*/ 9 w 93"/>
                <a:gd name="T101" fmla="*/ 54 h 208"/>
                <a:gd name="T102" fmla="*/ 14 w 93"/>
                <a:gd name="T103" fmla="*/ 67 h 208"/>
                <a:gd name="T104" fmla="*/ 18 w 93"/>
                <a:gd name="T105" fmla="*/ 71 h 208"/>
                <a:gd name="T106" fmla="*/ 9 w 93"/>
                <a:gd name="T107" fmla="*/ 76 h 208"/>
                <a:gd name="T108" fmla="*/ 9 w 93"/>
                <a:gd name="T109" fmla="*/ 84 h 208"/>
                <a:gd name="T110" fmla="*/ 9 w 93"/>
                <a:gd name="T111" fmla="*/ 93 h 208"/>
                <a:gd name="T112" fmla="*/ 9 w 93"/>
                <a:gd name="T113" fmla="*/ 102 h 208"/>
                <a:gd name="T114" fmla="*/ 9 w 93"/>
                <a:gd name="T115" fmla="*/ 111 h 208"/>
                <a:gd name="T116" fmla="*/ 9 w 93"/>
                <a:gd name="T117" fmla="*/ 120 h 208"/>
                <a:gd name="T118" fmla="*/ 14 w 93"/>
                <a:gd name="T119" fmla="*/ 120 h 208"/>
                <a:gd name="T120" fmla="*/ 9 w 93"/>
                <a:gd name="T121" fmla="*/ 124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3" h="208">
                  <a:moveTo>
                    <a:pt x="5" y="120"/>
                  </a:moveTo>
                  <a:lnTo>
                    <a:pt x="5" y="124"/>
                  </a:lnTo>
                  <a:lnTo>
                    <a:pt x="5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5" y="124"/>
                  </a:lnTo>
                  <a:lnTo>
                    <a:pt x="5" y="124"/>
                  </a:lnTo>
                  <a:lnTo>
                    <a:pt x="5" y="124"/>
                  </a:lnTo>
                  <a:lnTo>
                    <a:pt x="5" y="124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2"/>
                  </a:lnTo>
                  <a:lnTo>
                    <a:pt x="9" y="142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9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9" y="155"/>
                  </a:lnTo>
                  <a:lnTo>
                    <a:pt x="9" y="160"/>
                  </a:lnTo>
                  <a:lnTo>
                    <a:pt x="9" y="160"/>
                  </a:lnTo>
                  <a:lnTo>
                    <a:pt x="9" y="160"/>
                  </a:lnTo>
                  <a:lnTo>
                    <a:pt x="9" y="160"/>
                  </a:lnTo>
                  <a:lnTo>
                    <a:pt x="9" y="160"/>
                  </a:lnTo>
                  <a:lnTo>
                    <a:pt x="9" y="160"/>
                  </a:lnTo>
                  <a:lnTo>
                    <a:pt x="5" y="160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64"/>
                  </a:lnTo>
                  <a:lnTo>
                    <a:pt x="5" y="164"/>
                  </a:lnTo>
                  <a:lnTo>
                    <a:pt x="5" y="164"/>
                  </a:lnTo>
                  <a:lnTo>
                    <a:pt x="9" y="169"/>
                  </a:lnTo>
                  <a:lnTo>
                    <a:pt x="14" y="169"/>
                  </a:lnTo>
                  <a:lnTo>
                    <a:pt x="14" y="173"/>
                  </a:lnTo>
                  <a:lnTo>
                    <a:pt x="18" y="173"/>
                  </a:lnTo>
                  <a:lnTo>
                    <a:pt x="18" y="173"/>
                  </a:lnTo>
                  <a:lnTo>
                    <a:pt x="23" y="177"/>
                  </a:lnTo>
                  <a:lnTo>
                    <a:pt x="23" y="177"/>
                  </a:lnTo>
                  <a:lnTo>
                    <a:pt x="23" y="177"/>
                  </a:lnTo>
                  <a:lnTo>
                    <a:pt x="23" y="177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27" y="182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27" y="182"/>
                  </a:lnTo>
                  <a:lnTo>
                    <a:pt x="27" y="182"/>
                  </a:lnTo>
                  <a:lnTo>
                    <a:pt x="27" y="182"/>
                  </a:lnTo>
                  <a:lnTo>
                    <a:pt x="27" y="182"/>
                  </a:lnTo>
                  <a:lnTo>
                    <a:pt x="31" y="182"/>
                  </a:lnTo>
                  <a:lnTo>
                    <a:pt x="31" y="182"/>
                  </a:lnTo>
                  <a:lnTo>
                    <a:pt x="31" y="182"/>
                  </a:lnTo>
                  <a:lnTo>
                    <a:pt x="31" y="182"/>
                  </a:lnTo>
                  <a:lnTo>
                    <a:pt x="36" y="186"/>
                  </a:lnTo>
                  <a:lnTo>
                    <a:pt x="36" y="186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40" y="191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40" y="200"/>
                  </a:lnTo>
                  <a:lnTo>
                    <a:pt x="36" y="204"/>
                  </a:lnTo>
                  <a:lnTo>
                    <a:pt x="36" y="204"/>
                  </a:lnTo>
                  <a:lnTo>
                    <a:pt x="36" y="204"/>
                  </a:lnTo>
                  <a:lnTo>
                    <a:pt x="36" y="204"/>
                  </a:lnTo>
                  <a:lnTo>
                    <a:pt x="36" y="204"/>
                  </a:lnTo>
                  <a:lnTo>
                    <a:pt x="40" y="204"/>
                  </a:lnTo>
                  <a:lnTo>
                    <a:pt x="40" y="204"/>
                  </a:lnTo>
                  <a:lnTo>
                    <a:pt x="40" y="204"/>
                  </a:lnTo>
                  <a:lnTo>
                    <a:pt x="40" y="204"/>
                  </a:lnTo>
                  <a:lnTo>
                    <a:pt x="45" y="204"/>
                  </a:lnTo>
                  <a:lnTo>
                    <a:pt x="45" y="208"/>
                  </a:lnTo>
                  <a:lnTo>
                    <a:pt x="45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9" y="204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200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58" y="191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4" y="186"/>
                  </a:lnTo>
                  <a:lnTo>
                    <a:pt x="54" y="186"/>
                  </a:lnTo>
                  <a:lnTo>
                    <a:pt x="54" y="186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62" y="177"/>
                  </a:lnTo>
                  <a:lnTo>
                    <a:pt x="62" y="182"/>
                  </a:lnTo>
                  <a:lnTo>
                    <a:pt x="62" y="177"/>
                  </a:lnTo>
                  <a:lnTo>
                    <a:pt x="62" y="177"/>
                  </a:lnTo>
                  <a:lnTo>
                    <a:pt x="67" y="177"/>
                  </a:lnTo>
                  <a:lnTo>
                    <a:pt x="67" y="177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73"/>
                  </a:lnTo>
                  <a:lnTo>
                    <a:pt x="71" y="173"/>
                  </a:lnTo>
                  <a:lnTo>
                    <a:pt x="71" y="173"/>
                  </a:lnTo>
                  <a:lnTo>
                    <a:pt x="71" y="173"/>
                  </a:lnTo>
                  <a:lnTo>
                    <a:pt x="71" y="173"/>
                  </a:lnTo>
                  <a:lnTo>
                    <a:pt x="71" y="173"/>
                  </a:lnTo>
                  <a:lnTo>
                    <a:pt x="71" y="173"/>
                  </a:lnTo>
                  <a:lnTo>
                    <a:pt x="76" y="173"/>
                  </a:lnTo>
                  <a:lnTo>
                    <a:pt x="76" y="173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76" y="164"/>
                  </a:lnTo>
                  <a:lnTo>
                    <a:pt x="80" y="160"/>
                  </a:lnTo>
                  <a:lnTo>
                    <a:pt x="80" y="160"/>
                  </a:lnTo>
                  <a:lnTo>
                    <a:pt x="80" y="160"/>
                  </a:lnTo>
                  <a:lnTo>
                    <a:pt x="80" y="160"/>
                  </a:lnTo>
                  <a:lnTo>
                    <a:pt x="80" y="160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1"/>
                  </a:lnTo>
                  <a:lnTo>
                    <a:pt x="80" y="151"/>
                  </a:lnTo>
                  <a:lnTo>
                    <a:pt x="85" y="151"/>
                  </a:lnTo>
                  <a:lnTo>
                    <a:pt x="85" y="151"/>
                  </a:lnTo>
                  <a:lnTo>
                    <a:pt x="85" y="151"/>
                  </a:lnTo>
                  <a:lnTo>
                    <a:pt x="85" y="151"/>
                  </a:lnTo>
                  <a:lnTo>
                    <a:pt x="89" y="151"/>
                  </a:lnTo>
                  <a:lnTo>
                    <a:pt x="89" y="151"/>
                  </a:lnTo>
                  <a:lnTo>
                    <a:pt x="89" y="151"/>
                  </a:lnTo>
                  <a:lnTo>
                    <a:pt x="89" y="151"/>
                  </a:lnTo>
                  <a:lnTo>
                    <a:pt x="89" y="151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93" y="146"/>
                  </a:lnTo>
                  <a:lnTo>
                    <a:pt x="93" y="146"/>
                  </a:lnTo>
                  <a:lnTo>
                    <a:pt x="93" y="146"/>
                  </a:lnTo>
                  <a:lnTo>
                    <a:pt x="93" y="146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89" y="133"/>
                  </a:lnTo>
                  <a:lnTo>
                    <a:pt x="89" y="133"/>
                  </a:lnTo>
                  <a:lnTo>
                    <a:pt x="89" y="133"/>
                  </a:lnTo>
                  <a:lnTo>
                    <a:pt x="89" y="133"/>
                  </a:lnTo>
                  <a:lnTo>
                    <a:pt x="89" y="133"/>
                  </a:lnTo>
                  <a:lnTo>
                    <a:pt x="89" y="133"/>
                  </a:lnTo>
                  <a:lnTo>
                    <a:pt x="89" y="129"/>
                  </a:lnTo>
                  <a:lnTo>
                    <a:pt x="89" y="129"/>
                  </a:lnTo>
                  <a:lnTo>
                    <a:pt x="89" y="124"/>
                  </a:lnTo>
                  <a:lnTo>
                    <a:pt x="89" y="124"/>
                  </a:lnTo>
                  <a:lnTo>
                    <a:pt x="89" y="124"/>
                  </a:lnTo>
                  <a:lnTo>
                    <a:pt x="89" y="120"/>
                  </a:lnTo>
                  <a:lnTo>
                    <a:pt x="85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0" y="124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15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67" y="107"/>
                  </a:lnTo>
                  <a:lnTo>
                    <a:pt x="67" y="107"/>
                  </a:lnTo>
                  <a:lnTo>
                    <a:pt x="67" y="107"/>
                  </a:lnTo>
                  <a:lnTo>
                    <a:pt x="67" y="107"/>
                  </a:lnTo>
                  <a:lnTo>
                    <a:pt x="67" y="102"/>
                  </a:lnTo>
                  <a:lnTo>
                    <a:pt x="67" y="102"/>
                  </a:lnTo>
                  <a:lnTo>
                    <a:pt x="62" y="98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1"/>
                  </a:lnTo>
                  <a:lnTo>
                    <a:pt x="67" y="67"/>
                  </a:lnTo>
                  <a:lnTo>
                    <a:pt x="62" y="62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71" y="49"/>
                  </a:lnTo>
                  <a:lnTo>
                    <a:pt x="71" y="49"/>
                  </a:lnTo>
                  <a:lnTo>
                    <a:pt x="71" y="49"/>
                  </a:lnTo>
                  <a:lnTo>
                    <a:pt x="71" y="45"/>
                  </a:lnTo>
                  <a:lnTo>
                    <a:pt x="71" y="45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2" y="31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3" y="9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7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9"/>
                  </a:lnTo>
                  <a:lnTo>
                    <a:pt x="5" y="89"/>
                  </a:lnTo>
                  <a:lnTo>
                    <a:pt x="5" y="84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9" y="89"/>
                  </a:lnTo>
                  <a:lnTo>
                    <a:pt x="9" y="89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14" y="93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9" y="111"/>
                  </a:lnTo>
                  <a:lnTo>
                    <a:pt x="9" y="111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15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5" y="120"/>
                  </a:lnTo>
                </a:path>
              </a:pathLst>
            </a:custGeom>
            <a:noFill/>
            <a:ln w="5" cap="flat">
              <a:solidFill>
                <a:srgbClr val="FE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Richtungspfeil 15"/>
          <p:cNvSpPr/>
          <p:nvPr/>
        </p:nvSpPr>
        <p:spPr>
          <a:xfrm>
            <a:off x="107504" y="2449460"/>
            <a:ext cx="7344815" cy="122290"/>
          </a:xfrm>
          <a:prstGeom prst="homePlate">
            <a:avLst/>
          </a:prstGeom>
          <a:solidFill>
            <a:srgbClr val="CCEC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4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036671" y="4820615"/>
            <a:ext cx="596901" cy="322886"/>
          </a:xfrm>
          <a:prstGeom prst="rect">
            <a:avLst/>
          </a:prstGeom>
        </p:spPr>
        <p:txBody>
          <a:bodyPr/>
          <a:lstStyle/>
          <a:p>
            <a:fld id="{F7AACF9E-D00C-9F42-B339-953D75963321}" type="slidenum">
              <a:rPr lang="en-GB" smtClean="0">
                <a:solidFill>
                  <a:prstClr val="white"/>
                </a:solidFill>
              </a:rPr>
              <a:pPr/>
              <a:t>7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98655" y="843558"/>
            <a:ext cx="7945753" cy="688289"/>
          </a:xfrm>
        </p:spPr>
        <p:txBody>
          <a:bodyPr/>
          <a:lstStyle/>
          <a:p>
            <a:r>
              <a:rPr lang="en-GB" sz="1800" dirty="0" smtClean="0"/>
              <a:t>With restrictions back in place, how can operators and manufacturers best tap into the growth of delivery?</a:t>
            </a:r>
            <a:endParaRPr lang="en-GB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408" y="349327"/>
            <a:ext cx="8321040" cy="457200"/>
          </a:xfrm>
        </p:spPr>
        <p:txBody>
          <a:bodyPr/>
          <a:lstStyle/>
          <a:p>
            <a:r>
              <a:rPr lang="en-GB" sz="2400" dirty="0" err="1" smtClean="0"/>
              <a:t>Covid</a:t>
            </a:r>
            <a:r>
              <a:rPr lang="en-GB" sz="2400" dirty="0" smtClean="0"/>
              <a:t> 2</a:t>
            </a:r>
            <a:r>
              <a:rPr lang="en-GB" sz="2400" baseline="30000" dirty="0" smtClean="0"/>
              <a:t>nd</a:t>
            </a:r>
            <a:r>
              <a:rPr lang="en-GB" sz="2400" dirty="0" smtClean="0"/>
              <a:t> wave – escalation of restrictions across EU</a:t>
            </a:r>
            <a:endParaRPr lang="en-GB" sz="2400" dirty="0"/>
          </a:p>
        </p:txBody>
      </p:sp>
      <p:cxnSp>
        <p:nvCxnSpPr>
          <p:cNvPr id="145" name="Straight Connector 177"/>
          <p:cNvCxnSpPr/>
          <p:nvPr/>
        </p:nvCxnSpPr>
        <p:spPr>
          <a:xfrm>
            <a:off x="590458" y="2520844"/>
            <a:ext cx="0" cy="292488"/>
          </a:xfrm>
          <a:prstGeom prst="line">
            <a:avLst/>
          </a:prstGeom>
          <a:ln w="9525" cmpd="sng">
            <a:solidFill>
              <a:schemeClr val="tx2"/>
            </a:solidFill>
            <a:headEnd type="oval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88"/>
          <p:cNvCxnSpPr/>
          <p:nvPr/>
        </p:nvCxnSpPr>
        <p:spPr>
          <a:xfrm>
            <a:off x="1389643" y="2515850"/>
            <a:ext cx="0" cy="292488"/>
          </a:xfrm>
          <a:prstGeom prst="line">
            <a:avLst/>
          </a:prstGeom>
          <a:ln w="9525" cmpd="sng">
            <a:solidFill>
              <a:schemeClr val="tx2"/>
            </a:solidFill>
            <a:headEnd type="oval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88"/>
          <p:cNvCxnSpPr/>
          <p:nvPr/>
        </p:nvCxnSpPr>
        <p:spPr>
          <a:xfrm>
            <a:off x="2295137" y="2499742"/>
            <a:ext cx="0" cy="292488"/>
          </a:xfrm>
          <a:prstGeom prst="line">
            <a:avLst/>
          </a:prstGeom>
          <a:ln w="9525" cmpd="sng">
            <a:solidFill>
              <a:schemeClr val="tx2"/>
            </a:solidFill>
            <a:headEnd type="oval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77"/>
          <p:cNvCxnSpPr/>
          <p:nvPr/>
        </p:nvCxnSpPr>
        <p:spPr>
          <a:xfrm>
            <a:off x="3236924" y="2499742"/>
            <a:ext cx="0" cy="292488"/>
          </a:xfrm>
          <a:prstGeom prst="line">
            <a:avLst/>
          </a:prstGeom>
          <a:ln w="9525" cmpd="sng">
            <a:solidFill>
              <a:schemeClr val="tx2"/>
            </a:solidFill>
            <a:headEnd type="oval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5" name="TextBox 75"/>
          <p:cNvSpPr txBox="1"/>
          <p:nvPr/>
        </p:nvSpPr>
        <p:spPr>
          <a:xfrm>
            <a:off x="35496" y="2931790"/>
            <a:ext cx="1007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800" b="1" i="1" dirty="0">
                <a:solidFill>
                  <a:prstClr val="black"/>
                </a:solidFill>
              </a:rPr>
              <a:t> </a:t>
            </a:r>
            <a:r>
              <a:rPr lang="en-US" sz="800" b="1" i="1" dirty="0" smtClean="0">
                <a:solidFill>
                  <a:prstClr val="black"/>
                </a:solidFill>
              </a:rPr>
              <a:t>Confinement for Madrid city and Navarra region</a:t>
            </a:r>
            <a:endParaRPr lang="en-US" sz="800" i="1" dirty="0">
              <a:solidFill>
                <a:prstClr val="black"/>
              </a:solidFill>
            </a:endParaRPr>
          </a:p>
        </p:txBody>
      </p:sp>
      <p:pic>
        <p:nvPicPr>
          <p:cNvPr id="156" name="Picture 86">
            <a:extLst>
              <a:ext uri="{FF2B5EF4-FFF2-40B4-BE49-F238E27FC236}">
                <a16:creationId xmlns="" xmlns:a16="http://schemas.microsoft.com/office/drawing/2014/main" id="{6F4EF184-7EA1-BC48-9722-0019EFF6F9D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30" y="2744308"/>
            <a:ext cx="347646" cy="200786"/>
          </a:xfrm>
          <a:prstGeom prst="rect">
            <a:avLst/>
          </a:prstGeom>
        </p:spPr>
      </p:pic>
      <p:pic>
        <p:nvPicPr>
          <p:cNvPr id="163" name="Picture 40">
            <a:extLst>
              <a:ext uri="{FF2B5EF4-FFF2-40B4-BE49-F238E27FC236}">
                <a16:creationId xmlns="" xmlns:a16="http://schemas.microsoft.com/office/drawing/2014/main" id="{C5258B17-1869-0045-A904-C33E0AD1CDD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6668" y="2702443"/>
            <a:ext cx="397100" cy="229347"/>
          </a:xfrm>
          <a:prstGeom prst="rect">
            <a:avLst/>
          </a:prstGeom>
        </p:spPr>
      </p:pic>
      <p:sp>
        <p:nvSpPr>
          <p:cNvPr id="164" name="Rectangle 85"/>
          <p:cNvSpPr/>
          <p:nvPr/>
        </p:nvSpPr>
        <p:spPr>
          <a:xfrm>
            <a:off x="1763688" y="2897679"/>
            <a:ext cx="106951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GB" sz="800" b="1" i="1" dirty="0" smtClean="0">
                <a:solidFill>
                  <a:prstClr val="black"/>
                </a:solidFill>
              </a:rPr>
              <a:t>Curfew (11pm-5am) for several regions + shopping mall closure</a:t>
            </a:r>
            <a:endParaRPr lang="en-GB" sz="800" i="1" dirty="0">
              <a:solidFill>
                <a:prstClr val="black"/>
              </a:solidFill>
            </a:endParaRPr>
          </a:p>
        </p:txBody>
      </p:sp>
      <p:sp>
        <p:nvSpPr>
          <p:cNvPr id="169" name="Rectangle 190"/>
          <p:cNvSpPr/>
          <p:nvPr/>
        </p:nvSpPr>
        <p:spPr>
          <a:xfrm>
            <a:off x="2915815" y="4067304"/>
            <a:ext cx="8640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US" sz="800" b="1" i="1" dirty="0" smtClean="0">
                <a:solidFill>
                  <a:prstClr val="black"/>
                </a:solidFill>
              </a:rPr>
              <a:t>Wales in ‘firebreak’ shutdown</a:t>
            </a:r>
          </a:p>
        </p:txBody>
      </p:sp>
      <p:pic>
        <p:nvPicPr>
          <p:cNvPr id="170" name="Picture 191">
            <a:extLst>
              <a:ext uri="{FF2B5EF4-FFF2-40B4-BE49-F238E27FC236}">
                <a16:creationId xmlns="" xmlns:a16="http://schemas.microsoft.com/office/drawing/2014/main" id="{6F32DA4F-4E93-A545-9DBF-28AF0B526E0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3847" y="3901802"/>
            <a:ext cx="334285" cy="193069"/>
          </a:xfrm>
          <a:prstGeom prst="rect">
            <a:avLst/>
          </a:prstGeom>
        </p:spPr>
      </p:pic>
      <p:sp>
        <p:nvSpPr>
          <p:cNvPr id="250" name="Rechteck 249"/>
          <p:cNvSpPr/>
          <p:nvPr/>
        </p:nvSpPr>
        <p:spPr>
          <a:xfrm>
            <a:off x="179512" y="2067694"/>
            <a:ext cx="79242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fr-FR" sz="1050" b="1" dirty="0" err="1" smtClean="0">
                <a:solidFill>
                  <a:srgbClr val="0078BE"/>
                </a:solidFill>
              </a:rPr>
              <a:t>Wk</a:t>
            </a:r>
            <a:r>
              <a:rPr lang="fr-FR" sz="1050" b="1" dirty="0" smtClean="0">
                <a:solidFill>
                  <a:srgbClr val="0078BE"/>
                </a:solidFill>
              </a:rPr>
              <a:t> 41</a:t>
            </a:r>
          </a:p>
          <a:p>
            <a:pPr algn="ctr" defTabSz="914400"/>
            <a:r>
              <a:rPr lang="fr-FR" sz="1050" b="1" dirty="0" smtClean="0">
                <a:solidFill>
                  <a:srgbClr val="0078BE"/>
                </a:solidFill>
              </a:rPr>
              <a:t> (5-11 </a:t>
            </a:r>
            <a:r>
              <a:rPr lang="fr-FR" sz="1050" b="1" dirty="0" err="1" smtClean="0">
                <a:solidFill>
                  <a:srgbClr val="0078BE"/>
                </a:solidFill>
              </a:rPr>
              <a:t>Oct</a:t>
            </a:r>
            <a:r>
              <a:rPr lang="fr-FR" sz="1050" b="1" dirty="0" smtClean="0">
                <a:solidFill>
                  <a:srgbClr val="0078BE"/>
                </a:solidFill>
              </a:rPr>
              <a:t>)</a:t>
            </a:r>
            <a:endParaRPr lang="en-US" sz="1050" b="1" dirty="0">
              <a:solidFill>
                <a:srgbClr val="0078BE"/>
              </a:solidFill>
            </a:endParaRPr>
          </a:p>
        </p:txBody>
      </p:sp>
      <p:sp>
        <p:nvSpPr>
          <p:cNvPr id="120" name="Rechteck 249"/>
          <p:cNvSpPr/>
          <p:nvPr/>
        </p:nvSpPr>
        <p:spPr>
          <a:xfrm>
            <a:off x="2123728" y="2173818"/>
            <a:ext cx="1247705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fr-FR" sz="1050" b="1" dirty="0" err="1" smtClean="0">
                <a:solidFill>
                  <a:srgbClr val="0078BE"/>
                </a:solidFill>
              </a:rPr>
              <a:t>Wk</a:t>
            </a:r>
            <a:r>
              <a:rPr lang="fr-FR" sz="1050" b="1" dirty="0" smtClean="0">
                <a:solidFill>
                  <a:srgbClr val="0078BE"/>
                </a:solidFill>
              </a:rPr>
              <a:t> 43 (19-25 </a:t>
            </a:r>
            <a:r>
              <a:rPr lang="fr-FR" sz="1050" b="1" dirty="0" err="1" smtClean="0">
                <a:solidFill>
                  <a:srgbClr val="0078BE"/>
                </a:solidFill>
              </a:rPr>
              <a:t>Oct</a:t>
            </a:r>
            <a:r>
              <a:rPr lang="fr-FR" sz="1050" b="1" dirty="0" smtClean="0">
                <a:solidFill>
                  <a:srgbClr val="0078BE"/>
                </a:solidFill>
              </a:rPr>
              <a:t>)</a:t>
            </a:r>
            <a:endParaRPr lang="en-US" sz="1050" b="1" dirty="0">
              <a:solidFill>
                <a:srgbClr val="0078BE"/>
              </a:solidFill>
            </a:endParaRPr>
          </a:p>
        </p:txBody>
      </p:sp>
      <p:pic>
        <p:nvPicPr>
          <p:cNvPr id="16466" name="Picture 8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984" y="1550124"/>
            <a:ext cx="858400" cy="733594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8" name="Picture 89">
            <a:extLst>
              <a:ext uri="{FF2B5EF4-FFF2-40B4-BE49-F238E27FC236}">
                <a16:creationId xmlns="" xmlns:a16="http://schemas.microsoft.com/office/drawing/2014/main" id="{C85C328E-20C8-7A4C-BEB5-E1FBCBE9CB3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9832" y="2707739"/>
            <a:ext cx="360040" cy="207943"/>
          </a:xfrm>
          <a:prstGeom prst="rect">
            <a:avLst/>
          </a:prstGeom>
        </p:spPr>
      </p:pic>
      <p:sp>
        <p:nvSpPr>
          <p:cNvPr id="129" name="Rechteck 249"/>
          <p:cNvSpPr/>
          <p:nvPr/>
        </p:nvSpPr>
        <p:spPr>
          <a:xfrm>
            <a:off x="971600" y="2067694"/>
            <a:ext cx="88766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fr-FR" sz="1050" b="1" dirty="0" err="1" smtClean="0">
                <a:solidFill>
                  <a:srgbClr val="0078BE"/>
                </a:solidFill>
              </a:rPr>
              <a:t>Wk</a:t>
            </a:r>
            <a:r>
              <a:rPr lang="fr-FR" sz="1050" b="1" dirty="0" smtClean="0">
                <a:solidFill>
                  <a:srgbClr val="0078BE"/>
                </a:solidFill>
              </a:rPr>
              <a:t> 42</a:t>
            </a:r>
          </a:p>
          <a:p>
            <a:pPr algn="ctr" defTabSz="914400"/>
            <a:r>
              <a:rPr lang="fr-FR" sz="1050" b="1" dirty="0" smtClean="0">
                <a:solidFill>
                  <a:srgbClr val="0078BE"/>
                </a:solidFill>
              </a:rPr>
              <a:t> (12-18 </a:t>
            </a:r>
            <a:r>
              <a:rPr lang="fr-FR" sz="1050" b="1" dirty="0" err="1" smtClean="0">
                <a:solidFill>
                  <a:srgbClr val="0078BE"/>
                </a:solidFill>
              </a:rPr>
              <a:t>Oct</a:t>
            </a:r>
            <a:r>
              <a:rPr lang="fr-FR" sz="1050" b="1" dirty="0" smtClean="0">
                <a:solidFill>
                  <a:srgbClr val="0078BE"/>
                </a:solidFill>
              </a:rPr>
              <a:t>)</a:t>
            </a:r>
            <a:endParaRPr lang="en-US" sz="1050" b="1" dirty="0">
              <a:solidFill>
                <a:srgbClr val="0078BE"/>
              </a:solidFill>
            </a:endParaRPr>
          </a:p>
        </p:txBody>
      </p:sp>
      <p:sp>
        <p:nvSpPr>
          <p:cNvPr id="130" name="Rectangle 85"/>
          <p:cNvSpPr/>
          <p:nvPr/>
        </p:nvSpPr>
        <p:spPr>
          <a:xfrm>
            <a:off x="984564" y="2923079"/>
            <a:ext cx="80269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GB" sz="800" b="1" i="1" dirty="0" smtClean="0">
                <a:solidFill>
                  <a:prstClr val="black"/>
                </a:solidFill>
              </a:rPr>
              <a:t>Curfew from 9pm to 6am on the biggest cities</a:t>
            </a:r>
            <a:endParaRPr lang="en-GB" sz="800" i="1" dirty="0">
              <a:solidFill>
                <a:prstClr val="black"/>
              </a:solidFill>
            </a:endParaRPr>
          </a:p>
        </p:txBody>
      </p:sp>
      <p:sp>
        <p:nvSpPr>
          <p:cNvPr id="131" name="Rechteck 249"/>
          <p:cNvSpPr/>
          <p:nvPr/>
        </p:nvSpPr>
        <p:spPr>
          <a:xfrm>
            <a:off x="3707904" y="2173818"/>
            <a:ext cx="159130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fr-FR" sz="1050" b="1" dirty="0" err="1" smtClean="0">
                <a:solidFill>
                  <a:srgbClr val="0078BE"/>
                </a:solidFill>
              </a:rPr>
              <a:t>Wk</a:t>
            </a:r>
            <a:r>
              <a:rPr lang="fr-FR" sz="1050" b="1" dirty="0" smtClean="0">
                <a:solidFill>
                  <a:srgbClr val="0078BE"/>
                </a:solidFill>
              </a:rPr>
              <a:t> 44 (26Oct-1Nov)</a:t>
            </a:r>
            <a:endParaRPr lang="en-US" sz="1050" b="1" dirty="0">
              <a:solidFill>
                <a:srgbClr val="0078BE"/>
              </a:solidFill>
            </a:endParaRPr>
          </a:p>
        </p:txBody>
      </p:sp>
      <p:sp>
        <p:nvSpPr>
          <p:cNvPr id="132" name="Rechteck 249"/>
          <p:cNvSpPr/>
          <p:nvPr/>
        </p:nvSpPr>
        <p:spPr>
          <a:xfrm>
            <a:off x="5124495" y="2067694"/>
            <a:ext cx="103168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fr-FR" sz="1050" b="1" dirty="0" err="1" smtClean="0">
                <a:solidFill>
                  <a:srgbClr val="0078BE"/>
                </a:solidFill>
              </a:rPr>
              <a:t>Wk</a:t>
            </a:r>
            <a:r>
              <a:rPr lang="fr-FR" sz="1050" b="1" dirty="0" smtClean="0">
                <a:solidFill>
                  <a:srgbClr val="0078BE"/>
                </a:solidFill>
              </a:rPr>
              <a:t> 45</a:t>
            </a:r>
          </a:p>
          <a:p>
            <a:pPr algn="ctr" defTabSz="914400"/>
            <a:r>
              <a:rPr lang="fr-FR" sz="1050" b="1" dirty="0" smtClean="0">
                <a:solidFill>
                  <a:srgbClr val="0078BE"/>
                </a:solidFill>
              </a:rPr>
              <a:t> (2-8 </a:t>
            </a:r>
            <a:r>
              <a:rPr lang="fr-FR" sz="1050" b="1" dirty="0" err="1" smtClean="0">
                <a:solidFill>
                  <a:srgbClr val="0078BE"/>
                </a:solidFill>
              </a:rPr>
              <a:t>Nov</a:t>
            </a:r>
            <a:r>
              <a:rPr lang="fr-FR" sz="1050" b="1" dirty="0" smtClean="0">
                <a:solidFill>
                  <a:srgbClr val="0078BE"/>
                </a:solidFill>
              </a:rPr>
              <a:t>)</a:t>
            </a:r>
            <a:endParaRPr lang="en-US" sz="1050" b="1" dirty="0">
              <a:solidFill>
                <a:srgbClr val="0078BE"/>
              </a:solidFill>
            </a:endParaRPr>
          </a:p>
        </p:txBody>
      </p:sp>
      <p:sp>
        <p:nvSpPr>
          <p:cNvPr id="133" name="Rechteck 249"/>
          <p:cNvSpPr/>
          <p:nvPr/>
        </p:nvSpPr>
        <p:spPr>
          <a:xfrm>
            <a:off x="5844575" y="2067694"/>
            <a:ext cx="103168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fr-FR" sz="1050" b="1" dirty="0" err="1" smtClean="0">
                <a:solidFill>
                  <a:srgbClr val="0078BE"/>
                </a:solidFill>
              </a:rPr>
              <a:t>Wk</a:t>
            </a:r>
            <a:r>
              <a:rPr lang="fr-FR" sz="1050" b="1" dirty="0" smtClean="0">
                <a:solidFill>
                  <a:srgbClr val="0078BE"/>
                </a:solidFill>
              </a:rPr>
              <a:t> 46</a:t>
            </a:r>
          </a:p>
          <a:p>
            <a:pPr algn="ctr" defTabSz="914400"/>
            <a:r>
              <a:rPr lang="fr-FR" sz="1050" b="1" dirty="0" smtClean="0">
                <a:solidFill>
                  <a:srgbClr val="0078BE"/>
                </a:solidFill>
              </a:rPr>
              <a:t> (9-15 </a:t>
            </a:r>
            <a:r>
              <a:rPr lang="fr-FR" sz="1050" b="1" dirty="0" err="1" smtClean="0">
                <a:solidFill>
                  <a:srgbClr val="0078BE"/>
                </a:solidFill>
              </a:rPr>
              <a:t>Nov</a:t>
            </a:r>
            <a:r>
              <a:rPr lang="fr-FR" sz="1050" b="1" dirty="0" smtClean="0">
                <a:solidFill>
                  <a:srgbClr val="0078BE"/>
                </a:solidFill>
              </a:rPr>
              <a:t>)</a:t>
            </a:r>
            <a:endParaRPr lang="en-US" sz="1050" b="1" dirty="0">
              <a:solidFill>
                <a:srgbClr val="0078BE"/>
              </a:solidFill>
            </a:endParaRPr>
          </a:p>
        </p:txBody>
      </p:sp>
      <p:sp>
        <p:nvSpPr>
          <p:cNvPr id="134" name="Rechteck 249"/>
          <p:cNvSpPr/>
          <p:nvPr/>
        </p:nvSpPr>
        <p:spPr>
          <a:xfrm>
            <a:off x="6564655" y="2067694"/>
            <a:ext cx="103168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fr-FR" sz="1050" b="1" dirty="0" err="1" smtClean="0">
                <a:solidFill>
                  <a:srgbClr val="0078BE"/>
                </a:solidFill>
              </a:rPr>
              <a:t>Wk</a:t>
            </a:r>
            <a:r>
              <a:rPr lang="fr-FR" sz="1050" b="1" dirty="0" smtClean="0">
                <a:solidFill>
                  <a:srgbClr val="0078BE"/>
                </a:solidFill>
              </a:rPr>
              <a:t> 47</a:t>
            </a:r>
          </a:p>
          <a:p>
            <a:pPr algn="ctr" defTabSz="914400"/>
            <a:r>
              <a:rPr lang="fr-FR" sz="1050" b="1" dirty="0" smtClean="0">
                <a:solidFill>
                  <a:srgbClr val="0078BE"/>
                </a:solidFill>
              </a:rPr>
              <a:t> (16-22 </a:t>
            </a:r>
            <a:r>
              <a:rPr lang="fr-FR" sz="1050" b="1" dirty="0" err="1" smtClean="0">
                <a:solidFill>
                  <a:srgbClr val="0078BE"/>
                </a:solidFill>
              </a:rPr>
              <a:t>Nov</a:t>
            </a:r>
            <a:r>
              <a:rPr lang="fr-FR" sz="1050" b="1" dirty="0" smtClean="0">
                <a:solidFill>
                  <a:srgbClr val="0078BE"/>
                </a:solidFill>
              </a:rPr>
              <a:t>)</a:t>
            </a:r>
            <a:endParaRPr lang="en-US" sz="1050" b="1" dirty="0">
              <a:solidFill>
                <a:srgbClr val="0078BE"/>
              </a:solidFill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838189" y="1707654"/>
            <a:ext cx="2077627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chemeClr val="tx2"/>
                </a:solidFill>
              </a:defRPr>
            </a:lvl1pPr>
          </a:lstStyle>
          <a:p>
            <a:pPr defTabSz="914400"/>
            <a:r>
              <a:rPr lang="en-GB" sz="1200" i="1" u="sng" dirty="0" smtClean="0">
                <a:solidFill>
                  <a:srgbClr val="0078BE"/>
                </a:solidFill>
              </a:rPr>
              <a:t>October 2020</a:t>
            </a:r>
            <a:endParaRPr lang="en-GB" sz="1200" i="1" u="sng" dirty="0">
              <a:solidFill>
                <a:srgbClr val="0078BE"/>
              </a:solidFill>
            </a:endParaRPr>
          </a:p>
        </p:txBody>
      </p:sp>
      <p:sp>
        <p:nvSpPr>
          <p:cNvPr id="135" name="CasellaDiTesto 134"/>
          <p:cNvSpPr txBox="1"/>
          <p:nvPr/>
        </p:nvSpPr>
        <p:spPr>
          <a:xfrm>
            <a:off x="4582605" y="1718687"/>
            <a:ext cx="2077627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chemeClr val="tx2"/>
                </a:solidFill>
              </a:defRPr>
            </a:lvl1pPr>
          </a:lstStyle>
          <a:p>
            <a:pPr defTabSz="914400"/>
            <a:r>
              <a:rPr lang="en-GB" sz="1200" i="1" u="sng" dirty="0" smtClean="0">
                <a:solidFill>
                  <a:srgbClr val="0078BE"/>
                </a:solidFill>
              </a:rPr>
              <a:t>November 2020</a:t>
            </a:r>
            <a:endParaRPr lang="en-GB" sz="1200" i="1" u="sng" dirty="0">
              <a:solidFill>
                <a:srgbClr val="0078BE"/>
              </a:solidFill>
            </a:endParaRPr>
          </a:p>
        </p:txBody>
      </p:sp>
      <p:cxnSp>
        <p:nvCxnSpPr>
          <p:cNvPr id="9" name="Connettore 1 8"/>
          <p:cNvCxnSpPr/>
          <p:nvPr/>
        </p:nvCxnSpPr>
        <p:spPr>
          <a:xfrm>
            <a:off x="3707904" y="1829944"/>
            <a:ext cx="0" cy="741806"/>
          </a:xfrm>
          <a:prstGeom prst="line">
            <a:avLst/>
          </a:prstGeom>
          <a:ln w="9525" cmpd="sng">
            <a:solidFill>
              <a:schemeClr val="bg2"/>
            </a:solidFill>
            <a:prstDash val="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5" name="Picture 71">
            <a:extLst>
              <a:ext uri="{FF2B5EF4-FFF2-40B4-BE49-F238E27FC236}">
                <a16:creationId xmlns="" xmlns:a16="http://schemas.microsoft.com/office/drawing/2014/main" id="{80C64060-EBC4-834D-8FC2-3190B58406DF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1165" y="3906816"/>
            <a:ext cx="325606" cy="188055"/>
          </a:xfrm>
          <a:prstGeom prst="rect">
            <a:avLst/>
          </a:prstGeom>
        </p:spPr>
      </p:pic>
      <p:sp>
        <p:nvSpPr>
          <p:cNvPr id="106" name="Rectangle 85"/>
          <p:cNvSpPr/>
          <p:nvPr/>
        </p:nvSpPr>
        <p:spPr>
          <a:xfrm>
            <a:off x="1556702" y="4065254"/>
            <a:ext cx="8405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GB" sz="800" b="1" i="1" dirty="0" smtClean="0">
                <a:solidFill>
                  <a:prstClr val="black"/>
                </a:solidFill>
              </a:rPr>
              <a:t>Curfew extended to 54 </a:t>
            </a:r>
            <a:r>
              <a:rPr lang="en-GB" sz="800" b="1" i="1" dirty="0" err="1" smtClean="0">
                <a:solidFill>
                  <a:prstClr val="black"/>
                </a:solidFill>
              </a:rPr>
              <a:t>depts</a:t>
            </a:r>
            <a:endParaRPr lang="en-GB" sz="800" i="1" dirty="0">
              <a:solidFill>
                <a:prstClr val="black"/>
              </a:solidFill>
            </a:endParaRPr>
          </a:p>
        </p:txBody>
      </p:sp>
      <p:sp>
        <p:nvSpPr>
          <p:cNvPr id="107" name="Rectangle 85"/>
          <p:cNvSpPr/>
          <p:nvPr/>
        </p:nvSpPr>
        <p:spPr>
          <a:xfrm>
            <a:off x="2771800" y="2899092"/>
            <a:ext cx="95265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US" sz="800" b="1" i="1" dirty="0" smtClean="0">
                <a:solidFill>
                  <a:prstClr val="black"/>
                </a:solidFill>
              </a:rPr>
              <a:t>Regional differences: Curfew on crowded places, like High Streets, Pubs, Schools, small events</a:t>
            </a:r>
            <a:endParaRPr lang="en-US" sz="800" i="1" dirty="0">
              <a:solidFill>
                <a:prstClr val="black"/>
              </a:solidFill>
            </a:endParaRPr>
          </a:p>
        </p:txBody>
      </p:sp>
      <p:cxnSp>
        <p:nvCxnSpPr>
          <p:cNvPr id="108" name="Straight Connector 88"/>
          <p:cNvCxnSpPr/>
          <p:nvPr/>
        </p:nvCxnSpPr>
        <p:spPr>
          <a:xfrm>
            <a:off x="4167345" y="2470655"/>
            <a:ext cx="0" cy="292488"/>
          </a:xfrm>
          <a:prstGeom prst="line">
            <a:avLst/>
          </a:prstGeom>
          <a:ln w="9525" cmpd="sng">
            <a:solidFill>
              <a:schemeClr val="tx2"/>
            </a:solidFill>
            <a:headEnd type="oval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9" name="Picture 40">
            <a:extLst>
              <a:ext uri="{FF2B5EF4-FFF2-40B4-BE49-F238E27FC236}">
                <a16:creationId xmlns="" xmlns:a16="http://schemas.microsoft.com/office/drawing/2014/main" id="{C5258B17-1869-0045-A904-C33E0AD1CDD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8027" y="2667088"/>
            <a:ext cx="380063" cy="219507"/>
          </a:xfrm>
          <a:prstGeom prst="rect">
            <a:avLst/>
          </a:prstGeom>
        </p:spPr>
      </p:pic>
      <p:sp>
        <p:nvSpPr>
          <p:cNvPr id="110" name="Rectangle 85"/>
          <p:cNvSpPr/>
          <p:nvPr/>
        </p:nvSpPr>
        <p:spPr>
          <a:xfrm>
            <a:off x="3684335" y="2868592"/>
            <a:ext cx="9596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GB" sz="800" b="1" i="1" dirty="0" smtClean="0">
                <a:solidFill>
                  <a:prstClr val="black"/>
                </a:solidFill>
              </a:rPr>
              <a:t>Bar and restaurant closed after 6pm</a:t>
            </a:r>
          </a:p>
        </p:txBody>
      </p:sp>
      <p:sp>
        <p:nvSpPr>
          <p:cNvPr id="111" name="TextBox 75"/>
          <p:cNvSpPr txBox="1"/>
          <p:nvPr/>
        </p:nvSpPr>
        <p:spPr>
          <a:xfrm>
            <a:off x="4399697" y="3967445"/>
            <a:ext cx="10801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800" b="1" i="1" dirty="0">
                <a:solidFill>
                  <a:prstClr val="black"/>
                </a:solidFill>
              </a:rPr>
              <a:t> </a:t>
            </a:r>
            <a:r>
              <a:rPr lang="en-US" sz="800" b="1" i="1" dirty="0" smtClean="0">
                <a:solidFill>
                  <a:prstClr val="black"/>
                </a:solidFill>
              </a:rPr>
              <a:t>National Curfew from 11pm-6am and confinement for nearly all regions</a:t>
            </a:r>
            <a:endParaRPr lang="en-US" sz="800" i="1" dirty="0">
              <a:solidFill>
                <a:prstClr val="black"/>
              </a:solidFill>
            </a:endParaRPr>
          </a:p>
        </p:txBody>
      </p:sp>
      <p:pic>
        <p:nvPicPr>
          <p:cNvPr id="112" name="Picture 86">
            <a:extLst>
              <a:ext uri="{FF2B5EF4-FFF2-40B4-BE49-F238E27FC236}">
                <a16:creationId xmlns="" xmlns:a16="http://schemas.microsoft.com/office/drawing/2014/main" id="{6F4EF184-7EA1-BC48-9722-0019EFF6F9D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2131" y="3823429"/>
            <a:ext cx="347646" cy="200786"/>
          </a:xfrm>
          <a:prstGeom prst="rect">
            <a:avLst/>
          </a:prstGeom>
        </p:spPr>
      </p:pic>
      <p:cxnSp>
        <p:nvCxnSpPr>
          <p:cNvPr id="113" name="Straight Connector 88"/>
          <p:cNvCxnSpPr/>
          <p:nvPr/>
        </p:nvCxnSpPr>
        <p:spPr>
          <a:xfrm>
            <a:off x="4966474" y="2499742"/>
            <a:ext cx="0" cy="292488"/>
          </a:xfrm>
          <a:prstGeom prst="line">
            <a:avLst/>
          </a:prstGeom>
          <a:ln w="9525" cmpd="sng">
            <a:solidFill>
              <a:schemeClr val="tx2"/>
            </a:solidFill>
            <a:headEnd type="oval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4" name="Picture 71">
            <a:extLst>
              <a:ext uri="{FF2B5EF4-FFF2-40B4-BE49-F238E27FC236}">
                <a16:creationId xmlns="" xmlns:a16="http://schemas.microsoft.com/office/drawing/2014/main" id="{80C64060-EBC4-834D-8FC2-3190B58406DF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8629" y="2686335"/>
            <a:ext cx="325606" cy="229347"/>
          </a:xfrm>
          <a:prstGeom prst="rect">
            <a:avLst/>
          </a:prstGeom>
        </p:spPr>
      </p:pic>
      <p:sp>
        <p:nvSpPr>
          <p:cNvPr id="115" name="Rectangle 85"/>
          <p:cNvSpPr/>
          <p:nvPr/>
        </p:nvSpPr>
        <p:spPr>
          <a:xfrm>
            <a:off x="4572000" y="2923079"/>
            <a:ext cx="80269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GB" sz="800" b="1" i="1" dirty="0" smtClean="0">
                <a:solidFill>
                  <a:prstClr val="black"/>
                </a:solidFill>
              </a:rPr>
              <a:t>2° lockdown (until Dec 1°) with non essential stores closed </a:t>
            </a:r>
            <a:endParaRPr lang="en-GB" sz="800" i="1" dirty="0">
              <a:solidFill>
                <a:prstClr val="black"/>
              </a:solidFill>
            </a:endParaRPr>
          </a:p>
        </p:txBody>
      </p:sp>
      <p:sp>
        <p:nvSpPr>
          <p:cNvPr id="117" name="Rectangle 85"/>
          <p:cNvSpPr/>
          <p:nvPr/>
        </p:nvSpPr>
        <p:spPr>
          <a:xfrm>
            <a:off x="5292080" y="2859782"/>
            <a:ext cx="77080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it-IT" sz="800" b="1" i="1" dirty="0" smtClean="0">
                <a:solidFill>
                  <a:prstClr val="black"/>
                </a:solidFill>
              </a:rPr>
              <a:t>Light </a:t>
            </a:r>
            <a:r>
              <a:rPr lang="it-IT" sz="800" b="1" i="1" dirty="0" err="1">
                <a:solidFill>
                  <a:prstClr val="black"/>
                </a:solidFill>
              </a:rPr>
              <a:t>lockdown</a:t>
            </a:r>
            <a:r>
              <a:rPr lang="it-IT" sz="800" b="1" i="1" dirty="0">
                <a:solidFill>
                  <a:prstClr val="black"/>
                </a:solidFill>
              </a:rPr>
              <a:t> </a:t>
            </a:r>
            <a:r>
              <a:rPr lang="en-US" sz="800" b="1" i="1" dirty="0">
                <a:solidFill>
                  <a:prstClr val="black"/>
                </a:solidFill>
              </a:rPr>
              <a:t>non essential shops will remain open </a:t>
            </a:r>
            <a:r>
              <a:rPr lang="en-US" sz="800" b="1" i="1" dirty="0" smtClean="0">
                <a:solidFill>
                  <a:prstClr val="black"/>
                </a:solidFill>
              </a:rPr>
              <a:t>(1 customer/ 10SM)</a:t>
            </a:r>
            <a:endParaRPr lang="en-US" sz="800" b="1" i="1" dirty="0">
              <a:solidFill>
                <a:prstClr val="black"/>
              </a:solidFill>
            </a:endParaRPr>
          </a:p>
          <a:p>
            <a:pPr algn="ctr" defTabSz="914400"/>
            <a:endParaRPr lang="en-US" sz="800" i="1" dirty="0">
              <a:solidFill>
                <a:prstClr val="black"/>
              </a:solidFill>
            </a:endParaRPr>
          </a:p>
        </p:txBody>
      </p:sp>
      <p:cxnSp>
        <p:nvCxnSpPr>
          <p:cNvPr id="118" name="Straight Connector 88"/>
          <p:cNvCxnSpPr/>
          <p:nvPr/>
        </p:nvCxnSpPr>
        <p:spPr>
          <a:xfrm>
            <a:off x="5652120" y="2495286"/>
            <a:ext cx="0" cy="292488"/>
          </a:xfrm>
          <a:prstGeom prst="line">
            <a:avLst/>
          </a:prstGeom>
          <a:ln w="9525" cmpd="sng">
            <a:solidFill>
              <a:schemeClr val="tx2"/>
            </a:solidFill>
            <a:headEnd type="oval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6" name="Picture 89">
            <a:extLst>
              <a:ext uri="{FF2B5EF4-FFF2-40B4-BE49-F238E27FC236}">
                <a16:creationId xmlns="" xmlns:a16="http://schemas.microsoft.com/office/drawing/2014/main" id="{C85C328E-20C8-7A4C-BEB5-E1FBCBE9CB3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0222" y="2686335"/>
            <a:ext cx="377922" cy="218271"/>
          </a:xfrm>
          <a:prstGeom prst="rect">
            <a:avLst/>
          </a:prstGeom>
        </p:spPr>
      </p:pic>
      <p:pic>
        <p:nvPicPr>
          <p:cNvPr id="119" name="Picture 71">
            <a:extLst>
              <a:ext uri="{FF2B5EF4-FFF2-40B4-BE49-F238E27FC236}">
                <a16:creationId xmlns="" xmlns:a16="http://schemas.microsoft.com/office/drawing/2014/main" id="{80C64060-EBC4-834D-8FC2-3190B58406DF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2058" y="2715766"/>
            <a:ext cx="325606" cy="229347"/>
          </a:xfrm>
          <a:prstGeom prst="rect">
            <a:avLst/>
          </a:prstGeom>
        </p:spPr>
      </p:pic>
      <p:pic>
        <p:nvPicPr>
          <p:cNvPr id="121" name="Picture 191">
            <a:extLst>
              <a:ext uri="{FF2B5EF4-FFF2-40B4-BE49-F238E27FC236}">
                <a16:creationId xmlns="" xmlns:a16="http://schemas.microsoft.com/office/drawing/2014/main" id="{6F32DA4F-4E93-A545-9DBF-28AF0B526E0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3859" y="3871336"/>
            <a:ext cx="334285" cy="193069"/>
          </a:xfrm>
          <a:prstGeom prst="rect">
            <a:avLst/>
          </a:prstGeom>
        </p:spPr>
      </p:pic>
      <p:sp>
        <p:nvSpPr>
          <p:cNvPr id="122" name="Rectangle 190"/>
          <p:cNvSpPr/>
          <p:nvPr/>
        </p:nvSpPr>
        <p:spPr>
          <a:xfrm>
            <a:off x="5245384" y="4081143"/>
            <a:ext cx="86409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US" sz="800" b="1" i="1" dirty="0" smtClean="0">
                <a:solidFill>
                  <a:prstClr val="black"/>
                </a:solidFill>
              </a:rPr>
              <a:t>England in shutdown</a:t>
            </a:r>
          </a:p>
          <a:p>
            <a:pPr algn="ctr" defTabSz="914400"/>
            <a:r>
              <a:rPr lang="en-US" sz="400" b="1" i="1" dirty="0">
                <a:solidFill>
                  <a:prstClr val="black"/>
                </a:solidFill>
              </a:rPr>
              <a:t/>
            </a:r>
            <a:br>
              <a:rPr lang="en-US" sz="400" b="1" i="1" dirty="0">
                <a:solidFill>
                  <a:prstClr val="black"/>
                </a:solidFill>
              </a:rPr>
            </a:br>
            <a:r>
              <a:rPr lang="en-US" sz="800" b="1" i="1" dirty="0" smtClean="0">
                <a:solidFill>
                  <a:prstClr val="black"/>
                </a:solidFill>
              </a:rPr>
              <a:t>Scotland 5 tier system introduced</a:t>
            </a:r>
          </a:p>
        </p:txBody>
      </p:sp>
      <p:pic>
        <p:nvPicPr>
          <p:cNvPr id="123" name="Picture 191">
            <a:extLst>
              <a:ext uri="{FF2B5EF4-FFF2-40B4-BE49-F238E27FC236}">
                <a16:creationId xmlns="" xmlns:a16="http://schemas.microsoft.com/office/drawing/2014/main" id="{6F32DA4F-4E93-A545-9DBF-28AF0B526E0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4499" y="3901638"/>
            <a:ext cx="334285" cy="193069"/>
          </a:xfrm>
          <a:prstGeom prst="rect">
            <a:avLst/>
          </a:prstGeom>
        </p:spPr>
      </p:pic>
      <p:sp>
        <p:nvSpPr>
          <p:cNvPr id="124" name="Rectangle 190"/>
          <p:cNvSpPr/>
          <p:nvPr/>
        </p:nvSpPr>
        <p:spPr>
          <a:xfrm>
            <a:off x="899593" y="4111445"/>
            <a:ext cx="8640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US" sz="800" b="1" i="1" dirty="0" smtClean="0">
                <a:solidFill>
                  <a:prstClr val="black"/>
                </a:solidFill>
              </a:rPr>
              <a:t>Northern Ireland restrictions:</a:t>
            </a:r>
          </a:p>
          <a:p>
            <a:pPr algn="ctr" defTabSz="914400"/>
            <a:r>
              <a:rPr lang="en-US" sz="800" b="1" i="1" dirty="0">
                <a:solidFill>
                  <a:prstClr val="black"/>
                </a:solidFill>
              </a:rPr>
              <a:t>takeaway</a:t>
            </a:r>
            <a:br>
              <a:rPr lang="en-US" sz="800" b="1" i="1" dirty="0">
                <a:solidFill>
                  <a:prstClr val="black"/>
                </a:solidFill>
              </a:rPr>
            </a:br>
            <a:r>
              <a:rPr lang="en-US" sz="800" b="1" i="1" dirty="0">
                <a:solidFill>
                  <a:prstClr val="black"/>
                </a:solidFill>
              </a:rPr>
              <a:t>/delivery only </a:t>
            </a:r>
            <a:endParaRPr lang="en-US" sz="800" b="1" i="1" dirty="0" smtClean="0">
              <a:solidFill>
                <a:prstClr val="black"/>
              </a:solidFill>
            </a:endParaRPr>
          </a:p>
          <a:p>
            <a:pPr algn="ctr" defTabSz="914400"/>
            <a:endParaRPr lang="en-US" sz="800" b="1" i="1" dirty="0" smtClean="0">
              <a:solidFill>
                <a:prstClr val="black"/>
              </a:solidFill>
            </a:endParaRPr>
          </a:p>
        </p:txBody>
      </p:sp>
      <p:sp>
        <p:nvSpPr>
          <p:cNvPr id="8" name="AutoShape 7" descr="undefined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018" y="3885000"/>
            <a:ext cx="441750" cy="230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5" name="Rectangle 190"/>
          <p:cNvSpPr/>
          <p:nvPr/>
        </p:nvSpPr>
        <p:spPr>
          <a:xfrm>
            <a:off x="2171740" y="4104974"/>
            <a:ext cx="86409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US" sz="800" b="1" i="1" dirty="0" smtClean="0">
                <a:solidFill>
                  <a:prstClr val="black"/>
                </a:solidFill>
              </a:rPr>
              <a:t>Republic of Ireland restrictions: takeaway</a:t>
            </a:r>
            <a:br>
              <a:rPr lang="en-US" sz="800" b="1" i="1" dirty="0" smtClean="0">
                <a:solidFill>
                  <a:prstClr val="black"/>
                </a:solidFill>
              </a:rPr>
            </a:br>
            <a:r>
              <a:rPr lang="en-US" sz="800" b="1" i="1" dirty="0" smtClean="0">
                <a:solidFill>
                  <a:prstClr val="black"/>
                </a:solidFill>
              </a:rPr>
              <a:t>/delivery only </a:t>
            </a:r>
          </a:p>
        </p:txBody>
      </p:sp>
      <p:sp>
        <p:nvSpPr>
          <p:cNvPr id="127" name="Text Placeholder 4"/>
          <p:cNvSpPr txBox="1">
            <a:spLocks/>
          </p:cNvSpPr>
          <p:nvPr/>
        </p:nvSpPr>
        <p:spPr>
          <a:xfrm>
            <a:off x="3118107" y="4882731"/>
            <a:ext cx="3290146" cy="237283"/>
          </a:xfrm>
          <a:prstGeom prst="rect">
            <a:avLst/>
          </a:prstGeom>
        </p:spPr>
        <p:txBody>
          <a:bodyPr/>
          <a:lstStyle>
            <a:lvl1pPr marL="341313" indent="-341313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n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575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00" b="1" i="1" dirty="0" smtClean="0">
                <a:solidFill>
                  <a:schemeClr val="bg1"/>
                </a:solidFill>
              </a:rPr>
              <a:t>Source: NPD CREST</a:t>
            </a:r>
            <a:endParaRPr lang="en-GB" sz="9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602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The Delivery market</a:t>
            </a:r>
            <a:endParaRPr lang="en-GB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3651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0" y="-2984"/>
            <a:ext cx="9144000" cy="5146484"/>
          </a:xfrm>
          <a:prstGeom prst="rect">
            <a:avLst/>
          </a:prstGeom>
          <a:gradFill flip="none" rotWithShape="1">
            <a:gsLst>
              <a:gs pos="38000">
                <a:srgbClr val="E5E5E3"/>
              </a:gs>
              <a:gs pos="0">
                <a:srgbClr val="E5E5E3">
                  <a:alpha val="0"/>
                </a:srgbClr>
              </a:gs>
              <a:gs pos="100000">
                <a:srgbClr val="E6E6E5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3074" name="Picture 2" descr="man wearing helmet standing in front of the bar counter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21" r="35251"/>
          <a:stretch/>
        </p:blipFill>
        <p:spPr bwMode="auto">
          <a:xfrm>
            <a:off x="0" y="0"/>
            <a:ext cx="2921000" cy="366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A454EE-6717-4973-901E-6A90AD009CF4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0" y="3667125"/>
            <a:ext cx="9144000" cy="147637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4300187"/>
              </p:ext>
            </p:extLst>
          </p:nvPr>
        </p:nvGraphicFramePr>
        <p:xfrm>
          <a:off x="-114300" y="3987165"/>
          <a:ext cx="9258300" cy="914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81300"/>
                <a:gridCol w="3324225"/>
                <a:gridCol w="3152775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</a:rPr>
                        <a:t>+15% </a:t>
                      </a:r>
                      <a:endParaRPr lang="en-GB" sz="24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</a:rPr>
                        <a:t>+17%</a:t>
                      </a:r>
                      <a:endParaRPr lang="en-GB" sz="24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1" dirty="0" smtClean="0">
                          <a:solidFill>
                            <a:srgbClr val="FF0000"/>
                          </a:solidFill>
                        </a:rPr>
                        <a:t>-43%</a:t>
                      </a:r>
                      <a:endParaRPr lang="en-GB" sz="24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</a:rPr>
                        <a:t>+41% </a:t>
                      </a:r>
                      <a:endParaRPr lang="en-GB" sz="24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</a:rPr>
                        <a:t>+45%</a:t>
                      </a:r>
                      <a:endParaRPr lang="en-GB" sz="24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1" dirty="0" smtClean="0">
                          <a:solidFill>
                            <a:srgbClr val="FF0000"/>
                          </a:solidFill>
                        </a:rPr>
                        <a:t>-38%</a:t>
                      </a:r>
                      <a:endParaRPr lang="en-GB" sz="24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136151" y="4084242"/>
            <a:ext cx="6399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b="1" dirty="0" smtClean="0">
                <a:solidFill>
                  <a:schemeClr val="bg1"/>
                </a:solidFill>
              </a:rPr>
              <a:t>Visits</a:t>
            </a:r>
            <a:endParaRPr lang="en-GB" sz="1600" dirty="0"/>
          </a:p>
        </p:txBody>
      </p:sp>
      <p:sp>
        <p:nvSpPr>
          <p:cNvPr id="7" name="Rectangle 6"/>
          <p:cNvSpPr/>
          <p:nvPr/>
        </p:nvSpPr>
        <p:spPr>
          <a:xfrm>
            <a:off x="97678" y="4541990"/>
            <a:ext cx="7168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</a:rPr>
              <a:t>Spend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19614" y="3667125"/>
            <a:ext cx="19507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 smtClean="0">
                <a:solidFill>
                  <a:schemeClr val="bg1"/>
                </a:solidFill>
              </a:rPr>
              <a:t>Total Delivery</a:t>
            </a:r>
            <a:endParaRPr lang="en-GB" sz="2000" b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309690" y="3667125"/>
            <a:ext cx="19507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 smtClean="0">
                <a:solidFill>
                  <a:schemeClr val="bg1"/>
                </a:solidFill>
              </a:rPr>
              <a:t>Digital Delivery</a:t>
            </a:r>
            <a:endParaRPr lang="en-GB" sz="20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235382" y="3667125"/>
            <a:ext cx="24993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 smtClean="0">
                <a:solidFill>
                  <a:schemeClr val="bg1"/>
                </a:solidFill>
              </a:rPr>
              <a:t>Total Out of Home</a:t>
            </a:r>
            <a:endParaRPr lang="en-GB" sz="2000" b="1" dirty="0">
              <a:solidFill>
                <a:schemeClr val="bg1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5986776" y="-2"/>
            <a:ext cx="1" cy="5143502"/>
          </a:xfrm>
          <a:prstGeom prst="line">
            <a:avLst/>
          </a:prstGeom>
          <a:ln w="38100" cmpd="sng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4"/>
          <p:cNvSpPr txBox="1">
            <a:spLocks/>
          </p:cNvSpPr>
          <p:nvPr/>
        </p:nvSpPr>
        <p:spPr>
          <a:xfrm>
            <a:off x="2696633" y="4906323"/>
            <a:ext cx="3290146" cy="237283"/>
          </a:xfrm>
          <a:prstGeom prst="rect">
            <a:avLst/>
          </a:prstGeom>
        </p:spPr>
        <p:txBody>
          <a:bodyPr/>
          <a:lstStyle>
            <a:lvl1pPr marL="341313" indent="-341313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n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575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87338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chemeClr val="accent3"/>
              </a:buClr>
              <a:buFont typeface="Calibri" panose="020F050202020403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440"/>
              </a:spcAft>
              <a:buClr>
                <a:srgbClr val="00A1DE"/>
              </a:buClr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900" b="1" i="1" dirty="0" smtClean="0">
                <a:solidFill>
                  <a:schemeClr val="bg1"/>
                </a:solidFill>
              </a:rPr>
              <a:t>Source: NPD CREST   YTD September 2020</a:t>
            </a:r>
            <a:endParaRPr lang="en-GB" sz="900" b="1" i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921000" y="220133"/>
            <a:ext cx="28786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 smtClean="0">
                <a:solidFill>
                  <a:schemeClr val="bg1"/>
                </a:solidFill>
              </a:rPr>
              <a:t>Year to date (Jan to Aug)</a:t>
            </a:r>
            <a:endParaRPr lang="en-GB" sz="2000" b="1" dirty="0">
              <a:solidFill>
                <a:schemeClr val="bg1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2696630" y="-8220"/>
            <a:ext cx="1" cy="5151720"/>
          </a:xfrm>
          <a:prstGeom prst="line">
            <a:avLst/>
          </a:prstGeom>
          <a:ln w="38100" cmpd="sng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076" name="Picture 4" descr="black-colored Samsung Galaxy Android smartphone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22" r="25951" b="13033"/>
          <a:stretch/>
        </p:blipFill>
        <p:spPr bwMode="auto">
          <a:xfrm>
            <a:off x="2696630" y="0"/>
            <a:ext cx="3290148" cy="366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four person earring on black wooden table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92" r="18700"/>
          <a:stretch/>
        </p:blipFill>
        <p:spPr bwMode="auto">
          <a:xfrm>
            <a:off x="5986779" y="0"/>
            <a:ext cx="3157221" cy="366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1091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iVb4LKk3O0OZz3gd42yQ"/>
</p:tagLst>
</file>

<file path=ppt/theme/theme1.xml><?xml version="1.0" encoding="utf-8"?>
<a:theme xmlns:a="http://schemas.openxmlformats.org/drawingml/2006/main" name="NPD-CorpPPT-template-widescreen">
  <a:themeElements>
    <a:clrScheme name="NPD Corporate Color Palette">
      <a:dk1>
        <a:sysClr val="windowText" lastClr="000000"/>
      </a:dk1>
      <a:lt1>
        <a:sysClr val="window" lastClr="FFFFFF"/>
      </a:lt1>
      <a:dk2>
        <a:srgbClr val="0078BE"/>
      </a:dk2>
      <a:lt2>
        <a:srgbClr val="00517D"/>
      </a:lt2>
      <a:accent1>
        <a:srgbClr val="00517D"/>
      </a:accent1>
      <a:accent2>
        <a:srgbClr val="82C341"/>
      </a:accent2>
      <a:accent3>
        <a:srgbClr val="0078BE"/>
      </a:accent3>
      <a:accent4>
        <a:srgbClr val="EC7A08"/>
      </a:accent4>
      <a:accent5>
        <a:srgbClr val="F0AB00"/>
      </a:accent5>
      <a:accent6>
        <a:srgbClr val="822433"/>
      </a:accent6>
      <a:hlink>
        <a:srgbClr val="0078BE"/>
      </a:hlink>
      <a:folHlink>
        <a:srgbClr val="00517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wrap="square" rtlCol="0" anchor="ctr">
        <a:noAutofit/>
      </a:bodyPr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2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custClrLst>
    <a:custClr name="Dark Blue">
      <a:srgbClr val="00517D"/>
    </a:custClr>
    <a:custClr name="Mid Blue">
      <a:srgbClr val="0078BE"/>
    </a:custClr>
    <a:custClr name="Green">
      <a:srgbClr val="82C341"/>
    </a:custClr>
    <a:custClr name="Dark Gray">
      <a:srgbClr val="565A5C"/>
    </a:custClr>
    <a:custClr name="Light Gray">
      <a:srgbClr val="8E908F"/>
    </a:custClr>
    <a:custClr name="Orange">
      <a:srgbClr val="EC7A08"/>
    </a:custClr>
    <a:custClr name="Gold">
      <a:srgbClr val="F0AB00"/>
    </a:custClr>
    <a:custClr name="Plum">
      <a:srgbClr val="822433"/>
    </a:custClr>
  </a:custClrLst>
</a:theme>
</file>

<file path=ppt/theme/theme10.xml><?xml version="1.0" encoding="utf-8"?>
<a:theme xmlns:a="http://schemas.openxmlformats.org/drawingml/2006/main" name="8_NPD-CorpPPT-template-widescreen">
  <a:themeElements>
    <a:clrScheme name="NPD Corporate Color Palette">
      <a:dk1>
        <a:sysClr val="windowText" lastClr="000000"/>
      </a:dk1>
      <a:lt1>
        <a:sysClr val="window" lastClr="FFFFFF"/>
      </a:lt1>
      <a:dk2>
        <a:srgbClr val="0078BE"/>
      </a:dk2>
      <a:lt2>
        <a:srgbClr val="00517D"/>
      </a:lt2>
      <a:accent1>
        <a:srgbClr val="00517D"/>
      </a:accent1>
      <a:accent2>
        <a:srgbClr val="82C341"/>
      </a:accent2>
      <a:accent3>
        <a:srgbClr val="0078BE"/>
      </a:accent3>
      <a:accent4>
        <a:srgbClr val="EC7A08"/>
      </a:accent4>
      <a:accent5>
        <a:srgbClr val="F0AB00"/>
      </a:accent5>
      <a:accent6>
        <a:srgbClr val="822433"/>
      </a:accent6>
      <a:hlink>
        <a:srgbClr val="0078BE"/>
      </a:hlink>
      <a:folHlink>
        <a:srgbClr val="00517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wrap="square" rtlCol="0" anchor="ctr">
        <a:noAutofit/>
      </a:bodyPr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2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custClrLst>
    <a:custClr name="Dark Blue">
      <a:srgbClr val="00517D"/>
    </a:custClr>
    <a:custClr name="Mid Blue">
      <a:srgbClr val="0078BE"/>
    </a:custClr>
    <a:custClr name="Green">
      <a:srgbClr val="82C341"/>
    </a:custClr>
    <a:custClr name="Dark Gray">
      <a:srgbClr val="565A5C"/>
    </a:custClr>
    <a:custClr name="Light Gray">
      <a:srgbClr val="8E908F"/>
    </a:custClr>
    <a:custClr name="Orange">
      <a:srgbClr val="EC7A08"/>
    </a:custClr>
    <a:custClr name="Gold">
      <a:srgbClr val="F0AB00"/>
    </a:custClr>
    <a:custClr name="Plum">
      <a:srgbClr val="822433"/>
    </a:custClr>
  </a:custClrLst>
</a:theme>
</file>

<file path=ppt/theme/theme11.xml><?xml version="1.0" encoding="utf-8"?>
<a:theme xmlns:a="http://schemas.openxmlformats.org/drawingml/2006/main" name="9_NPD-CorpPPT-template-widescreen">
  <a:themeElements>
    <a:clrScheme name="NPD Corporate Color Palette">
      <a:dk1>
        <a:sysClr val="windowText" lastClr="000000"/>
      </a:dk1>
      <a:lt1>
        <a:sysClr val="window" lastClr="FFFFFF"/>
      </a:lt1>
      <a:dk2>
        <a:srgbClr val="0078BE"/>
      </a:dk2>
      <a:lt2>
        <a:srgbClr val="00517D"/>
      </a:lt2>
      <a:accent1>
        <a:srgbClr val="00517D"/>
      </a:accent1>
      <a:accent2>
        <a:srgbClr val="82C341"/>
      </a:accent2>
      <a:accent3>
        <a:srgbClr val="0078BE"/>
      </a:accent3>
      <a:accent4>
        <a:srgbClr val="EC7A08"/>
      </a:accent4>
      <a:accent5>
        <a:srgbClr val="F0AB00"/>
      </a:accent5>
      <a:accent6>
        <a:srgbClr val="822433"/>
      </a:accent6>
      <a:hlink>
        <a:srgbClr val="0078BE"/>
      </a:hlink>
      <a:folHlink>
        <a:srgbClr val="00517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wrap="square" rtlCol="0" anchor="ctr">
        <a:noAutofit/>
      </a:bodyPr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2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custClrLst>
    <a:custClr name="Dark Blue">
      <a:srgbClr val="00517D"/>
    </a:custClr>
    <a:custClr name="Mid Blue">
      <a:srgbClr val="0078BE"/>
    </a:custClr>
    <a:custClr name="Green">
      <a:srgbClr val="82C341"/>
    </a:custClr>
    <a:custClr name="Dark Gray">
      <a:srgbClr val="565A5C"/>
    </a:custClr>
    <a:custClr name="Light Gray">
      <a:srgbClr val="8E908F"/>
    </a:custClr>
    <a:custClr name="Orange">
      <a:srgbClr val="EC7A08"/>
    </a:custClr>
    <a:custClr name="Gold">
      <a:srgbClr val="F0AB00"/>
    </a:custClr>
    <a:custClr name="Plum">
      <a:srgbClr val="822433"/>
    </a:custClr>
  </a:custClrLst>
</a:theme>
</file>

<file path=ppt/theme/theme12.xml><?xml version="1.0" encoding="utf-8"?>
<a:theme xmlns:a="http://schemas.openxmlformats.org/drawingml/2006/main" name="10_NPD-CorpPPT-template-widescreen">
  <a:themeElements>
    <a:clrScheme name="NPD Corporate Color Palette">
      <a:dk1>
        <a:sysClr val="windowText" lastClr="000000"/>
      </a:dk1>
      <a:lt1>
        <a:sysClr val="window" lastClr="FFFFFF"/>
      </a:lt1>
      <a:dk2>
        <a:srgbClr val="0078BE"/>
      </a:dk2>
      <a:lt2>
        <a:srgbClr val="00517D"/>
      </a:lt2>
      <a:accent1>
        <a:srgbClr val="00517D"/>
      </a:accent1>
      <a:accent2>
        <a:srgbClr val="82C341"/>
      </a:accent2>
      <a:accent3>
        <a:srgbClr val="0078BE"/>
      </a:accent3>
      <a:accent4>
        <a:srgbClr val="EC7A08"/>
      </a:accent4>
      <a:accent5>
        <a:srgbClr val="F0AB00"/>
      </a:accent5>
      <a:accent6>
        <a:srgbClr val="822433"/>
      </a:accent6>
      <a:hlink>
        <a:srgbClr val="0078BE"/>
      </a:hlink>
      <a:folHlink>
        <a:srgbClr val="00517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wrap="square" rtlCol="0" anchor="ctr">
        <a:noAutofit/>
      </a:bodyPr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2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custClrLst>
    <a:custClr name="Dark Blue">
      <a:srgbClr val="00517D"/>
    </a:custClr>
    <a:custClr name="Mid Blue">
      <a:srgbClr val="0078BE"/>
    </a:custClr>
    <a:custClr name="Green">
      <a:srgbClr val="82C341"/>
    </a:custClr>
    <a:custClr name="Dark Gray">
      <a:srgbClr val="565A5C"/>
    </a:custClr>
    <a:custClr name="Light Gray">
      <a:srgbClr val="8E908F"/>
    </a:custClr>
    <a:custClr name="Orange">
      <a:srgbClr val="EC7A08"/>
    </a:custClr>
    <a:custClr name="Gold">
      <a:srgbClr val="F0AB00"/>
    </a:custClr>
    <a:custClr name="Plum">
      <a:srgbClr val="822433"/>
    </a:custClr>
  </a:custClrLst>
</a:theme>
</file>

<file path=ppt/theme/theme13.xml><?xml version="1.0" encoding="utf-8"?>
<a:theme xmlns:a="http://schemas.openxmlformats.org/drawingml/2006/main" name="11_NPD-CorpPPT-template-widescreen">
  <a:themeElements>
    <a:clrScheme name="NPD Corporate Color Palette">
      <a:dk1>
        <a:sysClr val="windowText" lastClr="000000"/>
      </a:dk1>
      <a:lt1>
        <a:sysClr val="window" lastClr="FFFFFF"/>
      </a:lt1>
      <a:dk2>
        <a:srgbClr val="0078BE"/>
      </a:dk2>
      <a:lt2>
        <a:srgbClr val="00517D"/>
      </a:lt2>
      <a:accent1>
        <a:srgbClr val="00517D"/>
      </a:accent1>
      <a:accent2>
        <a:srgbClr val="82C341"/>
      </a:accent2>
      <a:accent3>
        <a:srgbClr val="0078BE"/>
      </a:accent3>
      <a:accent4>
        <a:srgbClr val="EC7A08"/>
      </a:accent4>
      <a:accent5>
        <a:srgbClr val="F0AB00"/>
      </a:accent5>
      <a:accent6>
        <a:srgbClr val="822433"/>
      </a:accent6>
      <a:hlink>
        <a:srgbClr val="0078BE"/>
      </a:hlink>
      <a:folHlink>
        <a:srgbClr val="00517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wrap="square" rtlCol="0" anchor="ctr">
        <a:noAutofit/>
      </a:bodyPr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2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custClrLst>
    <a:custClr name="Dark Blue">
      <a:srgbClr val="00517D"/>
    </a:custClr>
    <a:custClr name="Mid Blue">
      <a:srgbClr val="0078BE"/>
    </a:custClr>
    <a:custClr name="Green">
      <a:srgbClr val="82C341"/>
    </a:custClr>
    <a:custClr name="Dark Gray">
      <a:srgbClr val="565A5C"/>
    </a:custClr>
    <a:custClr name="Light Gray">
      <a:srgbClr val="8E908F"/>
    </a:custClr>
    <a:custClr name="Orange">
      <a:srgbClr val="EC7A08"/>
    </a:custClr>
    <a:custClr name="Gold">
      <a:srgbClr val="F0AB00"/>
    </a:custClr>
    <a:custClr name="Plum">
      <a:srgbClr val="822433"/>
    </a:custClr>
  </a:custClr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s Slide Master">
  <a:themeElements>
    <a:clrScheme name="coffe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06850"/>
      </a:accent1>
      <a:accent2>
        <a:srgbClr val="BA6030"/>
      </a:accent2>
      <a:accent3>
        <a:srgbClr val="843C1A"/>
      </a:accent3>
      <a:accent4>
        <a:srgbClr val="8C221E"/>
      </a:accent4>
      <a:accent5>
        <a:srgbClr val="3F3F3F"/>
      </a:accent5>
      <a:accent6>
        <a:srgbClr val="0C0C0C"/>
      </a:accent6>
      <a:hlink>
        <a:srgbClr val="421E0C"/>
      </a:hlink>
      <a:folHlink>
        <a:srgbClr val="421E0C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NPD-CorpPPT-template-widescreen">
  <a:themeElements>
    <a:clrScheme name="NPD Corporate Color Palette">
      <a:dk1>
        <a:sysClr val="windowText" lastClr="000000"/>
      </a:dk1>
      <a:lt1>
        <a:sysClr val="window" lastClr="FFFFFF"/>
      </a:lt1>
      <a:dk2>
        <a:srgbClr val="0078BE"/>
      </a:dk2>
      <a:lt2>
        <a:srgbClr val="00517D"/>
      </a:lt2>
      <a:accent1>
        <a:srgbClr val="00517D"/>
      </a:accent1>
      <a:accent2>
        <a:srgbClr val="82C341"/>
      </a:accent2>
      <a:accent3>
        <a:srgbClr val="0078BE"/>
      </a:accent3>
      <a:accent4>
        <a:srgbClr val="EC7A08"/>
      </a:accent4>
      <a:accent5>
        <a:srgbClr val="F0AB00"/>
      </a:accent5>
      <a:accent6>
        <a:srgbClr val="822433"/>
      </a:accent6>
      <a:hlink>
        <a:srgbClr val="0078BE"/>
      </a:hlink>
      <a:folHlink>
        <a:srgbClr val="00517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wrap="square" rtlCol="0" anchor="ctr">
        <a:noAutofit/>
      </a:bodyPr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2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custClrLst>
    <a:custClr name="Dark Blue">
      <a:srgbClr val="00517D"/>
    </a:custClr>
    <a:custClr name="Mid Blue">
      <a:srgbClr val="0078BE"/>
    </a:custClr>
    <a:custClr name="Green">
      <a:srgbClr val="82C341"/>
    </a:custClr>
    <a:custClr name="Dark Gray">
      <a:srgbClr val="565A5C"/>
    </a:custClr>
    <a:custClr name="Light Gray">
      <a:srgbClr val="8E908F"/>
    </a:custClr>
    <a:custClr name="Orange">
      <a:srgbClr val="EC7A08"/>
    </a:custClr>
    <a:custClr name="Gold">
      <a:srgbClr val="F0AB00"/>
    </a:custClr>
    <a:custClr name="Plum">
      <a:srgbClr val="822433"/>
    </a:custClr>
  </a:custClrLst>
</a:theme>
</file>

<file path=ppt/theme/theme4.xml><?xml version="1.0" encoding="utf-8"?>
<a:theme xmlns:a="http://schemas.openxmlformats.org/drawingml/2006/main" name="2_NPD-CorpPPT-template-widescreen">
  <a:themeElements>
    <a:clrScheme name="NPD Corporate Color Palette">
      <a:dk1>
        <a:sysClr val="windowText" lastClr="000000"/>
      </a:dk1>
      <a:lt1>
        <a:sysClr val="window" lastClr="FFFFFF"/>
      </a:lt1>
      <a:dk2>
        <a:srgbClr val="0078BE"/>
      </a:dk2>
      <a:lt2>
        <a:srgbClr val="00517D"/>
      </a:lt2>
      <a:accent1>
        <a:srgbClr val="00517D"/>
      </a:accent1>
      <a:accent2>
        <a:srgbClr val="82C341"/>
      </a:accent2>
      <a:accent3>
        <a:srgbClr val="0078BE"/>
      </a:accent3>
      <a:accent4>
        <a:srgbClr val="EC7A08"/>
      </a:accent4>
      <a:accent5>
        <a:srgbClr val="F0AB00"/>
      </a:accent5>
      <a:accent6>
        <a:srgbClr val="822433"/>
      </a:accent6>
      <a:hlink>
        <a:srgbClr val="0078BE"/>
      </a:hlink>
      <a:folHlink>
        <a:srgbClr val="00517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wrap="square" rtlCol="0" anchor="ctr">
        <a:noAutofit/>
      </a:bodyPr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2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custClrLst>
    <a:custClr name="Dark Blue">
      <a:srgbClr val="00517D"/>
    </a:custClr>
    <a:custClr name="Mid Blue">
      <a:srgbClr val="0078BE"/>
    </a:custClr>
    <a:custClr name="Green">
      <a:srgbClr val="82C341"/>
    </a:custClr>
    <a:custClr name="Dark Gray">
      <a:srgbClr val="565A5C"/>
    </a:custClr>
    <a:custClr name="Light Gray">
      <a:srgbClr val="8E908F"/>
    </a:custClr>
    <a:custClr name="Orange">
      <a:srgbClr val="EC7A08"/>
    </a:custClr>
    <a:custClr name="Gold">
      <a:srgbClr val="F0AB00"/>
    </a:custClr>
    <a:custClr name="Plum">
      <a:srgbClr val="822433"/>
    </a:custClr>
  </a:custClrLst>
</a:theme>
</file>

<file path=ppt/theme/theme5.xml><?xml version="1.0" encoding="utf-8"?>
<a:theme xmlns:a="http://schemas.openxmlformats.org/drawingml/2006/main" name="3_NPD-CorpPPT-template-widescreen">
  <a:themeElements>
    <a:clrScheme name="NPD Corporate Color Palette">
      <a:dk1>
        <a:sysClr val="windowText" lastClr="000000"/>
      </a:dk1>
      <a:lt1>
        <a:sysClr val="window" lastClr="FFFFFF"/>
      </a:lt1>
      <a:dk2>
        <a:srgbClr val="0078BE"/>
      </a:dk2>
      <a:lt2>
        <a:srgbClr val="00517D"/>
      </a:lt2>
      <a:accent1>
        <a:srgbClr val="00517D"/>
      </a:accent1>
      <a:accent2>
        <a:srgbClr val="82C341"/>
      </a:accent2>
      <a:accent3>
        <a:srgbClr val="0078BE"/>
      </a:accent3>
      <a:accent4>
        <a:srgbClr val="EC7A08"/>
      </a:accent4>
      <a:accent5>
        <a:srgbClr val="F0AB00"/>
      </a:accent5>
      <a:accent6>
        <a:srgbClr val="822433"/>
      </a:accent6>
      <a:hlink>
        <a:srgbClr val="0078BE"/>
      </a:hlink>
      <a:folHlink>
        <a:srgbClr val="00517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wrap="square" rtlCol="0" anchor="ctr">
        <a:noAutofit/>
      </a:bodyPr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2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custClrLst>
    <a:custClr name="Dark Blue">
      <a:srgbClr val="00517D"/>
    </a:custClr>
    <a:custClr name="Mid Blue">
      <a:srgbClr val="0078BE"/>
    </a:custClr>
    <a:custClr name="Green">
      <a:srgbClr val="82C341"/>
    </a:custClr>
    <a:custClr name="Dark Gray">
      <a:srgbClr val="565A5C"/>
    </a:custClr>
    <a:custClr name="Light Gray">
      <a:srgbClr val="8E908F"/>
    </a:custClr>
    <a:custClr name="Orange">
      <a:srgbClr val="EC7A08"/>
    </a:custClr>
    <a:custClr name="Gold">
      <a:srgbClr val="F0AB00"/>
    </a:custClr>
    <a:custClr name="Plum">
      <a:srgbClr val="822433"/>
    </a:custClr>
  </a:custClrLst>
</a:theme>
</file>

<file path=ppt/theme/theme6.xml><?xml version="1.0" encoding="utf-8"?>
<a:theme xmlns:a="http://schemas.openxmlformats.org/drawingml/2006/main" name="4_NPD-CorpPPT-template-widescreen">
  <a:themeElements>
    <a:clrScheme name="NPD Corporate Color Palette">
      <a:dk1>
        <a:sysClr val="windowText" lastClr="000000"/>
      </a:dk1>
      <a:lt1>
        <a:sysClr val="window" lastClr="FFFFFF"/>
      </a:lt1>
      <a:dk2>
        <a:srgbClr val="0078BE"/>
      </a:dk2>
      <a:lt2>
        <a:srgbClr val="00517D"/>
      </a:lt2>
      <a:accent1>
        <a:srgbClr val="00517D"/>
      </a:accent1>
      <a:accent2>
        <a:srgbClr val="82C341"/>
      </a:accent2>
      <a:accent3>
        <a:srgbClr val="0078BE"/>
      </a:accent3>
      <a:accent4>
        <a:srgbClr val="EC7A08"/>
      </a:accent4>
      <a:accent5>
        <a:srgbClr val="F0AB00"/>
      </a:accent5>
      <a:accent6>
        <a:srgbClr val="822433"/>
      </a:accent6>
      <a:hlink>
        <a:srgbClr val="0078BE"/>
      </a:hlink>
      <a:folHlink>
        <a:srgbClr val="00517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wrap="square" rtlCol="0" anchor="ctr">
        <a:noAutofit/>
      </a:bodyPr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2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custClrLst>
    <a:custClr name="Dark Blue">
      <a:srgbClr val="00517D"/>
    </a:custClr>
    <a:custClr name="Mid Blue">
      <a:srgbClr val="0078BE"/>
    </a:custClr>
    <a:custClr name="Green">
      <a:srgbClr val="82C341"/>
    </a:custClr>
    <a:custClr name="Dark Gray">
      <a:srgbClr val="565A5C"/>
    </a:custClr>
    <a:custClr name="Light Gray">
      <a:srgbClr val="8E908F"/>
    </a:custClr>
    <a:custClr name="Orange">
      <a:srgbClr val="EC7A08"/>
    </a:custClr>
    <a:custClr name="Gold">
      <a:srgbClr val="F0AB00"/>
    </a:custClr>
    <a:custClr name="Plum">
      <a:srgbClr val="822433"/>
    </a:custClr>
  </a:custClrLst>
</a:theme>
</file>

<file path=ppt/theme/theme7.xml><?xml version="1.0" encoding="utf-8"?>
<a:theme xmlns:a="http://schemas.openxmlformats.org/drawingml/2006/main" name="5_NPD-CorpPPT-template-widescreen">
  <a:themeElements>
    <a:clrScheme name="NPD Corporate Color Palette">
      <a:dk1>
        <a:sysClr val="windowText" lastClr="000000"/>
      </a:dk1>
      <a:lt1>
        <a:sysClr val="window" lastClr="FFFFFF"/>
      </a:lt1>
      <a:dk2>
        <a:srgbClr val="0078BE"/>
      </a:dk2>
      <a:lt2>
        <a:srgbClr val="00517D"/>
      </a:lt2>
      <a:accent1>
        <a:srgbClr val="00517D"/>
      </a:accent1>
      <a:accent2>
        <a:srgbClr val="82C341"/>
      </a:accent2>
      <a:accent3>
        <a:srgbClr val="0078BE"/>
      </a:accent3>
      <a:accent4>
        <a:srgbClr val="EC7A08"/>
      </a:accent4>
      <a:accent5>
        <a:srgbClr val="F0AB00"/>
      </a:accent5>
      <a:accent6>
        <a:srgbClr val="822433"/>
      </a:accent6>
      <a:hlink>
        <a:srgbClr val="0078BE"/>
      </a:hlink>
      <a:folHlink>
        <a:srgbClr val="00517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wrap="square" rtlCol="0" anchor="ctr">
        <a:noAutofit/>
      </a:bodyPr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2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custClrLst>
    <a:custClr name="Dark Blue">
      <a:srgbClr val="00517D"/>
    </a:custClr>
    <a:custClr name="Mid Blue">
      <a:srgbClr val="0078BE"/>
    </a:custClr>
    <a:custClr name="Green">
      <a:srgbClr val="82C341"/>
    </a:custClr>
    <a:custClr name="Dark Gray">
      <a:srgbClr val="565A5C"/>
    </a:custClr>
    <a:custClr name="Light Gray">
      <a:srgbClr val="8E908F"/>
    </a:custClr>
    <a:custClr name="Orange">
      <a:srgbClr val="EC7A08"/>
    </a:custClr>
    <a:custClr name="Gold">
      <a:srgbClr val="F0AB00"/>
    </a:custClr>
    <a:custClr name="Plum">
      <a:srgbClr val="822433"/>
    </a:custClr>
  </a:custClrLst>
</a:theme>
</file>

<file path=ppt/theme/theme8.xml><?xml version="1.0" encoding="utf-8"?>
<a:theme xmlns:a="http://schemas.openxmlformats.org/drawingml/2006/main" name="6_NPD-CorpPPT-template-widescreen">
  <a:themeElements>
    <a:clrScheme name="NPD Corporate Color Palette">
      <a:dk1>
        <a:sysClr val="windowText" lastClr="000000"/>
      </a:dk1>
      <a:lt1>
        <a:sysClr val="window" lastClr="FFFFFF"/>
      </a:lt1>
      <a:dk2>
        <a:srgbClr val="0078BE"/>
      </a:dk2>
      <a:lt2>
        <a:srgbClr val="00517D"/>
      </a:lt2>
      <a:accent1>
        <a:srgbClr val="00517D"/>
      </a:accent1>
      <a:accent2>
        <a:srgbClr val="82C341"/>
      </a:accent2>
      <a:accent3>
        <a:srgbClr val="0078BE"/>
      </a:accent3>
      <a:accent4>
        <a:srgbClr val="EC7A08"/>
      </a:accent4>
      <a:accent5>
        <a:srgbClr val="F0AB00"/>
      </a:accent5>
      <a:accent6>
        <a:srgbClr val="822433"/>
      </a:accent6>
      <a:hlink>
        <a:srgbClr val="0078BE"/>
      </a:hlink>
      <a:folHlink>
        <a:srgbClr val="00517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wrap="square" rtlCol="0" anchor="ctr">
        <a:noAutofit/>
      </a:bodyPr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2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custClrLst>
    <a:custClr name="Dark Blue">
      <a:srgbClr val="00517D"/>
    </a:custClr>
    <a:custClr name="Mid Blue">
      <a:srgbClr val="0078BE"/>
    </a:custClr>
    <a:custClr name="Green">
      <a:srgbClr val="82C341"/>
    </a:custClr>
    <a:custClr name="Dark Gray">
      <a:srgbClr val="565A5C"/>
    </a:custClr>
    <a:custClr name="Light Gray">
      <a:srgbClr val="8E908F"/>
    </a:custClr>
    <a:custClr name="Orange">
      <a:srgbClr val="EC7A08"/>
    </a:custClr>
    <a:custClr name="Gold">
      <a:srgbClr val="F0AB00"/>
    </a:custClr>
    <a:custClr name="Plum">
      <a:srgbClr val="822433"/>
    </a:custClr>
  </a:custClrLst>
</a:theme>
</file>

<file path=ppt/theme/theme9.xml><?xml version="1.0" encoding="utf-8"?>
<a:theme xmlns:a="http://schemas.openxmlformats.org/drawingml/2006/main" name="7_NPD-CorpPPT-template-widescreen">
  <a:themeElements>
    <a:clrScheme name="NPD Corporate Color Palette">
      <a:dk1>
        <a:sysClr val="windowText" lastClr="000000"/>
      </a:dk1>
      <a:lt1>
        <a:sysClr val="window" lastClr="FFFFFF"/>
      </a:lt1>
      <a:dk2>
        <a:srgbClr val="0078BE"/>
      </a:dk2>
      <a:lt2>
        <a:srgbClr val="00517D"/>
      </a:lt2>
      <a:accent1>
        <a:srgbClr val="00517D"/>
      </a:accent1>
      <a:accent2>
        <a:srgbClr val="82C341"/>
      </a:accent2>
      <a:accent3>
        <a:srgbClr val="0078BE"/>
      </a:accent3>
      <a:accent4>
        <a:srgbClr val="EC7A08"/>
      </a:accent4>
      <a:accent5>
        <a:srgbClr val="F0AB00"/>
      </a:accent5>
      <a:accent6>
        <a:srgbClr val="822433"/>
      </a:accent6>
      <a:hlink>
        <a:srgbClr val="0078BE"/>
      </a:hlink>
      <a:folHlink>
        <a:srgbClr val="00517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wrap="square" rtlCol="0" anchor="ctr">
        <a:noAutofit/>
      </a:bodyPr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2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custClrLst>
    <a:custClr name="Dark Blue">
      <a:srgbClr val="00517D"/>
    </a:custClr>
    <a:custClr name="Mid Blue">
      <a:srgbClr val="0078BE"/>
    </a:custClr>
    <a:custClr name="Green">
      <a:srgbClr val="82C341"/>
    </a:custClr>
    <a:custClr name="Dark Gray">
      <a:srgbClr val="565A5C"/>
    </a:custClr>
    <a:custClr name="Light Gray">
      <a:srgbClr val="8E908F"/>
    </a:custClr>
    <a:custClr name="Orange">
      <a:srgbClr val="EC7A08"/>
    </a:custClr>
    <a:custClr name="Gold">
      <a:srgbClr val="F0AB00"/>
    </a:custClr>
    <a:custClr name="Plum">
      <a:srgbClr val="822433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Market Data Document" ma:contentTypeID="0x010100FBC0F8BFD01A91498CA7837A71EEDFDB02005AE5335FCC83EB48B1308B6A764FBC1C" ma:contentTypeVersion="27" ma:contentTypeDescription="Market Data Document Content Type" ma:contentTypeScope="" ma:versionID="da108508dc232e68c3eb0da7c7f570e3">
  <xsd:schema xmlns:xsd="http://www.w3.org/2001/XMLSchema" xmlns:xs="http://www.w3.org/2001/XMLSchema" xmlns:p="http://schemas.microsoft.com/office/2006/metadata/properties" xmlns:ns2="cebd32e3-9ab6-41ee-b1af-b8405a8d4e68" xmlns:ns3="f1844da6-a929-4072-a9ab-fc72a86c7633" targetNamespace="http://schemas.microsoft.com/office/2006/metadata/properties" ma:root="true" ma:fieldsID="0d9debfe9803182ce6077bd70346052f" ns2:_="" ns3:_="">
    <xsd:import namespace="cebd32e3-9ab6-41ee-b1af-b8405a8d4e68"/>
    <xsd:import namespace="f1844da6-a929-4072-a9ab-fc72a86c7633"/>
    <xsd:element name="properties">
      <xsd:complexType>
        <xsd:sequence>
          <xsd:element name="documentManagement">
            <xsd:complexType>
              <xsd:all>
                <xsd:element ref="ns2:DocumentSummary" minOccurs="0"/>
                <xsd:element ref="ns2:DocumentSource" minOccurs="0"/>
                <xsd:element ref="ns2:DocumentTopic" minOccurs="0"/>
                <xsd:element ref="ns2:PublicationDate" minOccurs="0"/>
                <xsd:element ref="ns2:FreeTextDate" minOccurs="0"/>
                <xsd:element ref="ns2:ContentStartDate" minOccurs="0"/>
                <xsd:element ref="ns2:ContentEndDate" minOccurs="0"/>
                <xsd:element ref="ns2:DocumentAdded" minOccurs="0"/>
                <xsd:element ref="ns2:DocumentStatus" minOccurs="0"/>
                <xsd:element ref="ns2:j7c1b49d505545c2a69692ae734740bd" minOccurs="0"/>
                <xsd:element ref="ns2:TaxCatchAll" minOccurs="0"/>
                <xsd:element ref="ns2:TaxCatchAllLabel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bd32e3-9ab6-41ee-b1af-b8405a8d4e68" elementFormDefault="qualified">
    <xsd:import namespace="http://schemas.microsoft.com/office/2006/documentManagement/types"/>
    <xsd:import namespace="http://schemas.microsoft.com/office/infopath/2007/PartnerControls"/>
    <xsd:element name="DocumentSummary" ma:index="3" nillable="true" ma:displayName="Summary" ma:internalName="DocumentSummary" ma:readOnly="false">
      <xsd:simpleType>
        <xsd:restriction base="dms:Note">
          <xsd:maxLength value="255"/>
        </xsd:restriction>
      </xsd:simpleType>
    </xsd:element>
    <xsd:element name="DocumentSource" ma:index="5" nillable="true" ma:displayName="Source" ma:format="Dropdown" ma:internalName="DocumentSource">
      <xsd:simpleType>
        <xsd:restriction base="dms:Choice">
          <xsd:enumeration value="Globefish"/>
          <xsd:enumeration value="HMRC via BTS"/>
          <xsd:enumeration value="IGD"/>
          <xsd:enumeration value="MMO"/>
          <xsd:enumeration value="Kantar"/>
          <xsd:enumeration value="NielsenIQ"/>
          <xsd:enumeration value="Circana"/>
          <xsd:enumeration value="Seafish"/>
          <xsd:enumeration value="Technomic"/>
        </xsd:restriction>
      </xsd:simpleType>
    </xsd:element>
    <xsd:element name="DocumentTopic" ma:index="6" nillable="true" ma:displayName="Topic" ma:default="" ma:internalName="DocumentTopic" ma:readOnly="fals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Technical Report"/>
                    <xsd:enumeration value="Factsheet/Datasheet"/>
                    <xsd:enumeration value="Corporate Document"/>
                    <xsd:enumeration value="Guidelines"/>
                    <xsd:enumeration value="Marine Survey"/>
                    <xsd:enumeration value="Training Material"/>
                    <xsd:enumeration value="Careers"/>
                    <xsd:enumeration value="Economics and Business"/>
                    <xsd:enumeration value="Aquaculture"/>
                    <xsd:enumeration value="IPF Final Reports"/>
                    <xsd:enumeration value="Other"/>
                    <xsd:enumeration value="Not known"/>
                    <xsd:enumeration value="Internal Seafish Report"/>
                    <xsd:enumeration value="Confidential Seafish Report"/>
                    <xsd:enumeration value="Seafood Guide"/>
                    <xsd:enumeration value=".Web-About Seafish"/>
                    <xsd:enumeration value=".Web-Changing Landscapes"/>
                    <xsd:enumeration value=".Web-Promoting Seafood"/>
                    <xsd:enumeration value=".Web-Responsible Sourcing"/>
                    <xsd:enumeration value=".Web-Safety and Training"/>
                    <xsd:enumeration value=".Web-Insight and Research"/>
                  </xsd:restriction>
                </xsd:simpleType>
              </xsd:element>
            </xsd:sequence>
          </xsd:extension>
        </xsd:complexContent>
      </xsd:complexType>
    </xsd:element>
    <xsd:element name="PublicationDate" ma:index="7" nillable="true" ma:displayName="Publication Date" ma:format="DateOnly" ma:indexed="true" ma:internalName="PublicationDate">
      <xsd:simpleType>
        <xsd:restriction base="dms:DateTime"/>
      </xsd:simpleType>
    </xsd:element>
    <xsd:element name="FreeTextDate" ma:index="8" nillable="true" ma:displayName="Free Text Date" ma:internalName="FreeTextDate" ma:readOnly="false">
      <xsd:simpleType>
        <xsd:restriction base="dms:Text"/>
      </xsd:simpleType>
    </xsd:element>
    <xsd:element name="ContentStartDate" ma:index="9" nillable="true" ma:displayName="Content Start Date" ma:format="DateOnly" ma:internalName="ContentStartDate" ma:readOnly="false">
      <xsd:simpleType>
        <xsd:restriction base="dms:DateTime"/>
      </xsd:simpleType>
    </xsd:element>
    <xsd:element name="ContentEndDate" ma:index="10" nillable="true" ma:displayName="Content End Date" ma:format="DateOnly" ma:internalName="ContentEndDate" ma:readOnly="false">
      <xsd:simpleType>
        <xsd:restriction base="dms:DateTime"/>
      </xsd:simpleType>
    </xsd:element>
    <xsd:element name="DocumentAdded" ma:index="11" nillable="true" ma:displayName="Added" ma:format="DateOnly" ma:indexed="true" ma:internalName="DocumentAdded">
      <xsd:simpleType>
        <xsd:restriction base="dms:DateTime"/>
      </xsd:simpleType>
    </xsd:element>
    <xsd:element name="DocumentStatus" ma:index="12" nillable="true" ma:displayName="Document Status" ma:default="Unpublished" ma:format="Dropdown" ma:indexed="true" ma:internalName="DocumentStatus" ma:readOnly="false">
      <xsd:simpleType>
        <xsd:restriction base="dms:Choice">
          <xsd:enumeration value="Deleted"/>
          <xsd:enumeration value="Unpublished"/>
          <xsd:enumeration value="Published"/>
          <xsd:enumeration value="Archived"/>
        </xsd:restriction>
      </xsd:simpleType>
    </xsd:element>
    <xsd:element name="j7c1b49d505545c2a69692ae734740bd" ma:index="18" ma:taxonomy="true" ma:internalName="j7c1b49d505545c2a69692ae734740bd" ma:taxonomyFieldName="Market_x0020_Data_x0020_Document_x0020_Path" ma:displayName="Market Data Document Path" ma:indexed="true" ma:readOnly="false" ma:default="" ma:fieldId="{37c1b49d-5055-45c2-a696-92ae734740bd}" ma:sspId="63fa3ede-d9eb-4891-98d7-32cb363d3ca5" ma:termSetId="907aca91-42f0-4171-9a43-f9786420f34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9" nillable="true" ma:displayName="Taxonomy Catch All Column" ma:hidden="true" ma:list="{5e028737-9680-4a7e-bfb2-5cfc569abfd5}" ma:internalName="TaxCatchAll" ma:readOnly="false" ma:showField="CatchAllData" ma:web="cebd32e3-9ab6-41ee-b1af-b8405a8d4e6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20" nillable="true" ma:displayName="Taxonomy Catch All Column1" ma:hidden="true" ma:list="{5e028737-9680-4a7e-bfb2-5cfc569abfd5}" ma:internalName="TaxCatchAllLabel" ma:readOnly="false" ma:showField="CatchAllDataLabel" ma:web="cebd32e3-9ab6-41ee-b1af-b8405a8d4e6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844da6-a929-4072-a9ab-fc72a86c763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4" nillable="true" ma:displayName="Tags" ma:hidden="true" ma:internalName="MediaServiceAutoTags" ma:readOnly="true">
      <xsd:simpleType>
        <xsd:restriction base="dms:Text"/>
      </xsd:simpleType>
    </xsd:element>
    <xsd:element name="MediaServiceOCR" ma:index="25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2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9" nillable="true" ma:displayName="KeyPoints" ma:hidden="true" ma:internalName="MediaServiceKeyPoints" ma:readOnly="true">
      <xsd:simpleType>
        <xsd:restriction base="dms:Note"/>
      </xsd:simpleType>
    </xsd:element>
    <xsd:element name="MediaServiceDateTaken" ma:index="3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3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3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Topic xmlns="cebd32e3-9ab6-41ee-b1af-b8405a8d4e68" xsi:nil="true"/>
    <FreeTextDate xmlns="cebd32e3-9ab6-41ee-b1af-b8405a8d4e68" xsi:nil="true"/>
    <DocumentStatus xmlns="cebd32e3-9ab6-41ee-b1af-b8405a8d4e68">Published</DocumentStatus>
    <ContentEndDate xmlns="cebd32e3-9ab6-41ee-b1af-b8405a8d4e68" xsi:nil="true"/>
    <DocumentSource xmlns="cebd32e3-9ab6-41ee-b1af-b8405a8d4e68">NPD</DocumentSource>
    <PublicationDate xmlns="cebd32e3-9ab6-41ee-b1af-b8405a8d4e68">2020-11-30T00:00:00+00:00</PublicationDate>
    <DocumentAdded xmlns="cebd32e3-9ab6-41ee-b1af-b8405a8d4e68" xsi:nil="true"/>
    <TaxCatchAll xmlns="cebd32e3-9ab6-41ee-b1af-b8405a8d4e68">
      <Value>590</Value>
    </TaxCatchAll>
    <j7c1b49d505545c2a69692ae734740bd xmlns="cebd32e3-9ab6-41ee-b1af-b8405a8d4e68">
      <Terms xmlns="http://schemas.microsoft.com/office/infopath/2007/PartnerControls">
        <TermInfo xmlns="http://schemas.microsoft.com/office/infopath/2007/PartnerControls">
          <TermName xmlns="http://schemas.microsoft.com/office/infopath/2007/PartnerControls">Foodservice:Presentations and Seminars:2020</TermName>
          <TermId xmlns="http://schemas.microsoft.com/office/infopath/2007/PartnerControls">d22a82d4-a94c-4044-a1e6-027fdb1d43b9</TermId>
        </TermInfo>
      </Terms>
    </j7c1b49d505545c2a69692ae734740bd>
    <DocumentSummary xmlns="cebd32e3-9ab6-41ee-b1af-b8405a8d4e68">Summary of the delivery market in foodservice during the pandemic.</DocumentSummary>
    <ContentStartDate xmlns="cebd32e3-9ab6-41ee-b1af-b8405a8d4e68" xsi:nil="true"/>
    <TaxCatchAllLabel xmlns="cebd32e3-9ab6-41ee-b1af-b8405a8d4e68" xsi:nil="true"/>
  </documentManagement>
</p:properties>
</file>

<file path=customXml/itemProps1.xml><?xml version="1.0" encoding="utf-8"?>
<ds:datastoreItem xmlns:ds="http://schemas.openxmlformats.org/officeDocument/2006/customXml" ds:itemID="{BD2FB2A9-D684-4219-8C9C-36E4CAFBF5A9}"/>
</file>

<file path=customXml/itemProps2.xml><?xml version="1.0" encoding="utf-8"?>
<ds:datastoreItem xmlns:ds="http://schemas.openxmlformats.org/officeDocument/2006/customXml" ds:itemID="{147FABC6-90BF-4CD9-A0D4-9AF0B5486071}"/>
</file>

<file path=customXml/itemProps3.xml><?xml version="1.0" encoding="utf-8"?>
<ds:datastoreItem xmlns:ds="http://schemas.openxmlformats.org/officeDocument/2006/customXml" ds:itemID="{F1F712D1-F95E-4378-BF72-2DFE55840299}"/>
</file>

<file path=docProps/app.xml><?xml version="1.0" encoding="utf-8"?>
<Properties xmlns="http://schemas.openxmlformats.org/officeDocument/2006/extended-properties" xmlns:vt="http://schemas.openxmlformats.org/officeDocument/2006/docPropsVTypes">
  <Template>NPD-CorpPPT-template-widescreen</Template>
  <TotalTime>18122</TotalTime>
  <Words>1624</Words>
  <Application>Microsoft Office PowerPoint</Application>
  <PresentationFormat>On-screen Show (16:9)</PresentationFormat>
  <Paragraphs>316</Paragraphs>
  <Slides>25</Slides>
  <Notes>18</Notes>
  <HiddenSlides>0</HiddenSlides>
  <MMClips>0</MMClips>
  <ScaleCrop>false</ScaleCrop>
  <HeadingPairs>
    <vt:vector size="6" baseType="variant"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9" baseType="lpstr">
      <vt:lpstr>NPD-CorpPPT-template-widescreen</vt:lpstr>
      <vt:lpstr>Contents Slide Master</vt:lpstr>
      <vt:lpstr>1_NPD-CorpPPT-template-widescreen</vt:lpstr>
      <vt:lpstr>2_NPD-CorpPPT-template-widescreen</vt:lpstr>
      <vt:lpstr>3_NPD-CorpPPT-template-widescreen</vt:lpstr>
      <vt:lpstr>4_NPD-CorpPPT-template-widescreen</vt:lpstr>
      <vt:lpstr>5_NPD-CorpPPT-template-widescreen</vt:lpstr>
      <vt:lpstr>6_NPD-CorpPPT-template-widescreen</vt:lpstr>
      <vt:lpstr>7_NPD-CorpPPT-template-widescreen</vt:lpstr>
      <vt:lpstr>8_NPD-CorpPPT-template-widescreen</vt:lpstr>
      <vt:lpstr>9_NPD-CorpPPT-template-widescreen</vt:lpstr>
      <vt:lpstr>10_NPD-CorpPPT-template-widescreen</vt:lpstr>
      <vt:lpstr>11_NPD-CorpPPT-template-widescreen</vt:lpstr>
      <vt:lpstr>think-cell Slide</vt:lpstr>
      <vt:lpstr>NPD UK Foodservice Perspectives: The Delivery market during Covid</vt:lpstr>
      <vt:lpstr>Key points</vt:lpstr>
      <vt:lpstr>Agenda</vt:lpstr>
      <vt:lpstr>With a second lockdown upon us, we are currently moving backwards in the recovery. Delivery will benefit from this</vt:lpstr>
      <vt:lpstr>So far this year, foodservice spend is down -38% vs. 2019</vt:lpstr>
      <vt:lpstr>Some market segments have fared better than others</vt:lpstr>
      <vt:lpstr>Covid 2nd wave – escalation of restrictions across EU</vt:lpstr>
      <vt:lpstr>The Delivery market</vt:lpstr>
      <vt:lpstr>PowerPoint Presentation</vt:lpstr>
      <vt:lpstr>PowerPoint Presentation</vt:lpstr>
      <vt:lpstr>September’s performance highlights the two-tier nature of the market</vt:lpstr>
      <vt:lpstr>The number of delivery buyers grew during the first lockdown, and can be expected to do so again during the second lockdown</vt:lpstr>
      <vt:lpstr>Delivery Usage</vt:lpstr>
      <vt:lpstr>Impact of Covid on delivery choices</vt:lpstr>
      <vt:lpstr>In 2020 Delivery has grown significantly in key channels, up to 20% of QSR visits, and is not expected to return fully to pre-Covid levels</vt:lpstr>
      <vt:lpstr>Lunch has increased in importance during Covid, but dinner continues to be the main daypart for deliveries</vt:lpstr>
      <vt:lpstr>Family delivery occasions have grown significantly, and now account for half of all deliveries</vt:lpstr>
      <vt:lpstr>During Covid, most top delivery food items have increased in popularity, with pizza further cementing its No.1 position</vt:lpstr>
      <vt:lpstr>Soft drinks have become even more popular for deliveries in 2020</vt:lpstr>
      <vt:lpstr>PowerPoint Presentation</vt:lpstr>
      <vt:lpstr>Key points</vt:lpstr>
      <vt:lpstr>What next? </vt:lpstr>
      <vt:lpstr>PowerPoint Presentation</vt:lpstr>
      <vt:lpstr>PowerPoint Presentation</vt:lpstr>
      <vt:lpstr>PowerPoint Presentation</vt:lpstr>
    </vt:vector>
  </TitlesOfParts>
  <Company>The NPD Group, Inc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0 November NPD The Delivery Market During COVID-19</dc:title>
  <dc:creator>D.Allport</dc:creator>
  <cp:lastModifiedBy>Dominic Allport</cp:lastModifiedBy>
  <cp:revision>660</cp:revision>
  <cp:lastPrinted>2019-10-25T12:09:32Z</cp:lastPrinted>
  <dcterms:created xsi:type="dcterms:W3CDTF">2019-06-25T13:09:35Z</dcterms:created>
  <dcterms:modified xsi:type="dcterms:W3CDTF">2020-11-20T09:3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X">
    <vt:lpwstr>Client Third Party Confidential</vt:lpwstr>
  </property>
  <property fmtid="{D5CDD505-2E9C-101B-9397-08002B2CF9AE}" pid="3" name="NPD_GroupClassification">
    <vt:lpwstr>Internal Only</vt:lpwstr>
  </property>
  <property fmtid="{D5CDD505-2E9C-101B-9397-08002B2CF9AE}" pid="4" name="NXPowerLiteLastOptimized">
    <vt:lpwstr>6256554</vt:lpwstr>
  </property>
  <property fmtid="{D5CDD505-2E9C-101B-9397-08002B2CF9AE}" pid="5" name="NXPowerLiteSettings">
    <vt:lpwstr>C700052003A000</vt:lpwstr>
  </property>
  <property fmtid="{D5CDD505-2E9C-101B-9397-08002B2CF9AE}" pid="6" name="NXPowerLiteVersion">
    <vt:lpwstr>D8.0.2</vt:lpwstr>
  </property>
  <property fmtid="{D5CDD505-2E9C-101B-9397-08002B2CF9AE}" pid="7" name="TitusGUID">
    <vt:lpwstr>237f12c8-4c30-47f5-9ebc-57ce1d7fb972</vt:lpwstr>
  </property>
  <property fmtid="{D5CDD505-2E9C-101B-9397-08002B2CF9AE}" pid="8" name="Classification">
    <vt:lpwstr>Client Third Party Confidential</vt:lpwstr>
  </property>
  <property fmtid="{D5CDD505-2E9C-101B-9397-08002B2CF9AE}" pid="9" name="HeaderFooterSelection">
    <vt:lpwstr>NoHeaderFooter</vt:lpwstr>
  </property>
  <property fmtid="{D5CDD505-2E9C-101B-9397-08002B2CF9AE}" pid="10" name="ContentTypeId">
    <vt:lpwstr>0x010100FBC0F8BFD01A91498CA7837A71EEDFDB02005AE5335FCC83EB48B1308B6A764FBC1C</vt:lpwstr>
  </property>
  <property fmtid="{D5CDD505-2E9C-101B-9397-08002B2CF9AE}" pid="11" name="Market Data Document Path">
    <vt:lpwstr>590;#Foodservice:Presentations and Seminars:2020|d22a82d4-a94c-4044-a1e6-027fdb1d43b9</vt:lpwstr>
  </property>
</Properties>
</file>